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8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9.xml" ContentType="application/vnd.openxmlformats-officedocument.theme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10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1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1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5.xml" ContentType="application/vnd.openxmlformats-officedocument.drawingml.chart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3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7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2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3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4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5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charts/chart1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2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26.xml" ContentType="application/vnd.openxmlformats-officedocument.presentationml.tags+xml"/>
  <Override PartName="/ppt/charts/chart2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2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4181" r:id="rId5"/>
    <p:sldMasterId id="2147484198" r:id="rId6"/>
    <p:sldMasterId id="2147484208" r:id="rId7"/>
    <p:sldMasterId id="2147484218" r:id="rId8"/>
    <p:sldMasterId id="2147484231" r:id="rId9"/>
    <p:sldMasterId id="2147484236" r:id="rId10"/>
    <p:sldMasterId id="2147484244" r:id="rId11"/>
    <p:sldMasterId id="2147484258" r:id="rId12"/>
    <p:sldMasterId id="2147484263" r:id="rId13"/>
    <p:sldMasterId id="2147484268" r:id="rId14"/>
    <p:sldMasterId id="2147484282" r:id="rId15"/>
  </p:sldMasterIdLst>
  <p:notesMasterIdLst>
    <p:notesMasterId r:id="rId62"/>
  </p:notesMasterIdLst>
  <p:sldIdLst>
    <p:sldId id="258" r:id="rId16"/>
    <p:sldId id="5362" r:id="rId17"/>
    <p:sldId id="5128" r:id="rId18"/>
    <p:sldId id="263" r:id="rId19"/>
    <p:sldId id="5363" r:id="rId20"/>
    <p:sldId id="5368" r:id="rId21"/>
    <p:sldId id="5369" r:id="rId22"/>
    <p:sldId id="5370" r:id="rId23"/>
    <p:sldId id="5372" r:id="rId24"/>
    <p:sldId id="5371" r:id="rId25"/>
    <p:sldId id="5367" r:id="rId26"/>
    <p:sldId id="5365" r:id="rId27"/>
    <p:sldId id="5364" r:id="rId28"/>
    <p:sldId id="5382" r:id="rId29"/>
    <p:sldId id="824" r:id="rId30"/>
    <p:sldId id="5254" r:id="rId31"/>
    <p:sldId id="823" r:id="rId32"/>
    <p:sldId id="2347" r:id="rId33"/>
    <p:sldId id="5534" r:id="rId34"/>
    <p:sldId id="5384" r:id="rId35"/>
    <p:sldId id="5401" r:id="rId36"/>
    <p:sldId id="835" r:id="rId37"/>
    <p:sldId id="772" r:id="rId38"/>
    <p:sldId id="773" r:id="rId39"/>
    <p:sldId id="774" r:id="rId40"/>
    <p:sldId id="786" r:id="rId41"/>
    <p:sldId id="794" r:id="rId42"/>
    <p:sldId id="787" r:id="rId43"/>
    <p:sldId id="795" r:id="rId44"/>
    <p:sldId id="5380" r:id="rId45"/>
    <p:sldId id="4842" r:id="rId46"/>
    <p:sldId id="5159" r:id="rId47"/>
    <p:sldId id="5162" r:id="rId48"/>
    <p:sldId id="5381" r:id="rId49"/>
    <p:sldId id="5385" r:id="rId50"/>
    <p:sldId id="4841" r:id="rId51"/>
    <p:sldId id="1671" r:id="rId52"/>
    <p:sldId id="5400" r:id="rId53"/>
    <p:sldId id="1663" r:id="rId54"/>
    <p:sldId id="5395" r:id="rId55"/>
    <p:sldId id="5396" r:id="rId56"/>
    <p:sldId id="5188" r:id="rId57"/>
    <p:sldId id="5208" r:id="rId58"/>
    <p:sldId id="5387" r:id="rId59"/>
    <p:sldId id="5392" r:id="rId60"/>
    <p:sldId id="5379" r:id="rId61"/>
  </p:sldIdLst>
  <p:sldSz cx="12192000" cy="6858000"/>
  <p:notesSz cx="6858000" cy="9144000"/>
  <p:custDataLst>
    <p:tags r:id="rId63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rtůněk Vladimír" initials="BV" lastIdx="1" clrIdx="0">
    <p:extLst>
      <p:ext uri="{19B8F6BF-5375-455C-9EA6-DF929625EA0E}">
        <p15:presenceInfo xmlns:p15="http://schemas.microsoft.com/office/powerpoint/2012/main" userId="S::bartunekv@mzcr.cz::bc1bd724-2e62-4858-a399-05bb80415b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1440"/>
    <a:srgbClr val="0000FF"/>
    <a:srgbClr val="70AD47"/>
    <a:srgbClr val="FF6600"/>
    <a:srgbClr val="4472C4"/>
    <a:srgbClr val="2E5980"/>
    <a:srgbClr val="00FF00"/>
    <a:srgbClr val="D9E1F2"/>
    <a:srgbClr val="5B9BD5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651" autoAdjust="0"/>
    <p:restoredTop sz="94660"/>
  </p:normalViewPr>
  <p:slideViewPr>
    <p:cSldViewPr snapToGrid="0">
      <p:cViewPr varScale="1">
        <p:scale>
          <a:sx n="94" d="100"/>
          <a:sy n="94" d="100"/>
        </p:scale>
        <p:origin x="234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2155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1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slide" Target="slides/slide27.xml"/><Relationship Id="rId47" Type="http://schemas.openxmlformats.org/officeDocument/2006/relationships/slide" Target="slides/slide32.xml"/><Relationship Id="rId50" Type="http://schemas.openxmlformats.org/officeDocument/2006/relationships/slide" Target="slides/slide35.xml"/><Relationship Id="rId55" Type="http://schemas.openxmlformats.org/officeDocument/2006/relationships/slide" Target="slides/slide40.xml"/><Relationship Id="rId63" Type="http://schemas.openxmlformats.org/officeDocument/2006/relationships/tags" Target="tags/tag1.xml"/><Relationship Id="rId68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slide" Target="slides/slide30.xml"/><Relationship Id="rId53" Type="http://schemas.openxmlformats.org/officeDocument/2006/relationships/slide" Target="slides/slide38.xml"/><Relationship Id="rId58" Type="http://schemas.openxmlformats.org/officeDocument/2006/relationships/slide" Target="slides/slide43.xml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46.xml"/><Relationship Id="rId19" Type="http://schemas.openxmlformats.org/officeDocument/2006/relationships/slide" Target="slides/slide4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slide" Target="slides/slide28.xml"/><Relationship Id="rId48" Type="http://schemas.openxmlformats.org/officeDocument/2006/relationships/slide" Target="slides/slide33.xml"/><Relationship Id="rId56" Type="http://schemas.openxmlformats.org/officeDocument/2006/relationships/slide" Target="slides/slide41.xml"/><Relationship Id="rId64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6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slide" Target="slides/slide31.xml"/><Relationship Id="rId59" Type="http://schemas.openxmlformats.org/officeDocument/2006/relationships/slide" Target="slides/slide44.xml"/><Relationship Id="rId67" Type="http://schemas.openxmlformats.org/officeDocument/2006/relationships/theme" Target="theme/theme1.xml"/><Relationship Id="rId20" Type="http://schemas.openxmlformats.org/officeDocument/2006/relationships/slide" Target="slides/slide5.xml"/><Relationship Id="rId41" Type="http://schemas.openxmlformats.org/officeDocument/2006/relationships/slide" Target="slides/slide26.xml"/><Relationship Id="rId54" Type="http://schemas.openxmlformats.org/officeDocument/2006/relationships/slide" Target="slides/slide39.xml"/><Relationship Id="rId62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slide" Target="slides/slide34.xml"/><Relationship Id="rId57" Type="http://schemas.openxmlformats.org/officeDocument/2006/relationships/slide" Target="slides/slide42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6.xml"/><Relationship Id="rId44" Type="http://schemas.openxmlformats.org/officeDocument/2006/relationships/slide" Target="slides/slide29.xml"/><Relationship Id="rId52" Type="http://schemas.openxmlformats.org/officeDocument/2006/relationships/slide" Target="slides/slide37.xml"/><Relationship Id="rId60" Type="http://schemas.openxmlformats.org/officeDocument/2006/relationships/slide" Target="slides/slide45.xml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39" Type="http://schemas.openxmlformats.org/officeDocument/2006/relationships/slide" Target="slides/slide24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442589269633316"/>
          <c:y val="5.5754743692815793E-2"/>
          <c:w val="0.76528689313145348"/>
          <c:h val="0.88186309179749911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0–4</c:v>
                </c:pt>
              </c:strCache>
            </c:strRef>
          </c:tx>
          <c:spPr>
            <a:ln>
              <a:solidFill>
                <a:srgbClr val="FF00FF"/>
              </a:solidFill>
            </a:ln>
          </c:spPr>
          <c:marker>
            <c:symbol val="none"/>
          </c:marker>
          <c:cat>
            <c:numRef>
              <c:f>Sheet1!$B$1:$O$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Sheet1!$B$2:$O$2</c:f>
              <c:numCache>
                <c:formatCode>General</c:formatCode>
                <c:ptCount val="14"/>
                <c:pt idx="0">
                  <c:v>19609</c:v>
                </c:pt>
                <c:pt idx="1">
                  <c:v>21179</c:v>
                </c:pt>
                <c:pt idx="2">
                  <c:v>22068</c:v>
                </c:pt>
                <c:pt idx="3">
                  <c:v>22886</c:v>
                </c:pt>
                <c:pt idx="4">
                  <c:v>23029</c:v>
                </c:pt>
                <c:pt idx="5">
                  <c:v>23632</c:v>
                </c:pt>
                <c:pt idx="6">
                  <c:v>23932</c:v>
                </c:pt>
                <c:pt idx="7">
                  <c:v>24317</c:v>
                </c:pt>
                <c:pt idx="8">
                  <c:v>24870</c:v>
                </c:pt>
                <c:pt idx="9">
                  <c:v>25404</c:v>
                </c:pt>
                <c:pt idx="10">
                  <c:v>20152</c:v>
                </c:pt>
                <c:pt idx="11">
                  <c:v>24270</c:v>
                </c:pt>
                <c:pt idx="12">
                  <c:v>31570</c:v>
                </c:pt>
                <c:pt idx="13">
                  <c:v>248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3F2-4E8D-A8F2-A1B1F08B3C8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5–14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ymbol val="none"/>
          </c:marker>
          <c:cat>
            <c:numRef>
              <c:f>Sheet1!$B$1:$O$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Sheet1!$B$3:$O$3</c:f>
              <c:numCache>
                <c:formatCode>General</c:formatCode>
                <c:ptCount val="14"/>
                <c:pt idx="0">
                  <c:v>15960</c:v>
                </c:pt>
                <c:pt idx="1">
                  <c:v>17711</c:v>
                </c:pt>
                <c:pt idx="2">
                  <c:v>18495</c:v>
                </c:pt>
                <c:pt idx="3">
                  <c:v>19858</c:v>
                </c:pt>
                <c:pt idx="4">
                  <c:v>21161</c:v>
                </c:pt>
                <c:pt idx="5">
                  <c:v>22526</c:v>
                </c:pt>
                <c:pt idx="6">
                  <c:v>23948</c:v>
                </c:pt>
                <c:pt idx="7">
                  <c:v>24056</c:v>
                </c:pt>
                <c:pt idx="8">
                  <c:v>26044</c:v>
                </c:pt>
                <c:pt idx="9">
                  <c:v>26610</c:v>
                </c:pt>
                <c:pt idx="10">
                  <c:v>20706</c:v>
                </c:pt>
                <c:pt idx="11">
                  <c:v>22657</c:v>
                </c:pt>
                <c:pt idx="12">
                  <c:v>33553</c:v>
                </c:pt>
                <c:pt idx="13">
                  <c:v>294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3F2-4E8D-A8F2-A1B1F08B3C8B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15–19</c:v>
                </c:pt>
              </c:strCache>
            </c:strRef>
          </c:tx>
          <c:spPr>
            <a:ln>
              <a:solidFill>
                <a:srgbClr val="00B0F0"/>
              </a:solidFill>
            </a:ln>
          </c:spPr>
          <c:marker>
            <c:symbol val="none"/>
          </c:marker>
          <c:cat>
            <c:numRef>
              <c:f>Sheet1!$B$1:$O$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Sheet1!$B$4:$O$4</c:f>
              <c:numCache>
                <c:formatCode>General</c:formatCode>
                <c:ptCount val="14"/>
                <c:pt idx="0">
                  <c:v>22987</c:v>
                </c:pt>
                <c:pt idx="1">
                  <c:v>23485</c:v>
                </c:pt>
                <c:pt idx="2">
                  <c:v>23322</c:v>
                </c:pt>
                <c:pt idx="3">
                  <c:v>22888</c:v>
                </c:pt>
                <c:pt idx="4">
                  <c:v>23947</c:v>
                </c:pt>
                <c:pt idx="5">
                  <c:v>23993</c:v>
                </c:pt>
                <c:pt idx="6">
                  <c:v>25311</c:v>
                </c:pt>
                <c:pt idx="7">
                  <c:v>25707</c:v>
                </c:pt>
                <c:pt idx="8">
                  <c:v>26733</c:v>
                </c:pt>
                <c:pt idx="9">
                  <c:v>26965</c:v>
                </c:pt>
                <c:pt idx="10">
                  <c:v>21382</c:v>
                </c:pt>
                <c:pt idx="11">
                  <c:v>23396</c:v>
                </c:pt>
                <c:pt idx="12">
                  <c:v>30942</c:v>
                </c:pt>
                <c:pt idx="13">
                  <c:v>311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3F2-4E8D-A8F2-A1B1F08B3C8B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20–49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cat>
            <c:numRef>
              <c:f>Sheet1!$B$1:$O$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Sheet1!$B$5:$O$5</c:f>
              <c:numCache>
                <c:formatCode>General</c:formatCode>
                <c:ptCount val="14"/>
                <c:pt idx="0">
                  <c:v>183111</c:v>
                </c:pt>
                <c:pt idx="1">
                  <c:v>191950</c:v>
                </c:pt>
                <c:pt idx="2">
                  <c:v>199597</c:v>
                </c:pt>
                <c:pt idx="3">
                  <c:v>210711</c:v>
                </c:pt>
                <c:pt idx="4">
                  <c:v>218428</c:v>
                </c:pt>
                <c:pt idx="5">
                  <c:v>220909</c:v>
                </c:pt>
                <c:pt idx="6">
                  <c:v>223885</c:v>
                </c:pt>
                <c:pt idx="7">
                  <c:v>221989</c:v>
                </c:pt>
                <c:pt idx="8">
                  <c:v>229859</c:v>
                </c:pt>
                <c:pt idx="9">
                  <c:v>229568</c:v>
                </c:pt>
                <c:pt idx="10">
                  <c:v>215245</c:v>
                </c:pt>
                <c:pt idx="11">
                  <c:v>233936</c:v>
                </c:pt>
                <c:pt idx="12">
                  <c:v>241455</c:v>
                </c:pt>
                <c:pt idx="13">
                  <c:v>2279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3F2-4E8D-A8F2-A1B1F08B3C8B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50–64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ymbol val="none"/>
          </c:marker>
          <c:cat>
            <c:numRef>
              <c:f>Sheet1!$B$1:$O$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Sheet1!$B$6:$O$6</c:f>
              <c:numCache>
                <c:formatCode>General</c:formatCode>
                <c:ptCount val="14"/>
                <c:pt idx="0">
                  <c:v>134961</c:v>
                </c:pt>
                <c:pt idx="1">
                  <c:v>134546</c:v>
                </c:pt>
                <c:pt idx="2">
                  <c:v>137055</c:v>
                </c:pt>
                <c:pt idx="3">
                  <c:v>142239</c:v>
                </c:pt>
                <c:pt idx="4">
                  <c:v>144889</c:v>
                </c:pt>
                <c:pt idx="5">
                  <c:v>148514</c:v>
                </c:pt>
                <c:pt idx="6">
                  <c:v>147621</c:v>
                </c:pt>
                <c:pt idx="7">
                  <c:v>146100</c:v>
                </c:pt>
                <c:pt idx="8">
                  <c:v>149182</c:v>
                </c:pt>
                <c:pt idx="9">
                  <c:v>146968</c:v>
                </c:pt>
                <c:pt idx="10">
                  <c:v>147449</c:v>
                </c:pt>
                <c:pt idx="11">
                  <c:v>161024</c:v>
                </c:pt>
                <c:pt idx="12">
                  <c:v>153022</c:v>
                </c:pt>
                <c:pt idx="13">
                  <c:v>1482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3F2-4E8D-A8F2-A1B1F08B3C8B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65–74</c:v>
                </c:pt>
              </c:strCache>
            </c:strRef>
          </c:tx>
          <c:spPr>
            <a:ln>
              <a:solidFill>
                <a:srgbClr val="FFC000">
                  <a:alpha val="99000"/>
                </a:srgbClr>
              </a:solidFill>
            </a:ln>
          </c:spPr>
          <c:marker>
            <c:symbol val="none"/>
          </c:marker>
          <c:cat>
            <c:numRef>
              <c:f>Sheet1!$B$1:$O$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Sheet1!$B$7:$O$7</c:f>
              <c:numCache>
                <c:formatCode>General</c:formatCode>
                <c:ptCount val="14"/>
                <c:pt idx="0">
                  <c:v>102093</c:v>
                </c:pt>
                <c:pt idx="1">
                  <c:v>107644</c:v>
                </c:pt>
                <c:pt idx="2">
                  <c:v>120372</c:v>
                </c:pt>
                <c:pt idx="3">
                  <c:v>131515</c:v>
                </c:pt>
                <c:pt idx="4">
                  <c:v>141137</c:v>
                </c:pt>
                <c:pt idx="5">
                  <c:v>153282</c:v>
                </c:pt>
                <c:pt idx="6">
                  <c:v>158560</c:v>
                </c:pt>
                <c:pt idx="7">
                  <c:v>164642</c:v>
                </c:pt>
                <c:pt idx="8">
                  <c:v>173207</c:v>
                </c:pt>
                <c:pt idx="9">
                  <c:v>173896</c:v>
                </c:pt>
                <c:pt idx="10">
                  <c:v>179798</c:v>
                </c:pt>
                <c:pt idx="11">
                  <c:v>189048</c:v>
                </c:pt>
                <c:pt idx="12">
                  <c:v>181445</c:v>
                </c:pt>
                <c:pt idx="13">
                  <c:v>1673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3F2-4E8D-A8F2-A1B1F08B3C8B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75–84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Sheet1!$B$1:$O$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Sheet1!$B$8:$O$8</c:f>
              <c:numCache>
                <c:formatCode>General</c:formatCode>
                <c:ptCount val="14"/>
                <c:pt idx="0">
                  <c:v>131127</c:v>
                </c:pt>
                <c:pt idx="1">
                  <c:v>130119</c:v>
                </c:pt>
                <c:pt idx="2">
                  <c:v>136114</c:v>
                </c:pt>
                <c:pt idx="3">
                  <c:v>142299</c:v>
                </c:pt>
                <c:pt idx="4">
                  <c:v>146315</c:v>
                </c:pt>
                <c:pt idx="5">
                  <c:v>155836</c:v>
                </c:pt>
                <c:pt idx="6">
                  <c:v>157418</c:v>
                </c:pt>
                <c:pt idx="7">
                  <c:v>160942</c:v>
                </c:pt>
                <c:pt idx="8">
                  <c:v>172883</c:v>
                </c:pt>
                <c:pt idx="9">
                  <c:v>179111</c:v>
                </c:pt>
                <c:pt idx="10">
                  <c:v>185341</c:v>
                </c:pt>
                <c:pt idx="11">
                  <c:v>201220</c:v>
                </c:pt>
                <c:pt idx="12">
                  <c:v>219042</c:v>
                </c:pt>
                <c:pt idx="13">
                  <c:v>2168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23F2-4E8D-A8F2-A1B1F08B3C8B}"/>
            </c:ext>
          </c:extLst>
        </c:ser>
        <c:ser>
          <c:idx val="7"/>
          <c:order val="7"/>
          <c:tx>
            <c:strRef>
              <c:f>Sheet1!$A$9</c:f>
              <c:strCache>
                <c:ptCount val="1"/>
                <c:pt idx="0">
                  <c:v>85+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numRef>
              <c:f>Sheet1!$B$1:$O$1</c:f>
              <c:numCache>
                <c:formatCode>General</c:formatCode>
                <c:ptCount val="1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</c:numCache>
            </c:numRef>
          </c:cat>
          <c:val>
            <c:numRef>
              <c:f>Sheet1!$B$9:$O$9</c:f>
              <c:numCache>
                <c:formatCode>General</c:formatCode>
                <c:ptCount val="14"/>
                <c:pt idx="0">
                  <c:v>68386</c:v>
                </c:pt>
                <c:pt idx="1">
                  <c:v>72476</c:v>
                </c:pt>
                <c:pt idx="2">
                  <c:v>80036</c:v>
                </c:pt>
                <c:pt idx="3">
                  <c:v>88326</c:v>
                </c:pt>
                <c:pt idx="4">
                  <c:v>95163</c:v>
                </c:pt>
                <c:pt idx="5">
                  <c:v>104324</c:v>
                </c:pt>
                <c:pt idx="6">
                  <c:v>107938</c:v>
                </c:pt>
                <c:pt idx="7">
                  <c:v>113242</c:v>
                </c:pt>
                <c:pt idx="8">
                  <c:v>118619</c:v>
                </c:pt>
                <c:pt idx="9">
                  <c:v>121164</c:v>
                </c:pt>
                <c:pt idx="10">
                  <c:v>118305</c:v>
                </c:pt>
                <c:pt idx="11">
                  <c:v>116828</c:v>
                </c:pt>
                <c:pt idx="12">
                  <c:v>127630</c:v>
                </c:pt>
                <c:pt idx="13">
                  <c:v>1220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23F2-4E8D-A8F2-A1B1F08B3C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1712928"/>
        <c:axId val="461716064"/>
      </c:lineChart>
      <c:catAx>
        <c:axId val="461712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4617160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461716064"/>
        <c:scaling>
          <c:orientation val="minMax"/>
          <c:max val="275000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cs-CZ" dirty="0"/>
                  <a:t>Počet ošetřených osob</a:t>
                </a:r>
              </a:p>
            </c:rich>
          </c:tx>
          <c:overlay val="0"/>
        </c:title>
        <c:numFmt formatCode="#,##0" sourceLinked="0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461712928"/>
        <c:crosses val="autoZero"/>
        <c:crossBetween val="between"/>
      </c:valAx>
      <c:spPr>
        <a:noFill/>
        <a:ln w="32008">
          <a:noFill/>
        </a:ln>
      </c:spPr>
    </c:plotArea>
    <c:legend>
      <c:legendPos val="r"/>
      <c:layout>
        <c:manualLayout>
          <c:xMode val="edge"/>
          <c:yMode val="edge"/>
          <c:x val="0.91366507238091788"/>
          <c:y val="0.27875086605020039"/>
          <c:w val="6.3850134413085097E-2"/>
          <c:h val="0.46300130266068612"/>
        </c:manualLayout>
      </c:layout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věk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AD0-44FB-A040-14A27D8E596E}"/>
              </c:ext>
            </c:extLst>
          </c:dPt>
          <c:dPt>
            <c:idx val="7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AD0-44FB-A040-14A27D8E596E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682-4214-A28A-9EFF37B67EA6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682-4214-A28A-9EFF37B67EA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Ústecký kraj</c:v>
                </c:pt>
                <c:pt idx="2">
                  <c:v>Zlínský kraj</c:v>
                </c:pt>
                <c:pt idx="3">
                  <c:v>Vysočina</c:v>
                </c:pt>
                <c:pt idx="4">
                  <c:v>Hl. m. Praha</c:v>
                </c:pt>
                <c:pt idx="5">
                  <c:v>Pardubický kraj</c:v>
                </c:pt>
                <c:pt idx="6">
                  <c:v>Moravskoslezský kraj</c:v>
                </c:pt>
                <c:pt idx="7">
                  <c:v>ČR</c:v>
                </c:pt>
                <c:pt idx="8">
                  <c:v>Karlovarský kraj</c:v>
                </c:pt>
                <c:pt idx="9">
                  <c:v>Jihomoravský kraj</c:v>
                </c:pt>
                <c:pt idx="10">
                  <c:v>Olomoucký kraj</c:v>
                </c:pt>
                <c:pt idx="11">
                  <c:v>Jihočeský kraj</c:v>
                </c:pt>
                <c:pt idx="12">
                  <c:v>Plzeňský kraj</c:v>
                </c:pt>
                <c:pt idx="13">
                  <c:v>Středočeský kraj</c:v>
                </c:pt>
                <c:pt idx="14">
                  <c:v>Liberec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61.928571428571402</c:v>
                </c:pt>
                <c:pt idx="1">
                  <c:v>60.3333333333333</c:v>
                </c:pt>
                <c:pt idx="2">
                  <c:v>57.65</c:v>
                </c:pt>
                <c:pt idx="3">
                  <c:v>55</c:v>
                </c:pt>
                <c:pt idx="4">
                  <c:v>53.571428571428598</c:v>
                </c:pt>
                <c:pt idx="5">
                  <c:v>52.574468085106403</c:v>
                </c:pt>
                <c:pt idx="6">
                  <c:v>51.921487603305799</c:v>
                </c:pt>
                <c:pt idx="7">
                  <c:v>51.823915900131396</c:v>
                </c:pt>
                <c:pt idx="8">
                  <c:v>51.25</c:v>
                </c:pt>
                <c:pt idx="9">
                  <c:v>51.106382978723403</c:v>
                </c:pt>
                <c:pt idx="10">
                  <c:v>50.806818181818201</c:v>
                </c:pt>
                <c:pt idx="11">
                  <c:v>49.25</c:v>
                </c:pt>
                <c:pt idx="12">
                  <c:v>48.7974683544304</c:v>
                </c:pt>
                <c:pt idx="13">
                  <c:v>46.4</c:v>
                </c:pt>
                <c:pt idx="1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682-4214-A28A-9EFF37B67EA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386499784"/>
        <c:axId val="386499392"/>
      </c:barChart>
      <c:catAx>
        <c:axId val="3864997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6499392"/>
        <c:crosses val="autoZero"/>
        <c:auto val="1"/>
        <c:lblAlgn val="ctr"/>
        <c:lblOffset val="100"/>
        <c:noMultiLvlLbl val="0"/>
      </c:catAx>
      <c:valAx>
        <c:axId val="386499392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6499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uži</c:v>
                </c:pt>
              </c:strCache>
            </c:strRef>
          </c:tx>
          <c:spPr>
            <a:solidFill>
              <a:srgbClr val="6699FF"/>
            </a:solidFill>
            <a:ln>
              <a:noFill/>
            </a:ln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DAD-4FB2-B517-F6773E7993D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DAD-4FB2-B517-F6773E7993D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DAD-4FB2-B517-F6773E7993DF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DAD-4FB2-B517-F6773E7993DF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8DAD-4FB2-B517-F6773E7993DF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8DAD-4FB2-B517-F6773E7993DF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8DAD-4FB2-B517-F6773E7993DF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8DAD-4FB2-B517-F6773E7993DF}"/>
              </c:ext>
            </c:extLst>
          </c:dPt>
          <c:cat>
            <c:strRef>
              <c:f>List1!$A$2:$A$10</c:f>
              <c:strCache>
                <c:ptCount val="9"/>
                <c:pt idx="0">
                  <c:v>do 29</c:v>
                </c:pt>
                <c:pt idx="1">
                  <c:v>30–34</c:v>
                </c:pt>
                <c:pt idx="2">
                  <c:v>35–39</c:v>
                </c:pt>
                <c:pt idx="3">
                  <c:v>40–44</c:v>
                </c:pt>
                <c:pt idx="4">
                  <c:v>45–49</c:v>
                </c:pt>
                <c:pt idx="5">
                  <c:v>50–54</c:v>
                </c:pt>
                <c:pt idx="6">
                  <c:v>55–59</c:v>
                </c:pt>
                <c:pt idx="7">
                  <c:v>60–64</c:v>
                </c:pt>
                <c:pt idx="8">
                  <c:v>65 a více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0</c:v>
                </c:pt>
                <c:pt idx="1">
                  <c:v>0</c:v>
                </c:pt>
                <c:pt idx="2">
                  <c:v>10</c:v>
                </c:pt>
                <c:pt idx="3">
                  <c:v>23</c:v>
                </c:pt>
                <c:pt idx="4">
                  <c:v>23</c:v>
                </c:pt>
                <c:pt idx="5">
                  <c:v>40</c:v>
                </c:pt>
                <c:pt idx="6">
                  <c:v>18</c:v>
                </c:pt>
                <c:pt idx="7">
                  <c:v>11</c:v>
                </c:pt>
                <c:pt idx="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DAD-4FB2-B517-F6773E7993D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Ženy</c:v>
                </c:pt>
              </c:strCache>
            </c:strRef>
          </c:tx>
          <c:spPr>
            <a:solidFill>
              <a:srgbClr val="FF99FF"/>
            </a:solidFill>
          </c:spPr>
          <c:invertIfNegative val="0"/>
          <c:cat>
            <c:strRef>
              <c:f>List1!$A$2:$A$10</c:f>
              <c:strCache>
                <c:ptCount val="9"/>
                <c:pt idx="0">
                  <c:v>do 29</c:v>
                </c:pt>
                <c:pt idx="1">
                  <c:v>30–34</c:v>
                </c:pt>
                <c:pt idx="2">
                  <c:v>35–39</c:v>
                </c:pt>
                <c:pt idx="3">
                  <c:v>40–44</c:v>
                </c:pt>
                <c:pt idx="4">
                  <c:v>45–49</c:v>
                </c:pt>
                <c:pt idx="5">
                  <c:v>50–54</c:v>
                </c:pt>
                <c:pt idx="6">
                  <c:v>55–59</c:v>
                </c:pt>
                <c:pt idx="7">
                  <c:v>60–64</c:v>
                </c:pt>
                <c:pt idx="8">
                  <c:v>65 a více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3</c:v>
                </c:pt>
                <c:pt idx="1">
                  <c:v>6</c:v>
                </c:pt>
                <c:pt idx="2">
                  <c:v>27</c:v>
                </c:pt>
                <c:pt idx="3">
                  <c:v>63</c:v>
                </c:pt>
                <c:pt idx="4">
                  <c:v>148</c:v>
                </c:pt>
                <c:pt idx="5">
                  <c:v>146</c:v>
                </c:pt>
                <c:pt idx="6">
                  <c:v>94</c:v>
                </c:pt>
                <c:pt idx="7">
                  <c:v>91</c:v>
                </c:pt>
                <c:pt idx="8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DAD-4FB2-B517-F6773E7993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386503312"/>
        <c:axId val="386498216"/>
      </c:barChart>
      <c:catAx>
        <c:axId val="3865033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en-US"/>
          </a:p>
        </c:txPr>
        <c:crossAx val="386498216"/>
        <c:crosses val="autoZero"/>
        <c:auto val="1"/>
        <c:lblAlgn val="ctr"/>
        <c:lblOffset val="100"/>
        <c:noMultiLvlLbl val="0"/>
      </c:catAx>
      <c:valAx>
        <c:axId val="38649821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3865033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682-4214-A28A-9EFF37B67EA6}"/>
              </c:ext>
            </c:extLst>
          </c:dPt>
          <c:dPt>
            <c:idx val="9"/>
            <c:invertIfNegative val="0"/>
            <c:bubble3D val="0"/>
            <c:spPr>
              <a:solidFill>
                <a:srgbClr val="BFBFB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682-4214-A28A-9EFF37B67EA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Plzeňský kraj</c:v>
                </c:pt>
                <c:pt idx="1">
                  <c:v>Jihočeský kraj</c:v>
                </c:pt>
                <c:pt idx="2">
                  <c:v>Kraj Vysočina</c:v>
                </c:pt>
                <c:pt idx="3">
                  <c:v>Pardubický kraj</c:v>
                </c:pt>
                <c:pt idx="4">
                  <c:v>Liberecký kraj</c:v>
                </c:pt>
                <c:pt idx="5">
                  <c:v>Královéhradecký kraj</c:v>
                </c:pt>
                <c:pt idx="6">
                  <c:v>Karlovarský kraj</c:v>
                </c:pt>
                <c:pt idx="7">
                  <c:v>Zlínský kraj</c:v>
                </c:pt>
                <c:pt idx="8">
                  <c:v>Jihomoravský kraj</c:v>
                </c:pt>
                <c:pt idx="9">
                  <c:v>Česká republika</c:v>
                </c:pt>
                <c:pt idx="10">
                  <c:v>Olomoucký kraj</c:v>
                </c:pt>
                <c:pt idx="11">
                  <c:v>Moravskoslezský kraj</c:v>
                </c:pt>
                <c:pt idx="12">
                  <c:v>Středočeský kraj</c:v>
                </c:pt>
                <c:pt idx="13">
                  <c:v>Ústecký kraj</c:v>
                </c:pt>
                <c:pt idx="14">
                  <c:v>Hl. m. Praha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122.3050965743946</c:v>
                </c:pt>
                <c:pt idx="1">
                  <c:v>118.07058472290829</c:v>
                </c:pt>
                <c:pt idx="2">
                  <c:v>107.96923714096044</c:v>
                </c:pt>
                <c:pt idx="3">
                  <c:v>98.006563200967875</c:v>
                </c:pt>
                <c:pt idx="4">
                  <c:v>95.414367841475965</c:v>
                </c:pt>
                <c:pt idx="5">
                  <c:v>88.327918039001972</c:v>
                </c:pt>
                <c:pt idx="6">
                  <c:v>85.363861635036244</c:v>
                </c:pt>
                <c:pt idx="7">
                  <c:v>83.322438992466545</c:v>
                </c:pt>
                <c:pt idx="8">
                  <c:v>79.85383986513196</c:v>
                </c:pt>
                <c:pt idx="9">
                  <c:v>79.606331877056022</c:v>
                </c:pt>
                <c:pt idx="10">
                  <c:v>78.742156207931373</c:v>
                </c:pt>
                <c:pt idx="11">
                  <c:v>70.092372237890643</c:v>
                </c:pt>
                <c:pt idx="12">
                  <c:v>65.926330041246189</c:v>
                </c:pt>
                <c:pt idx="13">
                  <c:v>62.166615956229201</c:v>
                </c:pt>
                <c:pt idx="14">
                  <c:v>41.246797678911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682-4214-A28A-9EFF37B67EA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527573976"/>
        <c:axId val="527590048"/>
      </c:barChart>
      <c:catAx>
        <c:axId val="52757397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590048"/>
        <c:crosses val="autoZero"/>
        <c:auto val="1"/>
        <c:lblAlgn val="ctr"/>
        <c:lblOffset val="100"/>
        <c:noMultiLvlLbl val="0"/>
      </c:catAx>
      <c:valAx>
        <c:axId val="527590048"/>
        <c:scaling>
          <c:orientation val="minMax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573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1</c:v>
                </c:pt>
              </c:strCache>
            </c:strRef>
          </c:tx>
          <c:spPr>
            <a:solidFill>
              <a:srgbClr val="FF3300"/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rgbClr val="FF33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59C-4501-A0B3-D318527E3A1A}"/>
              </c:ext>
            </c:extLst>
          </c:dPt>
          <c:dPt>
            <c:idx val="8"/>
            <c:invertIfNegative val="0"/>
            <c:bubble3D val="0"/>
            <c:spPr>
              <a:solidFill>
                <a:srgbClr val="FF33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682-4214-A28A-9EFF37B67EA6}"/>
              </c:ext>
            </c:extLst>
          </c:dPt>
          <c:dPt>
            <c:idx val="9"/>
            <c:invertIfNegative val="0"/>
            <c:bubble3D val="0"/>
            <c:spPr>
              <a:solidFill>
                <a:srgbClr val="BFBFB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682-4214-A28A-9EFF37B67EA6}"/>
              </c:ext>
            </c:extLst>
          </c:dPt>
          <c:dLbls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Liberecký kraj</c:v>
                </c:pt>
                <c:pt idx="1">
                  <c:v>Moravskoslezský kraj</c:v>
                </c:pt>
                <c:pt idx="2">
                  <c:v>Jihočeský kraj</c:v>
                </c:pt>
                <c:pt idx="3">
                  <c:v>Olomoucký kraj</c:v>
                </c:pt>
                <c:pt idx="4">
                  <c:v>Kraj Vysočina</c:v>
                </c:pt>
                <c:pt idx="5">
                  <c:v>Plzeňský kraj</c:v>
                </c:pt>
                <c:pt idx="6">
                  <c:v>Královéhradecký kraj</c:v>
                </c:pt>
                <c:pt idx="7">
                  <c:v>Hl. m. Praha</c:v>
                </c:pt>
                <c:pt idx="8">
                  <c:v>Jihomoravský kraj</c:v>
                </c:pt>
                <c:pt idx="9">
                  <c:v>Česká republika</c:v>
                </c:pt>
                <c:pt idx="10">
                  <c:v>Pardubický kraj</c:v>
                </c:pt>
                <c:pt idx="11">
                  <c:v>Ústecký kraj</c:v>
                </c:pt>
                <c:pt idx="12">
                  <c:v>Zlínský kraj</c:v>
                </c:pt>
                <c:pt idx="13">
                  <c:v>Karlovarský kraj</c:v>
                </c:pt>
                <c:pt idx="14">
                  <c:v>Středočeský kraj</c:v>
                </c:pt>
              </c:strCache>
            </c:strRef>
          </c:cat>
          <c:val>
            <c:numRef>
              <c:f>List1!$B$2:$B$16</c:f>
              <c:numCache>
                <c:formatCode>_-* #\ ##0.00\ _K_č_-;\-* #\ ##0.00\ _K_č_-;_-* "-"??\ _K_č_-;_-@_-</c:formatCode>
                <c:ptCount val="15"/>
                <c:pt idx="0">
                  <c:v>3.1640083571962165</c:v>
                </c:pt>
                <c:pt idx="1">
                  <c:v>2.8322848222820918</c:v>
                </c:pt>
                <c:pt idx="2">
                  <c:v>2.7631781686559056</c:v>
                </c:pt>
                <c:pt idx="3">
                  <c:v>2.7447581656358442</c:v>
                </c:pt>
                <c:pt idx="4">
                  <c:v>2.6900147651668762</c:v>
                </c:pt>
                <c:pt idx="5">
                  <c:v>2.6388436519358036</c:v>
                </c:pt>
                <c:pt idx="6">
                  <c:v>2.5957493829990987</c:v>
                </c:pt>
                <c:pt idx="7">
                  <c:v>2.490983882996944</c:v>
                </c:pt>
                <c:pt idx="8">
                  <c:v>2.4747581916602348</c:v>
                </c:pt>
                <c:pt idx="9">
                  <c:v>2.4344857550539682</c:v>
                </c:pt>
                <c:pt idx="10">
                  <c:v>2.3949708052599563</c:v>
                </c:pt>
                <c:pt idx="11">
                  <c:v>2.3858347026782587</c:v>
                </c:pt>
                <c:pt idx="12">
                  <c:v>2.24498531681476</c:v>
                </c:pt>
                <c:pt idx="13">
                  <c:v>2.2067394882095015</c:v>
                </c:pt>
                <c:pt idx="14">
                  <c:v>1.59293557012534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682-4214-A28A-9EFF37B67EA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758828072"/>
        <c:axId val="758835912"/>
      </c:barChart>
      <c:catAx>
        <c:axId val="75882807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8835912"/>
        <c:crosses val="autoZero"/>
        <c:auto val="1"/>
        <c:lblAlgn val="ctr"/>
        <c:lblOffset val="100"/>
        <c:noMultiLvlLbl val="0"/>
      </c:catAx>
      <c:valAx>
        <c:axId val="758835912"/>
        <c:scaling>
          <c:orientation val="minMax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88280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1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BFBFB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69BB-466B-98DD-8B2834FAEA07}"/>
              </c:ext>
            </c:extLst>
          </c:dPt>
          <c:dPt>
            <c:idx val="6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1C0-416B-9BD9-90DA255FCBC1}"/>
              </c:ext>
            </c:extLst>
          </c:dPt>
          <c:dPt>
            <c:idx val="8"/>
            <c:invertIfNegative val="0"/>
            <c:bubble3D val="0"/>
            <c:spPr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682-4214-A28A-9EFF37B67EA6}"/>
              </c:ext>
            </c:extLst>
          </c:dPt>
          <c:dPt>
            <c:idx val="9"/>
            <c:invertIfNegative val="0"/>
            <c:bubble3D val="0"/>
            <c:spPr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682-4214-A28A-9EFF37B67EA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Jihočeský kraj</c:v>
                </c:pt>
                <c:pt idx="2">
                  <c:v>Kraj Vysočina</c:v>
                </c:pt>
                <c:pt idx="3">
                  <c:v>Plzeňský kraj</c:v>
                </c:pt>
                <c:pt idx="4">
                  <c:v>Ústecký kraj</c:v>
                </c:pt>
                <c:pt idx="5">
                  <c:v>Česká republika</c:v>
                </c:pt>
                <c:pt idx="6">
                  <c:v>Pardubický kraj</c:v>
                </c:pt>
                <c:pt idx="7">
                  <c:v>Liberecký kraj</c:v>
                </c:pt>
                <c:pt idx="8">
                  <c:v>Zlínský kraj</c:v>
                </c:pt>
                <c:pt idx="9">
                  <c:v>Středočeský kraj</c:v>
                </c:pt>
                <c:pt idx="10">
                  <c:v>Hl. m. Praha</c:v>
                </c:pt>
                <c:pt idx="11">
                  <c:v>Olomoucký kraj</c:v>
                </c:pt>
                <c:pt idx="12">
                  <c:v>Karlovarský kraj</c:v>
                </c:pt>
                <c:pt idx="13">
                  <c:v>Jihomoravský kraj</c:v>
                </c:pt>
                <c:pt idx="14">
                  <c:v>Moravskoslez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641.93896168518825</c:v>
                </c:pt>
                <c:pt idx="1">
                  <c:v>571.69217410181272</c:v>
                </c:pt>
                <c:pt idx="2">
                  <c:v>465.34260642270345</c:v>
                </c:pt>
                <c:pt idx="3">
                  <c:v>341.41701416245502</c:v>
                </c:pt>
                <c:pt idx="4">
                  <c:v>306.76681190061794</c:v>
                </c:pt>
                <c:pt idx="5">
                  <c:v>285.82425439756645</c:v>
                </c:pt>
                <c:pt idx="6">
                  <c:v>272.71725961008923</c:v>
                </c:pt>
                <c:pt idx="7">
                  <c:v>263.31814332378917</c:v>
                </c:pt>
                <c:pt idx="8">
                  <c:v>257.3421654258749</c:v>
                </c:pt>
                <c:pt idx="9">
                  <c:v>256.96385782747603</c:v>
                </c:pt>
                <c:pt idx="10">
                  <c:v>246.21916624396476</c:v>
                </c:pt>
                <c:pt idx="11">
                  <c:v>214.70593728405203</c:v>
                </c:pt>
                <c:pt idx="12">
                  <c:v>166.96899506041916</c:v>
                </c:pt>
                <c:pt idx="13">
                  <c:v>164.35248112753811</c:v>
                </c:pt>
                <c:pt idx="14">
                  <c:v>136.353903473084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682-4214-A28A-9EFF37B67EA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527594752"/>
        <c:axId val="527596320"/>
      </c:barChart>
      <c:catAx>
        <c:axId val="52759475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596320"/>
        <c:crosses val="autoZero"/>
        <c:auto val="1"/>
        <c:lblAlgn val="ctr"/>
        <c:lblOffset val="100"/>
        <c:noMultiLvlLbl val="0"/>
      </c:catAx>
      <c:valAx>
        <c:axId val="527596320"/>
        <c:scaling>
          <c:orientation val="minMax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27594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>
              <a:lumMod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1</c:v>
                </c:pt>
              </c:strCache>
            </c:strRef>
          </c:tx>
          <c:spPr>
            <a:solidFill>
              <a:srgbClr val="FF3300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BFBFB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940-4739-AACA-2B3B20E6D83F}"/>
              </c:ext>
            </c:extLst>
          </c:dPt>
          <c:dPt>
            <c:idx val="6"/>
            <c:invertIfNegative val="0"/>
            <c:bubble3D val="0"/>
            <c:spPr>
              <a:solidFill>
                <a:srgbClr val="FF33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1C0-416B-9BD9-90DA255FCBC1}"/>
              </c:ext>
            </c:extLst>
          </c:dPt>
          <c:dPt>
            <c:idx val="7"/>
            <c:invertIfNegative val="0"/>
            <c:bubble3D val="0"/>
            <c:spPr>
              <a:solidFill>
                <a:srgbClr val="FF33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28B-442B-89B2-3DA1DF30952E}"/>
              </c:ext>
            </c:extLst>
          </c:dPt>
          <c:dPt>
            <c:idx val="8"/>
            <c:invertIfNegative val="0"/>
            <c:bubble3D val="0"/>
            <c:spPr>
              <a:solidFill>
                <a:srgbClr val="FF33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682-4214-A28A-9EFF37B67EA6}"/>
              </c:ext>
            </c:extLst>
          </c:dPt>
          <c:dPt>
            <c:idx val="9"/>
            <c:invertIfNegative val="0"/>
            <c:bubble3D val="0"/>
            <c:spPr>
              <a:solidFill>
                <a:srgbClr val="FF33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682-4214-A28A-9EFF37B67EA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Královéhradecký kraj</c:v>
                </c:pt>
                <c:pt idx="1">
                  <c:v>Hl. m. Praha</c:v>
                </c:pt>
                <c:pt idx="2">
                  <c:v>Jihočeský kraj</c:v>
                </c:pt>
                <c:pt idx="3">
                  <c:v>Ústecký kraj</c:v>
                </c:pt>
                <c:pt idx="4">
                  <c:v>Kraj Vysočina</c:v>
                </c:pt>
                <c:pt idx="5">
                  <c:v>Česká republika</c:v>
                </c:pt>
                <c:pt idx="6">
                  <c:v>Liberecký kraj</c:v>
                </c:pt>
                <c:pt idx="7">
                  <c:v>Olomoucký kraj</c:v>
                </c:pt>
                <c:pt idx="8">
                  <c:v>Plzeňský kraj</c:v>
                </c:pt>
                <c:pt idx="9">
                  <c:v>Zlínský kraj</c:v>
                </c:pt>
                <c:pt idx="10">
                  <c:v>Pardubický kraj</c:v>
                </c:pt>
                <c:pt idx="11">
                  <c:v>Středočeský kraj</c:v>
                </c:pt>
                <c:pt idx="12">
                  <c:v>Moravskoslezský kraj</c:v>
                </c:pt>
                <c:pt idx="13">
                  <c:v>Jihomoravský kraj</c:v>
                </c:pt>
                <c:pt idx="14">
                  <c:v>Karlovarský kraj</c:v>
                </c:pt>
              </c:strCache>
            </c:strRef>
          </c:cat>
          <c:val>
            <c:numRef>
              <c:f>List1!$B$2:$B$16</c:f>
              <c:numCache>
                <c:formatCode>_-* #\ ##0.00\ _K_č_-;\-* #\ ##0.00\ _K_č_-;_-* "-"??\ _K_č_-;_-@_-</c:formatCode>
                <c:ptCount val="15"/>
                <c:pt idx="0">
                  <c:v>18.865073475202195</c:v>
                </c:pt>
                <c:pt idx="1">
                  <c:v>14.869711330638344</c:v>
                </c:pt>
                <c:pt idx="2">
                  <c:v>13.379177704394527</c:v>
                </c:pt>
                <c:pt idx="3">
                  <c:v>11.773118002398377</c:v>
                </c:pt>
                <c:pt idx="4">
                  <c:v>11.593843906704995</c:v>
                </c:pt>
                <c:pt idx="5">
                  <c:v>8.740951371235699</c:v>
                </c:pt>
                <c:pt idx="6">
                  <c:v>8.7318170724776252</c:v>
                </c:pt>
                <c:pt idx="7">
                  <c:v>7.4841216312989394</c:v>
                </c:pt>
                <c:pt idx="8">
                  <c:v>7.3663824788973677</c:v>
                </c:pt>
                <c:pt idx="9">
                  <c:v>6.9336590450819449</c:v>
                </c:pt>
                <c:pt idx="10">
                  <c:v>6.6643483204011948</c:v>
                </c:pt>
                <c:pt idx="11">
                  <c:v>6.2088526558952752</c:v>
                </c:pt>
                <c:pt idx="12">
                  <c:v>5.5097734451761964</c:v>
                </c:pt>
                <c:pt idx="13">
                  <c:v>5.0934638794703497</c:v>
                </c:pt>
                <c:pt idx="14">
                  <c:v>4.31631216827773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682-4214-A28A-9EFF37B67EA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758839048"/>
        <c:axId val="758826896"/>
      </c:barChart>
      <c:catAx>
        <c:axId val="75883904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8826896"/>
        <c:crosses val="autoZero"/>
        <c:auto val="1"/>
        <c:lblAlgn val="ctr"/>
        <c:lblOffset val="100"/>
        <c:noMultiLvlLbl val="0"/>
      </c:catAx>
      <c:valAx>
        <c:axId val="758826896"/>
        <c:scaling>
          <c:orientation val="minMax"/>
          <c:min val="0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8839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m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6D6-4657-B67A-A820D5510A6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6D6-4657-B67A-A820D5510A6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6D6-4657-B67A-A820D5510A68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6D6-4657-B67A-A820D5510A6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F6D6-4657-B67A-A820D5510A68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F6D6-4657-B67A-A820D5510A68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8A0-4797-8EED-B9F015EF3BEE}"/>
              </c:ext>
            </c:extLst>
          </c:dPt>
          <c:cat>
            <c:strRef>
              <c:f>List1!$B$1:$K$1</c:f>
              <c:strCach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strCache>
            </c:strRef>
          </c:cat>
          <c:val>
            <c:numRef>
              <c:f>List1!$B$2:$K$2</c:f>
              <c:numCache>
                <c:formatCode>General</c:formatCode>
                <c:ptCount val="10"/>
                <c:pt idx="0">
                  <c:v>225</c:v>
                </c:pt>
                <c:pt idx="1">
                  <c:v>223</c:v>
                </c:pt>
                <c:pt idx="2">
                  <c:v>173</c:v>
                </c:pt>
                <c:pt idx="3">
                  <c:v>132</c:v>
                </c:pt>
                <c:pt idx="4">
                  <c:v>191</c:v>
                </c:pt>
                <c:pt idx="5">
                  <c:v>203</c:v>
                </c:pt>
                <c:pt idx="6">
                  <c:v>185</c:v>
                </c:pt>
                <c:pt idx="7">
                  <c:v>212</c:v>
                </c:pt>
                <c:pt idx="8">
                  <c:v>151</c:v>
                </c:pt>
                <c:pt idx="9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6E-43C7-B4D7-67F8EBE98011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ž</c:v>
                </c:pt>
              </c:strCache>
            </c:strRef>
          </c:tx>
          <c:spPr>
            <a:solidFill>
              <a:srgbClr val="FF99FF"/>
            </a:solidFill>
          </c:spPr>
          <c:invertIfNegative val="0"/>
          <c:cat>
            <c:strRef>
              <c:f>List1!$B$1:$K$1</c:f>
              <c:strCache>
                <c:ptCount val="1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</c:strCache>
            </c:strRef>
          </c:cat>
          <c:val>
            <c:numRef>
              <c:f>List1!$B$3:$K$3</c:f>
              <c:numCache>
                <c:formatCode>General</c:formatCode>
                <c:ptCount val="10"/>
                <c:pt idx="0">
                  <c:v>152</c:v>
                </c:pt>
                <c:pt idx="1">
                  <c:v>121</c:v>
                </c:pt>
                <c:pt idx="2">
                  <c:v>110</c:v>
                </c:pt>
                <c:pt idx="3">
                  <c:v>152</c:v>
                </c:pt>
                <c:pt idx="4">
                  <c:v>154</c:v>
                </c:pt>
                <c:pt idx="5">
                  <c:v>138</c:v>
                </c:pt>
                <c:pt idx="6">
                  <c:v>194</c:v>
                </c:pt>
                <c:pt idx="7">
                  <c:v>167</c:v>
                </c:pt>
                <c:pt idx="8">
                  <c:v>160</c:v>
                </c:pt>
                <c:pt idx="9">
                  <c:v>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F42-4659-856B-94F49B2BBE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8750464"/>
        <c:axId val="18756352"/>
      </c:barChart>
      <c:catAx>
        <c:axId val="187504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0"/>
          <a:lstStyle/>
          <a:p>
            <a:pPr>
              <a:defRPr b="1"/>
            </a:pPr>
            <a:endParaRPr lang="en-US"/>
          </a:p>
        </c:txPr>
        <c:crossAx val="18756352"/>
        <c:crosses val="autoZero"/>
        <c:auto val="1"/>
        <c:lblAlgn val="ctr"/>
        <c:lblOffset val="100"/>
        <c:noMultiLvlLbl val="0"/>
      </c:catAx>
      <c:valAx>
        <c:axId val="18756352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b="1"/>
            </a:pPr>
            <a:endParaRPr lang="en-US"/>
          </a:p>
        </c:txPr>
        <c:crossAx val="187504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708475559828709E-2"/>
          <c:y val="4.2933810375670838E-2"/>
          <c:w val="0.68878259198148739"/>
          <c:h val="0.85685822418027546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§ 5 Všeobecná sestra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B0F0"/>
              </a:solidFill>
              <a:ln w="9525">
                <a:solidFill>
                  <a:srgbClr val="00B0F0"/>
                </a:solidFill>
              </a:ln>
              <a:effectLst/>
            </c:spPr>
          </c:marker>
          <c:cat>
            <c:strRef>
              <c:f>List1!$B$1:$N$1</c:f>
              <c:strCach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strCache>
            </c:strRef>
          </c:cat>
          <c:val>
            <c:numRef>
              <c:f>List1!$B$2:$N$2</c:f>
              <c:numCache>
                <c:formatCode>General</c:formatCode>
                <c:ptCount val="13"/>
                <c:pt idx="0">
                  <c:v>1059</c:v>
                </c:pt>
                <c:pt idx="1">
                  <c:v>1612</c:v>
                </c:pt>
                <c:pt idx="2">
                  <c:v>1716</c:v>
                </c:pt>
                <c:pt idx="3">
                  <c:v>1504</c:v>
                </c:pt>
                <c:pt idx="4">
                  <c:v>1611</c:v>
                </c:pt>
                <c:pt idx="5">
                  <c:v>1638</c:v>
                </c:pt>
                <c:pt idx="6">
                  <c:v>1681</c:v>
                </c:pt>
                <c:pt idx="7">
                  <c:v>1353</c:v>
                </c:pt>
                <c:pt idx="8">
                  <c:v>1527</c:v>
                </c:pt>
                <c:pt idx="9">
                  <c:v>1477</c:v>
                </c:pt>
                <c:pt idx="10">
                  <c:v>1391</c:v>
                </c:pt>
                <c:pt idx="11">
                  <c:v>1450</c:v>
                </c:pt>
                <c:pt idx="12">
                  <c:v>13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836-4801-8B6D-D399BC3B6E41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§ 5a Dětská sestr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List1!$B$1:$N$1</c:f>
              <c:strCach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strCache>
            </c:strRef>
          </c:cat>
          <c:val>
            <c:numRef>
              <c:f>List1!$B$3:$N$3</c:f>
              <c:numCache>
                <c:formatCode>General</c:formatCode>
                <c:ptCount val="13"/>
                <c:pt idx="0">
                  <c:v>12</c:v>
                </c:pt>
                <c:pt idx="1">
                  <c:v>2</c:v>
                </c:pt>
                <c:pt idx="2">
                  <c:v>20</c:v>
                </c:pt>
                <c:pt idx="3">
                  <c:v>15</c:v>
                </c:pt>
                <c:pt idx="4">
                  <c:v>11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3</c:v>
                </c:pt>
                <c:pt idx="9">
                  <c:v>3</c:v>
                </c:pt>
                <c:pt idx="10">
                  <c:v>1</c:v>
                </c:pt>
                <c:pt idx="11">
                  <c:v>54</c:v>
                </c:pt>
                <c:pt idx="12">
                  <c:v>1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836-4801-8B6D-D399BC3B6E41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§ 6 Porodní asistentka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70C0"/>
              </a:solidFill>
              <a:ln w="9525">
                <a:solidFill>
                  <a:srgbClr val="0070C0"/>
                </a:solidFill>
              </a:ln>
              <a:effectLst/>
            </c:spPr>
          </c:marker>
          <c:cat>
            <c:strRef>
              <c:f>List1!$B$1:$N$1</c:f>
              <c:strCach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strCache>
            </c:strRef>
          </c:cat>
          <c:val>
            <c:numRef>
              <c:f>List1!$B$4:$N$4</c:f>
              <c:numCache>
                <c:formatCode>General</c:formatCode>
                <c:ptCount val="13"/>
                <c:pt idx="0">
                  <c:v>227</c:v>
                </c:pt>
                <c:pt idx="1">
                  <c:v>267</c:v>
                </c:pt>
                <c:pt idx="2">
                  <c:v>257</c:v>
                </c:pt>
                <c:pt idx="3">
                  <c:v>236</c:v>
                </c:pt>
                <c:pt idx="4">
                  <c:v>254</c:v>
                </c:pt>
                <c:pt idx="5">
                  <c:v>224</c:v>
                </c:pt>
                <c:pt idx="6">
                  <c:v>208</c:v>
                </c:pt>
                <c:pt idx="7">
                  <c:v>198</c:v>
                </c:pt>
                <c:pt idx="8">
                  <c:v>211</c:v>
                </c:pt>
                <c:pt idx="9">
                  <c:v>178</c:v>
                </c:pt>
                <c:pt idx="10">
                  <c:v>195</c:v>
                </c:pt>
                <c:pt idx="11">
                  <c:v>200</c:v>
                </c:pt>
                <c:pt idx="12">
                  <c:v>1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836-4801-8B6D-D399BC3B6E41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§ 18 Zdravotnický záchranář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strRef>
              <c:f>List1!$B$1:$N$1</c:f>
              <c:strCach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strCache>
            </c:strRef>
          </c:cat>
          <c:val>
            <c:numRef>
              <c:f>List1!$B$5:$N$5</c:f>
              <c:numCache>
                <c:formatCode>General</c:formatCode>
                <c:ptCount val="13"/>
                <c:pt idx="0">
                  <c:v>228</c:v>
                </c:pt>
                <c:pt idx="1">
                  <c:v>277</c:v>
                </c:pt>
                <c:pt idx="2">
                  <c:v>334</c:v>
                </c:pt>
                <c:pt idx="3">
                  <c:v>279</c:v>
                </c:pt>
                <c:pt idx="4">
                  <c:v>345</c:v>
                </c:pt>
                <c:pt idx="5">
                  <c:v>392</c:v>
                </c:pt>
                <c:pt idx="6">
                  <c:v>294</c:v>
                </c:pt>
                <c:pt idx="7">
                  <c:v>242</c:v>
                </c:pt>
                <c:pt idx="8">
                  <c:v>343</c:v>
                </c:pt>
                <c:pt idx="9">
                  <c:v>357</c:v>
                </c:pt>
                <c:pt idx="10">
                  <c:v>323</c:v>
                </c:pt>
                <c:pt idx="11">
                  <c:v>406</c:v>
                </c:pt>
                <c:pt idx="12">
                  <c:v>3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836-4801-8B6D-D399BC3B6E41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§ 21b Praktická sestra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030A0"/>
              </a:solidFill>
              <a:ln w="9525">
                <a:solidFill>
                  <a:srgbClr val="7030A0"/>
                </a:solidFill>
              </a:ln>
              <a:effectLst/>
            </c:spPr>
          </c:marker>
          <c:cat>
            <c:strRef>
              <c:f>List1!$B$1:$N$1</c:f>
              <c:strCach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strCache>
            </c:strRef>
          </c:cat>
          <c:val>
            <c:numRef>
              <c:f>List1!$B$6:$N$6</c:f>
              <c:numCache>
                <c:formatCode>General</c:formatCode>
                <c:ptCount val="13"/>
                <c:pt idx="0">
                  <c:v>479</c:v>
                </c:pt>
                <c:pt idx="1">
                  <c:v>266</c:v>
                </c:pt>
                <c:pt idx="2">
                  <c:v>395</c:v>
                </c:pt>
                <c:pt idx="3">
                  <c:v>412</c:v>
                </c:pt>
                <c:pt idx="4">
                  <c:v>610</c:v>
                </c:pt>
                <c:pt idx="5">
                  <c:v>626</c:v>
                </c:pt>
                <c:pt idx="6">
                  <c:v>686</c:v>
                </c:pt>
                <c:pt idx="7">
                  <c:v>775</c:v>
                </c:pt>
                <c:pt idx="8">
                  <c:v>1485</c:v>
                </c:pt>
                <c:pt idx="9">
                  <c:v>1566</c:v>
                </c:pt>
                <c:pt idx="10">
                  <c:v>1711</c:v>
                </c:pt>
                <c:pt idx="11">
                  <c:v>2259</c:v>
                </c:pt>
                <c:pt idx="12">
                  <c:v>16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836-4801-8B6D-D399BC3B6E41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§ 36 Ošetřovatel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strRef>
              <c:f>List1!$B$1:$N$1</c:f>
              <c:strCach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strCache>
            </c:strRef>
          </c:cat>
          <c:val>
            <c:numRef>
              <c:f>List1!$B$7:$N$7</c:f>
              <c:numCache>
                <c:formatCode>General</c:formatCode>
                <c:ptCount val="13"/>
                <c:pt idx="0">
                  <c:v>17</c:v>
                </c:pt>
                <c:pt idx="1">
                  <c:v>12</c:v>
                </c:pt>
                <c:pt idx="2">
                  <c:v>12</c:v>
                </c:pt>
                <c:pt idx="3">
                  <c:v>30</c:v>
                </c:pt>
                <c:pt idx="4">
                  <c:v>52</c:v>
                </c:pt>
                <c:pt idx="5">
                  <c:v>59</c:v>
                </c:pt>
                <c:pt idx="6">
                  <c:v>85</c:v>
                </c:pt>
                <c:pt idx="7">
                  <c:v>140</c:v>
                </c:pt>
                <c:pt idx="8">
                  <c:v>411</c:v>
                </c:pt>
                <c:pt idx="9">
                  <c:v>417</c:v>
                </c:pt>
                <c:pt idx="10">
                  <c:v>443</c:v>
                </c:pt>
                <c:pt idx="11">
                  <c:v>425</c:v>
                </c:pt>
                <c:pt idx="12">
                  <c:v>3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836-4801-8B6D-D399BC3B6E41}"/>
            </c:ext>
          </c:extLst>
        </c:ser>
        <c:ser>
          <c:idx val="6"/>
          <c:order val="6"/>
          <c:tx>
            <c:strRef>
              <c:f>List1!$A$8</c:f>
              <c:strCache>
                <c:ptCount val="1"/>
                <c:pt idx="0">
                  <c:v>§ 42 Sanitář</c:v>
                </c:pt>
              </c:strCache>
            </c:strRef>
          </c:tx>
          <c:spPr>
            <a:ln w="28575" cap="rnd">
              <a:solidFill>
                <a:schemeClr val="tx1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>
                  <a:lumMod val="50000"/>
                </a:schemeClr>
              </a:solidFill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cat>
            <c:strRef>
              <c:f>List1!$B$1:$N$1</c:f>
              <c:strCach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strCache>
            </c:strRef>
          </c:cat>
          <c:val>
            <c:numRef>
              <c:f>List1!$B$8:$N$8</c:f>
              <c:numCache>
                <c:formatCode>General</c:formatCode>
                <c:ptCount val="13"/>
                <c:pt idx="0">
                  <c:v>389</c:v>
                </c:pt>
                <c:pt idx="1">
                  <c:v>383</c:v>
                </c:pt>
                <c:pt idx="2">
                  <c:v>331</c:v>
                </c:pt>
                <c:pt idx="3">
                  <c:v>217</c:v>
                </c:pt>
                <c:pt idx="4">
                  <c:v>315</c:v>
                </c:pt>
                <c:pt idx="5">
                  <c:v>303</c:v>
                </c:pt>
                <c:pt idx="6">
                  <c:v>328</c:v>
                </c:pt>
                <c:pt idx="7">
                  <c:v>542</c:v>
                </c:pt>
                <c:pt idx="8">
                  <c:v>867</c:v>
                </c:pt>
                <c:pt idx="9">
                  <c:v>1051</c:v>
                </c:pt>
                <c:pt idx="10">
                  <c:v>934</c:v>
                </c:pt>
                <c:pt idx="11">
                  <c:v>1566</c:v>
                </c:pt>
                <c:pt idx="12">
                  <c:v>15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9836-4801-8B6D-D399BC3B6E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22048479"/>
        <c:axId val="2022063871"/>
      </c:lineChart>
      <c:catAx>
        <c:axId val="20220484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2063871"/>
        <c:crosses val="autoZero"/>
        <c:auto val="1"/>
        <c:lblAlgn val="ctr"/>
        <c:lblOffset val="100"/>
        <c:noMultiLvlLbl val="0"/>
      </c:catAx>
      <c:valAx>
        <c:axId val="20220638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204847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7918181015083909"/>
          <c:y val="0.38587327109181585"/>
          <c:w val="0.21328004132725625"/>
          <c:h val="0.4999632453580807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Zaměstnán na pozici dle odbornosti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8</c:f>
              <c:strCache>
                <c:ptCount val="7"/>
                <c:pt idx="0">
                  <c:v>§ 5 Všeobecná sestra</c:v>
                </c:pt>
                <c:pt idx="1">
                  <c:v>§ 5a Dětská sestra</c:v>
                </c:pt>
                <c:pt idx="2">
                  <c:v>§ 6 Porodní asistentka</c:v>
                </c:pt>
                <c:pt idx="3">
                  <c:v>§ 18 Zdravotnický záchranář</c:v>
                </c:pt>
                <c:pt idx="4">
                  <c:v>§ 21b Praktická sestra</c:v>
                </c:pt>
                <c:pt idx="5">
                  <c:v>§ 36 Ošetřovatel</c:v>
                </c:pt>
                <c:pt idx="6">
                  <c:v>§ 42 Sanitář</c:v>
                </c:pt>
              </c:strCache>
            </c:strRef>
          </c:cat>
          <c:val>
            <c:numRef>
              <c:f>List1!$B$2:$B$8</c:f>
              <c:numCache>
                <c:formatCode>General</c:formatCode>
                <c:ptCount val="7"/>
                <c:pt idx="0">
                  <c:v>72.008870000000002</c:v>
                </c:pt>
                <c:pt idx="1">
                  <c:v>60.732979999999998</c:v>
                </c:pt>
                <c:pt idx="2">
                  <c:v>63.288519999999998</c:v>
                </c:pt>
                <c:pt idx="3">
                  <c:v>62.106470000000002</c:v>
                </c:pt>
                <c:pt idx="4">
                  <c:v>36.836649999999999</c:v>
                </c:pt>
                <c:pt idx="5">
                  <c:v>35.511769999999999</c:v>
                </c:pt>
                <c:pt idx="6">
                  <c:v>47.49535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B5-42C5-B862-D1B76833A3FD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Evidován na pozici dle odbornosti (úvazek=0)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8</c:f>
              <c:strCache>
                <c:ptCount val="7"/>
                <c:pt idx="0">
                  <c:v>§ 5 Všeobecná sestra</c:v>
                </c:pt>
                <c:pt idx="1">
                  <c:v>§ 5a Dětská sestra</c:v>
                </c:pt>
                <c:pt idx="2">
                  <c:v>§ 6 Porodní asistentka</c:v>
                </c:pt>
                <c:pt idx="3">
                  <c:v>§ 18 Zdravotnický záchranář</c:v>
                </c:pt>
                <c:pt idx="4">
                  <c:v>§ 21b Praktická sestra</c:v>
                </c:pt>
                <c:pt idx="5">
                  <c:v>§ 36 Ošetřovatel</c:v>
                </c:pt>
                <c:pt idx="6">
                  <c:v>§ 42 Sanitář</c:v>
                </c:pt>
              </c:strCache>
            </c:strRef>
          </c:cat>
          <c:val>
            <c:numRef>
              <c:f>List1!$C$2:$C$8</c:f>
              <c:numCache>
                <c:formatCode>General</c:formatCode>
                <c:ptCount val="7"/>
                <c:pt idx="0">
                  <c:v>3.4521000000000002</c:v>
                </c:pt>
                <c:pt idx="2">
                  <c:v>3.6194419999999998</c:v>
                </c:pt>
                <c:pt idx="3">
                  <c:v>7.0978820000000002</c:v>
                </c:pt>
                <c:pt idx="4">
                  <c:v>2.0950850000000001</c:v>
                </c:pt>
                <c:pt idx="5">
                  <c:v>1.5857760000000001</c:v>
                </c:pt>
                <c:pt idx="6">
                  <c:v>1.652892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9B5-42C5-B862-D1B76833A3FD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Jiné zaměstnání ve zdravotnicví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8</c:f>
              <c:strCache>
                <c:ptCount val="7"/>
                <c:pt idx="0">
                  <c:v>§ 5 Všeobecná sestra</c:v>
                </c:pt>
                <c:pt idx="1">
                  <c:v>§ 5a Dětská sestra</c:v>
                </c:pt>
                <c:pt idx="2">
                  <c:v>§ 6 Porodní asistentka</c:v>
                </c:pt>
                <c:pt idx="3">
                  <c:v>§ 18 Zdravotnický záchranář</c:v>
                </c:pt>
                <c:pt idx="4">
                  <c:v>§ 21b Praktická sestra</c:v>
                </c:pt>
                <c:pt idx="5">
                  <c:v>§ 36 Ošetřovatel</c:v>
                </c:pt>
                <c:pt idx="6">
                  <c:v>§ 42 Sanitář</c:v>
                </c:pt>
              </c:strCache>
            </c:strRef>
          </c:cat>
          <c:val>
            <c:numRef>
              <c:f>List1!$D$2:$D$8</c:f>
              <c:numCache>
                <c:formatCode>General</c:formatCode>
                <c:ptCount val="7"/>
                <c:pt idx="0">
                  <c:v>2.232081</c:v>
                </c:pt>
                <c:pt idx="1">
                  <c:v>10.4712</c:v>
                </c:pt>
                <c:pt idx="2">
                  <c:v>2.2750780000000002</c:v>
                </c:pt>
                <c:pt idx="3">
                  <c:v>5.5523759999999998</c:v>
                </c:pt>
                <c:pt idx="4">
                  <c:v>8.8292850000000005</c:v>
                </c:pt>
                <c:pt idx="5">
                  <c:v>1.489668</c:v>
                </c:pt>
                <c:pt idx="6">
                  <c:v>1.9058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9B5-42C5-B862-D1B76833A3FD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Bez zaměstnání ve zdravotnicví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8</c:f>
              <c:strCache>
                <c:ptCount val="7"/>
                <c:pt idx="0">
                  <c:v>§ 5 Všeobecná sestra</c:v>
                </c:pt>
                <c:pt idx="1">
                  <c:v>§ 5a Dětská sestra</c:v>
                </c:pt>
                <c:pt idx="2">
                  <c:v>§ 6 Porodní asistentka</c:v>
                </c:pt>
                <c:pt idx="3">
                  <c:v>§ 18 Zdravotnický záchranář</c:v>
                </c:pt>
                <c:pt idx="4">
                  <c:v>§ 21b Praktická sestra</c:v>
                </c:pt>
                <c:pt idx="5">
                  <c:v>§ 36 Ošetřovatel</c:v>
                </c:pt>
                <c:pt idx="6">
                  <c:v>§ 42 Sanitář</c:v>
                </c:pt>
              </c:strCache>
            </c:strRef>
          </c:cat>
          <c:val>
            <c:numRef>
              <c:f>List1!$E$2:$E$8</c:f>
              <c:numCache>
                <c:formatCode>General</c:formatCode>
                <c:ptCount val="7"/>
                <c:pt idx="0">
                  <c:v>22.306950000000001</c:v>
                </c:pt>
                <c:pt idx="1">
                  <c:v>28.795809999999999</c:v>
                </c:pt>
                <c:pt idx="2">
                  <c:v>30.816960000000002</c:v>
                </c:pt>
                <c:pt idx="3">
                  <c:v>25.243269999999999</c:v>
                </c:pt>
                <c:pt idx="4">
                  <c:v>52.238979999999998</c:v>
                </c:pt>
                <c:pt idx="5">
                  <c:v>61.412779999999998</c:v>
                </c:pt>
                <c:pt idx="6">
                  <c:v>48.94586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9B5-42C5-B862-D1B76833A3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2022054719"/>
        <c:axId val="2022055967"/>
      </c:barChart>
      <c:catAx>
        <c:axId val="202205471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2055967"/>
        <c:crosses val="autoZero"/>
        <c:auto val="1"/>
        <c:lblAlgn val="ctr"/>
        <c:lblOffset val="100"/>
        <c:noMultiLvlLbl val="0"/>
      </c:catAx>
      <c:valAx>
        <c:axId val="2022055967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20547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NLZP CELKEM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List1!$B$2:$B$13</c:f>
              <c:numCache>
                <c:formatCode>General</c:formatCode>
                <c:ptCount val="12"/>
                <c:pt idx="0">
                  <c:v>1495</c:v>
                </c:pt>
                <c:pt idx="1">
                  <c:v>2990</c:v>
                </c:pt>
                <c:pt idx="2">
                  <c:v>4846.5803100000003</c:v>
                </c:pt>
                <c:pt idx="3">
                  <c:v>6703.1606200000006</c:v>
                </c:pt>
                <c:pt idx="4">
                  <c:v>8559.7409299999999</c:v>
                </c:pt>
                <c:pt idx="5">
                  <c:v>10416.321240000001</c:v>
                </c:pt>
                <c:pt idx="6">
                  <c:v>12272.901550000002</c:v>
                </c:pt>
                <c:pt idx="7">
                  <c:v>14129.481860000004</c:v>
                </c:pt>
                <c:pt idx="8">
                  <c:v>15986.062170000005</c:v>
                </c:pt>
                <c:pt idx="9">
                  <c:v>17842.642480000006</c:v>
                </c:pt>
                <c:pt idx="10">
                  <c:v>19699.222790000007</c:v>
                </c:pt>
                <c:pt idx="11">
                  <c:v>21555.803100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69-453A-A020-FD0A48CE2C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77444560"/>
        <c:axId val="346229616"/>
      </c:barChart>
      <c:catAx>
        <c:axId val="2774445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000" b="1" dirty="0">
                    <a:solidFill>
                      <a:schemeClr val="tx1"/>
                    </a:solidFill>
                  </a:rPr>
                  <a:t>Ro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_ ;[Red]\-#,##0\ 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6229616"/>
        <c:crosses val="autoZero"/>
        <c:auto val="1"/>
        <c:lblAlgn val="ctr"/>
        <c:lblOffset val="100"/>
        <c:noMultiLvlLbl val="0"/>
      </c:catAx>
      <c:valAx>
        <c:axId val="3462296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000" b="1" dirty="0">
                    <a:solidFill>
                      <a:schemeClr val="tx1"/>
                    </a:solidFill>
                  </a:rPr>
                  <a:t>Kumulativn</a:t>
                </a:r>
                <a:r>
                  <a:rPr lang="cs-CZ" sz="1000" b="1" baseline="0" dirty="0">
                    <a:solidFill>
                      <a:schemeClr val="tx1"/>
                    </a:solidFill>
                  </a:rPr>
                  <a:t>í počet absolventů</a:t>
                </a:r>
                <a:endParaRPr lang="cs-CZ" sz="1000" b="1" dirty="0">
                  <a:solidFill>
                    <a:schemeClr val="tx1"/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_ ;[Red]\-#,##0\ 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7444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502269730376348"/>
          <c:y val="2.7832328679253865E-2"/>
          <c:w val="0.74097388996170899"/>
          <c:h val="0.87856430397107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</c:v>
                </c:pt>
              </c:strCache>
            </c:strRef>
          </c:tx>
          <c:spPr>
            <a:solidFill>
              <a:srgbClr val="D71440"/>
            </a:solidFill>
            <a:ln>
              <a:solidFill>
                <a:srgbClr val="DA2128"/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4</c:f>
              <c:numCache>
                <c:formatCode>General</c:formatCode>
                <c:ptCount val="13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</c:numCache>
            </c:numRef>
          </c:cat>
          <c:val>
            <c:numRef>
              <c:f>Sheet1!$B$2:$B$14</c:f>
              <c:numCache>
                <c:formatCode>#,##0</c:formatCode>
                <c:ptCount val="13"/>
                <c:pt idx="0">
                  <c:v>199085</c:v>
                </c:pt>
                <c:pt idx="1">
                  <c:v>202116</c:v>
                </c:pt>
                <c:pt idx="2">
                  <c:v>215617</c:v>
                </c:pt>
                <c:pt idx="3">
                  <c:v>230236</c:v>
                </c:pt>
                <c:pt idx="4">
                  <c:v>241104</c:v>
                </c:pt>
                <c:pt idx="5">
                  <c:v>259955</c:v>
                </c:pt>
                <c:pt idx="6">
                  <c:v>265444</c:v>
                </c:pt>
                <c:pt idx="7">
                  <c:v>273822</c:v>
                </c:pt>
                <c:pt idx="8">
                  <c:v>291128</c:v>
                </c:pt>
                <c:pt idx="9">
                  <c:v>299602</c:v>
                </c:pt>
                <c:pt idx="10">
                  <c:v>302862</c:v>
                </c:pt>
                <c:pt idx="11">
                  <c:v>317137</c:v>
                </c:pt>
                <c:pt idx="12">
                  <c:v>342406.111949370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C8-48BB-8015-5E05270AD8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61714104"/>
        <c:axId val="461714496"/>
      </c:barChart>
      <c:catAx>
        <c:axId val="4617141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/>
            </a:pPr>
            <a:endParaRPr lang="en-US"/>
          </a:p>
        </c:txPr>
        <c:crossAx val="461714496"/>
        <c:crosses val="autoZero"/>
        <c:auto val="1"/>
        <c:lblAlgn val="ctr"/>
        <c:lblOffset val="0"/>
        <c:noMultiLvlLbl val="0"/>
      </c:catAx>
      <c:valAx>
        <c:axId val="461714496"/>
        <c:scaling>
          <c:orientation val="minMax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 b="1"/>
                </a:pPr>
                <a:r>
                  <a:rPr lang="cs-CZ" b="1" dirty="0"/>
                  <a:t>Počet ošetřených osob</a:t>
                </a:r>
              </a:p>
            </c:rich>
          </c:tx>
          <c:layout>
            <c:manualLayout>
              <c:xMode val="edge"/>
              <c:yMode val="edge"/>
              <c:x val="0"/>
              <c:y val="9.6179748216822597E-2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461714104"/>
        <c:crosses val="autoZero"/>
        <c:crossBetween val="between"/>
      </c:valAx>
      <c:spPr>
        <a:noFill/>
        <a:ln w="3200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540699541431709"/>
          <c:y val="2.6744326537146298E-2"/>
          <c:w val="0.83066695782113698"/>
          <c:h val="0.8022140953499483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Všeobecná sestra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cat>
            <c:numRef>
              <c:f>Lis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List1!$B$2:$B$13</c:f>
              <c:numCache>
                <c:formatCode>General</c:formatCode>
                <c:ptCount val="12"/>
                <c:pt idx="0">
                  <c:v>770.58464354527928</c:v>
                </c:pt>
                <c:pt idx="1">
                  <c:v>1541.1692870905586</c:v>
                </c:pt>
                <c:pt idx="2">
                  <c:v>2498.1273315016183</c:v>
                </c:pt>
                <c:pt idx="3">
                  <c:v>3455.085375912678</c:v>
                </c:pt>
                <c:pt idx="4">
                  <c:v>4412.0434203237382</c:v>
                </c:pt>
                <c:pt idx="5">
                  <c:v>5369.001464734798</c:v>
                </c:pt>
                <c:pt idx="6">
                  <c:v>6325.9595091458577</c:v>
                </c:pt>
                <c:pt idx="7">
                  <c:v>7282.9175535569175</c:v>
                </c:pt>
                <c:pt idx="8">
                  <c:v>8239.8755979679772</c:v>
                </c:pt>
                <c:pt idx="9">
                  <c:v>9196.833642379037</c:v>
                </c:pt>
                <c:pt idx="10">
                  <c:v>10153.791686790097</c:v>
                </c:pt>
                <c:pt idx="11">
                  <c:v>11110.7497312011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DD-422D-9D25-76C2D24F6E05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Porodní asistentka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rgbClr val="00B050"/>
              </a:solidFill>
            </a:ln>
            <a:effectLst/>
          </c:spPr>
          <c:invertIfNegative val="0"/>
          <c:cat>
            <c:numRef>
              <c:f>Lis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List1!$C$2:$C$13</c:f>
              <c:numCache>
                <c:formatCode>General</c:formatCode>
                <c:ptCount val="12"/>
                <c:pt idx="0">
                  <c:v>168.99165061014773</c:v>
                </c:pt>
                <c:pt idx="1">
                  <c:v>337.98330122029546</c:v>
                </c:pt>
                <c:pt idx="2">
                  <c:v>547.84722836223511</c:v>
                </c:pt>
                <c:pt idx="3">
                  <c:v>757.71115550417471</c:v>
                </c:pt>
                <c:pt idx="4">
                  <c:v>967.57508264611442</c:v>
                </c:pt>
                <c:pt idx="5">
                  <c:v>1177.4390097880541</c:v>
                </c:pt>
                <c:pt idx="6">
                  <c:v>1387.3029369299938</c:v>
                </c:pt>
                <c:pt idx="7">
                  <c:v>1597.1668640719336</c:v>
                </c:pt>
                <c:pt idx="8">
                  <c:v>1807.0307912138733</c:v>
                </c:pt>
                <c:pt idx="9">
                  <c:v>2016.894718355813</c:v>
                </c:pt>
                <c:pt idx="10">
                  <c:v>2226.7586454977527</c:v>
                </c:pt>
                <c:pt idx="11">
                  <c:v>2436.62257263969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8DD-422D-9D25-76C2D24F6E05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Dětská sestra</c:v>
                </c:pt>
              </c:strCache>
            </c:strRef>
          </c:tx>
          <c:spPr>
            <a:solidFill>
              <a:srgbClr val="7030A0"/>
            </a:solidFill>
            <a:ln>
              <a:solidFill>
                <a:srgbClr val="7030A0"/>
              </a:solidFill>
            </a:ln>
            <a:effectLst/>
          </c:spPr>
          <c:invertIfNegative val="0"/>
          <c:cat>
            <c:numRef>
              <c:f>Lis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List1!$D$2:$D$13</c:f>
              <c:numCache>
                <c:formatCode>General</c:formatCode>
                <c:ptCount val="12"/>
                <c:pt idx="0">
                  <c:v>107.30009633911368</c:v>
                </c:pt>
                <c:pt idx="1">
                  <c:v>214.60019267822736</c:v>
                </c:pt>
                <c:pt idx="2">
                  <c:v>347.85186232658964</c:v>
                </c:pt>
                <c:pt idx="3">
                  <c:v>481.10353197495192</c:v>
                </c:pt>
                <c:pt idx="4">
                  <c:v>614.3552016233142</c:v>
                </c:pt>
                <c:pt idx="5">
                  <c:v>747.60687127167648</c:v>
                </c:pt>
                <c:pt idx="6">
                  <c:v>880.85854092003876</c:v>
                </c:pt>
                <c:pt idx="7">
                  <c:v>1014.110210568401</c:v>
                </c:pt>
                <c:pt idx="8">
                  <c:v>1147.3618802167632</c:v>
                </c:pt>
                <c:pt idx="9">
                  <c:v>1280.6135498651254</c:v>
                </c:pt>
                <c:pt idx="10">
                  <c:v>1413.8652195134875</c:v>
                </c:pt>
                <c:pt idx="11">
                  <c:v>1547.1168891618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8DD-422D-9D25-76C2D24F6E05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Radiologický asistent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FFC000"/>
              </a:solidFill>
            </a:ln>
            <a:effectLst/>
          </c:spPr>
          <c:invertIfNegative val="0"/>
          <c:cat>
            <c:numRef>
              <c:f>Lis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List1!$E$2:$E$13</c:f>
              <c:numCache>
                <c:formatCode>General</c:formatCode>
                <c:ptCount val="12"/>
                <c:pt idx="0">
                  <c:v>119.87845215157355</c:v>
                </c:pt>
                <c:pt idx="1">
                  <c:v>239.75690430314711</c:v>
                </c:pt>
                <c:pt idx="2">
                  <c:v>388.62912761946058</c:v>
                </c:pt>
                <c:pt idx="3">
                  <c:v>537.5013509357741</c:v>
                </c:pt>
                <c:pt idx="4">
                  <c:v>686.37357425208756</c:v>
                </c:pt>
                <c:pt idx="5">
                  <c:v>835.24579756840103</c:v>
                </c:pt>
                <c:pt idx="6">
                  <c:v>984.1180208847145</c:v>
                </c:pt>
                <c:pt idx="7">
                  <c:v>1132.990244201028</c:v>
                </c:pt>
                <c:pt idx="8">
                  <c:v>1281.8624675173414</c:v>
                </c:pt>
                <c:pt idx="9">
                  <c:v>1430.7346908336549</c:v>
                </c:pt>
                <c:pt idx="10">
                  <c:v>1579.6069141499684</c:v>
                </c:pt>
                <c:pt idx="11">
                  <c:v>1728.47913746628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8DD-422D-9D25-76C2D24F6E05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Zdravotnický záchranář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invertIfNegative val="0"/>
          <c:cat>
            <c:numRef>
              <c:f>Lis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List1!$F$2:$F$13</c:f>
              <c:numCache>
                <c:formatCode>General</c:formatCode>
                <c:ptCount val="12"/>
                <c:pt idx="0">
                  <c:v>247.82241490044959</c:v>
                </c:pt>
                <c:pt idx="1">
                  <c:v>495.64482980089917</c:v>
                </c:pt>
                <c:pt idx="2">
                  <c:v>803.40550931984592</c:v>
                </c:pt>
                <c:pt idx="3">
                  <c:v>1111.1661888387926</c:v>
                </c:pt>
                <c:pt idx="4">
                  <c:v>1418.9268683577393</c:v>
                </c:pt>
                <c:pt idx="5">
                  <c:v>1726.687547876686</c:v>
                </c:pt>
                <c:pt idx="6">
                  <c:v>2034.4482273956328</c:v>
                </c:pt>
                <c:pt idx="7">
                  <c:v>2342.2089069145795</c:v>
                </c:pt>
                <c:pt idx="8">
                  <c:v>2649.9695864335263</c:v>
                </c:pt>
                <c:pt idx="9">
                  <c:v>2957.730265952473</c:v>
                </c:pt>
                <c:pt idx="10">
                  <c:v>3265.4909454714198</c:v>
                </c:pt>
                <c:pt idx="11">
                  <c:v>3573.2516249903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8DD-422D-9D25-76C2D24F6E05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Nutriční terapeu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cat>
            <c:numRef>
              <c:f>Lis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List1!$G$2:$G$13</c:f>
              <c:numCache>
                <c:formatCode>General</c:formatCode>
                <c:ptCount val="12"/>
                <c:pt idx="0">
                  <c:v>86.704238921001917</c:v>
                </c:pt>
                <c:pt idx="1">
                  <c:v>173.40847784200383</c:v>
                </c:pt>
                <c:pt idx="2">
                  <c:v>281.08298136994216</c:v>
                </c:pt>
                <c:pt idx="3">
                  <c:v>388.75748489788049</c:v>
                </c:pt>
                <c:pt idx="4">
                  <c:v>496.43198842581882</c:v>
                </c:pt>
                <c:pt idx="5">
                  <c:v>604.1064919537572</c:v>
                </c:pt>
                <c:pt idx="6">
                  <c:v>711.78099548169553</c:v>
                </c:pt>
                <c:pt idx="7">
                  <c:v>819.45549900963385</c:v>
                </c:pt>
                <c:pt idx="8">
                  <c:v>927.13000253757218</c:v>
                </c:pt>
                <c:pt idx="9">
                  <c:v>1034.8045060655106</c:v>
                </c:pt>
                <c:pt idx="10">
                  <c:v>1142.4790095934491</c:v>
                </c:pt>
                <c:pt idx="11">
                  <c:v>1250.1535131213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8DD-422D-9D25-76C2D24F6E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77444560"/>
        <c:axId val="346229616"/>
      </c:barChart>
      <c:lineChart>
        <c:grouping val="standard"/>
        <c:varyColors val="0"/>
        <c:ser>
          <c:idx val="6"/>
          <c:order val="6"/>
          <c:tx>
            <c:strRef>
              <c:f>List1!$H$1</c:f>
              <c:strCache>
                <c:ptCount val="1"/>
                <c:pt idx="0">
                  <c:v>NLZP CELKEM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squar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numFmt formatCode="#,##0_ ;[Red]\-#,##0\ 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List1!$H$2:$H$13</c:f>
              <c:numCache>
                <c:formatCode>General</c:formatCode>
                <c:ptCount val="12"/>
                <c:pt idx="0">
                  <c:v>1495</c:v>
                </c:pt>
                <c:pt idx="1">
                  <c:v>2990</c:v>
                </c:pt>
                <c:pt idx="2">
                  <c:v>4846.5803100000003</c:v>
                </c:pt>
                <c:pt idx="3">
                  <c:v>6703.1606200000006</c:v>
                </c:pt>
                <c:pt idx="4">
                  <c:v>8559.7409299999999</c:v>
                </c:pt>
                <c:pt idx="5">
                  <c:v>10416.321240000001</c:v>
                </c:pt>
                <c:pt idx="6">
                  <c:v>12272.901550000002</c:v>
                </c:pt>
                <c:pt idx="7">
                  <c:v>14129.481860000004</c:v>
                </c:pt>
                <c:pt idx="8">
                  <c:v>15986.062170000005</c:v>
                </c:pt>
                <c:pt idx="9">
                  <c:v>17842.642480000006</c:v>
                </c:pt>
                <c:pt idx="10">
                  <c:v>19699.222790000007</c:v>
                </c:pt>
                <c:pt idx="11">
                  <c:v>21555.8031000000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8DD-422D-9D25-76C2D24F6E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77444560"/>
        <c:axId val="346229616"/>
      </c:lineChart>
      <c:catAx>
        <c:axId val="2774445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000" dirty="0">
                    <a:solidFill>
                      <a:schemeClr val="tx1"/>
                    </a:solidFill>
                  </a:rPr>
                  <a:t>Ro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_ ;[Red]\-#,##0\ 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6229616"/>
        <c:crosses val="autoZero"/>
        <c:auto val="1"/>
        <c:lblAlgn val="ctr"/>
        <c:lblOffset val="100"/>
        <c:noMultiLvlLbl val="0"/>
      </c:catAx>
      <c:valAx>
        <c:axId val="3462296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000" b="1" i="0" u="none" strike="noStrike" kern="1200" baseline="0" dirty="0">
                    <a:solidFill>
                      <a:schemeClr val="tx1"/>
                    </a:solidFill>
                  </a:rPr>
                  <a:t>Kumulativní počet absolventů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_ ;[Red]\-#,##0\ 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7444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5350648460948901E-2"/>
          <c:y val="0.89943346456834794"/>
          <c:w val="0.95147362697117999"/>
          <c:h val="8.61134235457883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List1!$B$2:$B$13</c:f>
              <c:numCache>
                <c:formatCode>General</c:formatCode>
                <c:ptCount val="12"/>
                <c:pt idx="0">
                  <c:v>1496360.3136</c:v>
                </c:pt>
                <c:pt idx="1">
                  <c:v>1675313.4585600004</c:v>
                </c:pt>
                <c:pt idx="2">
                  <c:v>1868421.0172320004</c:v>
                </c:pt>
                <c:pt idx="3">
                  <c:v>1961842.0680936002</c:v>
                </c:pt>
                <c:pt idx="4">
                  <c:v>2059934.1714982805</c:v>
                </c:pt>
                <c:pt idx="5">
                  <c:v>2162930.8800731944</c:v>
                </c:pt>
                <c:pt idx="6">
                  <c:v>2271077.4240768547</c:v>
                </c:pt>
                <c:pt idx="7">
                  <c:v>2384631.2952806973</c:v>
                </c:pt>
                <c:pt idx="8">
                  <c:v>2503862.8600447322</c:v>
                </c:pt>
                <c:pt idx="9">
                  <c:v>2629056.003046969</c:v>
                </c:pt>
                <c:pt idx="10">
                  <c:v>2760508.8031993173</c:v>
                </c:pt>
                <c:pt idx="11">
                  <c:v>2898534.24335928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25A-4848-A9DF-9D20FC0FAD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77444560"/>
        <c:axId val="346229616"/>
      </c:lineChart>
      <c:catAx>
        <c:axId val="2774445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000" b="1" dirty="0">
                    <a:solidFill>
                      <a:schemeClr val="tx1"/>
                    </a:solidFill>
                  </a:rPr>
                  <a:t>Rok</a:t>
                </a:r>
              </a:p>
            </c:rich>
          </c:tx>
          <c:layout>
            <c:manualLayout>
              <c:xMode val="edge"/>
              <c:yMode val="edge"/>
              <c:x val="0.55802566345873439"/>
              <c:y val="0.9120381922109317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_ ;[Red]\-#,##0\ 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6229616"/>
        <c:crosses val="autoZero"/>
        <c:auto val="1"/>
        <c:lblAlgn val="ctr"/>
        <c:lblOffset val="100"/>
        <c:noMultiLvlLbl val="0"/>
      </c:catAx>
      <c:valAx>
        <c:axId val="3462296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000" b="1" dirty="0">
                    <a:solidFill>
                      <a:schemeClr val="tx1"/>
                    </a:solidFill>
                  </a:rPr>
                  <a:t>Modelový příspěvek na studium</a:t>
                </a:r>
                <a:r>
                  <a:rPr lang="cs-CZ" sz="1000" b="1" baseline="0" dirty="0">
                    <a:solidFill>
                      <a:schemeClr val="tx1"/>
                    </a:solidFill>
                  </a:rPr>
                  <a:t> v tis. Kč</a:t>
                </a:r>
                <a:endParaRPr lang="cs-CZ" sz="1000" b="1" dirty="0">
                  <a:solidFill>
                    <a:schemeClr val="tx1"/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_ ;[Red]\-#,##0\ 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7444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List1!$B$2:$B$13</c:f>
              <c:numCache>
                <c:formatCode>General</c:formatCode>
                <c:ptCount val="12"/>
                <c:pt idx="0">
                  <c:v>426641.31359999999</c:v>
                </c:pt>
                <c:pt idx="1">
                  <c:v>605594.45860000001</c:v>
                </c:pt>
                <c:pt idx="2">
                  <c:v>798702.0172</c:v>
                </c:pt>
                <c:pt idx="3">
                  <c:v>892123.06810000003</c:v>
                </c:pt>
                <c:pt idx="4">
                  <c:v>990215.17150000005</c:v>
                </c:pt>
                <c:pt idx="5">
                  <c:v>1093211.8799999999</c:v>
                </c:pt>
                <c:pt idx="6">
                  <c:v>1201358.4240000001</c:v>
                </c:pt>
                <c:pt idx="7">
                  <c:v>1314912.2949999999</c:v>
                </c:pt>
                <c:pt idx="8">
                  <c:v>1434143.86</c:v>
                </c:pt>
                <c:pt idx="9">
                  <c:v>1559337.003</c:v>
                </c:pt>
                <c:pt idx="10">
                  <c:v>1690789.8030000001</c:v>
                </c:pt>
                <c:pt idx="11">
                  <c:v>1828815.2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9E7-47CA-ADC2-9D209EFF7F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77444560"/>
        <c:axId val="346229616"/>
      </c:lineChart>
      <c:catAx>
        <c:axId val="27744456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000" b="1" dirty="0">
                    <a:solidFill>
                      <a:schemeClr val="tx1"/>
                    </a:solidFill>
                  </a:rPr>
                  <a:t>Ro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_ ;[Red]\-#,##0\ 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6229616"/>
        <c:crosses val="autoZero"/>
        <c:auto val="1"/>
        <c:lblAlgn val="ctr"/>
        <c:lblOffset val="100"/>
        <c:noMultiLvlLbl val="0"/>
      </c:catAx>
      <c:valAx>
        <c:axId val="3462296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sz="1000" b="1" dirty="0">
                    <a:solidFill>
                      <a:schemeClr val="tx1"/>
                    </a:solidFill>
                  </a:rPr>
                  <a:t>Modelový nárůst příspěvku na studium </a:t>
                </a:r>
                <a:r>
                  <a:rPr lang="cs-CZ" sz="1000" b="1" baseline="0" dirty="0">
                    <a:solidFill>
                      <a:schemeClr val="tx1"/>
                    </a:solidFill>
                  </a:rPr>
                  <a:t>v tis. Kč</a:t>
                </a:r>
                <a:endParaRPr lang="cs-CZ" sz="1000" b="1" dirty="0">
                  <a:solidFill>
                    <a:schemeClr val="tx1"/>
                  </a:solidFill>
                </a:endParaRP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_ ;[Red]\-#,##0\ 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7444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658506614245016"/>
          <c:y val="0.15963592321463549"/>
          <c:w val="0.81513205367150976"/>
          <c:h val="0.629834674131404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elkem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0–4</c:v>
                </c:pt>
                <c:pt idx="1">
                  <c:v>5–9</c:v>
                </c:pt>
                <c:pt idx="2">
                  <c:v>10–14</c:v>
                </c:pt>
                <c:pt idx="3">
                  <c:v>15–19</c:v>
                </c:pt>
                <c:pt idx="4">
                  <c:v>20–24</c:v>
                </c:pt>
                <c:pt idx="5">
                  <c:v>25–29</c:v>
                </c:pt>
                <c:pt idx="6">
                  <c:v>30–34</c:v>
                </c:pt>
                <c:pt idx="7">
                  <c:v>35–39</c:v>
                </c:pt>
                <c:pt idx="8">
                  <c:v>40–44</c:v>
                </c:pt>
                <c:pt idx="9">
                  <c:v>45–49</c:v>
                </c:pt>
                <c:pt idx="10">
                  <c:v>50–54</c:v>
                </c:pt>
                <c:pt idx="11">
                  <c:v>55–59</c:v>
                </c:pt>
                <c:pt idx="12">
                  <c:v>60–64</c:v>
                </c:pt>
                <c:pt idx="13">
                  <c:v>65–69</c:v>
                </c:pt>
                <c:pt idx="14">
                  <c:v>70–74</c:v>
                </c:pt>
                <c:pt idx="15">
                  <c:v>75–79</c:v>
                </c:pt>
                <c:pt idx="16">
                  <c:v>80–84</c:v>
                </c:pt>
                <c:pt idx="17">
                  <c:v>85–89</c:v>
                </c:pt>
                <c:pt idx="18">
                  <c:v>90–94</c:v>
                </c:pt>
                <c:pt idx="19">
                  <c:v>95+</c:v>
                </c:pt>
              </c:strCache>
            </c:strRef>
          </c:cat>
          <c:val>
            <c:numRef>
              <c:f>Sheet1!$B$2:$B$21</c:f>
              <c:numCache>
                <c:formatCode>0.0\ %</c:formatCode>
                <c:ptCount val="20"/>
                <c:pt idx="0">
                  <c:v>2.6324237894811451E-2</c:v>
                </c:pt>
                <c:pt idx="1">
                  <c:v>1.229562364105226E-2</c:v>
                </c:pt>
                <c:pt idx="2">
                  <c:v>1.5421177382940267E-2</c:v>
                </c:pt>
                <c:pt idx="3">
                  <c:v>2.7897125441169419E-2</c:v>
                </c:pt>
                <c:pt idx="4">
                  <c:v>3.1422102978792596E-2</c:v>
                </c:pt>
                <c:pt idx="5">
                  <c:v>3.4000429443120678E-2</c:v>
                </c:pt>
                <c:pt idx="6">
                  <c:v>3.9063480448872298E-2</c:v>
                </c:pt>
                <c:pt idx="7">
                  <c:v>3.9981154534898505E-2</c:v>
                </c:pt>
                <c:pt idx="8">
                  <c:v>4.4921626630476705E-2</c:v>
                </c:pt>
                <c:pt idx="9">
                  <c:v>4.9954866778822202E-2</c:v>
                </c:pt>
                <c:pt idx="10">
                  <c:v>4.6804713867885782E-2</c:v>
                </c:pt>
                <c:pt idx="11">
                  <c:v>5.1814605652388726E-2</c:v>
                </c:pt>
                <c:pt idx="12">
                  <c:v>5.9131816106618634E-2</c:v>
                </c:pt>
                <c:pt idx="13">
                  <c:v>8.1176840924678598E-2</c:v>
                </c:pt>
                <c:pt idx="14">
                  <c:v>0.10467801146988374</c:v>
                </c:pt>
                <c:pt idx="15">
                  <c:v>0.11264772530649939</c:v>
                </c:pt>
                <c:pt idx="16">
                  <c:v>9.6138764329537135E-2</c:v>
                </c:pt>
                <c:pt idx="17">
                  <c:v>7.5814013604591293E-2</c:v>
                </c:pt>
                <c:pt idx="18">
                  <c:v>4.0369946486383944E-2</c:v>
                </c:pt>
                <c:pt idx="19">
                  <c:v>1.014173707657637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F1-49D2-B717-84F6D27852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461715280"/>
        <c:axId val="46171567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uži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21</c:f>
              <c:strCache>
                <c:ptCount val="20"/>
                <c:pt idx="0">
                  <c:v>0–4</c:v>
                </c:pt>
                <c:pt idx="1">
                  <c:v>5–9</c:v>
                </c:pt>
                <c:pt idx="2">
                  <c:v>10–14</c:v>
                </c:pt>
                <c:pt idx="3">
                  <c:v>15–19</c:v>
                </c:pt>
                <c:pt idx="4">
                  <c:v>20–24</c:v>
                </c:pt>
                <c:pt idx="5">
                  <c:v>25–29</c:v>
                </c:pt>
                <c:pt idx="6">
                  <c:v>30–34</c:v>
                </c:pt>
                <c:pt idx="7">
                  <c:v>35–39</c:v>
                </c:pt>
                <c:pt idx="8">
                  <c:v>40–44</c:v>
                </c:pt>
                <c:pt idx="9">
                  <c:v>45–49</c:v>
                </c:pt>
                <c:pt idx="10">
                  <c:v>50–54</c:v>
                </c:pt>
                <c:pt idx="11">
                  <c:v>55–59</c:v>
                </c:pt>
                <c:pt idx="12">
                  <c:v>60–64</c:v>
                </c:pt>
                <c:pt idx="13">
                  <c:v>65–69</c:v>
                </c:pt>
                <c:pt idx="14">
                  <c:v>70–74</c:v>
                </c:pt>
                <c:pt idx="15">
                  <c:v>75–79</c:v>
                </c:pt>
                <c:pt idx="16">
                  <c:v>80–84</c:v>
                </c:pt>
                <c:pt idx="17">
                  <c:v>85–89</c:v>
                </c:pt>
                <c:pt idx="18">
                  <c:v>90–94</c:v>
                </c:pt>
                <c:pt idx="19">
                  <c:v>95+</c:v>
                </c:pt>
              </c:strCache>
            </c:strRef>
          </c:cat>
          <c:val>
            <c:numRef>
              <c:f>Sheet1!$C$2:$C$21</c:f>
              <c:numCache>
                <c:formatCode>0.0\ %</c:formatCode>
                <c:ptCount val="20"/>
                <c:pt idx="0">
                  <c:v>2.9663498939216566E-2</c:v>
                </c:pt>
                <c:pt idx="1">
                  <c:v>1.4467013771383831E-2</c:v>
                </c:pt>
                <c:pt idx="2">
                  <c:v>1.6053384270992357E-2</c:v>
                </c:pt>
                <c:pt idx="3">
                  <c:v>2.5446268540731325E-2</c:v>
                </c:pt>
                <c:pt idx="4">
                  <c:v>3.0974959828937703E-2</c:v>
                </c:pt>
                <c:pt idx="5">
                  <c:v>3.5288283252155619E-2</c:v>
                </c:pt>
                <c:pt idx="6">
                  <c:v>4.2197371730434835E-2</c:v>
                </c:pt>
                <c:pt idx="7">
                  <c:v>4.4890483197507929E-2</c:v>
                </c:pt>
                <c:pt idx="8">
                  <c:v>5.1589838204414096E-2</c:v>
                </c:pt>
                <c:pt idx="9">
                  <c:v>5.8259111916621337E-2</c:v>
                </c:pt>
                <c:pt idx="10">
                  <c:v>5.5085117530125162E-2</c:v>
                </c:pt>
                <c:pt idx="11">
                  <c:v>6.1792410656465763E-2</c:v>
                </c:pt>
                <c:pt idx="12">
                  <c:v>6.9412587517766758E-2</c:v>
                </c:pt>
                <c:pt idx="13">
                  <c:v>9.1618849941968172E-2</c:v>
                </c:pt>
                <c:pt idx="14">
                  <c:v>0.10859932300375097</c:v>
                </c:pt>
                <c:pt idx="15">
                  <c:v>0.10406791019396586</c:v>
                </c:pt>
                <c:pt idx="16">
                  <c:v>7.7461422828527429E-2</c:v>
                </c:pt>
                <c:pt idx="17">
                  <c:v>5.3258096672925248E-2</c:v>
                </c:pt>
                <c:pt idx="18">
                  <c:v>2.4936139918128743E-2</c:v>
                </c:pt>
                <c:pt idx="19">
                  <c:v>4.93792808398029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0F1-49D2-B717-84F6D278520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Ženy</c:v>
                </c:pt>
              </c:strCache>
            </c:strRef>
          </c:tx>
          <c:spPr>
            <a:ln w="28575" cap="rnd">
              <a:solidFill>
                <a:srgbClr val="FF7C8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F7C80"/>
              </a:solidFill>
              <a:ln w="9525">
                <a:solidFill>
                  <a:srgbClr val="FF7C80"/>
                </a:solidFill>
              </a:ln>
              <a:effectLst/>
            </c:spPr>
          </c:marker>
          <c:cat>
            <c:strRef>
              <c:f>Sheet1!$A$2:$A$21</c:f>
              <c:strCache>
                <c:ptCount val="20"/>
                <c:pt idx="0">
                  <c:v>0–4</c:v>
                </c:pt>
                <c:pt idx="1">
                  <c:v>5–9</c:v>
                </c:pt>
                <c:pt idx="2">
                  <c:v>10–14</c:v>
                </c:pt>
                <c:pt idx="3">
                  <c:v>15–19</c:v>
                </c:pt>
                <c:pt idx="4">
                  <c:v>20–24</c:v>
                </c:pt>
                <c:pt idx="5">
                  <c:v>25–29</c:v>
                </c:pt>
                <c:pt idx="6">
                  <c:v>30–34</c:v>
                </c:pt>
                <c:pt idx="7">
                  <c:v>35–39</c:v>
                </c:pt>
                <c:pt idx="8">
                  <c:v>40–44</c:v>
                </c:pt>
                <c:pt idx="9">
                  <c:v>45–49</c:v>
                </c:pt>
                <c:pt idx="10">
                  <c:v>50–54</c:v>
                </c:pt>
                <c:pt idx="11">
                  <c:v>55–59</c:v>
                </c:pt>
                <c:pt idx="12">
                  <c:v>60–64</c:v>
                </c:pt>
                <c:pt idx="13">
                  <c:v>65–69</c:v>
                </c:pt>
                <c:pt idx="14">
                  <c:v>70–74</c:v>
                </c:pt>
                <c:pt idx="15">
                  <c:v>75–79</c:v>
                </c:pt>
                <c:pt idx="16">
                  <c:v>80–84</c:v>
                </c:pt>
                <c:pt idx="17">
                  <c:v>85–89</c:v>
                </c:pt>
                <c:pt idx="18">
                  <c:v>90–94</c:v>
                </c:pt>
                <c:pt idx="19">
                  <c:v>95+</c:v>
                </c:pt>
              </c:strCache>
            </c:strRef>
          </c:cat>
          <c:val>
            <c:numRef>
              <c:f>Sheet1!$D$2:$D$21</c:f>
              <c:numCache>
                <c:formatCode>0.0\ %</c:formatCode>
                <c:ptCount val="20"/>
                <c:pt idx="0">
                  <c:v>2.2998076315713916E-2</c:v>
                </c:pt>
                <c:pt idx="1">
                  <c:v>1.013148712904164E-2</c:v>
                </c:pt>
                <c:pt idx="2">
                  <c:v>1.4790689584433428E-2</c:v>
                </c:pt>
                <c:pt idx="3">
                  <c:v>3.0333292970500594E-2</c:v>
                </c:pt>
                <c:pt idx="4">
                  <c:v>3.1863335609464208E-2</c:v>
                </c:pt>
                <c:pt idx="5">
                  <c:v>3.2715116213749909E-2</c:v>
                </c:pt>
                <c:pt idx="6">
                  <c:v>3.5940397827730598E-2</c:v>
                </c:pt>
                <c:pt idx="7">
                  <c:v>3.5091946116866626E-2</c:v>
                </c:pt>
                <c:pt idx="8">
                  <c:v>3.8279777679852828E-2</c:v>
                </c:pt>
                <c:pt idx="9">
                  <c:v>4.1685235650284765E-2</c:v>
                </c:pt>
                <c:pt idx="10">
                  <c:v>3.8556075833856597E-2</c:v>
                </c:pt>
                <c:pt idx="11">
                  <c:v>4.1877895357067513E-2</c:v>
                </c:pt>
                <c:pt idx="12">
                  <c:v>4.8893538243367909E-2</c:v>
                </c:pt>
                <c:pt idx="13">
                  <c:v>7.0779348044545581E-2</c:v>
                </c:pt>
                <c:pt idx="14">
                  <c:v>0.10077767111448439</c:v>
                </c:pt>
                <c:pt idx="15">
                  <c:v>0.12119876781009994</c:v>
                </c:pt>
                <c:pt idx="16">
                  <c:v>0.11474321124200597</c:v>
                </c:pt>
                <c:pt idx="17">
                  <c:v>9.8280584936507598E-2</c:v>
                </c:pt>
                <c:pt idx="18">
                  <c:v>5.5740239788515403E-2</c:v>
                </c:pt>
                <c:pt idx="19">
                  <c:v>1.532331253191056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0F1-49D2-B717-84F6D27852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1715280"/>
        <c:axId val="461715672"/>
      </c:lineChart>
      <c:catAx>
        <c:axId val="46171528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/>
                  <a:t>Věk pacienta</a:t>
                </a:r>
              </a:p>
            </c:rich>
          </c:tx>
          <c:layout>
            <c:manualLayout>
              <c:xMode val="edge"/>
              <c:yMode val="edge"/>
              <c:x val="0.50411668025900558"/>
              <c:y val="0.9099350425683028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1715672"/>
        <c:crosses val="autoZero"/>
        <c:auto val="1"/>
        <c:lblAlgn val="ctr"/>
        <c:lblOffset val="0"/>
        <c:tickLblSkip val="1"/>
        <c:noMultiLvlLbl val="0"/>
      </c:catAx>
      <c:valAx>
        <c:axId val="4617156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cs-CZ" dirty="0"/>
                  <a:t>Podíl pacientů</a:t>
                </a:r>
              </a:p>
            </c:rich>
          </c:tx>
          <c:layout>
            <c:manualLayout>
              <c:xMode val="edge"/>
              <c:yMode val="edge"/>
              <c:x val="4.1443102664856964E-2"/>
              <c:y val="0.3562065185031645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17152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794062484630625"/>
          <c:y val="5.3104757956599538E-2"/>
          <c:w val="0.51507575129176153"/>
          <c:h val="7.286851664293275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889335705527753"/>
          <c:y val="0.10216858409583313"/>
          <c:w val="0.44195422975522886"/>
          <c:h val="0.6215549199987144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odíl</c:v>
                </c:pt>
              </c:strCache>
            </c:strRef>
          </c:tx>
          <c:spPr>
            <a:solidFill>
              <a:srgbClr val="FF7C80"/>
            </a:solidFill>
          </c:spPr>
          <c:dPt>
            <c:idx val="0"/>
            <c:bubble3D val="0"/>
            <c:spPr>
              <a:solidFill>
                <a:srgbClr val="5F82C9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90B0-4A0C-87AB-C7096778816B}"/>
              </c:ext>
            </c:extLst>
          </c:dPt>
          <c:dPt>
            <c:idx val="1"/>
            <c:bubble3D val="0"/>
            <c:spPr>
              <a:solidFill>
                <a:srgbClr val="FF7C8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0B0-4A0C-87AB-C7096778816B}"/>
              </c:ext>
            </c:extLst>
          </c:dPt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Muži</c:v>
                </c:pt>
                <c:pt idx="1">
                  <c:v>Ženy</c:v>
                </c:pt>
              </c:strCache>
            </c:strRef>
          </c:cat>
          <c:val>
            <c:numRef>
              <c:f>Sheet1!$B$2:$B$3</c:f>
              <c:numCache>
                <c:formatCode>0.0\ %</c:formatCode>
                <c:ptCount val="2"/>
                <c:pt idx="0">
                  <c:v>0.499</c:v>
                </c:pt>
                <c:pt idx="1">
                  <c:v>0.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B0-4A0C-87AB-C709677881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165821797975947"/>
          <c:y val="0.72091532017779147"/>
          <c:w val="0.29582421838823586"/>
          <c:h val="0.1581229576169972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76367058987577"/>
          <c:y val="5.7794283588567176E-2"/>
          <c:w val="0.87396351575456055"/>
          <c:h val="0.76650943396226412"/>
        </c:manualLayout>
      </c:layout>
      <c:lineChart>
        <c:grouping val="standard"/>
        <c:varyColors val="0"/>
        <c:ser>
          <c:idx val="0"/>
          <c:order val="0"/>
          <c:tx>
            <c:strRef>
              <c:f>List3!$B$1</c:f>
              <c:strCache>
                <c:ptCount val="1"/>
                <c:pt idx="0">
                  <c:v>CR</c:v>
                </c:pt>
              </c:strCache>
            </c:strRef>
          </c:tx>
          <c:spPr>
            <a:ln w="38098">
              <a:solidFill>
                <a:schemeClr val="accent1"/>
              </a:solidFill>
              <a:prstDash val="solid"/>
            </a:ln>
          </c:spPr>
          <c:marker>
            <c:symbol val="none"/>
          </c:marker>
          <c:cat>
            <c:strRef>
              <c:f>List3!$A$2:$A$20</c:f>
              <c:strCache>
                <c:ptCount val="19"/>
                <c:pt idx="0">
                  <c:v>   0–4 let</c:v>
                </c:pt>
                <c:pt idx="1">
                  <c:v>   5–9 let</c:v>
                </c:pt>
                <c:pt idx="2">
                  <c:v> 10–14 let</c:v>
                </c:pt>
                <c:pt idx="3">
                  <c:v> 15–19 let</c:v>
                </c:pt>
                <c:pt idx="4">
                  <c:v> 20–24 let</c:v>
                </c:pt>
                <c:pt idx="5">
                  <c:v> 25–29 let</c:v>
                </c:pt>
                <c:pt idx="6">
                  <c:v> 30–34 let</c:v>
                </c:pt>
                <c:pt idx="7">
                  <c:v> 35–39 let</c:v>
                </c:pt>
                <c:pt idx="8">
                  <c:v> 40–44 let</c:v>
                </c:pt>
                <c:pt idx="9">
                  <c:v> 45–49 let</c:v>
                </c:pt>
                <c:pt idx="10">
                  <c:v> 50–54 let</c:v>
                </c:pt>
                <c:pt idx="11">
                  <c:v> 55–59 let</c:v>
                </c:pt>
                <c:pt idx="12">
                  <c:v> 60–64 let</c:v>
                </c:pt>
                <c:pt idx="13">
                  <c:v> 65–69 let</c:v>
                </c:pt>
                <c:pt idx="14">
                  <c:v> 70–74 let</c:v>
                </c:pt>
                <c:pt idx="15">
                  <c:v> 75–79 let</c:v>
                </c:pt>
                <c:pt idx="16">
                  <c:v> 80–84 let</c:v>
                </c:pt>
                <c:pt idx="17">
                  <c:v> 85–89 let</c:v>
                </c:pt>
                <c:pt idx="18">
                  <c:v> 90+ let</c:v>
                </c:pt>
              </c:strCache>
            </c:strRef>
          </c:cat>
          <c:val>
            <c:numRef>
              <c:f>List3!$B$2:$B$20</c:f>
              <c:numCache>
                <c:formatCode>General</c:formatCode>
                <c:ptCount val="19"/>
                <c:pt idx="0">
                  <c:v>5.306775210148956</c:v>
                </c:pt>
                <c:pt idx="1">
                  <c:v>5.2593078803089215</c:v>
                </c:pt>
                <c:pt idx="2">
                  <c:v>5.5359914467522957</c:v>
                </c:pt>
                <c:pt idx="3">
                  <c:v>4.7857661148114143</c:v>
                </c:pt>
                <c:pt idx="4">
                  <c:v>4.5356973432843573</c:v>
                </c:pt>
                <c:pt idx="5">
                  <c:v>5.4446035246584321</c:v>
                </c:pt>
                <c:pt idx="6">
                  <c:v>6.5230779939005625</c:v>
                </c:pt>
                <c:pt idx="7">
                  <c:v>6.7891974170241687</c:v>
                </c:pt>
                <c:pt idx="8">
                  <c:v>7.8967779553048301</c:v>
                </c:pt>
                <c:pt idx="9">
                  <c:v>8.5539798722166545</c:v>
                </c:pt>
                <c:pt idx="10">
                  <c:v>6.6435814937128139</c:v>
                </c:pt>
                <c:pt idx="11">
                  <c:v>6.3995602425740303</c:v>
                </c:pt>
                <c:pt idx="12">
                  <c:v>5.7003204520198194</c:v>
                </c:pt>
                <c:pt idx="13">
                  <c:v>6.2728380661361012</c:v>
                </c:pt>
                <c:pt idx="14">
                  <c:v>5.8495211476368034</c:v>
                </c:pt>
                <c:pt idx="15">
                  <c:v>4.2132294833354207</c:v>
                </c:pt>
                <c:pt idx="16">
                  <c:v>2.4025391217992476</c:v>
                </c:pt>
                <c:pt idx="17">
                  <c:v>1.2758271196487645</c:v>
                </c:pt>
                <c:pt idx="18">
                  <c:v>0.611408114726406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08-42DE-B7D2-E8B23BC5B0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39629152"/>
        <c:axId val="339627584"/>
      </c:lineChart>
      <c:catAx>
        <c:axId val="3396291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3962758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39627584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ln w="3175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339629152"/>
        <c:crosses val="autoZero"/>
        <c:crossBetween val="between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725" b="1" i="0" u="none" strike="noStrike" baseline="0">
          <a:solidFill>
            <a:schemeClr val="tx1"/>
          </a:solidFill>
          <a:latin typeface="Tahoma"/>
          <a:ea typeface="Tahoma"/>
          <a:cs typeface="Tahoma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věk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45D-4FC9-B710-AC0AD337FE31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682-4214-A28A-9EFF37B67EA6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682-4214-A28A-9EFF37B67EA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Moravskoslezský kraj</c:v>
                </c:pt>
                <c:pt idx="1">
                  <c:v>Pardubický kraj</c:v>
                </c:pt>
                <c:pt idx="2">
                  <c:v>Královéhradecký kraj</c:v>
                </c:pt>
                <c:pt idx="3">
                  <c:v>Zlínský kraj</c:v>
                </c:pt>
                <c:pt idx="4">
                  <c:v>Jihomoravský kraj</c:v>
                </c:pt>
                <c:pt idx="5">
                  <c:v>ČR</c:v>
                </c:pt>
                <c:pt idx="6">
                  <c:v>Středočeský kraj</c:v>
                </c:pt>
                <c:pt idx="7">
                  <c:v>Karlovarský kraj</c:v>
                </c:pt>
                <c:pt idx="8">
                  <c:v>Olomoucký kraj</c:v>
                </c:pt>
                <c:pt idx="9">
                  <c:v>Jihočeský kraj</c:v>
                </c:pt>
                <c:pt idx="10">
                  <c:v>Vysočina</c:v>
                </c:pt>
                <c:pt idx="11">
                  <c:v>Liberecký kraj</c:v>
                </c:pt>
                <c:pt idx="12">
                  <c:v>Ústecký kraj</c:v>
                </c:pt>
                <c:pt idx="13">
                  <c:v>Plzeňský kraj</c:v>
                </c:pt>
                <c:pt idx="14">
                  <c:v>Hl. m. Praha</c:v>
                </c:pt>
              </c:strCache>
            </c:strRef>
          </c:cat>
          <c:val>
            <c:numRef>
              <c:f>List1!$B$2:$B$16</c:f>
              <c:numCache>
                <c:formatCode>0.0</c:formatCode>
                <c:ptCount val="15"/>
                <c:pt idx="0">
                  <c:v>64.516129032258107</c:v>
                </c:pt>
                <c:pt idx="1">
                  <c:v>59</c:v>
                </c:pt>
                <c:pt idx="2">
                  <c:v>57.1</c:v>
                </c:pt>
                <c:pt idx="3">
                  <c:v>52.675213675213698</c:v>
                </c:pt>
                <c:pt idx="4">
                  <c:v>52.551724137930997</c:v>
                </c:pt>
                <c:pt idx="5">
                  <c:v>50.540273556231</c:v>
                </c:pt>
                <c:pt idx="6">
                  <c:v>50.2921348314607</c:v>
                </c:pt>
                <c:pt idx="7">
                  <c:v>50.12</c:v>
                </c:pt>
                <c:pt idx="8">
                  <c:v>49.573770491803302</c:v>
                </c:pt>
                <c:pt idx="9">
                  <c:v>49.540880503144699</c:v>
                </c:pt>
                <c:pt idx="10">
                  <c:v>48.632653061224502</c:v>
                </c:pt>
                <c:pt idx="11">
                  <c:v>47.453333333333298</c:v>
                </c:pt>
                <c:pt idx="12">
                  <c:v>47</c:v>
                </c:pt>
                <c:pt idx="13">
                  <c:v>46.936170212766001</c:v>
                </c:pt>
                <c:pt idx="14">
                  <c:v>45.8815789473684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682-4214-A28A-9EFF37B67EA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324562640"/>
        <c:axId val="324563032"/>
      </c:barChart>
      <c:catAx>
        <c:axId val="32456264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4563032"/>
        <c:crosses val="autoZero"/>
        <c:auto val="1"/>
        <c:lblAlgn val="ctr"/>
        <c:lblOffset val="100"/>
        <c:noMultiLvlLbl val="0"/>
      </c:catAx>
      <c:valAx>
        <c:axId val="324563032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4562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uži</c:v>
                </c:pt>
              </c:strCache>
            </c:strRef>
          </c:tx>
          <c:spPr>
            <a:solidFill>
              <a:srgbClr val="6699FF"/>
            </a:solidFill>
            <a:ln>
              <a:noFill/>
            </a:ln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D51-4E53-BD2B-97257DB01FC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D51-4E53-BD2B-97257DB01FC7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5D51-4E53-BD2B-97257DB01FC7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5D51-4E53-BD2B-97257DB01FC7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5D51-4E53-BD2B-97257DB01FC7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5D51-4E53-BD2B-97257DB01FC7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5D51-4E53-BD2B-97257DB01FC7}"/>
              </c:ext>
            </c:extLst>
          </c:dPt>
          <c:cat>
            <c:strRef>
              <c:f>List1!$A$2:$A$10</c:f>
              <c:strCache>
                <c:ptCount val="9"/>
                <c:pt idx="0">
                  <c:v>do 29</c:v>
                </c:pt>
                <c:pt idx="1">
                  <c:v>30–34</c:v>
                </c:pt>
                <c:pt idx="2">
                  <c:v>35–39</c:v>
                </c:pt>
                <c:pt idx="3">
                  <c:v>40–44</c:v>
                </c:pt>
                <c:pt idx="4">
                  <c:v>45–49</c:v>
                </c:pt>
                <c:pt idx="5">
                  <c:v>50–54</c:v>
                </c:pt>
                <c:pt idx="6">
                  <c:v>55–59</c:v>
                </c:pt>
                <c:pt idx="7">
                  <c:v>60–64</c:v>
                </c:pt>
                <c:pt idx="8">
                  <c:v>65 a více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1</c:v>
                </c:pt>
                <c:pt idx="1">
                  <c:v>60</c:v>
                </c:pt>
                <c:pt idx="2">
                  <c:v>82</c:v>
                </c:pt>
                <c:pt idx="3">
                  <c:v>90</c:v>
                </c:pt>
                <c:pt idx="4">
                  <c:v>118</c:v>
                </c:pt>
                <c:pt idx="5">
                  <c:v>132</c:v>
                </c:pt>
                <c:pt idx="6">
                  <c:v>109</c:v>
                </c:pt>
                <c:pt idx="7">
                  <c:v>78</c:v>
                </c:pt>
                <c:pt idx="8">
                  <c:v>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D51-4E53-BD2B-97257DB01FC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Ženy</c:v>
                </c:pt>
              </c:strCache>
            </c:strRef>
          </c:tx>
          <c:spPr>
            <a:solidFill>
              <a:srgbClr val="FF99FF"/>
            </a:solidFill>
          </c:spPr>
          <c:invertIfNegative val="0"/>
          <c:cat>
            <c:strRef>
              <c:f>List1!$A$2:$A$10</c:f>
              <c:strCache>
                <c:ptCount val="9"/>
                <c:pt idx="0">
                  <c:v>do 29</c:v>
                </c:pt>
                <c:pt idx="1">
                  <c:v>30–34</c:v>
                </c:pt>
                <c:pt idx="2">
                  <c:v>35–39</c:v>
                </c:pt>
                <c:pt idx="3">
                  <c:v>40–44</c:v>
                </c:pt>
                <c:pt idx="4">
                  <c:v>45–49</c:v>
                </c:pt>
                <c:pt idx="5">
                  <c:v>50–54</c:v>
                </c:pt>
                <c:pt idx="6">
                  <c:v>55–59</c:v>
                </c:pt>
                <c:pt idx="7">
                  <c:v>60–64</c:v>
                </c:pt>
                <c:pt idx="8">
                  <c:v>65 a více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3</c:v>
                </c:pt>
                <c:pt idx="1">
                  <c:v>60</c:v>
                </c:pt>
                <c:pt idx="2">
                  <c:v>50</c:v>
                </c:pt>
                <c:pt idx="3">
                  <c:v>67</c:v>
                </c:pt>
                <c:pt idx="4">
                  <c:v>65</c:v>
                </c:pt>
                <c:pt idx="5">
                  <c:v>58</c:v>
                </c:pt>
                <c:pt idx="6">
                  <c:v>55</c:v>
                </c:pt>
                <c:pt idx="7">
                  <c:v>44</c:v>
                </c:pt>
                <c:pt idx="8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D51-4E53-BD2B-97257DB01F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324564992"/>
        <c:axId val="324561464"/>
      </c:barChart>
      <c:catAx>
        <c:axId val="324564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en-US"/>
          </a:p>
        </c:txPr>
        <c:crossAx val="324561464"/>
        <c:crosses val="autoZero"/>
        <c:auto val="1"/>
        <c:lblAlgn val="ctr"/>
        <c:lblOffset val="100"/>
        <c:noMultiLvlLbl val="0"/>
      </c:catAx>
      <c:valAx>
        <c:axId val="32456146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3245649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věk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D4A-4FF3-9E49-1C49280201E6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52E-45A7-9616-B197FA1AF948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682-4214-A28A-9EFF37B67EA6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682-4214-A28A-9EFF37B67EA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Středočeský kraj</c:v>
                </c:pt>
                <c:pt idx="1">
                  <c:v>Zlínský kraj</c:v>
                </c:pt>
                <c:pt idx="2">
                  <c:v>Liberecký kraj</c:v>
                </c:pt>
                <c:pt idx="3">
                  <c:v>Vysočina</c:v>
                </c:pt>
                <c:pt idx="4">
                  <c:v>Ústecký kraj</c:v>
                </c:pt>
                <c:pt idx="5">
                  <c:v>Jihočeský kraj</c:v>
                </c:pt>
                <c:pt idx="6">
                  <c:v>ČR</c:v>
                </c:pt>
                <c:pt idx="7">
                  <c:v>Moravskoslezský kraj</c:v>
                </c:pt>
                <c:pt idx="8">
                  <c:v>Královéhradecký kraj</c:v>
                </c:pt>
                <c:pt idx="9">
                  <c:v>Hl. m. Praha</c:v>
                </c:pt>
                <c:pt idx="10">
                  <c:v>Karlovarský kraj</c:v>
                </c:pt>
                <c:pt idx="11">
                  <c:v>Olomoucký kraj</c:v>
                </c:pt>
                <c:pt idx="12">
                  <c:v>Jihomoravský kraj</c:v>
                </c:pt>
                <c:pt idx="13">
                  <c:v>Pardubický kraj</c:v>
                </c:pt>
                <c:pt idx="14">
                  <c:v>Plzeňský kraj</c:v>
                </c:pt>
              </c:strCache>
            </c:strRef>
          </c:cat>
          <c:val>
            <c:numRef>
              <c:f>List1!$B$2:$B$16</c:f>
              <c:numCache>
                <c:formatCode>General</c:formatCode>
                <c:ptCount val="15"/>
                <c:pt idx="0">
                  <c:v>45.254777070063703</c:v>
                </c:pt>
                <c:pt idx="1">
                  <c:v>45.032679738562102</c:v>
                </c:pt>
                <c:pt idx="2">
                  <c:v>44.587499999999999</c:v>
                </c:pt>
                <c:pt idx="3">
                  <c:v>43.072115384615401</c:v>
                </c:pt>
                <c:pt idx="4">
                  <c:v>42.7222222222222</c:v>
                </c:pt>
                <c:pt idx="5">
                  <c:v>42.441520467836298</c:v>
                </c:pt>
                <c:pt idx="6">
                  <c:v>41.429741650913698</c:v>
                </c:pt>
                <c:pt idx="7">
                  <c:v>41.241935483871003</c:v>
                </c:pt>
                <c:pt idx="8">
                  <c:v>40.626822157434397</c:v>
                </c:pt>
                <c:pt idx="9">
                  <c:v>39.112627986348102</c:v>
                </c:pt>
                <c:pt idx="10">
                  <c:v>38.596774193548399</c:v>
                </c:pt>
                <c:pt idx="11">
                  <c:v>37.799999999999997</c:v>
                </c:pt>
                <c:pt idx="12">
                  <c:v>37.7210526315789</c:v>
                </c:pt>
                <c:pt idx="13">
                  <c:v>37.1005917159763</c:v>
                </c:pt>
                <c:pt idx="14">
                  <c:v>36.793814432989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682-4214-A28A-9EFF37B67EA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386503704"/>
        <c:axId val="386504488"/>
      </c:barChart>
      <c:catAx>
        <c:axId val="38650370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6504488"/>
        <c:crosses val="autoZero"/>
        <c:auto val="1"/>
        <c:lblAlgn val="ctr"/>
        <c:lblOffset val="100"/>
        <c:noMultiLvlLbl val="0"/>
      </c:catAx>
      <c:valAx>
        <c:axId val="386504488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6503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Muži</c:v>
                </c:pt>
              </c:strCache>
            </c:strRef>
          </c:tx>
          <c:spPr>
            <a:solidFill>
              <a:srgbClr val="6699FF"/>
            </a:solidFill>
            <a:ln>
              <a:noFill/>
            </a:ln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66D-4317-A1D7-395ED9608A1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866D-4317-A1D7-395ED9608A1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66D-4317-A1D7-395ED9608A17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866D-4317-A1D7-395ED9608A17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866D-4317-A1D7-395ED9608A17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866D-4317-A1D7-395ED9608A17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866D-4317-A1D7-395ED9608A17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866D-4317-A1D7-395ED9608A17}"/>
              </c:ext>
            </c:extLst>
          </c:dPt>
          <c:cat>
            <c:strRef>
              <c:f>List1!$A$2:$A$10</c:f>
              <c:strCache>
                <c:ptCount val="9"/>
                <c:pt idx="0">
                  <c:v>do 29</c:v>
                </c:pt>
                <c:pt idx="1">
                  <c:v>30–34</c:v>
                </c:pt>
                <c:pt idx="2">
                  <c:v>35–39</c:v>
                </c:pt>
                <c:pt idx="3">
                  <c:v>40–44</c:v>
                </c:pt>
                <c:pt idx="4">
                  <c:v>45–49</c:v>
                </c:pt>
                <c:pt idx="5">
                  <c:v>50–54</c:v>
                </c:pt>
                <c:pt idx="6">
                  <c:v>55–59</c:v>
                </c:pt>
                <c:pt idx="7">
                  <c:v>60–64</c:v>
                </c:pt>
                <c:pt idx="8">
                  <c:v>65 a více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174</c:v>
                </c:pt>
                <c:pt idx="1">
                  <c:v>378</c:v>
                </c:pt>
                <c:pt idx="2">
                  <c:v>370</c:v>
                </c:pt>
                <c:pt idx="3">
                  <c:v>354</c:v>
                </c:pt>
                <c:pt idx="4">
                  <c:v>295</c:v>
                </c:pt>
                <c:pt idx="5">
                  <c:v>122</c:v>
                </c:pt>
                <c:pt idx="6">
                  <c:v>53</c:v>
                </c:pt>
                <c:pt idx="7">
                  <c:v>21</c:v>
                </c:pt>
                <c:pt idx="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66D-4317-A1D7-395ED9608A17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Ženy</c:v>
                </c:pt>
              </c:strCache>
            </c:strRef>
          </c:tx>
          <c:spPr>
            <a:solidFill>
              <a:srgbClr val="FF99FF"/>
            </a:solidFill>
          </c:spPr>
          <c:invertIfNegative val="0"/>
          <c:cat>
            <c:strRef>
              <c:f>List1!$A$2:$A$10</c:f>
              <c:strCache>
                <c:ptCount val="9"/>
                <c:pt idx="0">
                  <c:v>do 29</c:v>
                </c:pt>
                <c:pt idx="1">
                  <c:v>30–34</c:v>
                </c:pt>
                <c:pt idx="2">
                  <c:v>35–39</c:v>
                </c:pt>
                <c:pt idx="3">
                  <c:v>40–44</c:v>
                </c:pt>
                <c:pt idx="4">
                  <c:v>45–49</c:v>
                </c:pt>
                <c:pt idx="5">
                  <c:v>50–54</c:v>
                </c:pt>
                <c:pt idx="6">
                  <c:v>55–59</c:v>
                </c:pt>
                <c:pt idx="7">
                  <c:v>60–64</c:v>
                </c:pt>
                <c:pt idx="8">
                  <c:v>65 a více</c:v>
                </c:pt>
              </c:strCache>
            </c:strRef>
          </c:cat>
          <c:val>
            <c:numRef>
              <c:f>List1!$C$2:$C$10</c:f>
              <c:numCache>
                <c:formatCode>General</c:formatCode>
                <c:ptCount val="9"/>
                <c:pt idx="0">
                  <c:v>133</c:v>
                </c:pt>
                <c:pt idx="1">
                  <c:v>146</c:v>
                </c:pt>
                <c:pt idx="2">
                  <c:v>140</c:v>
                </c:pt>
                <c:pt idx="3">
                  <c:v>182</c:v>
                </c:pt>
                <c:pt idx="4">
                  <c:v>243</c:v>
                </c:pt>
                <c:pt idx="5">
                  <c:v>210</c:v>
                </c:pt>
                <c:pt idx="6">
                  <c:v>140</c:v>
                </c:pt>
                <c:pt idx="7">
                  <c:v>67</c:v>
                </c:pt>
                <c:pt idx="8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66D-4317-A1D7-395ED9608A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324563816"/>
        <c:axId val="386501744"/>
      </c:barChart>
      <c:catAx>
        <c:axId val="3245638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-2700000"/>
          <a:lstStyle/>
          <a:p>
            <a:pPr>
              <a:defRPr/>
            </a:pPr>
            <a:endParaRPr lang="en-US"/>
          </a:p>
        </c:txPr>
        <c:crossAx val="386501744"/>
        <c:crosses val="autoZero"/>
        <c:auto val="1"/>
        <c:lblAlgn val="ctr"/>
        <c:lblOffset val="100"/>
        <c:noMultiLvlLbl val="0"/>
      </c:catAx>
      <c:valAx>
        <c:axId val="38650174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crossAx val="3245638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0480BD-2F91-43AB-86A2-B199C335C78E}" type="datetimeFigureOut">
              <a:rPr lang="en-US" smtClean="0"/>
              <a:t>4/24/2024</a:t>
            </a:fld>
            <a:endParaRPr lang="en-US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101FFD-44F4-4F5B-B4FB-7CA44C1804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194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20240417HK1</a:t>
            </a:r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3843A1-A00A-4A9E-979C-6778C0D76F6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09536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20240417HK1,JJ3,VB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3843A1-A00A-4A9E-979C-6778C0D76F6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50014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20240417HK1,JJ3,VB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3843A1-A00A-4A9E-979C-6778C0D76F6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07009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20240417HK1,JJ3,VB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3843A1-A00A-4A9E-979C-6778C0D76F6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02691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20240417HK1</a:t>
            </a:r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3843A1-A00A-4A9E-979C-6778C0D76F6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28845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3BDBF4-A65A-4E86-8D13-3641195D3E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9057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OS1230414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2C68A-7414-47CD-B786-53FC7BDEE6B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2157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3843A1-A00A-4A9E-979C-6778C0D76F6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8938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3843A1-A00A-4A9E-979C-6778C0D76F6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2754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3843A1-A00A-4A9E-979C-6778C0D76F6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88899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3843A1-A00A-4A9E-979C-6778C0D76F6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65944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20240417HK1,JJ3,VB1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3843A1-A00A-4A9E-979C-6778C0D76F6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34189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9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pn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5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image" Target="../media/image14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image" Target="../media/image16.jpg"/><Relationship Id="rId10" Type="http://schemas.openxmlformats.org/officeDocument/2006/relationships/image" Target="../media/image19.png"/><Relationship Id="rId4" Type="http://schemas.openxmlformats.org/officeDocument/2006/relationships/image" Target="../media/image15.emf"/><Relationship Id="rId9" Type="http://schemas.openxmlformats.org/officeDocument/2006/relationships/image" Target="../media/image1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7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image" Target="../media/image16.jp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3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5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7.png"/><Relationship Id="rId4" Type="http://schemas.openxmlformats.org/officeDocument/2006/relationships/image" Target="../media/image13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3" Type="http://schemas.openxmlformats.org/officeDocument/2006/relationships/tags" Target="../tags/tag17.xml"/><Relationship Id="rId18" Type="http://schemas.openxmlformats.org/officeDocument/2006/relationships/image" Target="../media/image2.emf"/><Relationship Id="rId26" Type="http://schemas.openxmlformats.org/officeDocument/2006/relationships/image" Target="../media/image28.tiff"/><Relationship Id="rId21" Type="http://schemas.openxmlformats.org/officeDocument/2006/relationships/image" Target="../media/image23.tiff"/><Relationship Id="rId34" Type="http://schemas.openxmlformats.org/officeDocument/2006/relationships/image" Target="../media/image36.png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image" Target="../media/image9.emf"/><Relationship Id="rId25" Type="http://schemas.openxmlformats.org/officeDocument/2006/relationships/image" Target="../media/image27.tiff"/><Relationship Id="rId33" Type="http://schemas.openxmlformats.org/officeDocument/2006/relationships/image" Target="../media/image35.png"/><Relationship Id="rId2" Type="http://schemas.openxmlformats.org/officeDocument/2006/relationships/tags" Target="../tags/tag6.xml"/><Relationship Id="rId16" Type="http://schemas.openxmlformats.org/officeDocument/2006/relationships/slideMaster" Target="../slideMasters/slideMaster5.xml"/><Relationship Id="rId20" Type="http://schemas.openxmlformats.org/officeDocument/2006/relationships/image" Target="../media/image22.tiff"/><Relationship Id="rId29" Type="http://schemas.openxmlformats.org/officeDocument/2006/relationships/image" Target="../media/image31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image" Target="../media/image26.jpeg"/><Relationship Id="rId32" Type="http://schemas.openxmlformats.org/officeDocument/2006/relationships/image" Target="../media/image34.png"/><Relationship Id="rId37" Type="http://schemas.openxmlformats.org/officeDocument/2006/relationships/image" Target="../media/image4.png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image" Target="../media/image25.jpeg"/><Relationship Id="rId28" Type="http://schemas.openxmlformats.org/officeDocument/2006/relationships/image" Target="../media/image30.jpeg"/><Relationship Id="rId36" Type="http://schemas.openxmlformats.org/officeDocument/2006/relationships/image" Target="../media/image37.png"/><Relationship Id="rId10" Type="http://schemas.openxmlformats.org/officeDocument/2006/relationships/tags" Target="../tags/tag14.xml"/><Relationship Id="rId19" Type="http://schemas.openxmlformats.org/officeDocument/2006/relationships/image" Target="../media/image3.emf"/><Relationship Id="rId31" Type="http://schemas.openxmlformats.org/officeDocument/2006/relationships/image" Target="../media/image33.png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image" Target="../media/image24.tiff"/><Relationship Id="rId27" Type="http://schemas.openxmlformats.org/officeDocument/2006/relationships/image" Target="../media/image29.tiff"/><Relationship Id="rId30" Type="http://schemas.openxmlformats.org/officeDocument/2006/relationships/image" Target="../media/image32.png"/><Relationship Id="rId35" Type="http://schemas.microsoft.com/office/2007/relationships/hdphoto" Target="../media/hdphoto1.wdp"/><Relationship Id="rId8" Type="http://schemas.openxmlformats.org/officeDocument/2006/relationships/tags" Target="../tags/tag12.xml"/><Relationship Id="rId3" Type="http://schemas.openxmlformats.org/officeDocument/2006/relationships/tags" Target="../tags/tag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3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5.jpeg"/></Relationships>
</file>

<file path=ppt/slideLayouts/_rels/slideLayout57.xml.rels><?xml version="1.0" encoding="UTF-8" standalone="yes"?>
<Relationships xmlns="http://schemas.openxmlformats.org/package/2006/relationships"><Relationship Id="rId13" Type="http://schemas.openxmlformats.org/officeDocument/2006/relationships/tags" Target="../tags/tag32.xml"/><Relationship Id="rId18" Type="http://schemas.openxmlformats.org/officeDocument/2006/relationships/image" Target="../media/image2.emf"/><Relationship Id="rId26" Type="http://schemas.openxmlformats.org/officeDocument/2006/relationships/image" Target="../media/image28.tiff"/><Relationship Id="rId21" Type="http://schemas.openxmlformats.org/officeDocument/2006/relationships/image" Target="../media/image23.tiff"/><Relationship Id="rId34" Type="http://schemas.openxmlformats.org/officeDocument/2006/relationships/image" Target="../media/image36.png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image" Target="../media/image9.emf"/><Relationship Id="rId25" Type="http://schemas.openxmlformats.org/officeDocument/2006/relationships/image" Target="../media/image27.tiff"/><Relationship Id="rId33" Type="http://schemas.openxmlformats.org/officeDocument/2006/relationships/image" Target="../media/image35.png"/><Relationship Id="rId2" Type="http://schemas.openxmlformats.org/officeDocument/2006/relationships/tags" Target="../tags/tag21.xml"/><Relationship Id="rId16" Type="http://schemas.openxmlformats.org/officeDocument/2006/relationships/slideMaster" Target="../slideMasters/slideMaster8.xml"/><Relationship Id="rId20" Type="http://schemas.openxmlformats.org/officeDocument/2006/relationships/image" Target="../media/image22.tiff"/><Relationship Id="rId29" Type="http://schemas.openxmlformats.org/officeDocument/2006/relationships/image" Target="../media/image31.png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26.jpeg"/><Relationship Id="rId32" Type="http://schemas.openxmlformats.org/officeDocument/2006/relationships/image" Target="../media/image34.png"/><Relationship Id="rId37" Type="http://schemas.openxmlformats.org/officeDocument/2006/relationships/image" Target="../media/image15.emf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image" Target="../media/image25.jpeg"/><Relationship Id="rId28" Type="http://schemas.openxmlformats.org/officeDocument/2006/relationships/image" Target="../media/image30.jpeg"/><Relationship Id="rId36" Type="http://schemas.openxmlformats.org/officeDocument/2006/relationships/image" Target="../media/image4.png"/><Relationship Id="rId10" Type="http://schemas.openxmlformats.org/officeDocument/2006/relationships/tags" Target="../tags/tag29.xml"/><Relationship Id="rId19" Type="http://schemas.openxmlformats.org/officeDocument/2006/relationships/image" Target="../media/image3.emf"/><Relationship Id="rId31" Type="http://schemas.openxmlformats.org/officeDocument/2006/relationships/image" Target="../media/image33.png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image" Target="../media/image24.tiff"/><Relationship Id="rId27" Type="http://schemas.openxmlformats.org/officeDocument/2006/relationships/image" Target="../media/image38.tiff"/><Relationship Id="rId30" Type="http://schemas.openxmlformats.org/officeDocument/2006/relationships/image" Target="../media/image32.png"/><Relationship Id="rId35" Type="http://schemas.openxmlformats.org/officeDocument/2006/relationships/image" Target="../media/image37.png"/><Relationship Id="rId8" Type="http://schemas.openxmlformats.org/officeDocument/2006/relationships/tags" Target="../tags/tag27.xml"/><Relationship Id="rId3" Type="http://schemas.openxmlformats.org/officeDocument/2006/relationships/tags" Target="../tags/tag2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tiff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3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5.jpe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cid:image003.jpg@01CF6DFE.8D73A1C0" TargetMode="External"/><Relationship Id="rId3" Type="http://schemas.openxmlformats.org/officeDocument/2006/relationships/image" Target="../media/image1.png"/><Relationship Id="rId7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10" Type="http://schemas.openxmlformats.org/officeDocument/2006/relationships/image" Target="../media/image7.png"/><Relationship Id="rId4" Type="http://schemas.openxmlformats.org/officeDocument/2006/relationships/image" Target="../media/image2.emf"/><Relationship Id="rId9" Type="http://schemas.openxmlformats.org/officeDocument/2006/relationships/image" Target="../media/image6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1.emf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3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5.jpe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1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cid:image003.jpg@01CF6DFE.8D73A1C0" TargetMode="External"/><Relationship Id="rId3" Type="http://schemas.openxmlformats.org/officeDocument/2006/relationships/image" Target="../media/image1.png"/><Relationship Id="rId7" Type="http://schemas.openxmlformats.org/officeDocument/2006/relationships/image" Target="../media/image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10" Type="http://schemas.openxmlformats.org/officeDocument/2006/relationships/image" Target="../media/image7.png"/><Relationship Id="rId4" Type="http://schemas.openxmlformats.org/officeDocument/2006/relationships/image" Target="../media/image2.emf"/><Relationship Id="rId9" Type="http://schemas.openxmlformats.org/officeDocument/2006/relationships/image" Target="../media/image6.pn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3.jpeg"/><Relationship Id="rId5" Type="http://schemas.openxmlformats.org/officeDocument/2006/relationships/image" Target="cid:image003.jpg@01CF6DFE.8D73A1C0" TargetMode="External"/><Relationship Id="rId4" Type="http://schemas.openxmlformats.org/officeDocument/2006/relationships/image" Target="../media/image5.jpeg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image" Target="../media/image41.emf"/><Relationship Id="rId18" Type="http://schemas.openxmlformats.org/officeDocument/2006/relationships/image" Target="../media/image46.emf"/><Relationship Id="rId3" Type="http://schemas.openxmlformats.org/officeDocument/2006/relationships/tags" Target="../tags/tag37.xml"/><Relationship Id="rId21" Type="http://schemas.openxmlformats.org/officeDocument/2006/relationships/image" Target="../media/image48.jpeg"/><Relationship Id="rId7" Type="http://schemas.openxmlformats.org/officeDocument/2006/relationships/tags" Target="../tags/tag41.xml"/><Relationship Id="rId12" Type="http://schemas.openxmlformats.org/officeDocument/2006/relationships/image" Target="../media/image7.png"/><Relationship Id="rId17" Type="http://schemas.openxmlformats.org/officeDocument/2006/relationships/image" Target="../media/image45.emf"/><Relationship Id="rId2" Type="http://schemas.openxmlformats.org/officeDocument/2006/relationships/tags" Target="../tags/tag36.xml"/><Relationship Id="rId16" Type="http://schemas.openxmlformats.org/officeDocument/2006/relationships/image" Target="../media/image44.emf"/><Relationship Id="rId20" Type="http://schemas.openxmlformats.org/officeDocument/2006/relationships/image" Target="../media/image3.emf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image" Target="../media/image21.emf"/><Relationship Id="rId5" Type="http://schemas.openxmlformats.org/officeDocument/2006/relationships/tags" Target="../tags/tag39.xml"/><Relationship Id="rId15" Type="http://schemas.openxmlformats.org/officeDocument/2006/relationships/image" Target="../media/image43.emf"/><Relationship Id="rId10" Type="http://schemas.openxmlformats.org/officeDocument/2006/relationships/image" Target="../media/image2.emf"/><Relationship Id="rId19" Type="http://schemas.openxmlformats.org/officeDocument/2006/relationships/image" Target="../media/image47.emf"/><Relationship Id="rId4" Type="http://schemas.openxmlformats.org/officeDocument/2006/relationships/tags" Target="../tags/tag38.xml"/><Relationship Id="rId9" Type="http://schemas.openxmlformats.org/officeDocument/2006/relationships/slideMaster" Target="../slideMasters/slideMaster12.xml"/><Relationship Id="rId14" Type="http://schemas.openxmlformats.org/officeDocument/2006/relationships/image" Target="../media/image42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tiff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49.emf"/><Relationship Id="rId5" Type="http://schemas.openxmlformats.org/officeDocument/2006/relationships/image" Target="../media/image2.emf"/><Relationship Id="rId4" Type="http://schemas.openxmlformats.org/officeDocument/2006/relationships/image" Target="../media/image2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21.emf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emf"/><Relationship Id="rId1" Type="http://schemas.openxmlformats.org/officeDocument/2006/relationships/slideMaster" Target="../slideMasters/slideMaster1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FE22DB4-93A5-4D39-A180-4CB22F024A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5FB906DD-24DA-4ECF-AA3D-FCC325B3C0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41B1462-33CA-4B0C-90DC-0DCC8CEBA2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D3D0068-CEC6-46E0-BFE9-6942051C7D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C1F572F-9071-4282-BC1A-B524668F7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39847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5FEFE542-E662-4555-B8B1-482A12ACF1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6893" y="1261634"/>
            <a:ext cx="11296867" cy="4444369"/>
          </a:xfrm>
          <a:prstGeom prst="rect">
            <a:avLst/>
          </a:prstGeom>
        </p:spPr>
      </p:pic>
      <p:sp>
        <p:nvSpPr>
          <p:cNvPr id="29" name="TextovéPole 28">
            <a:extLst>
              <a:ext uri="{FF2B5EF4-FFF2-40B4-BE49-F238E27FC236}">
                <a16:creationId xmlns:a16="http://schemas.microsoft.com/office/drawing/2014/main" id="{28092765-6AFA-495D-B911-346954B65B3F}"/>
              </a:ext>
            </a:extLst>
          </p:cNvPr>
          <p:cNvSpPr txBox="1"/>
          <p:nvPr userDrawn="1"/>
        </p:nvSpPr>
        <p:spPr>
          <a:xfrm>
            <a:off x="8713002" y="6180642"/>
            <a:ext cx="33773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rgbClr val="3D67BC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rgbClr val="3D67BC"/>
                </a:solidFill>
              </a:rPr>
              <a:t>Institute </a:t>
            </a:r>
            <a:r>
              <a:rPr lang="cs-CZ" sz="900" i="1" dirty="0" err="1">
                <a:solidFill>
                  <a:srgbClr val="3D67BC"/>
                </a:solidFill>
              </a:rPr>
              <a:t>of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Health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Information</a:t>
            </a:r>
            <a:r>
              <a:rPr lang="cs-CZ" sz="900" i="1" dirty="0">
                <a:solidFill>
                  <a:srgbClr val="3D67BC"/>
                </a:solidFill>
              </a:rPr>
              <a:t> and </a:t>
            </a:r>
            <a:r>
              <a:rPr lang="cs-CZ" sz="900" i="1" dirty="0" err="1">
                <a:solidFill>
                  <a:srgbClr val="3D67BC"/>
                </a:solidFill>
              </a:rPr>
              <a:t>Statistics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of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the</a:t>
            </a:r>
            <a:r>
              <a:rPr lang="cs-CZ" sz="900" i="1" dirty="0">
                <a:solidFill>
                  <a:srgbClr val="3D67BC"/>
                </a:solidFill>
              </a:rPr>
              <a:t> Czech Republic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9E9CBE7C-B46B-4263-B7DA-1846693D9836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5F5E0734-7668-4265-8737-BB10B3A928BB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pic>
        <p:nvPicPr>
          <p:cNvPr id="20" name="Obrázek 19">
            <a:extLst>
              <a:ext uri="{FF2B5EF4-FFF2-40B4-BE49-F238E27FC236}">
                <a16:creationId xmlns:a16="http://schemas.microsoft.com/office/drawing/2014/main" id="{638B3C8C-A726-43EE-80E2-A0C80CD5D0F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00" y="6186252"/>
            <a:ext cx="3763463" cy="324000"/>
          </a:xfrm>
          <a:prstGeom prst="rect">
            <a:avLst/>
          </a:prstGeom>
        </p:spPr>
      </p:pic>
      <p:sp>
        <p:nvSpPr>
          <p:cNvPr id="21" name="Volný tvar 6">
            <a:extLst>
              <a:ext uri="{FF2B5EF4-FFF2-40B4-BE49-F238E27FC236}">
                <a16:creationId xmlns:a16="http://schemas.microsoft.com/office/drawing/2014/main" id="{B1B50602-9BEE-4838-BABB-479E9B9DA990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2" name="Volný tvar 17">
            <a:extLst>
              <a:ext uri="{FF2B5EF4-FFF2-40B4-BE49-F238E27FC236}">
                <a16:creationId xmlns:a16="http://schemas.microsoft.com/office/drawing/2014/main" id="{95BC6203-BD83-4803-AD8B-9671459BFB7C}"/>
              </a:ext>
            </a:extLst>
          </p:cNvPr>
          <p:cNvSpPr/>
          <p:nvPr userDrawn="1"/>
        </p:nvSpPr>
        <p:spPr>
          <a:xfrm rot="10800000">
            <a:off x="-1" y="4380806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3" name="Volný tvar 18">
            <a:extLst>
              <a:ext uri="{FF2B5EF4-FFF2-40B4-BE49-F238E27FC236}">
                <a16:creationId xmlns:a16="http://schemas.microsoft.com/office/drawing/2014/main" id="{9EAB8E8B-17AE-4319-8FA3-A1DAAC330720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3CCCC">
              <a:alpha val="3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F6EDD091-54FF-47D8-93B0-AFD02A675C6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24242">
              <a:alpha val="27843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8CA2A8DB-6132-49AF-AB7B-13A599EB0EFD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F606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32" name="Volný tvar 6">
            <a:extLst>
              <a:ext uri="{FF2B5EF4-FFF2-40B4-BE49-F238E27FC236}">
                <a16:creationId xmlns:a16="http://schemas.microsoft.com/office/drawing/2014/main" id="{93B4AAF2-2ECB-447E-88BF-C2AE1B238485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Volný tvar 17">
            <a:extLst>
              <a:ext uri="{FF2B5EF4-FFF2-40B4-BE49-F238E27FC236}">
                <a16:creationId xmlns:a16="http://schemas.microsoft.com/office/drawing/2014/main" id="{E5A377F3-758A-43B6-8C6A-4AA4F1E3F233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4" name="Volný tvar 18">
            <a:extLst>
              <a:ext uri="{FF2B5EF4-FFF2-40B4-BE49-F238E27FC236}">
                <a16:creationId xmlns:a16="http://schemas.microsoft.com/office/drawing/2014/main" id="{0078E8B8-13CC-47F5-9190-4A050380F041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35" name="Volný tvar 19">
            <a:extLst>
              <a:ext uri="{FF2B5EF4-FFF2-40B4-BE49-F238E27FC236}">
                <a16:creationId xmlns:a16="http://schemas.microsoft.com/office/drawing/2014/main" id="{B1F7AE25-E3A9-4BA4-A917-FFBAB961D9BC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8" name="Obdélník 57">
            <a:extLst>
              <a:ext uri="{FF2B5EF4-FFF2-40B4-BE49-F238E27FC236}">
                <a16:creationId xmlns:a16="http://schemas.microsoft.com/office/drawing/2014/main" id="{C31E3D77-5C91-465B-A370-454C27AA3086}"/>
              </a:ext>
            </a:extLst>
          </p:cNvPr>
          <p:cNvSpPr/>
          <p:nvPr userDrawn="1"/>
        </p:nvSpPr>
        <p:spPr>
          <a:xfrm>
            <a:off x="660273" y="426995"/>
            <a:ext cx="11430108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3400" b="1" dirty="0">
                <a:solidFill>
                  <a:srgbClr val="2E5980"/>
                </a:solidFill>
              </a:rPr>
              <a:t>DATOVÁ ZÁKLADNA PRO STRATEGICKÉ MAKROEKONOMICKÉ PREDIKCE REZORTU ZDRAVOTNICTVÍ</a:t>
            </a:r>
          </a:p>
        </p:txBody>
      </p:sp>
      <p:sp>
        <p:nvSpPr>
          <p:cNvPr id="59" name="Obdélník 58">
            <a:extLst>
              <a:ext uri="{FF2B5EF4-FFF2-40B4-BE49-F238E27FC236}">
                <a16:creationId xmlns:a16="http://schemas.microsoft.com/office/drawing/2014/main" id="{09B596B8-099A-443E-BAF4-60E9B64C466A}"/>
              </a:ext>
            </a:extLst>
          </p:cNvPr>
          <p:cNvSpPr/>
          <p:nvPr userDrawn="1"/>
        </p:nvSpPr>
        <p:spPr>
          <a:xfrm>
            <a:off x="527387" y="5807676"/>
            <a:ext cx="6869296" cy="2718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0" name="Zástupný symbol textu 4">
            <a:extLst>
              <a:ext uri="{FF2B5EF4-FFF2-40B4-BE49-F238E27FC236}">
                <a16:creationId xmlns:a16="http://schemas.microsoft.com/office/drawing/2014/main" id="{71478611-DE5F-4F95-89E9-326EBE713181}"/>
              </a:ext>
            </a:extLst>
          </p:cNvPr>
          <p:cNvSpPr txBox="1">
            <a:spLocks/>
          </p:cNvSpPr>
          <p:nvPr userDrawn="1"/>
        </p:nvSpPr>
        <p:spPr>
          <a:xfrm>
            <a:off x="594915" y="5607609"/>
            <a:ext cx="7707659" cy="50725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dirty="0">
                <a:solidFill>
                  <a:srgbClr val="D71440"/>
                </a:solidFill>
              </a:rPr>
              <a:t>Analytická studie – retrospektivní data </a:t>
            </a:r>
          </a:p>
        </p:txBody>
      </p:sp>
      <p:pic>
        <p:nvPicPr>
          <p:cNvPr id="97" name="Obrázek 96">
            <a:extLst>
              <a:ext uri="{FF2B5EF4-FFF2-40B4-BE49-F238E27FC236}">
                <a16:creationId xmlns:a16="http://schemas.microsoft.com/office/drawing/2014/main" id="{4DDCE2EB-F9A1-473A-A9FF-32762FFE32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3890" y="6126907"/>
            <a:ext cx="349247" cy="360000"/>
          </a:xfrm>
          <a:prstGeom prst="rect">
            <a:avLst/>
          </a:prstGeom>
        </p:spPr>
      </p:pic>
      <p:pic>
        <p:nvPicPr>
          <p:cNvPr id="106" name="Obrázek 105">
            <a:extLst>
              <a:ext uri="{FF2B5EF4-FFF2-40B4-BE49-F238E27FC236}">
                <a16:creationId xmlns:a16="http://schemas.microsoft.com/office/drawing/2014/main" id="{67185E4E-82CC-4460-806F-915C724D450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141455" y="4199123"/>
            <a:ext cx="3200677" cy="24995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3332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Obrázek 19">
            <a:extLst>
              <a:ext uri="{FF2B5EF4-FFF2-40B4-BE49-F238E27FC236}">
                <a16:creationId xmlns:a16="http://schemas.microsoft.com/office/drawing/2014/main" id="{5F1E9921-D786-4622-9EF2-A6007AE054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5723" y="1261135"/>
            <a:ext cx="11296867" cy="4444369"/>
          </a:xfrm>
          <a:prstGeom prst="rect">
            <a:avLst/>
          </a:prstGeom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4BD03AA9-B999-4805-B7AC-C1F0F93EF13E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54DAE294-4BD8-455C-A2EB-4ABED922A97C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38F94E04-9BB2-4FC4-8172-8A66901076DD}"/>
              </a:ext>
            </a:extLst>
          </p:cNvPr>
          <p:cNvSpPr txBox="1"/>
          <p:nvPr userDrawn="1"/>
        </p:nvSpPr>
        <p:spPr>
          <a:xfrm>
            <a:off x="8713002" y="6142934"/>
            <a:ext cx="33773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rgbClr val="3D67BC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rgbClr val="3D67BC"/>
                </a:solidFill>
              </a:rPr>
              <a:t>Institute </a:t>
            </a:r>
            <a:r>
              <a:rPr lang="cs-CZ" sz="900" i="1" dirty="0" err="1">
                <a:solidFill>
                  <a:srgbClr val="3D67BC"/>
                </a:solidFill>
              </a:rPr>
              <a:t>of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Health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Information</a:t>
            </a:r>
            <a:r>
              <a:rPr lang="cs-CZ" sz="900" i="1" dirty="0">
                <a:solidFill>
                  <a:srgbClr val="3D67BC"/>
                </a:solidFill>
              </a:rPr>
              <a:t> and </a:t>
            </a:r>
            <a:r>
              <a:rPr lang="cs-CZ" sz="900" i="1" dirty="0" err="1">
                <a:solidFill>
                  <a:srgbClr val="3D67BC"/>
                </a:solidFill>
              </a:rPr>
              <a:t>Statistics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of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the</a:t>
            </a:r>
            <a:r>
              <a:rPr lang="cs-CZ" sz="900" i="1" dirty="0">
                <a:solidFill>
                  <a:srgbClr val="3D67BC"/>
                </a:solidFill>
              </a:rPr>
              <a:t> Czech Republic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BC0BAC29-C83A-48F6-8604-A24CCF0793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3890" y="6089199"/>
            <a:ext cx="349247" cy="360000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F980A061-B2D6-440A-BB4B-6B45C7662F8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00" y="6186252"/>
            <a:ext cx="3763463" cy="324000"/>
          </a:xfrm>
          <a:prstGeom prst="rect">
            <a:avLst/>
          </a:prstGeom>
        </p:spPr>
      </p:pic>
      <p:sp>
        <p:nvSpPr>
          <p:cNvPr id="12" name="Obdélník 11">
            <a:extLst>
              <a:ext uri="{FF2B5EF4-FFF2-40B4-BE49-F238E27FC236}">
                <a16:creationId xmlns:a16="http://schemas.microsoft.com/office/drawing/2014/main" id="{40F001DF-185E-497F-9C76-2F1B887F833C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F606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3" name="Volný tvar 6">
            <a:extLst>
              <a:ext uri="{FF2B5EF4-FFF2-40B4-BE49-F238E27FC236}">
                <a16:creationId xmlns:a16="http://schemas.microsoft.com/office/drawing/2014/main" id="{F17C9E7D-06C1-40EB-8432-E344423E3FAA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Volný tvar 17">
            <a:extLst>
              <a:ext uri="{FF2B5EF4-FFF2-40B4-BE49-F238E27FC236}">
                <a16:creationId xmlns:a16="http://schemas.microsoft.com/office/drawing/2014/main" id="{18733C0B-38E7-4C19-8B5C-83799445A84E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5" name="Volný tvar 18">
            <a:extLst>
              <a:ext uri="{FF2B5EF4-FFF2-40B4-BE49-F238E27FC236}">
                <a16:creationId xmlns:a16="http://schemas.microsoft.com/office/drawing/2014/main" id="{89F57DFD-2C3F-4C7B-A411-9ACDF984C1C5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16" name="Volný tvar 19">
            <a:extLst>
              <a:ext uri="{FF2B5EF4-FFF2-40B4-BE49-F238E27FC236}">
                <a16:creationId xmlns:a16="http://schemas.microsoft.com/office/drawing/2014/main" id="{4AD77AFE-3C03-4A5E-8C33-5E0E35A6FAE2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17C06A58-496E-4CAE-BEA7-F0D694058708}"/>
              </a:ext>
            </a:extLst>
          </p:cNvPr>
          <p:cNvSpPr/>
          <p:nvPr userDrawn="1"/>
        </p:nvSpPr>
        <p:spPr>
          <a:xfrm>
            <a:off x="527387" y="5807676"/>
            <a:ext cx="6869296" cy="2718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8" name="Zástupný symbol textu 4">
            <a:extLst>
              <a:ext uri="{FF2B5EF4-FFF2-40B4-BE49-F238E27FC236}">
                <a16:creationId xmlns:a16="http://schemas.microsoft.com/office/drawing/2014/main" id="{85DF8549-49A9-4045-9440-3C137B807487}"/>
              </a:ext>
            </a:extLst>
          </p:cNvPr>
          <p:cNvSpPr txBox="1">
            <a:spLocks/>
          </p:cNvSpPr>
          <p:nvPr userDrawn="1"/>
        </p:nvSpPr>
        <p:spPr>
          <a:xfrm>
            <a:off x="594915" y="5607609"/>
            <a:ext cx="7707659" cy="50725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dirty="0">
                <a:solidFill>
                  <a:srgbClr val="D71440"/>
                </a:solidFill>
              </a:rPr>
              <a:t>Analytická studie – retrospektivní data </a:t>
            </a:r>
          </a:p>
        </p:txBody>
      </p:sp>
      <p:pic>
        <p:nvPicPr>
          <p:cNvPr id="19" name="Obrázek 18">
            <a:extLst>
              <a:ext uri="{FF2B5EF4-FFF2-40B4-BE49-F238E27FC236}">
                <a16:creationId xmlns:a16="http://schemas.microsoft.com/office/drawing/2014/main" id="{572C5E22-2EB2-422D-942A-F74CDAED999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141454" y="4155581"/>
            <a:ext cx="3200677" cy="2499577"/>
          </a:xfrm>
          <a:prstGeom prst="rect">
            <a:avLst/>
          </a:prstGeom>
        </p:spPr>
      </p:pic>
      <p:sp>
        <p:nvSpPr>
          <p:cNvPr id="21" name="Obdélník 20">
            <a:extLst>
              <a:ext uri="{FF2B5EF4-FFF2-40B4-BE49-F238E27FC236}">
                <a16:creationId xmlns:a16="http://schemas.microsoft.com/office/drawing/2014/main" id="{DE842B4A-D124-4F6D-A394-7E2055D4C08A}"/>
              </a:ext>
            </a:extLst>
          </p:cNvPr>
          <p:cNvSpPr/>
          <p:nvPr userDrawn="1"/>
        </p:nvSpPr>
        <p:spPr>
          <a:xfrm>
            <a:off x="660273" y="426995"/>
            <a:ext cx="11430108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3400" b="1" dirty="0">
                <a:solidFill>
                  <a:srgbClr val="2E5980"/>
                </a:solidFill>
              </a:rPr>
              <a:t>DATOVÁ ZÁKLADNA PRO STRATEGICKÉ MAKROEKONOMICKÉ PREDIKCE REZORTU ZDRAVOTNICTVÍ</a:t>
            </a:r>
          </a:p>
        </p:txBody>
      </p:sp>
    </p:spTree>
    <p:extLst>
      <p:ext uri="{BB962C8B-B14F-4D97-AF65-F5344CB8AC3E}">
        <p14:creationId xmlns:p14="http://schemas.microsoft.com/office/powerpoint/2010/main" val="16177592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347463" y="1160781"/>
            <a:ext cx="52200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cs-CZ" sz="22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400" b="1" dirty="0">
                <a:solidFill>
                  <a:schemeClr val="bg1"/>
                </a:solidFill>
              </a:rPr>
              <a:t>Plánování personálních kapacit ve zdravotnictví</a:t>
            </a:r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98422F-1202-68B7-A6C5-FD1E3B5029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9478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Volný tvar 6">
            <a:extLst>
              <a:ext uri="{FF2B5EF4-FFF2-40B4-BE49-F238E27FC236}">
                <a16:creationId xmlns:a16="http://schemas.microsoft.com/office/drawing/2014/main" id="{9C4E3F5D-17FE-4F11-BF0B-55FCB20C5B12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1" name="Volný tvar 17">
            <a:extLst>
              <a:ext uri="{FF2B5EF4-FFF2-40B4-BE49-F238E27FC236}">
                <a16:creationId xmlns:a16="http://schemas.microsoft.com/office/drawing/2014/main" id="{D48C225E-8000-42E1-8A87-FBEBB02FC061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2" name="Volný tvar 18">
            <a:extLst>
              <a:ext uri="{FF2B5EF4-FFF2-40B4-BE49-F238E27FC236}">
                <a16:creationId xmlns:a16="http://schemas.microsoft.com/office/drawing/2014/main" id="{E8850329-92A2-4C8B-8B48-BF3BBCB09972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73" name="Volný tvar 19">
            <a:extLst>
              <a:ext uri="{FF2B5EF4-FFF2-40B4-BE49-F238E27FC236}">
                <a16:creationId xmlns:a16="http://schemas.microsoft.com/office/drawing/2014/main" id="{33F7304C-8B0F-401C-BBB8-0F87B5779B2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203367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54661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0628AA9-0270-4466-AEE4-743C6F6BC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098766C-C37F-4567-9F2C-A4B585D0B6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233CD7C-50DC-4ECE-AB8C-2F9F189E01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CE71133-EA5C-42EA-9E5B-F6899631D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EB4E4BE-77B6-4193-B096-DCEE3DB389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160490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328CA8B-BE17-4E8E-BA21-5C708B05C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86EB976-B52F-4E70-BBEC-C16C4DA36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0C9C5FA-8A58-4277-A372-519F039FD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D0A4BF4-D40A-4D0B-BC1B-8FB80ED05B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555A1A0-AD5B-4C95-BAFF-47E2F5A4A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161279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277A5EC-DCF3-4316-AAF9-593891F15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80E2C95-7248-4E58-95A4-5C701F280FD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8EFFA53-665F-4953-B32A-12133A2A98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BCA4233-D784-46DD-A1AD-4152E21E03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E85684D-BE59-4E04-BE98-A785CC64EF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021854D-6B80-4FB9-9CFC-9B304DA8E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355476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24D1B7E-0F7A-48FF-80C4-2C5F31EE86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E874446-8942-495E-93DB-784F144CCC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AF267A43-2030-465F-AE0C-283CAF1556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FDFD93F-F2A2-42A7-9EDB-BA58F8C98E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3B9F1699-C431-4C57-A22C-6828F38DC3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3D1BA643-00CC-4CB6-A102-96700A2948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529C33A4-481B-476E-BA47-9035B5F725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48FED13E-2988-4324-B670-BCEC1AAF1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405445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B59216-F6BD-41DB-8B58-4DBD6F78B3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A086BD3-60BD-4510-BFCD-6FD8FF6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E831CCE1-A76C-42B2-A3B8-61F4A78C6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12D9ECAF-09A6-4E6E-988F-94DAE95CF8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6520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C0AD9E5-E08C-4CAB-A5F9-F9481151C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617BB3E-FF8D-442E-97B6-8067255EF1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ECF4D5E-1183-45AB-8E9C-7FD2874A39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9D4DE49-771C-490A-BDED-84F1971DC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88DB9D8-26C2-425E-87CD-0EE8FFEE7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135314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3A5116D5-D10D-4780-8DE3-E263AD5C3B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C0CB6E23-B354-4679-9857-1042E08443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B3F9D63A-A61B-4C7A-AE07-9A88CDEB6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58015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6423551-D153-4217-A154-4407A5B5F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7416EEB-8CE6-4497-BFA3-F99CC0D176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5DD2D91-6CED-4D5D-90BC-1170E28864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87CD6761-29DF-4455-9076-0459A1991A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8557E6A1-1563-4E8F-97AB-B963948811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3846D3B-0330-4216-A3E4-28A863411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964731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70D4BE5-19B7-49D5-8B48-E9CCECB05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F41C0DCF-3D3D-40E5-9127-BB856F35324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734A7E9-778A-493F-86D4-6A7719CA6B7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F7852D4C-AA02-44EC-AAA8-C261F839B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CCEA8B9-0632-4DC0-BA34-8F44709562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9B75481-B9F9-4C7F-93D3-F3E678104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73252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027C9B-34FC-4CEF-A0D2-FE608DB0C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97DE946A-16C9-4D5E-9125-FDC4FC0E303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8D8B166-2654-4599-81CD-090450DCB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E545EFA-9E6A-445E-8D63-AA5C6DACA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D78E511-8C01-48B0-86BA-51C6AEA959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974484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4A84DCF3-1782-4C08-96B2-D43EBCE1DA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F68719A1-DC72-431A-9D4E-96FA10E29B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005688-EA75-4393-9E80-A1CE893986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3550C1-90E3-48F0-81D4-692D92D9D800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97F067B-09AF-4046-BACD-D60555ECB6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CEB7427-BEE7-4670-92C0-022D2034AE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84301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>
            <a:extLst>
              <a:ext uri="{FF2B5EF4-FFF2-40B4-BE49-F238E27FC236}">
                <a16:creationId xmlns:a16="http://schemas.microsoft.com/office/drawing/2014/main" id="{2E8E98BE-2E5D-4D42-A18D-4E02966311D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526675"/>
            <a:ext cx="12192000" cy="6327186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37171C75-2881-4DC1-B5C6-0C62E770BE5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1405" y="514298"/>
            <a:ext cx="9926595" cy="1226109"/>
          </a:xfrm>
        </p:spPr>
        <p:txBody>
          <a:bodyPr anchor="b">
            <a:normAutofit/>
          </a:bodyPr>
          <a:lstStyle>
            <a:lvl1pPr algn="l">
              <a:defRPr sz="44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FE663AE-3756-4E56-92BC-FC01184D54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34735" y="5955954"/>
            <a:ext cx="8922057" cy="569235"/>
          </a:xfrm>
        </p:spPr>
        <p:txBody>
          <a:bodyPr>
            <a:normAutofit/>
          </a:bodyPr>
          <a:lstStyle>
            <a:lvl1pPr marL="0" indent="0" algn="l">
              <a:buNone/>
              <a:defRPr sz="3200" b="1">
                <a:solidFill>
                  <a:srgbClr val="21324B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1" name="Volný tvar 6">
            <a:extLst>
              <a:ext uri="{FF2B5EF4-FFF2-40B4-BE49-F238E27FC236}">
                <a16:creationId xmlns:a16="http://schemas.microsoft.com/office/drawing/2014/main" id="{F6B66CD8-4445-4E1E-B164-1F74856F5AC4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83D1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Volný tvar 18">
            <a:extLst>
              <a:ext uri="{FF2B5EF4-FFF2-40B4-BE49-F238E27FC236}">
                <a16:creationId xmlns:a16="http://schemas.microsoft.com/office/drawing/2014/main" id="{997DB1CF-25EA-45C1-9E64-BEA6C2062B21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13" name="Volný tvar 19">
            <a:extLst>
              <a:ext uri="{FF2B5EF4-FFF2-40B4-BE49-F238E27FC236}">
                <a16:creationId xmlns:a16="http://schemas.microsoft.com/office/drawing/2014/main" id="{3C024B8A-288F-4312-AA90-9853C92871A3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1324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Volný tvar 17">
            <a:extLst>
              <a:ext uri="{FF2B5EF4-FFF2-40B4-BE49-F238E27FC236}">
                <a16:creationId xmlns:a16="http://schemas.microsoft.com/office/drawing/2014/main" id="{EDE51583-0158-4548-B860-EAAFD5D849FC}"/>
              </a:ext>
            </a:extLst>
          </p:cNvPr>
          <p:cNvSpPr/>
          <p:nvPr userDrawn="1"/>
        </p:nvSpPr>
        <p:spPr>
          <a:xfrm rot="10800000">
            <a:off x="-24714" y="4389045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1324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6" name="Obrázek 15">
            <a:extLst>
              <a:ext uri="{FF2B5EF4-FFF2-40B4-BE49-F238E27FC236}">
                <a16:creationId xmlns:a16="http://schemas.microsoft.com/office/drawing/2014/main" id="{9E09B41F-4BC9-4CC5-8285-3C402F6EFB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1192" y="6272375"/>
            <a:ext cx="603954" cy="399218"/>
          </a:xfrm>
          <a:prstGeom prst="rect">
            <a:avLst/>
          </a:prstGeom>
        </p:spPr>
      </p:pic>
      <p:pic>
        <p:nvPicPr>
          <p:cNvPr id="17" name="Obrázek 16">
            <a:extLst>
              <a:ext uri="{FF2B5EF4-FFF2-40B4-BE49-F238E27FC236}">
                <a16:creationId xmlns:a16="http://schemas.microsoft.com/office/drawing/2014/main" id="{A9C8CE1D-AC60-414C-8191-A8F55DE8BF7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7225" y="6370983"/>
            <a:ext cx="3170928" cy="277776"/>
          </a:xfrm>
          <a:prstGeom prst="rect">
            <a:avLst/>
          </a:prstGeom>
        </p:spPr>
      </p:pic>
      <p:pic>
        <p:nvPicPr>
          <p:cNvPr id="7" name="Picture 24">
            <a:extLst>
              <a:ext uri="{FF2B5EF4-FFF2-40B4-BE49-F238E27FC236}">
                <a16:creationId xmlns:a16="http://schemas.microsoft.com/office/drawing/2014/main" id="{6199626D-DDE4-8C3A-BC68-CA027A68E3AA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340046" y="1342772"/>
            <a:ext cx="592937" cy="39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B07FD8B6-DE26-7678-8A13-882AAF5F58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701" y="1259484"/>
            <a:ext cx="574173" cy="574173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id="{229F6553-88DC-BAAA-ECAC-030701EBAF8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7982402" y="1012029"/>
            <a:ext cx="979040" cy="969021"/>
          </a:xfrm>
          <a:prstGeom prst="rect">
            <a:avLst/>
          </a:prstGeom>
        </p:spPr>
      </p:pic>
      <p:pic>
        <p:nvPicPr>
          <p:cNvPr id="18" name="Obrázek 17">
            <a:extLst>
              <a:ext uri="{FF2B5EF4-FFF2-40B4-BE49-F238E27FC236}">
                <a16:creationId xmlns:a16="http://schemas.microsoft.com/office/drawing/2014/main" id="{699176E9-AB8D-474D-51AE-447C1A656C7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6614" y="799146"/>
            <a:ext cx="1336896" cy="1336896"/>
          </a:xfrm>
          <a:prstGeom prst="rect">
            <a:avLst/>
          </a:prstGeom>
        </p:spPr>
      </p:pic>
      <p:pic>
        <p:nvPicPr>
          <p:cNvPr id="19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C0FC403B-FE09-ABE7-E81C-69D4998DF86E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7607" y="597203"/>
            <a:ext cx="778907" cy="303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5706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 (rozdělovní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>
            <a:extLst>
              <a:ext uri="{FF2B5EF4-FFF2-40B4-BE49-F238E27FC236}">
                <a16:creationId xmlns:a16="http://schemas.microsoft.com/office/drawing/2014/main" id="{AC51CB55-DBF9-41EC-A0BF-A995FE5439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08199"/>
            <a:ext cx="12192000" cy="3796312"/>
          </a:xfrm>
          <a:prstGeom prst="rect">
            <a:avLst/>
          </a:prstGeom>
        </p:spPr>
      </p:pic>
      <p:sp>
        <p:nvSpPr>
          <p:cNvPr id="2" name="Nadpis 1">
            <a:extLst>
              <a:ext uri="{FF2B5EF4-FFF2-40B4-BE49-F238E27FC236}">
                <a16:creationId xmlns:a16="http://schemas.microsoft.com/office/drawing/2014/main" id="{07AEF750-ACFC-46F4-8CF0-BBAD34525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05" y="691978"/>
            <a:ext cx="5964195" cy="2998573"/>
          </a:xfrm>
        </p:spPr>
        <p:txBody>
          <a:bodyPr anchor="ctr">
            <a:normAutofit/>
          </a:bodyPr>
          <a:lstStyle>
            <a:lvl1pPr>
              <a:defRPr sz="36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F1C68E6-B1C2-4CEB-9182-5FF467416C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8368" y="4589463"/>
            <a:ext cx="10919082" cy="1500187"/>
          </a:xfrm>
        </p:spPr>
        <p:txBody>
          <a:bodyPr>
            <a:normAutofit/>
          </a:bodyPr>
          <a:lstStyle>
            <a:lvl1pPr marL="0" indent="0">
              <a:buNone/>
              <a:defRPr sz="3200" b="1">
                <a:solidFill>
                  <a:srgbClr val="83D1B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49D76BE6-D56C-406B-8860-FF8BB843D52C}"/>
              </a:ext>
            </a:extLst>
          </p:cNvPr>
          <p:cNvGrpSpPr/>
          <p:nvPr userDrawn="1"/>
        </p:nvGrpSpPr>
        <p:grpSpPr>
          <a:xfrm>
            <a:off x="7780833" y="6272375"/>
            <a:ext cx="4176775" cy="399218"/>
            <a:chOff x="7767225" y="6272375"/>
            <a:chExt cx="4176775" cy="399218"/>
          </a:xfrm>
        </p:grpSpPr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8533EA76-00A2-4A1D-8A3B-A57B2D29412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40046" y="6272375"/>
              <a:ext cx="603954" cy="399218"/>
            </a:xfrm>
            <a:prstGeom prst="rect">
              <a:avLst/>
            </a:prstGeom>
          </p:spPr>
        </p:pic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5173A543-8B9C-4F5D-B7D8-EDA78DDAD4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67225" y="6370983"/>
              <a:ext cx="3170928" cy="277776"/>
            </a:xfrm>
            <a:prstGeom prst="rect">
              <a:avLst/>
            </a:prstGeom>
          </p:spPr>
        </p:pic>
      </p:grpSp>
      <p:pic>
        <p:nvPicPr>
          <p:cNvPr id="4" name="Obrázek 3">
            <a:extLst>
              <a:ext uri="{FF2B5EF4-FFF2-40B4-BE49-F238E27FC236}">
                <a16:creationId xmlns:a16="http://schemas.microsoft.com/office/drawing/2014/main" id="{C0850332-DDAD-FB3D-5EFD-72CBBB45E24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263848" y="6166022"/>
            <a:ext cx="641209" cy="634647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CD599326-0A48-EBB2-2DC4-2A961DF8FC8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392" y="6063125"/>
            <a:ext cx="828510" cy="828510"/>
          </a:xfrm>
          <a:prstGeom prst="rect">
            <a:avLst/>
          </a:prstGeom>
        </p:spPr>
      </p:pic>
      <p:pic>
        <p:nvPicPr>
          <p:cNvPr id="6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0A22042-9085-D000-099A-29F9929E4CA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8701" y="212545"/>
            <a:ext cx="778907" cy="303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1684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79ACDB7-70B7-478E-A66A-77126608DC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6605" y="463982"/>
            <a:ext cx="11302314" cy="615178"/>
          </a:xfrm>
        </p:spPr>
        <p:txBody>
          <a:bodyPr/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FA39F07-29C9-4BAC-A030-B26EA1F637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605" y="1219200"/>
            <a:ext cx="11302314" cy="5199531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Volný tvar 6">
            <a:extLst>
              <a:ext uri="{FF2B5EF4-FFF2-40B4-BE49-F238E27FC236}">
                <a16:creationId xmlns:a16="http://schemas.microsoft.com/office/drawing/2014/main" id="{D20034F7-2236-4646-9C8A-C83F0C5D3672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83D1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7">
            <a:extLst>
              <a:ext uri="{FF2B5EF4-FFF2-40B4-BE49-F238E27FC236}">
                <a16:creationId xmlns:a16="http://schemas.microsoft.com/office/drawing/2014/main" id="{1433E7F7-CF01-4388-9FCB-CE2D00DB651C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1324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Volný tvar 18">
            <a:extLst>
              <a:ext uri="{FF2B5EF4-FFF2-40B4-BE49-F238E27FC236}">
                <a16:creationId xmlns:a16="http://schemas.microsoft.com/office/drawing/2014/main" id="{4D311832-C7F1-4A31-927A-BE0EA60B0C7E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10" name="Volný tvar 19">
            <a:extLst>
              <a:ext uri="{FF2B5EF4-FFF2-40B4-BE49-F238E27FC236}">
                <a16:creationId xmlns:a16="http://schemas.microsoft.com/office/drawing/2014/main" id="{A772CE9A-8B46-4291-A915-83B32CB09A9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1324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20750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Volný tvar 6">
            <a:extLst>
              <a:ext uri="{FF2B5EF4-FFF2-40B4-BE49-F238E27FC236}">
                <a16:creationId xmlns:a16="http://schemas.microsoft.com/office/drawing/2014/main" id="{B6336CFE-3096-43C3-9E46-9383AC769B15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83D1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Volný tvar 17">
            <a:extLst>
              <a:ext uri="{FF2B5EF4-FFF2-40B4-BE49-F238E27FC236}">
                <a16:creationId xmlns:a16="http://schemas.microsoft.com/office/drawing/2014/main" id="{C20CC309-EC2F-4B2C-9CC3-C431ECA6E6A6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1324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8">
            <a:extLst>
              <a:ext uri="{FF2B5EF4-FFF2-40B4-BE49-F238E27FC236}">
                <a16:creationId xmlns:a16="http://schemas.microsoft.com/office/drawing/2014/main" id="{BDFAA844-6FCB-4C30-B0F0-1C5243DE8DD5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9" name="Volný tvar 19">
            <a:extLst>
              <a:ext uri="{FF2B5EF4-FFF2-40B4-BE49-F238E27FC236}">
                <a16:creationId xmlns:a16="http://schemas.microsoft.com/office/drawing/2014/main" id="{9768E1DE-3BC6-42A8-AA3D-16CB0656149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1324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57F1D7F0-8EF2-4D37-BB2D-D3AB74464A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3212575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Volný tvar 17">
            <a:extLst>
              <a:ext uri="{FF2B5EF4-FFF2-40B4-BE49-F238E27FC236}">
                <a16:creationId xmlns:a16="http://schemas.microsoft.com/office/drawing/2014/main" id="{6D78E527-069B-4510-B982-517B7D9396E7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1324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Volný tvar 19">
            <a:extLst>
              <a:ext uri="{FF2B5EF4-FFF2-40B4-BE49-F238E27FC236}">
                <a16:creationId xmlns:a16="http://schemas.microsoft.com/office/drawing/2014/main" id="{435F119D-FABF-4FA4-B1C9-B2BB183F659C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83D1B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449623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5DD8B4D-DDE1-47DD-8286-4CC8FA0983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C914A1A-9DD7-4231-B018-F377FD7710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8D2F9BD-8EAE-48E7-A030-EF46F9A1FD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34D75D6-239A-4391-8384-54DCE972D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88F23B3-7A72-4D63-8F6D-440720AD6A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9127207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02895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21487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347463" y="1160781"/>
            <a:ext cx="52200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cs-CZ" sz="22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400" b="1" dirty="0">
                <a:solidFill>
                  <a:schemeClr val="bg1"/>
                </a:solidFill>
              </a:rPr>
              <a:t>Plánování personálních kapacit ve zdravotnictví</a:t>
            </a:r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98422F-1202-68B7-A6C5-FD1E3B5029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463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98422F-1202-68B7-A6C5-FD1E3B50298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9623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005682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91016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ĺžnik 35">
            <a:extLst>
              <a:ext uri="{FF2B5EF4-FFF2-40B4-BE49-F238E27FC236}">
                <a16:creationId xmlns:a16="http://schemas.microsoft.com/office/drawing/2014/main" id="{77C63991-1C36-4B8C-B7EC-85B113AC3A08}"/>
              </a:ext>
            </a:extLst>
          </p:cNvPr>
          <p:cNvSpPr/>
          <p:nvPr userDrawn="1"/>
        </p:nvSpPr>
        <p:spPr bwMode="gray">
          <a:xfrm>
            <a:off x="290679" y="1966007"/>
            <a:ext cx="11656519" cy="3962313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BCD3A8A6-2AA8-43CE-93F7-46D9B185ACF4}"/>
              </a:ext>
            </a:extLst>
          </p:cNvPr>
          <p:cNvSpPr/>
          <p:nvPr userDrawn="1"/>
        </p:nvSpPr>
        <p:spPr bwMode="gray">
          <a:xfrm>
            <a:off x="1168400" y="2367131"/>
            <a:ext cx="9855200" cy="3079599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cs-CZ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E13AD1DC-854F-461A-85CE-261821237239}"/>
              </a:ext>
            </a:extLst>
          </p:cNvPr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9E9CBE7C-B46B-4263-B7DA-1846693D9836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CFBFCF4F-142E-4CF2-93B7-E6AD72FC5639}"/>
              </a:ext>
            </a:extLst>
          </p:cNvPr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5F5E0734-7668-4265-8737-BB10B3A928BB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569EF8DF-41B0-4748-8427-90481B64DC71}"/>
              </a:ext>
            </a:extLst>
          </p:cNvPr>
          <p:cNvSpPr txBox="1"/>
          <p:nvPr userDrawn="1"/>
        </p:nvSpPr>
        <p:spPr>
          <a:xfrm>
            <a:off x="8713002" y="6142934"/>
            <a:ext cx="33773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rgbClr val="3D67BC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rgbClr val="3D67BC"/>
                </a:solidFill>
              </a:rPr>
              <a:t>Institute </a:t>
            </a:r>
            <a:r>
              <a:rPr lang="cs-CZ" sz="900" i="1" dirty="0" err="1">
                <a:solidFill>
                  <a:srgbClr val="3D67BC"/>
                </a:solidFill>
              </a:rPr>
              <a:t>of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Health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Information</a:t>
            </a:r>
            <a:r>
              <a:rPr lang="cs-CZ" sz="900" i="1" dirty="0">
                <a:solidFill>
                  <a:srgbClr val="3D67BC"/>
                </a:solidFill>
              </a:rPr>
              <a:t> and </a:t>
            </a:r>
            <a:r>
              <a:rPr lang="cs-CZ" sz="900" i="1" dirty="0" err="1">
                <a:solidFill>
                  <a:srgbClr val="3D67BC"/>
                </a:solidFill>
              </a:rPr>
              <a:t>Statistics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of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the</a:t>
            </a:r>
            <a:r>
              <a:rPr lang="cs-CZ" sz="900" i="1" dirty="0">
                <a:solidFill>
                  <a:srgbClr val="3D67BC"/>
                </a:solidFill>
              </a:rPr>
              <a:t> Czech Republic</a:t>
            </a:r>
          </a:p>
        </p:txBody>
      </p:sp>
      <p:pic>
        <p:nvPicPr>
          <p:cNvPr id="19" name="Obrázek 18">
            <a:extLst>
              <a:ext uri="{FF2B5EF4-FFF2-40B4-BE49-F238E27FC236}">
                <a16:creationId xmlns:a16="http://schemas.microsoft.com/office/drawing/2014/main" id="{68485F3D-5497-49B5-8AFD-B48C5B7D1E32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3890" y="6089199"/>
            <a:ext cx="349247" cy="360000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638B3C8C-A726-43EE-80E2-A0C80CD5D0F2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00" y="6186252"/>
            <a:ext cx="3763463" cy="324000"/>
          </a:xfrm>
          <a:prstGeom prst="rect">
            <a:avLst/>
          </a:prstGeom>
        </p:spPr>
      </p:pic>
      <p:sp>
        <p:nvSpPr>
          <p:cNvPr id="21" name="Volný tvar 6">
            <a:extLst>
              <a:ext uri="{FF2B5EF4-FFF2-40B4-BE49-F238E27FC236}">
                <a16:creationId xmlns:a16="http://schemas.microsoft.com/office/drawing/2014/main" id="{B1B50602-9BEE-4838-BABB-479E9B9DA990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2" name="Volný tvar 17">
            <a:extLst>
              <a:ext uri="{FF2B5EF4-FFF2-40B4-BE49-F238E27FC236}">
                <a16:creationId xmlns:a16="http://schemas.microsoft.com/office/drawing/2014/main" id="{95BC6203-BD83-4803-AD8B-9671459BFB7C}"/>
              </a:ext>
            </a:extLst>
          </p:cNvPr>
          <p:cNvSpPr/>
          <p:nvPr userDrawn="1"/>
        </p:nvSpPr>
        <p:spPr>
          <a:xfrm rot="10800000">
            <a:off x="-1" y="4380806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3" name="Volný tvar 18">
            <a:extLst>
              <a:ext uri="{FF2B5EF4-FFF2-40B4-BE49-F238E27FC236}">
                <a16:creationId xmlns:a16="http://schemas.microsoft.com/office/drawing/2014/main" id="{9EAB8E8B-17AE-4319-8FA3-A1DAAC330720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3CCCC">
              <a:alpha val="3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F6EDD091-54FF-47D8-93B0-AFD02A675C6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24242">
              <a:alpha val="27843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0BD7415F-41C1-49B0-B1E5-81290655E2F9}"/>
              </a:ext>
            </a:extLst>
          </p:cNvPr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8CA2A8DB-6132-49AF-AB7B-13A599EB0EFD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849DD4F5-BD09-4694-A8D4-C61F8C5F332C}"/>
              </a:ext>
            </a:extLst>
          </p:cNvPr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3047D081-E38A-44AF-9897-78A3A584B7D6}"/>
              </a:ext>
            </a:extLst>
          </p:cNvPr>
          <p:cNvSpPr/>
          <p:nvPr userDrawn="1"/>
        </p:nvSpPr>
        <p:spPr>
          <a:xfrm>
            <a:off x="0" y="5861078"/>
            <a:ext cx="12192000" cy="45719"/>
          </a:xfrm>
          <a:prstGeom prst="rect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8092765-6AFA-495D-B911-346954B65B3F}"/>
              </a:ext>
            </a:extLst>
          </p:cNvPr>
          <p:cNvSpPr txBox="1"/>
          <p:nvPr userDrawn="1"/>
        </p:nvSpPr>
        <p:spPr>
          <a:xfrm>
            <a:off x="8713002" y="6180642"/>
            <a:ext cx="33773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rgbClr val="3D67BC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rgbClr val="3D67BC"/>
                </a:solidFill>
              </a:rPr>
              <a:t>Institute </a:t>
            </a:r>
            <a:r>
              <a:rPr lang="cs-CZ" sz="900" i="1" dirty="0" err="1">
                <a:solidFill>
                  <a:srgbClr val="3D67BC"/>
                </a:solidFill>
              </a:rPr>
              <a:t>of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Health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Information</a:t>
            </a:r>
            <a:r>
              <a:rPr lang="cs-CZ" sz="900" i="1" dirty="0">
                <a:solidFill>
                  <a:srgbClr val="3D67BC"/>
                </a:solidFill>
              </a:rPr>
              <a:t> and </a:t>
            </a:r>
            <a:r>
              <a:rPr lang="cs-CZ" sz="900" i="1" dirty="0" err="1">
                <a:solidFill>
                  <a:srgbClr val="3D67BC"/>
                </a:solidFill>
              </a:rPr>
              <a:t>Statistics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of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the</a:t>
            </a:r>
            <a:r>
              <a:rPr lang="cs-CZ" sz="900" i="1" dirty="0">
                <a:solidFill>
                  <a:srgbClr val="3D67BC"/>
                </a:solidFill>
              </a:rPr>
              <a:t> Czech Republic</a:t>
            </a:r>
          </a:p>
        </p:txBody>
      </p:sp>
      <p:pic>
        <p:nvPicPr>
          <p:cNvPr id="30" name="Obrázek 29">
            <a:extLst>
              <a:ext uri="{FF2B5EF4-FFF2-40B4-BE49-F238E27FC236}">
                <a16:creationId xmlns:a16="http://schemas.microsoft.com/office/drawing/2014/main" id="{A17EB16A-C11F-4A98-8AEF-6F68E5443787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3890" y="6126907"/>
            <a:ext cx="349247" cy="360000"/>
          </a:xfrm>
          <a:prstGeom prst="rect">
            <a:avLst/>
          </a:prstGeom>
        </p:spPr>
      </p:pic>
      <p:pic>
        <p:nvPicPr>
          <p:cNvPr id="31" name="Obrázek 30">
            <a:extLst>
              <a:ext uri="{FF2B5EF4-FFF2-40B4-BE49-F238E27FC236}">
                <a16:creationId xmlns:a16="http://schemas.microsoft.com/office/drawing/2014/main" id="{971F6B34-8865-4003-99E1-69418AA2914F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00" y="6186252"/>
            <a:ext cx="3763463" cy="324000"/>
          </a:xfrm>
          <a:prstGeom prst="rect">
            <a:avLst/>
          </a:prstGeom>
        </p:spPr>
      </p:pic>
      <p:sp>
        <p:nvSpPr>
          <p:cNvPr id="32" name="Volný tvar 6">
            <a:extLst>
              <a:ext uri="{FF2B5EF4-FFF2-40B4-BE49-F238E27FC236}">
                <a16:creationId xmlns:a16="http://schemas.microsoft.com/office/drawing/2014/main" id="{93B4AAF2-2ECB-447E-88BF-C2AE1B238485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Volný tvar 17">
            <a:extLst>
              <a:ext uri="{FF2B5EF4-FFF2-40B4-BE49-F238E27FC236}">
                <a16:creationId xmlns:a16="http://schemas.microsoft.com/office/drawing/2014/main" id="{E5A377F3-758A-43B6-8C6A-4AA4F1E3F233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4" name="Volný tvar 18">
            <a:extLst>
              <a:ext uri="{FF2B5EF4-FFF2-40B4-BE49-F238E27FC236}">
                <a16:creationId xmlns:a16="http://schemas.microsoft.com/office/drawing/2014/main" id="{0078E8B8-13CC-47F5-9190-4A050380F041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35" name="Volný tvar 19">
            <a:extLst>
              <a:ext uri="{FF2B5EF4-FFF2-40B4-BE49-F238E27FC236}">
                <a16:creationId xmlns:a16="http://schemas.microsoft.com/office/drawing/2014/main" id="{B1F7AE25-E3A9-4BA4-A917-FFBAB961D9BC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36" name="Gruppieren 75">
            <a:extLst>
              <a:ext uri="{FF2B5EF4-FFF2-40B4-BE49-F238E27FC236}">
                <a16:creationId xmlns:a16="http://schemas.microsoft.com/office/drawing/2014/main" id="{FEB03991-7888-41EE-BBCF-E76C296E0BEC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 bwMode="gray">
          <a:xfrm flipH="1">
            <a:off x="779954" y="4620581"/>
            <a:ext cx="790583" cy="795270"/>
            <a:chOff x="7200292" y="4479962"/>
            <a:chExt cx="270012" cy="270012"/>
          </a:xfrm>
        </p:grpSpPr>
        <p:sp>
          <p:nvSpPr>
            <p:cNvPr id="37" name="Ellipse 77">
              <a:extLst>
                <a:ext uri="{FF2B5EF4-FFF2-40B4-BE49-F238E27FC236}">
                  <a16:creationId xmlns:a16="http://schemas.microsoft.com/office/drawing/2014/main" id="{A038BCF9-6E67-4C17-B618-2FF7977F1F9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7200292" y="4479962"/>
              <a:ext cx="270012" cy="27001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38" name="Ellipse 78">
              <a:extLst>
                <a:ext uri="{FF2B5EF4-FFF2-40B4-BE49-F238E27FC236}">
                  <a16:creationId xmlns:a16="http://schemas.microsoft.com/office/drawing/2014/main" id="{06AAD133-2C4A-4D8C-B689-945EFFDD1F76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7222793" y="4502463"/>
              <a:ext cx="225010" cy="22501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</p:grpSp>
      <p:sp>
        <p:nvSpPr>
          <p:cNvPr id="39" name="Ellipse 67">
            <a:extLst>
              <a:ext uri="{FF2B5EF4-FFF2-40B4-BE49-F238E27FC236}">
                <a16:creationId xmlns:a16="http://schemas.microsoft.com/office/drawing/2014/main" id="{CA3C4B6F-3A42-4205-B124-83DA99E4119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flipH="1">
            <a:off x="801350" y="3478151"/>
            <a:ext cx="790583" cy="795270"/>
          </a:xfrm>
          <a:prstGeom prst="ellipse">
            <a:avLst/>
          </a:prstGeom>
          <a:solidFill>
            <a:schemeClr val="bg1"/>
          </a:solidFill>
          <a:ln w="9525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0" name="Ellipse 68">
            <a:extLst>
              <a:ext uri="{FF2B5EF4-FFF2-40B4-BE49-F238E27FC236}">
                <a16:creationId xmlns:a16="http://schemas.microsoft.com/office/drawing/2014/main" id="{349CD9E3-2D2C-4CDB-A108-EFCC172093D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 flipH="1">
            <a:off x="867232" y="3544424"/>
            <a:ext cx="658819" cy="662725"/>
          </a:xfrm>
          <a:prstGeom prst="ellipse">
            <a:avLst/>
          </a:prstGeom>
          <a:solidFill>
            <a:srgbClr val="D7144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1" name="Ellipse 29">
            <a:extLst>
              <a:ext uri="{FF2B5EF4-FFF2-40B4-BE49-F238E27FC236}">
                <a16:creationId xmlns:a16="http://schemas.microsoft.com/office/drawing/2014/main" id="{17C30107-F6FE-40FB-A1B6-02602737583E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791921" y="2337796"/>
            <a:ext cx="790583" cy="795270"/>
          </a:xfrm>
          <a:prstGeom prst="ellipse">
            <a:avLst/>
          </a:prstGeom>
          <a:solidFill>
            <a:schemeClr val="bg1"/>
          </a:solidFill>
          <a:ln w="9525">
            <a:solidFill>
              <a:srgbClr val="2E5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2" name="Ellipse 30">
            <a:extLst>
              <a:ext uri="{FF2B5EF4-FFF2-40B4-BE49-F238E27FC236}">
                <a16:creationId xmlns:a16="http://schemas.microsoft.com/office/drawing/2014/main" id="{07FB372D-2E48-46D8-8BE1-30272757DC04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857803" y="2404069"/>
            <a:ext cx="658819" cy="662725"/>
          </a:xfrm>
          <a:prstGeom prst="ellipse">
            <a:avLst/>
          </a:prstGeom>
          <a:solidFill>
            <a:srgbClr val="2E59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pic>
        <p:nvPicPr>
          <p:cNvPr id="43" name="Picture 24">
            <a:extLst>
              <a:ext uri="{FF2B5EF4-FFF2-40B4-BE49-F238E27FC236}">
                <a16:creationId xmlns:a16="http://schemas.microsoft.com/office/drawing/2014/main" id="{8DDB3CFF-29A2-4CA1-A058-9AAF18FC161E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340046" y="1342772"/>
            <a:ext cx="592937" cy="39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4" name="Ellipse 34">
            <a:extLst>
              <a:ext uri="{FF2B5EF4-FFF2-40B4-BE49-F238E27FC236}">
                <a16:creationId xmlns:a16="http://schemas.microsoft.com/office/drawing/2014/main" id="{12C3E14D-943B-4C7F-BC2E-D39908F29221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gray">
          <a:xfrm>
            <a:off x="10617916" y="3507953"/>
            <a:ext cx="790583" cy="795270"/>
          </a:xfrm>
          <a:prstGeom prst="ellipse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5" name="Ellipse 35">
            <a:extLst>
              <a:ext uri="{FF2B5EF4-FFF2-40B4-BE49-F238E27FC236}">
                <a16:creationId xmlns:a16="http://schemas.microsoft.com/office/drawing/2014/main" id="{1C5371BA-8CF1-402D-B0A3-CE53E6902BCB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gray">
          <a:xfrm>
            <a:off x="10683798" y="3574226"/>
            <a:ext cx="658819" cy="662725"/>
          </a:xfrm>
          <a:prstGeom prst="ellipse">
            <a:avLst/>
          </a:prstGeom>
          <a:solidFill>
            <a:srgbClr val="D7144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6" name="Ellipse 39">
            <a:extLst>
              <a:ext uri="{FF2B5EF4-FFF2-40B4-BE49-F238E27FC236}">
                <a16:creationId xmlns:a16="http://schemas.microsoft.com/office/drawing/2014/main" id="{BF411CC2-024E-4C6F-9679-3DA7C4ECF70D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gray">
          <a:xfrm>
            <a:off x="10637477" y="4612334"/>
            <a:ext cx="790583" cy="795270"/>
          </a:xfrm>
          <a:prstGeom prst="ellipse">
            <a:avLst/>
          </a:prstGeom>
          <a:solidFill>
            <a:schemeClr val="bg1"/>
          </a:solidFill>
          <a:ln w="9525">
            <a:solidFill>
              <a:srgbClr val="2E5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7" name="Ellipse 40">
            <a:extLst>
              <a:ext uri="{FF2B5EF4-FFF2-40B4-BE49-F238E27FC236}">
                <a16:creationId xmlns:a16="http://schemas.microsoft.com/office/drawing/2014/main" id="{C3B40183-33D1-4372-8D28-78EBBA53D69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gray">
          <a:xfrm>
            <a:off x="10703359" y="4678607"/>
            <a:ext cx="658819" cy="662725"/>
          </a:xfrm>
          <a:prstGeom prst="ellipse">
            <a:avLst/>
          </a:prstGeom>
          <a:solidFill>
            <a:srgbClr val="2E59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grpSp>
        <p:nvGrpSpPr>
          <p:cNvPr id="48" name="Gruppieren 75">
            <a:extLst>
              <a:ext uri="{FF2B5EF4-FFF2-40B4-BE49-F238E27FC236}">
                <a16:creationId xmlns:a16="http://schemas.microsoft.com/office/drawing/2014/main" id="{BD42FE8E-2CAD-4BA1-BD71-9427E0F886CA}"/>
              </a:ext>
            </a:extLst>
          </p:cNvPr>
          <p:cNvGrpSpPr>
            <a:grpSpLocks noChangeAspect="1"/>
          </p:cNvGrpSpPr>
          <p:nvPr userDrawn="1">
            <p:custDataLst>
              <p:tags r:id="rId11"/>
            </p:custDataLst>
          </p:nvPr>
        </p:nvGrpSpPr>
        <p:grpSpPr bwMode="gray">
          <a:xfrm flipH="1">
            <a:off x="10603175" y="2346043"/>
            <a:ext cx="790583" cy="795270"/>
            <a:chOff x="7200292" y="4479962"/>
            <a:chExt cx="270012" cy="270012"/>
          </a:xfrm>
        </p:grpSpPr>
        <p:sp>
          <p:nvSpPr>
            <p:cNvPr id="49" name="Ellipse 77">
              <a:extLst>
                <a:ext uri="{FF2B5EF4-FFF2-40B4-BE49-F238E27FC236}">
                  <a16:creationId xmlns:a16="http://schemas.microsoft.com/office/drawing/2014/main" id="{C7E50F92-EBA7-4DB9-BFA6-8B14CF520BB6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7200292" y="4479962"/>
              <a:ext cx="270012" cy="27001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50" name="Ellipse 78">
              <a:extLst>
                <a:ext uri="{FF2B5EF4-FFF2-40B4-BE49-F238E27FC236}">
                  <a16:creationId xmlns:a16="http://schemas.microsoft.com/office/drawing/2014/main" id="{5750DDE0-5F53-4A09-9F2F-D567ABBBAA74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7222793" y="4502463"/>
              <a:ext cx="225010" cy="22501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</p:grpSp>
      <p:pic>
        <p:nvPicPr>
          <p:cNvPr id="51" name="Obrázek 50">
            <a:extLst>
              <a:ext uri="{FF2B5EF4-FFF2-40B4-BE49-F238E27FC236}">
                <a16:creationId xmlns:a16="http://schemas.microsoft.com/office/drawing/2014/main" id="{1DC00054-3DB3-41FD-A7EE-3ADA73DB3B74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8322" y="3647980"/>
            <a:ext cx="490302" cy="551375"/>
          </a:xfrm>
          <a:prstGeom prst="rect">
            <a:avLst/>
          </a:prstGeom>
        </p:spPr>
      </p:pic>
      <p:pic>
        <p:nvPicPr>
          <p:cNvPr id="52" name="Obrázek 51">
            <a:extLst>
              <a:ext uri="{FF2B5EF4-FFF2-40B4-BE49-F238E27FC236}">
                <a16:creationId xmlns:a16="http://schemas.microsoft.com/office/drawing/2014/main" id="{8EC3BA2A-7985-48D3-BA6E-67AA7377C50E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9755" y="2498419"/>
            <a:ext cx="458486" cy="447824"/>
          </a:xfrm>
          <a:prstGeom prst="rect">
            <a:avLst/>
          </a:prstGeom>
        </p:spPr>
      </p:pic>
      <p:pic>
        <p:nvPicPr>
          <p:cNvPr id="53" name="Obrázek 52">
            <a:extLst>
              <a:ext uri="{FF2B5EF4-FFF2-40B4-BE49-F238E27FC236}">
                <a16:creationId xmlns:a16="http://schemas.microsoft.com/office/drawing/2014/main" id="{F6EF85F8-43B5-4226-97F7-B4B53B5669E5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7162" y="4803145"/>
            <a:ext cx="522414" cy="450302"/>
          </a:xfrm>
          <a:prstGeom prst="rect">
            <a:avLst/>
          </a:prstGeom>
        </p:spPr>
      </p:pic>
      <p:pic>
        <p:nvPicPr>
          <p:cNvPr id="55" name="Obrázek 54">
            <a:extLst>
              <a:ext uri="{FF2B5EF4-FFF2-40B4-BE49-F238E27FC236}">
                <a16:creationId xmlns:a16="http://schemas.microsoft.com/office/drawing/2014/main" id="{0B54BD79-F98C-4442-B611-C96436589AC7}"/>
              </a:ext>
            </a:extLst>
          </p:cNvPr>
          <p:cNvPicPr>
            <a:picLocks/>
          </p:cNvPicPr>
          <p:nvPr userDrawn="1"/>
        </p:nvPicPr>
        <p:blipFill rotWithShape="1">
          <a:blip r:embed="rId2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-1" r="-498" b="5127"/>
          <a:stretch/>
        </p:blipFill>
        <p:spPr>
          <a:xfrm>
            <a:off x="3683224" y="3954975"/>
            <a:ext cx="1479600" cy="1378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7" name="Obrázek 56">
            <a:extLst>
              <a:ext uri="{FF2B5EF4-FFF2-40B4-BE49-F238E27FC236}">
                <a16:creationId xmlns:a16="http://schemas.microsoft.com/office/drawing/2014/main" id="{147F9523-C930-4F9E-B11C-414869DBE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364" b="3251"/>
          <a:stretch/>
        </p:blipFill>
        <p:spPr>
          <a:xfrm>
            <a:off x="6825526" y="3940748"/>
            <a:ext cx="1480450" cy="13785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8" name="Obdélník 57">
            <a:extLst>
              <a:ext uri="{FF2B5EF4-FFF2-40B4-BE49-F238E27FC236}">
                <a16:creationId xmlns:a16="http://schemas.microsoft.com/office/drawing/2014/main" id="{C31E3D77-5C91-465B-A370-454C27AA3086}"/>
              </a:ext>
            </a:extLst>
          </p:cNvPr>
          <p:cNvSpPr/>
          <p:nvPr userDrawn="1"/>
        </p:nvSpPr>
        <p:spPr>
          <a:xfrm>
            <a:off x="660273" y="273094"/>
            <a:ext cx="687174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3600" b="1" dirty="0">
                <a:solidFill>
                  <a:srgbClr val="2E5980"/>
                </a:solidFill>
              </a:rPr>
              <a:t>STRATEGICKÝ RÁMEC </a:t>
            </a:r>
          </a:p>
          <a:p>
            <a:r>
              <a:rPr lang="cs-CZ" sz="3600" b="1" dirty="0">
                <a:solidFill>
                  <a:srgbClr val="2E5980"/>
                </a:solidFill>
              </a:rPr>
              <a:t>ROZVOJE PÉČE O ZDRAVÍ</a:t>
            </a:r>
          </a:p>
          <a:p>
            <a:r>
              <a:rPr lang="cs-CZ" sz="3600" b="1" dirty="0">
                <a:solidFill>
                  <a:srgbClr val="2E5980"/>
                </a:solidFill>
              </a:rPr>
              <a:t>V ČESKÉ REPUBLICE DO ROKU 2030</a:t>
            </a:r>
          </a:p>
        </p:txBody>
      </p:sp>
      <p:sp>
        <p:nvSpPr>
          <p:cNvPr id="59" name="Obdélník 58">
            <a:extLst>
              <a:ext uri="{FF2B5EF4-FFF2-40B4-BE49-F238E27FC236}">
                <a16:creationId xmlns:a16="http://schemas.microsoft.com/office/drawing/2014/main" id="{09B596B8-099A-443E-BAF4-60E9B64C466A}"/>
              </a:ext>
            </a:extLst>
          </p:cNvPr>
          <p:cNvSpPr/>
          <p:nvPr userDrawn="1"/>
        </p:nvSpPr>
        <p:spPr>
          <a:xfrm>
            <a:off x="403654" y="5807676"/>
            <a:ext cx="6223389" cy="2718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0" name="Zástupný symbol textu 4">
            <a:extLst>
              <a:ext uri="{FF2B5EF4-FFF2-40B4-BE49-F238E27FC236}">
                <a16:creationId xmlns:a16="http://schemas.microsoft.com/office/drawing/2014/main" id="{71478611-DE5F-4F95-89E9-326EBE713181}"/>
              </a:ext>
            </a:extLst>
          </p:cNvPr>
          <p:cNvSpPr txBox="1">
            <a:spLocks/>
          </p:cNvSpPr>
          <p:nvPr userDrawn="1"/>
        </p:nvSpPr>
        <p:spPr>
          <a:xfrm>
            <a:off x="531544" y="5607609"/>
            <a:ext cx="7707659" cy="50725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dirty="0">
                <a:solidFill>
                  <a:srgbClr val="D71440"/>
                </a:solidFill>
              </a:rPr>
              <a:t>„ZDRAVÍ 2030“– analytická studie </a:t>
            </a:r>
          </a:p>
        </p:txBody>
      </p:sp>
      <p:pic>
        <p:nvPicPr>
          <p:cNvPr id="61" name="Obrázek 60">
            <a:extLst>
              <a:ext uri="{FF2B5EF4-FFF2-40B4-BE49-F238E27FC236}">
                <a16:creationId xmlns:a16="http://schemas.microsoft.com/office/drawing/2014/main" id="{3B935A30-5D56-48CA-8450-EB27F6ED93FC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636" y="2442291"/>
            <a:ext cx="479357" cy="552162"/>
          </a:xfrm>
          <a:prstGeom prst="rect">
            <a:avLst/>
          </a:prstGeom>
        </p:spPr>
      </p:pic>
      <p:pic>
        <p:nvPicPr>
          <p:cNvPr id="62" name="Obrázek 61">
            <a:extLst>
              <a:ext uri="{FF2B5EF4-FFF2-40B4-BE49-F238E27FC236}">
                <a16:creationId xmlns:a16="http://schemas.microsoft.com/office/drawing/2014/main" id="{53D68643-EE8B-4872-9E6F-0D6B847F8EC8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80" y="3631722"/>
            <a:ext cx="651346" cy="488509"/>
          </a:xfrm>
          <a:prstGeom prst="rect">
            <a:avLst/>
          </a:prstGeom>
        </p:spPr>
      </p:pic>
      <p:pic>
        <p:nvPicPr>
          <p:cNvPr id="63" name="Obrázek 62">
            <a:extLst>
              <a:ext uri="{FF2B5EF4-FFF2-40B4-BE49-F238E27FC236}">
                <a16:creationId xmlns:a16="http://schemas.microsoft.com/office/drawing/2014/main" id="{F7271DED-10A1-436D-83D6-0B0CC9A226C9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134" y="4801873"/>
            <a:ext cx="538265" cy="414707"/>
          </a:xfrm>
          <a:prstGeom prst="rect">
            <a:avLst/>
          </a:prstGeom>
        </p:spPr>
      </p:pic>
      <p:pic>
        <p:nvPicPr>
          <p:cNvPr id="70" name="Obrázek 69">
            <a:extLst>
              <a:ext uri="{FF2B5EF4-FFF2-40B4-BE49-F238E27FC236}">
                <a16:creationId xmlns:a16="http://schemas.microsoft.com/office/drawing/2014/main" id="{A66F2984-85DA-4DF3-BF00-6A55C356BA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45" r="19922"/>
          <a:stretch/>
        </p:blipFill>
        <p:spPr>
          <a:xfrm>
            <a:off x="8324477" y="2441121"/>
            <a:ext cx="1553715" cy="128972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A3D6E3A3-E17E-486F-BD43-5B2286912756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5093603" y="4215684"/>
            <a:ext cx="1664352" cy="1018120"/>
          </a:xfrm>
          <a:prstGeom prst="rect">
            <a:avLst/>
          </a:prstGeom>
        </p:spPr>
      </p:pic>
      <p:pic>
        <p:nvPicPr>
          <p:cNvPr id="75" name="Obrázek 74">
            <a:extLst>
              <a:ext uri="{FF2B5EF4-FFF2-40B4-BE49-F238E27FC236}">
                <a16:creationId xmlns:a16="http://schemas.microsoft.com/office/drawing/2014/main" id="{711B8F04-1891-4C8F-9018-EDF49E74DBA0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8414745" y="3930888"/>
            <a:ext cx="1438781" cy="1359526"/>
          </a:xfrm>
          <a:prstGeom prst="rect">
            <a:avLst/>
          </a:prstGeom>
        </p:spPr>
      </p:pic>
      <p:pic>
        <p:nvPicPr>
          <p:cNvPr id="76" name="Obrázek 75">
            <a:extLst>
              <a:ext uri="{FF2B5EF4-FFF2-40B4-BE49-F238E27FC236}">
                <a16:creationId xmlns:a16="http://schemas.microsoft.com/office/drawing/2014/main" id="{D3953AC1-920D-4DFB-BFBD-04DF21878E55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6653744" y="2627666"/>
            <a:ext cx="1694835" cy="1182727"/>
          </a:xfrm>
          <a:prstGeom prst="rect">
            <a:avLst/>
          </a:prstGeom>
        </p:spPr>
      </p:pic>
      <p:pic>
        <p:nvPicPr>
          <p:cNvPr id="77" name="Obrázek 76">
            <a:extLst>
              <a:ext uri="{FF2B5EF4-FFF2-40B4-BE49-F238E27FC236}">
                <a16:creationId xmlns:a16="http://schemas.microsoft.com/office/drawing/2014/main" id="{8794012B-F980-44DD-B86C-1515D4C05064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3478284" y="2337796"/>
            <a:ext cx="1493649" cy="1481456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71134B20-F339-42F5-89D8-C171F690980A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2115772" y="3747992"/>
            <a:ext cx="1530229" cy="1542422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7CD66974-BABE-4DBD-8684-C7E76AE508A6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BEBA8EAE-BF5A-486C-A8C5-ECC9F3942E4B}">
                <a14:imgProps xmlns:a14="http://schemas.microsoft.com/office/drawing/2010/main">
                  <a14:imgLayer r:embed="rId35">
                    <a14:imgEffect>
                      <a14:saturation sat="2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01597" y="2431937"/>
            <a:ext cx="1261981" cy="1432684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389AF4A0-1174-4BF6-AA8B-0E7E8453BFAB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5181678" y="2489324"/>
            <a:ext cx="1389190" cy="1421348"/>
          </a:xfrm>
          <a:prstGeom prst="rect">
            <a:avLst/>
          </a:prstGeom>
        </p:spPr>
      </p:pic>
      <p:pic>
        <p:nvPicPr>
          <p:cNvPr id="56" name="Obrázek 55">
            <a:extLst>
              <a:ext uri="{FF2B5EF4-FFF2-40B4-BE49-F238E27FC236}">
                <a16:creationId xmlns:a16="http://schemas.microsoft.com/office/drawing/2014/main" id="{0A1DE29E-88CB-497C-91CC-CCC15408BA6E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701" y="1259484"/>
            <a:ext cx="574173" cy="574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9442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Volný tvar 6">
            <a:extLst>
              <a:ext uri="{FF2B5EF4-FFF2-40B4-BE49-F238E27FC236}">
                <a16:creationId xmlns:a16="http://schemas.microsoft.com/office/drawing/2014/main" id="{9C4E3F5D-17FE-4F11-BF0B-55FCB20C5B12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1" name="Volný tvar 17">
            <a:extLst>
              <a:ext uri="{FF2B5EF4-FFF2-40B4-BE49-F238E27FC236}">
                <a16:creationId xmlns:a16="http://schemas.microsoft.com/office/drawing/2014/main" id="{D48C225E-8000-42E1-8A87-FBEBB02FC061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2" name="Volný tvar 18">
            <a:extLst>
              <a:ext uri="{FF2B5EF4-FFF2-40B4-BE49-F238E27FC236}">
                <a16:creationId xmlns:a16="http://schemas.microsoft.com/office/drawing/2014/main" id="{E8850329-92A2-4C8B-8B48-BF3BBCB09972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73" name="Volný tvar 19">
            <a:extLst>
              <a:ext uri="{FF2B5EF4-FFF2-40B4-BE49-F238E27FC236}">
                <a16:creationId xmlns:a16="http://schemas.microsoft.com/office/drawing/2014/main" id="{33F7304C-8B0F-401C-BBB8-0F87B5779B2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168183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761802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B81D8E1-CB62-40C4-83D2-92BAEB210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09D1D8C-9B39-4E39-A638-642D450725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BCDC7B5-D0C7-4CB3-8FEB-7B23A2E627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77CE669-E87B-4076-8BF7-B5F8FACF93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386F5D0-1905-4A90-AA87-EF399F118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37406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A77974B-1FFA-4DB6-8A8F-C6D3C5060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A51DC174-F8E7-4EAC-A194-2E59D5387B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2EB7FDB-8449-4365-952C-D854D1367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D0A128B-F7A7-4D02-8D71-42D14D61A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221524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BFCD7AF-B4BF-4BFA-81CF-78B3DB8D9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2FA837B-A771-4DF5-889E-9002F57C9E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583CF14B-5E02-4543-93F1-97608E5037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1B4625FA-DA7D-4C3A-9CE6-E57B43617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00883D-4DBF-4C0F-8FF7-6124629E24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F352F66-0D29-4EB6-BFCF-30872D10A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779362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0D2E6F-220F-49C4-98D1-7BDFBA882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A0704B2-04BF-4605-8B00-58FD10478C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8F8573A-E907-4D18-B067-D7A4FDDE36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109AA0B-E477-40F1-850D-D20799AB46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3E941A86-9770-4E88-AAB2-0815300A360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0F9E5744-B9E8-45BB-A447-BC85B9243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03EFC422-20D3-4960-BAAA-ECE8FADBF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46F99830-FB58-4F62-8001-F24FC3D881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1154208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03F311-1E70-4822-89CE-32319CD2FA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3FF0B7D-7566-4780-A581-2A2F9B9C3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509D25FC-4423-4A76-AB29-D033162E3C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09D8008-D9AD-4F51-9B98-D18835D05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454665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0991AD9-85F6-4F26-966A-72DFBEF2D9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692F1E13-0756-4B88-95D2-F763685E8B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126AF7B-CF4F-4AAB-99CD-11E227268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248966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F433C8-18E1-4F4A-82D3-230E28E63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FCAF9B-B07C-4F60-8B52-9DD2AF2F48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B4ACB9BC-1AC8-4046-9EDF-BEBC10C992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1E5FEF63-7A63-4DB6-BDAA-4EAA1AB25A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A1118FE-3E68-4D2E-AE4B-7A1AD578CF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842F0A7-918C-40E7-A8B9-FC8385C10A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875173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DFA5735-804B-45C0-8504-7D4A1DBDB0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8082B13D-580C-4CAB-99F6-79CAC18772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1F178461-1F4A-4C7B-88AE-967881315B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422DF14-BE8E-4A02-9D11-63C36FA0C5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12F900-709B-461F-89C4-4DB2F65D6A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2943DD0-1809-47E6-9E2B-CA62A197F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709755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91EB16E-9BD2-427F-9E7C-2BF9D04540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50334F-1265-45E9-9E82-606C1D9D9A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9C804F8-3081-4F12-BF3A-C9F2142D9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64879D0-9F7A-42A5-9F3A-9CE3798ECC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B77D64B-5826-4CB7-9638-91CF91CE29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498123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3A8C88C-8CD0-4995-80AA-8E66CF729D0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E0B86FD5-6EC9-4E89-A633-5C9096B495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078AF13-1B8F-49C4-A06B-7CAD375856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A281CBC-035B-4035-BDEC-4CDAB7107C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F650DD0-4EAF-45EC-9C28-52361ECFF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382207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84881565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B0C1F-6E56-4117-AE2E-C7B1560A6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8DFB6A-BC6E-43DD-ABB1-6F6389CF9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7FFC15-7946-4D1F-89D0-327F959ADCB6}" type="datetimeFigureOut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04.20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3D61F1-3F7B-426F-9D82-9C3D9B46B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A8D34A-E080-4B05-855C-B922B1B2BB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6531FB-58BB-4FC0-8444-1459D7B6073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51026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6BE00FD9-3343-4551-890F-0C34EE841D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6383F444-3863-4EC7-B87D-F8CA73407B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D47F5387-E117-49D5-BB02-BD995E050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6662865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FE22DB4-93A5-4D39-A180-4CB22F024A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5FB906DD-24DA-4ECF-AA3D-FCC325B3C0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</p:spTree>
    <p:extLst>
      <p:ext uri="{BB962C8B-B14F-4D97-AF65-F5344CB8AC3E}">
        <p14:creationId xmlns:p14="http://schemas.microsoft.com/office/powerpoint/2010/main" val="20479904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C0AD9E5-E08C-4CAB-A5F9-F9481151C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617BB3E-FF8D-442E-97B6-8067255EF1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ECF4D5E-1183-45AB-8E9C-7FD2874A39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9D4DE49-771C-490A-BDED-84F1971DC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88DB9D8-26C2-425E-87CD-0EE8FFEE7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586271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5DD8B4D-DDE1-47DD-8286-4CC8FA0983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C914A1A-9DD7-4231-B018-F377FD7710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8D2F9BD-8EAE-48E7-A030-EF46F9A1FD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34D75D6-239A-4391-8384-54DCE972D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88F23B3-7A72-4D63-8F6D-440720AD6A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4776153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A77974B-1FFA-4DB6-8A8F-C6D3C5060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A51DC174-F8E7-4EAC-A194-2E59D5387B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2EB7FDB-8449-4365-952C-D854D1367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D0A128B-F7A7-4D02-8D71-42D14D61A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7463007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6BE00FD9-3343-4551-890F-0C34EE841D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6383F444-3863-4EC7-B87D-F8CA73407B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D47F5387-E117-49D5-BB02-BD995E050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399391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169409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347463" y="1160781"/>
            <a:ext cx="52200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cs-CZ" sz="22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400" b="1" dirty="0">
                <a:solidFill>
                  <a:schemeClr val="bg1"/>
                </a:solidFill>
              </a:rPr>
              <a:t>Plánování personálních kapacit ve zdravotnictví</a:t>
            </a:r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98422F-1202-68B7-A6C5-FD1E3B5029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151820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ĺžnik 35">
            <a:extLst>
              <a:ext uri="{FF2B5EF4-FFF2-40B4-BE49-F238E27FC236}">
                <a16:creationId xmlns:a16="http://schemas.microsoft.com/office/drawing/2014/main" id="{77C63991-1C36-4B8C-B7EC-85B113AC3A08}"/>
              </a:ext>
            </a:extLst>
          </p:cNvPr>
          <p:cNvSpPr/>
          <p:nvPr userDrawn="1"/>
        </p:nvSpPr>
        <p:spPr bwMode="gray">
          <a:xfrm>
            <a:off x="290679" y="1966007"/>
            <a:ext cx="11656519" cy="3962313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BCD3A8A6-2AA8-43CE-93F7-46D9B185ACF4}"/>
              </a:ext>
            </a:extLst>
          </p:cNvPr>
          <p:cNvSpPr/>
          <p:nvPr userDrawn="1"/>
        </p:nvSpPr>
        <p:spPr bwMode="gray">
          <a:xfrm>
            <a:off x="1168400" y="2367131"/>
            <a:ext cx="9855200" cy="3079599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cs-CZ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E13AD1DC-854F-461A-85CE-261821237239}"/>
              </a:ext>
            </a:extLst>
          </p:cNvPr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9E9CBE7C-B46B-4263-B7DA-1846693D9836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CFBFCF4F-142E-4CF2-93B7-E6AD72FC5639}"/>
              </a:ext>
            </a:extLst>
          </p:cNvPr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5F5E0734-7668-4265-8737-BB10B3A928BB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569EF8DF-41B0-4748-8427-90481B64DC71}"/>
              </a:ext>
            </a:extLst>
          </p:cNvPr>
          <p:cNvSpPr txBox="1"/>
          <p:nvPr userDrawn="1"/>
        </p:nvSpPr>
        <p:spPr>
          <a:xfrm>
            <a:off x="8713002" y="6142934"/>
            <a:ext cx="33773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rgbClr val="3D67BC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rgbClr val="3D67BC"/>
                </a:solidFill>
              </a:rPr>
              <a:t>Institute </a:t>
            </a:r>
            <a:r>
              <a:rPr lang="cs-CZ" sz="900" i="1" dirty="0" err="1">
                <a:solidFill>
                  <a:srgbClr val="3D67BC"/>
                </a:solidFill>
              </a:rPr>
              <a:t>of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Health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Information</a:t>
            </a:r>
            <a:r>
              <a:rPr lang="cs-CZ" sz="900" i="1" dirty="0">
                <a:solidFill>
                  <a:srgbClr val="3D67BC"/>
                </a:solidFill>
              </a:rPr>
              <a:t> and </a:t>
            </a:r>
            <a:r>
              <a:rPr lang="cs-CZ" sz="900" i="1" dirty="0" err="1">
                <a:solidFill>
                  <a:srgbClr val="3D67BC"/>
                </a:solidFill>
              </a:rPr>
              <a:t>Statistics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of</a:t>
            </a:r>
            <a:r>
              <a:rPr lang="cs-CZ" sz="900" i="1" dirty="0">
                <a:solidFill>
                  <a:srgbClr val="3D67BC"/>
                </a:solidFill>
              </a:rPr>
              <a:t> </a:t>
            </a:r>
            <a:r>
              <a:rPr lang="cs-CZ" sz="900" i="1" dirty="0" err="1">
                <a:solidFill>
                  <a:srgbClr val="3D67BC"/>
                </a:solidFill>
              </a:rPr>
              <a:t>the</a:t>
            </a:r>
            <a:r>
              <a:rPr lang="cs-CZ" sz="900" i="1" dirty="0">
                <a:solidFill>
                  <a:srgbClr val="3D67BC"/>
                </a:solidFill>
              </a:rPr>
              <a:t> Czech Republic</a:t>
            </a:r>
          </a:p>
        </p:txBody>
      </p:sp>
      <p:pic>
        <p:nvPicPr>
          <p:cNvPr id="19" name="Obrázek 18">
            <a:extLst>
              <a:ext uri="{FF2B5EF4-FFF2-40B4-BE49-F238E27FC236}">
                <a16:creationId xmlns:a16="http://schemas.microsoft.com/office/drawing/2014/main" id="{68485F3D-5497-49B5-8AFD-B48C5B7D1E32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3890" y="6089199"/>
            <a:ext cx="349247" cy="360000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638B3C8C-A726-43EE-80E2-A0C80CD5D0F2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00" y="6186252"/>
            <a:ext cx="3763463" cy="324000"/>
          </a:xfrm>
          <a:prstGeom prst="rect">
            <a:avLst/>
          </a:prstGeom>
        </p:spPr>
      </p:pic>
      <p:sp>
        <p:nvSpPr>
          <p:cNvPr id="21" name="Volný tvar 6">
            <a:extLst>
              <a:ext uri="{FF2B5EF4-FFF2-40B4-BE49-F238E27FC236}">
                <a16:creationId xmlns:a16="http://schemas.microsoft.com/office/drawing/2014/main" id="{B1B50602-9BEE-4838-BABB-479E9B9DA990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2" name="Volný tvar 17">
            <a:extLst>
              <a:ext uri="{FF2B5EF4-FFF2-40B4-BE49-F238E27FC236}">
                <a16:creationId xmlns:a16="http://schemas.microsoft.com/office/drawing/2014/main" id="{95BC6203-BD83-4803-AD8B-9671459BFB7C}"/>
              </a:ext>
            </a:extLst>
          </p:cNvPr>
          <p:cNvSpPr/>
          <p:nvPr userDrawn="1"/>
        </p:nvSpPr>
        <p:spPr>
          <a:xfrm rot="10800000">
            <a:off x="-1" y="4380806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3" name="Volný tvar 18">
            <a:extLst>
              <a:ext uri="{FF2B5EF4-FFF2-40B4-BE49-F238E27FC236}">
                <a16:creationId xmlns:a16="http://schemas.microsoft.com/office/drawing/2014/main" id="{9EAB8E8B-17AE-4319-8FA3-A1DAAC330720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3CCCC">
              <a:alpha val="3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F6EDD091-54FF-47D8-93B0-AFD02A675C6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24242">
              <a:alpha val="27843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0BD7415F-41C1-49B0-B1E5-81290655E2F9}"/>
              </a:ext>
            </a:extLst>
          </p:cNvPr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8CA2A8DB-6132-49AF-AB7B-13A599EB0EFD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27" name="Obdélník 26">
            <a:extLst>
              <a:ext uri="{FF2B5EF4-FFF2-40B4-BE49-F238E27FC236}">
                <a16:creationId xmlns:a16="http://schemas.microsoft.com/office/drawing/2014/main" id="{849DD4F5-BD09-4694-A8D4-C61F8C5F332C}"/>
              </a:ext>
            </a:extLst>
          </p:cNvPr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3047D081-E38A-44AF-9897-78A3A584B7D6}"/>
              </a:ext>
            </a:extLst>
          </p:cNvPr>
          <p:cNvSpPr/>
          <p:nvPr userDrawn="1"/>
        </p:nvSpPr>
        <p:spPr>
          <a:xfrm>
            <a:off x="0" y="5861078"/>
            <a:ext cx="12192000" cy="45719"/>
          </a:xfrm>
          <a:prstGeom prst="rect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pic>
        <p:nvPicPr>
          <p:cNvPr id="31" name="Obrázek 30">
            <a:extLst>
              <a:ext uri="{FF2B5EF4-FFF2-40B4-BE49-F238E27FC236}">
                <a16:creationId xmlns:a16="http://schemas.microsoft.com/office/drawing/2014/main" id="{971F6B34-8865-4003-99E1-69418AA2914F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9403" y="6228000"/>
            <a:ext cx="3763463" cy="324000"/>
          </a:xfrm>
          <a:prstGeom prst="rect">
            <a:avLst/>
          </a:prstGeom>
        </p:spPr>
      </p:pic>
      <p:sp>
        <p:nvSpPr>
          <p:cNvPr id="32" name="Volný tvar 6">
            <a:extLst>
              <a:ext uri="{FF2B5EF4-FFF2-40B4-BE49-F238E27FC236}">
                <a16:creationId xmlns:a16="http://schemas.microsoft.com/office/drawing/2014/main" id="{93B4AAF2-2ECB-447E-88BF-C2AE1B238485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3" name="Volný tvar 17">
            <a:extLst>
              <a:ext uri="{FF2B5EF4-FFF2-40B4-BE49-F238E27FC236}">
                <a16:creationId xmlns:a16="http://schemas.microsoft.com/office/drawing/2014/main" id="{E5A377F3-758A-43B6-8C6A-4AA4F1E3F233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4" name="Volný tvar 18">
            <a:extLst>
              <a:ext uri="{FF2B5EF4-FFF2-40B4-BE49-F238E27FC236}">
                <a16:creationId xmlns:a16="http://schemas.microsoft.com/office/drawing/2014/main" id="{0078E8B8-13CC-47F5-9190-4A050380F041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35" name="Volný tvar 19">
            <a:extLst>
              <a:ext uri="{FF2B5EF4-FFF2-40B4-BE49-F238E27FC236}">
                <a16:creationId xmlns:a16="http://schemas.microsoft.com/office/drawing/2014/main" id="{B1F7AE25-E3A9-4BA4-A917-FFBAB961D9BC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36" name="Gruppieren 75">
            <a:extLst>
              <a:ext uri="{FF2B5EF4-FFF2-40B4-BE49-F238E27FC236}">
                <a16:creationId xmlns:a16="http://schemas.microsoft.com/office/drawing/2014/main" id="{FEB03991-7888-41EE-BBCF-E76C296E0BEC}"/>
              </a:ext>
            </a:extLst>
          </p:cNvPr>
          <p:cNvGrpSpPr/>
          <p:nvPr userDrawn="1">
            <p:custDataLst>
              <p:tags r:id="rId1"/>
            </p:custDataLst>
          </p:nvPr>
        </p:nvGrpSpPr>
        <p:grpSpPr bwMode="gray">
          <a:xfrm flipH="1">
            <a:off x="779954" y="4620581"/>
            <a:ext cx="790583" cy="795270"/>
            <a:chOff x="7200292" y="4479962"/>
            <a:chExt cx="270012" cy="270012"/>
          </a:xfrm>
        </p:grpSpPr>
        <p:sp>
          <p:nvSpPr>
            <p:cNvPr id="37" name="Ellipse 77">
              <a:extLst>
                <a:ext uri="{FF2B5EF4-FFF2-40B4-BE49-F238E27FC236}">
                  <a16:creationId xmlns:a16="http://schemas.microsoft.com/office/drawing/2014/main" id="{A038BCF9-6E67-4C17-B618-2FF7977F1F9C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7200292" y="4479962"/>
              <a:ext cx="270012" cy="27001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38" name="Ellipse 78">
              <a:extLst>
                <a:ext uri="{FF2B5EF4-FFF2-40B4-BE49-F238E27FC236}">
                  <a16:creationId xmlns:a16="http://schemas.microsoft.com/office/drawing/2014/main" id="{06AAD133-2C4A-4D8C-B689-945EFFDD1F76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7222793" y="4502463"/>
              <a:ext cx="225010" cy="22501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</p:grpSp>
      <p:sp>
        <p:nvSpPr>
          <p:cNvPr id="39" name="Ellipse 67">
            <a:extLst>
              <a:ext uri="{FF2B5EF4-FFF2-40B4-BE49-F238E27FC236}">
                <a16:creationId xmlns:a16="http://schemas.microsoft.com/office/drawing/2014/main" id="{CA3C4B6F-3A42-4205-B124-83DA99E4119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 flipH="1">
            <a:off x="801350" y="3478151"/>
            <a:ext cx="790583" cy="795270"/>
          </a:xfrm>
          <a:prstGeom prst="ellipse">
            <a:avLst/>
          </a:prstGeom>
          <a:solidFill>
            <a:schemeClr val="bg1"/>
          </a:solidFill>
          <a:ln w="9525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0" name="Ellipse 68">
            <a:extLst>
              <a:ext uri="{FF2B5EF4-FFF2-40B4-BE49-F238E27FC236}">
                <a16:creationId xmlns:a16="http://schemas.microsoft.com/office/drawing/2014/main" id="{349CD9E3-2D2C-4CDB-A108-EFCC172093D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 flipH="1">
            <a:off x="867232" y="3544424"/>
            <a:ext cx="658819" cy="662725"/>
          </a:xfrm>
          <a:prstGeom prst="ellipse">
            <a:avLst/>
          </a:prstGeom>
          <a:solidFill>
            <a:srgbClr val="D7144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1" name="Ellipse 29">
            <a:extLst>
              <a:ext uri="{FF2B5EF4-FFF2-40B4-BE49-F238E27FC236}">
                <a16:creationId xmlns:a16="http://schemas.microsoft.com/office/drawing/2014/main" id="{17C30107-F6FE-40FB-A1B6-02602737583E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gray">
          <a:xfrm>
            <a:off x="791921" y="2337796"/>
            <a:ext cx="790583" cy="795270"/>
          </a:xfrm>
          <a:prstGeom prst="ellipse">
            <a:avLst/>
          </a:prstGeom>
          <a:solidFill>
            <a:schemeClr val="bg1"/>
          </a:solidFill>
          <a:ln w="9525">
            <a:solidFill>
              <a:srgbClr val="2E5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2" name="Ellipse 30">
            <a:extLst>
              <a:ext uri="{FF2B5EF4-FFF2-40B4-BE49-F238E27FC236}">
                <a16:creationId xmlns:a16="http://schemas.microsoft.com/office/drawing/2014/main" id="{07FB372D-2E48-46D8-8BE1-30272757DC04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gray">
          <a:xfrm>
            <a:off x="857803" y="2404069"/>
            <a:ext cx="658819" cy="662725"/>
          </a:xfrm>
          <a:prstGeom prst="ellipse">
            <a:avLst/>
          </a:prstGeom>
          <a:solidFill>
            <a:srgbClr val="2E59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pic>
        <p:nvPicPr>
          <p:cNvPr id="43" name="Picture 24">
            <a:extLst>
              <a:ext uri="{FF2B5EF4-FFF2-40B4-BE49-F238E27FC236}">
                <a16:creationId xmlns:a16="http://schemas.microsoft.com/office/drawing/2014/main" id="{8DDB3CFF-29A2-4CA1-A058-9AAF18FC161E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340046" y="1342772"/>
            <a:ext cx="592937" cy="39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4" name="Ellipse 34">
            <a:extLst>
              <a:ext uri="{FF2B5EF4-FFF2-40B4-BE49-F238E27FC236}">
                <a16:creationId xmlns:a16="http://schemas.microsoft.com/office/drawing/2014/main" id="{12C3E14D-943B-4C7F-BC2E-D39908F29221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gray">
          <a:xfrm>
            <a:off x="10617916" y="3507953"/>
            <a:ext cx="790583" cy="795270"/>
          </a:xfrm>
          <a:prstGeom prst="ellipse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5" name="Ellipse 35">
            <a:extLst>
              <a:ext uri="{FF2B5EF4-FFF2-40B4-BE49-F238E27FC236}">
                <a16:creationId xmlns:a16="http://schemas.microsoft.com/office/drawing/2014/main" id="{1C5371BA-8CF1-402D-B0A3-CE53E6902BCB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gray">
          <a:xfrm>
            <a:off x="10683798" y="3574226"/>
            <a:ext cx="658819" cy="662725"/>
          </a:xfrm>
          <a:prstGeom prst="ellipse">
            <a:avLst/>
          </a:prstGeom>
          <a:solidFill>
            <a:srgbClr val="D7144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6" name="Ellipse 39">
            <a:extLst>
              <a:ext uri="{FF2B5EF4-FFF2-40B4-BE49-F238E27FC236}">
                <a16:creationId xmlns:a16="http://schemas.microsoft.com/office/drawing/2014/main" id="{BF411CC2-024E-4C6F-9679-3DA7C4ECF70D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gray">
          <a:xfrm>
            <a:off x="10637477" y="4612334"/>
            <a:ext cx="790583" cy="795270"/>
          </a:xfrm>
          <a:prstGeom prst="ellipse">
            <a:avLst/>
          </a:prstGeom>
          <a:solidFill>
            <a:schemeClr val="bg1"/>
          </a:solidFill>
          <a:ln w="9525">
            <a:solidFill>
              <a:srgbClr val="2E59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sp>
        <p:nvSpPr>
          <p:cNvPr id="47" name="Ellipse 40">
            <a:extLst>
              <a:ext uri="{FF2B5EF4-FFF2-40B4-BE49-F238E27FC236}">
                <a16:creationId xmlns:a16="http://schemas.microsoft.com/office/drawing/2014/main" id="{C3B40183-33D1-4372-8D28-78EBBA53D69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gray">
          <a:xfrm>
            <a:off x="10703359" y="4678607"/>
            <a:ext cx="658819" cy="662725"/>
          </a:xfrm>
          <a:prstGeom prst="ellipse">
            <a:avLst/>
          </a:prstGeom>
          <a:solidFill>
            <a:srgbClr val="2E598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Insight print" pitchFamily="50" charset="-18"/>
              <a:cs typeface="Arial" pitchFamily="34" charset="0"/>
            </a:endParaRPr>
          </a:p>
        </p:txBody>
      </p:sp>
      <p:grpSp>
        <p:nvGrpSpPr>
          <p:cNvPr id="48" name="Gruppieren 75">
            <a:extLst>
              <a:ext uri="{FF2B5EF4-FFF2-40B4-BE49-F238E27FC236}">
                <a16:creationId xmlns:a16="http://schemas.microsoft.com/office/drawing/2014/main" id="{BD42FE8E-2CAD-4BA1-BD71-9427E0F886CA}"/>
              </a:ext>
            </a:extLst>
          </p:cNvPr>
          <p:cNvGrpSpPr>
            <a:grpSpLocks noChangeAspect="1"/>
          </p:cNvGrpSpPr>
          <p:nvPr userDrawn="1">
            <p:custDataLst>
              <p:tags r:id="rId11"/>
            </p:custDataLst>
          </p:nvPr>
        </p:nvGrpSpPr>
        <p:grpSpPr bwMode="gray">
          <a:xfrm flipH="1">
            <a:off x="10603175" y="2346043"/>
            <a:ext cx="790583" cy="795270"/>
            <a:chOff x="7200292" y="4479962"/>
            <a:chExt cx="270012" cy="270012"/>
          </a:xfrm>
        </p:grpSpPr>
        <p:sp>
          <p:nvSpPr>
            <p:cNvPr id="49" name="Ellipse 77">
              <a:extLst>
                <a:ext uri="{FF2B5EF4-FFF2-40B4-BE49-F238E27FC236}">
                  <a16:creationId xmlns:a16="http://schemas.microsoft.com/office/drawing/2014/main" id="{C7E50F92-EBA7-4DB9-BFA6-8B14CF520BB6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7200292" y="4479962"/>
              <a:ext cx="270012" cy="270012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  <p:sp>
          <p:nvSpPr>
            <p:cNvPr id="50" name="Ellipse 78">
              <a:extLst>
                <a:ext uri="{FF2B5EF4-FFF2-40B4-BE49-F238E27FC236}">
                  <a16:creationId xmlns:a16="http://schemas.microsoft.com/office/drawing/2014/main" id="{5750DDE0-5F53-4A09-9F2F-D567ABBBAA74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7222793" y="4502463"/>
              <a:ext cx="225010" cy="225010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n-US" sz="1600" dirty="0">
                <a:solidFill>
                  <a:schemeClr val="tx1"/>
                </a:solidFill>
                <a:latin typeface="Insight print" pitchFamily="50" charset="-18"/>
                <a:cs typeface="Arial" pitchFamily="34" charset="0"/>
              </a:endParaRPr>
            </a:p>
          </p:txBody>
        </p:sp>
      </p:grpSp>
      <p:pic>
        <p:nvPicPr>
          <p:cNvPr id="51" name="Obrázek 50">
            <a:extLst>
              <a:ext uri="{FF2B5EF4-FFF2-40B4-BE49-F238E27FC236}">
                <a16:creationId xmlns:a16="http://schemas.microsoft.com/office/drawing/2014/main" id="{1DC00054-3DB3-41FD-A7EE-3ADA73DB3B74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8322" y="3647980"/>
            <a:ext cx="490302" cy="551375"/>
          </a:xfrm>
          <a:prstGeom prst="rect">
            <a:avLst/>
          </a:prstGeom>
        </p:spPr>
      </p:pic>
      <p:pic>
        <p:nvPicPr>
          <p:cNvPr id="52" name="Obrázek 51">
            <a:extLst>
              <a:ext uri="{FF2B5EF4-FFF2-40B4-BE49-F238E27FC236}">
                <a16:creationId xmlns:a16="http://schemas.microsoft.com/office/drawing/2014/main" id="{8EC3BA2A-7985-48D3-BA6E-67AA7377C50E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9755" y="2498419"/>
            <a:ext cx="458486" cy="447824"/>
          </a:xfrm>
          <a:prstGeom prst="rect">
            <a:avLst/>
          </a:prstGeom>
        </p:spPr>
      </p:pic>
      <p:pic>
        <p:nvPicPr>
          <p:cNvPr id="53" name="Obrázek 52">
            <a:extLst>
              <a:ext uri="{FF2B5EF4-FFF2-40B4-BE49-F238E27FC236}">
                <a16:creationId xmlns:a16="http://schemas.microsoft.com/office/drawing/2014/main" id="{F6EF85F8-43B5-4226-97F7-B4B53B5669E5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7162" y="4803145"/>
            <a:ext cx="522414" cy="450302"/>
          </a:xfrm>
          <a:prstGeom prst="rect">
            <a:avLst/>
          </a:prstGeom>
        </p:spPr>
      </p:pic>
      <p:pic>
        <p:nvPicPr>
          <p:cNvPr id="55" name="Obrázek 54">
            <a:extLst>
              <a:ext uri="{FF2B5EF4-FFF2-40B4-BE49-F238E27FC236}">
                <a16:creationId xmlns:a16="http://schemas.microsoft.com/office/drawing/2014/main" id="{0B54BD79-F98C-4442-B611-C96436589AC7}"/>
              </a:ext>
            </a:extLst>
          </p:cNvPr>
          <p:cNvPicPr>
            <a:picLocks/>
          </p:cNvPicPr>
          <p:nvPr userDrawn="1"/>
        </p:nvPicPr>
        <p:blipFill rotWithShape="1">
          <a:blip r:embed="rId2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-1" r="-498" b="5127"/>
          <a:stretch/>
        </p:blipFill>
        <p:spPr>
          <a:xfrm>
            <a:off x="3683224" y="3954975"/>
            <a:ext cx="1479600" cy="1378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7" name="Obrázek 56">
            <a:extLst>
              <a:ext uri="{FF2B5EF4-FFF2-40B4-BE49-F238E27FC236}">
                <a16:creationId xmlns:a16="http://schemas.microsoft.com/office/drawing/2014/main" id="{147F9523-C930-4F9E-B11C-414869DBE5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364" b="3251"/>
          <a:stretch/>
        </p:blipFill>
        <p:spPr>
          <a:xfrm>
            <a:off x="6825526" y="3940748"/>
            <a:ext cx="1480450" cy="13785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8" name="Obdélník 57">
            <a:extLst>
              <a:ext uri="{FF2B5EF4-FFF2-40B4-BE49-F238E27FC236}">
                <a16:creationId xmlns:a16="http://schemas.microsoft.com/office/drawing/2014/main" id="{C31E3D77-5C91-465B-A370-454C27AA3086}"/>
              </a:ext>
            </a:extLst>
          </p:cNvPr>
          <p:cNvSpPr/>
          <p:nvPr userDrawn="1"/>
        </p:nvSpPr>
        <p:spPr>
          <a:xfrm>
            <a:off x="660273" y="273094"/>
            <a:ext cx="68717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3600" b="1" dirty="0">
                <a:solidFill>
                  <a:srgbClr val="2E5980"/>
                </a:solidFill>
              </a:rPr>
              <a:t>ZDRAVOTNICKÁ ZÁCHRANNÁ SLUŽBA V DATECH NZIS</a:t>
            </a:r>
          </a:p>
        </p:txBody>
      </p:sp>
      <p:sp>
        <p:nvSpPr>
          <p:cNvPr id="59" name="Obdélník 58">
            <a:extLst>
              <a:ext uri="{FF2B5EF4-FFF2-40B4-BE49-F238E27FC236}">
                <a16:creationId xmlns:a16="http://schemas.microsoft.com/office/drawing/2014/main" id="{09B596B8-099A-443E-BAF4-60E9B64C466A}"/>
              </a:ext>
            </a:extLst>
          </p:cNvPr>
          <p:cNvSpPr/>
          <p:nvPr userDrawn="1"/>
        </p:nvSpPr>
        <p:spPr>
          <a:xfrm>
            <a:off x="403654" y="5807676"/>
            <a:ext cx="6223389" cy="2718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0" name="Zástupný symbol textu 4">
            <a:extLst>
              <a:ext uri="{FF2B5EF4-FFF2-40B4-BE49-F238E27FC236}">
                <a16:creationId xmlns:a16="http://schemas.microsoft.com/office/drawing/2014/main" id="{71478611-DE5F-4F95-89E9-326EBE713181}"/>
              </a:ext>
            </a:extLst>
          </p:cNvPr>
          <p:cNvSpPr txBox="1">
            <a:spLocks/>
          </p:cNvSpPr>
          <p:nvPr userDrawn="1"/>
        </p:nvSpPr>
        <p:spPr>
          <a:xfrm>
            <a:off x="531544" y="5607609"/>
            <a:ext cx="7707659" cy="50725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dirty="0">
                <a:solidFill>
                  <a:srgbClr val="D71440"/>
                </a:solidFill>
              </a:rPr>
              <a:t>Analytická studie </a:t>
            </a:r>
          </a:p>
        </p:txBody>
      </p:sp>
      <p:pic>
        <p:nvPicPr>
          <p:cNvPr id="61" name="Obrázek 60">
            <a:extLst>
              <a:ext uri="{FF2B5EF4-FFF2-40B4-BE49-F238E27FC236}">
                <a16:creationId xmlns:a16="http://schemas.microsoft.com/office/drawing/2014/main" id="{3B935A30-5D56-48CA-8450-EB27F6ED93FC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636" y="2442291"/>
            <a:ext cx="479357" cy="552162"/>
          </a:xfrm>
          <a:prstGeom prst="rect">
            <a:avLst/>
          </a:prstGeom>
        </p:spPr>
      </p:pic>
      <p:pic>
        <p:nvPicPr>
          <p:cNvPr id="62" name="Obrázek 61">
            <a:extLst>
              <a:ext uri="{FF2B5EF4-FFF2-40B4-BE49-F238E27FC236}">
                <a16:creationId xmlns:a16="http://schemas.microsoft.com/office/drawing/2014/main" id="{53D68643-EE8B-4872-9E6F-0D6B847F8EC8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80" y="3631722"/>
            <a:ext cx="651346" cy="488509"/>
          </a:xfrm>
          <a:prstGeom prst="rect">
            <a:avLst/>
          </a:prstGeom>
        </p:spPr>
      </p:pic>
      <p:pic>
        <p:nvPicPr>
          <p:cNvPr id="63" name="Obrázek 62">
            <a:extLst>
              <a:ext uri="{FF2B5EF4-FFF2-40B4-BE49-F238E27FC236}">
                <a16:creationId xmlns:a16="http://schemas.microsoft.com/office/drawing/2014/main" id="{F7271DED-10A1-436D-83D6-0B0CC9A226C9}"/>
              </a:ext>
            </a:extLst>
          </p:cNvPr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134" y="4801873"/>
            <a:ext cx="538265" cy="414707"/>
          </a:xfrm>
          <a:prstGeom prst="rect">
            <a:avLst/>
          </a:prstGeom>
        </p:spPr>
      </p:pic>
      <p:pic>
        <p:nvPicPr>
          <p:cNvPr id="70" name="Obrázek 69">
            <a:extLst>
              <a:ext uri="{FF2B5EF4-FFF2-40B4-BE49-F238E27FC236}">
                <a16:creationId xmlns:a16="http://schemas.microsoft.com/office/drawing/2014/main" id="{A66F2984-85DA-4DF3-BF00-6A55C356BA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45" r="19922"/>
          <a:stretch/>
        </p:blipFill>
        <p:spPr>
          <a:xfrm>
            <a:off x="8324477" y="2441121"/>
            <a:ext cx="1553715" cy="128972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A3D6E3A3-E17E-486F-BD43-5B2286912756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5093603" y="4215684"/>
            <a:ext cx="1664352" cy="1018120"/>
          </a:xfrm>
          <a:prstGeom prst="rect">
            <a:avLst/>
          </a:prstGeom>
        </p:spPr>
      </p:pic>
      <p:pic>
        <p:nvPicPr>
          <p:cNvPr id="75" name="Obrázek 74">
            <a:extLst>
              <a:ext uri="{FF2B5EF4-FFF2-40B4-BE49-F238E27FC236}">
                <a16:creationId xmlns:a16="http://schemas.microsoft.com/office/drawing/2014/main" id="{711B8F04-1891-4C8F-9018-EDF49E74DBA0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8414745" y="3930888"/>
            <a:ext cx="1438781" cy="1359526"/>
          </a:xfrm>
          <a:prstGeom prst="rect">
            <a:avLst/>
          </a:prstGeom>
        </p:spPr>
      </p:pic>
      <p:pic>
        <p:nvPicPr>
          <p:cNvPr id="76" name="Obrázek 75">
            <a:extLst>
              <a:ext uri="{FF2B5EF4-FFF2-40B4-BE49-F238E27FC236}">
                <a16:creationId xmlns:a16="http://schemas.microsoft.com/office/drawing/2014/main" id="{D3953AC1-920D-4DFB-BFBD-04DF21878E55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6653744" y="2627666"/>
            <a:ext cx="1694835" cy="1182727"/>
          </a:xfrm>
          <a:prstGeom prst="rect">
            <a:avLst/>
          </a:prstGeom>
        </p:spPr>
      </p:pic>
      <p:pic>
        <p:nvPicPr>
          <p:cNvPr id="77" name="Obrázek 76">
            <a:extLst>
              <a:ext uri="{FF2B5EF4-FFF2-40B4-BE49-F238E27FC236}">
                <a16:creationId xmlns:a16="http://schemas.microsoft.com/office/drawing/2014/main" id="{8794012B-F980-44DD-B86C-1515D4C05064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3478284" y="2337796"/>
            <a:ext cx="1493649" cy="1481456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71134B20-F339-42F5-89D8-C171F690980A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2115772" y="3747992"/>
            <a:ext cx="1530229" cy="1542422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7CD66974-BABE-4DBD-8684-C7E76AE508A6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2101597" y="2431937"/>
            <a:ext cx="1261981" cy="1432684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389AF4A0-1174-4BF6-AA8B-0E7E8453BFAB}"/>
              </a:ext>
            </a:extLst>
          </p:cNvPr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>
          <a:xfrm>
            <a:off x="5181678" y="2489324"/>
            <a:ext cx="1389190" cy="1421348"/>
          </a:xfrm>
          <a:prstGeom prst="rect">
            <a:avLst/>
          </a:prstGeom>
        </p:spPr>
      </p:pic>
      <p:pic>
        <p:nvPicPr>
          <p:cNvPr id="56" name="Obrázek 55">
            <a:extLst>
              <a:ext uri="{FF2B5EF4-FFF2-40B4-BE49-F238E27FC236}">
                <a16:creationId xmlns:a16="http://schemas.microsoft.com/office/drawing/2014/main" id="{0A1DE29E-88CB-497C-91CC-CCC15408BA6E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701" y="1259484"/>
            <a:ext cx="574173" cy="574173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253B45F2-28F7-49DB-9752-F13D5648485C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4745" y="6077026"/>
            <a:ext cx="816934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26751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76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" name="Slza 67">
            <a:extLst>
              <a:ext uri="{FF2B5EF4-FFF2-40B4-BE49-F238E27FC236}">
                <a16:creationId xmlns:a16="http://schemas.microsoft.com/office/drawing/2014/main" id="{602AA7B9-8FA6-43BA-8614-08EEC9805321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chemeClr val="accent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9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906541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Volný tvar 6">
            <a:extLst>
              <a:ext uri="{FF2B5EF4-FFF2-40B4-BE49-F238E27FC236}">
                <a16:creationId xmlns:a16="http://schemas.microsoft.com/office/drawing/2014/main" id="{9C4E3F5D-17FE-4F11-BF0B-55FCB20C5B12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1" name="Volný tvar 17">
            <a:extLst>
              <a:ext uri="{FF2B5EF4-FFF2-40B4-BE49-F238E27FC236}">
                <a16:creationId xmlns:a16="http://schemas.microsoft.com/office/drawing/2014/main" id="{D48C225E-8000-42E1-8A87-FBEBB02FC061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2" name="Volný tvar 18">
            <a:extLst>
              <a:ext uri="{FF2B5EF4-FFF2-40B4-BE49-F238E27FC236}">
                <a16:creationId xmlns:a16="http://schemas.microsoft.com/office/drawing/2014/main" id="{E8850329-92A2-4C8B-8B48-BF3BBCB09972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73" name="Volný tvar 19">
            <a:extLst>
              <a:ext uri="{FF2B5EF4-FFF2-40B4-BE49-F238E27FC236}">
                <a16:creationId xmlns:a16="http://schemas.microsoft.com/office/drawing/2014/main" id="{33F7304C-8B0F-401C-BBB8-0F87B5779B2B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768848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" name="Obrázek 193">
            <a:extLst>
              <a:ext uri="{FF2B5EF4-FFF2-40B4-BE49-F238E27FC236}">
                <a16:creationId xmlns:a16="http://schemas.microsoft.com/office/drawing/2014/main" id="{7028FA8A-4E11-48CC-8D75-F1D56BD168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9277" y="1234929"/>
            <a:ext cx="11473666" cy="4852837"/>
          </a:xfrm>
          <a:prstGeom prst="rect">
            <a:avLst/>
          </a:prstGeom>
        </p:spPr>
      </p:pic>
      <p:sp>
        <p:nvSpPr>
          <p:cNvPr id="81" name="Obdélník 80">
            <a:extLst>
              <a:ext uri="{FF2B5EF4-FFF2-40B4-BE49-F238E27FC236}">
                <a16:creationId xmlns:a16="http://schemas.microsoft.com/office/drawing/2014/main" id="{40F2E09F-8544-4FF2-9F9A-AF0C8187713C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83" name="Obdélník 82">
            <a:extLst>
              <a:ext uri="{FF2B5EF4-FFF2-40B4-BE49-F238E27FC236}">
                <a16:creationId xmlns:a16="http://schemas.microsoft.com/office/drawing/2014/main" id="{5FE9660D-2B4A-4896-A4BF-330209511296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pic>
        <p:nvPicPr>
          <p:cNvPr id="86" name="Obrázek 85">
            <a:extLst>
              <a:ext uri="{FF2B5EF4-FFF2-40B4-BE49-F238E27FC236}">
                <a16:creationId xmlns:a16="http://schemas.microsoft.com/office/drawing/2014/main" id="{0FCBE275-6212-4CD7-81E4-A8D7F2CA9E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00" y="6186252"/>
            <a:ext cx="3763463" cy="324000"/>
          </a:xfrm>
          <a:prstGeom prst="rect">
            <a:avLst/>
          </a:prstGeom>
        </p:spPr>
      </p:pic>
      <p:sp>
        <p:nvSpPr>
          <p:cNvPr id="87" name="Volný tvar 6">
            <a:extLst>
              <a:ext uri="{FF2B5EF4-FFF2-40B4-BE49-F238E27FC236}">
                <a16:creationId xmlns:a16="http://schemas.microsoft.com/office/drawing/2014/main" id="{85C703E3-2B67-4C22-AC74-AE20B05EBAA9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8" name="Volný tvar 17">
            <a:extLst>
              <a:ext uri="{FF2B5EF4-FFF2-40B4-BE49-F238E27FC236}">
                <a16:creationId xmlns:a16="http://schemas.microsoft.com/office/drawing/2014/main" id="{2BD92B5F-BB92-4654-AEF1-C9A87A5248BF}"/>
              </a:ext>
            </a:extLst>
          </p:cNvPr>
          <p:cNvSpPr/>
          <p:nvPr userDrawn="1"/>
        </p:nvSpPr>
        <p:spPr>
          <a:xfrm rot="10800000">
            <a:off x="-1" y="4380806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9" name="Volný tvar 18">
            <a:extLst>
              <a:ext uri="{FF2B5EF4-FFF2-40B4-BE49-F238E27FC236}">
                <a16:creationId xmlns:a16="http://schemas.microsoft.com/office/drawing/2014/main" id="{C0623FAF-3EBE-4D32-9A7D-B3A292ACEE45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3CCCC">
              <a:alpha val="3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90" name="Volný tvar 19">
            <a:extLst>
              <a:ext uri="{FF2B5EF4-FFF2-40B4-BE49-F238E27FC236}">
                <a16:creationId xmlns:a16="http://schemas.microsoft.com/office/drawing/2014/main" id="{CF154488-7084-4B19-8834-F35893F3FCDA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24242">
              <a:alpha val="27843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2" name="Obdélník 91">
            <a:extLst>
              <a:ext uri="{FF2B5EF4-FFF2-40B4-BE49-F238E27FC236}">
                <a16:creationId xmlns:a16="http://schemas.microsoft.com/office/drawing/2014/main" id="{B832A41A-EB50-44F7-B334-F2DF1D43A948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F606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93" name="Obdélník 92">
            <a:extLst>
              <a:ext uri="{FF2B5EF4-FFF2-40B4-BE49-F238E27FC236}">
                <a16:creationId xmlns:a16="http://schemas.microsoft.com/office/drawing/2014/main" id="{541E5713-0979-4073-8195-8FDF98369170}"/>
              </a:ext>
            </a:extLst>
          </p:cNvPr>
          <p:cNvSpPr/>
          <p:nvPr userDrawn="1"/>
        </p:nvSpPr>
        <p:spPr>
          <a:xfrm>
            <a:off x="0" y="5861078"/>
            <a:ext cx="12192000" cy="45719"/>
          </a:xfrm>
          <a:prstGeom prst="rect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97" name="Volný tvar 6">
            <a:extLst>
              <a:ext uri="{FF2B5EF4-FFF2-40B4-BE49-F238E27FC236}">
                <a16:creationId xmlns:a16="http://schemas.microsoft.com/office/drawing/2014/main" id="{F101B372-16FE-412A-8851-DDC17B987951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>
              <a:alpha val="3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8" name="Volný tvar 17">
            <a:extLst>
              <a:ext uri="{FF2B5EF4-FFF2-40B4-BE49-F238E27FC236}">
                <a16:creationId xmlns:a16="http://schemas.microsoft.com/office/drawing/2014/main" id="{84116201-11AF-45C9-812E-00D732D624D2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9" name="Volný tvar 18">
            <a:extLst>
              <a:ext uri="{FF2B5EF4-FFF2-40B4-BE49-F238E27FC236}">
                <a16:creationId xmlns:a16="http://schemas.microsoft.com/office/drawing/2014/main" id="{14FAE423-4E6B-4C0C-B3D6-E597049BF65F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>
              <a:alpha val="4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100" name="Volný tvar 19">
            <a:extLst>
              <a:ext uri="{FF2B5EF4-FFF2-40B4-BE49-F238E27FC236}">
                <a16:creationId xmlns:a16="http://schemas.microsoft.com/office/drawing/2014/main" id="{7995864E-5F17-4EF1-8C3D-368F128AAC0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1" name="Obdélník 100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215022" y="180208"/>
            <a:ext cx="11430108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3400" b="1" dirty="0">
                <a:solidFill>
                  <a:srgbClr val="2E5980"/>
                </a:solidFill>
              </a:rPr>
              <a:t>STRATEGICKÉ ANALÝZY POTŘEB REZORTU ZDRAVOTNICTVÍ</a:t>
            </a:r>
          </a:p>
          <a:p>
            <a:r>
              <a:rPr lang="cs-CZ" sz="3400" b="1" dirty="0">
                <a:solidFill>
                  <a:srgbClr val="2E5980"/>
                </a:solidFill>
              </a:rPr>
              <a:t> – OPTIMALIZACE PERSONÁLNÍCH KAPACIT </a:t>
            </a:r>
          </a:p>
        </p:txBody>
      </p:sp>
      <p:sp>
        <p:nvSpPr>
          <p:cNvPr id="102" name="Obdélník 101">
            <a:extLst>
              <a:ext uri="{FF2B5EF4-FFF2-40B4-BE49-F238E27FC236}">
                <a16:creationId xmlns:a16="http://schemas.microsoft.com/office/drawing/2014/main" id="{287E00CA-1E7B-4E51-8D15-DA48E2226502}"/>
              </a:ext>
            </a:extLst>
          </p:cNvPr>
          <p:cNvSpPr/>
          <p:nvPr userDrawn="1"/>
        </p:nvSpPr>
        <p:spPr>
          <a:xfrm>
            <a:off x="584088" y="5729492"/>
            <a:ext cx="3676008" cy="3264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3" name="Zástupný symbol textu 4">
            <a:extLst>
              <a:ext uri="{FF2B5EF4-FFF2-40B4-BE49-F238E27FC236}">
                <a16:creationId xmlns:a16="http://schemas.microsoft.com/office/drawing/2014/main" id="{6733D971-AA31-4C2B-9864-62E324087CA3}"/>
              </a:ext>
            </a:extLst>
          </p:cNvPr>
          <p:cNvSpPr txBox="1">
            <a:spLocks/>
          </p:cNvSpPr>
          <p:nvPr userDrawn="1"/>
        </p:nvSpPr>
        <p:spPr>
          <a:xfrm>
            <a:off x="659277" y="5627645"/>
            <a:ext cx="3540109" cy="50725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2800" dirty="0">
                <a:solidFill>
                  <a:srgbClr val="D71440"/>
                </a:solidFill>
              </a:rPr>
              <a:t>Senát PČR, 24.4. 2024</a:t>
            </a:r>
          </a:p>
        </p:txBody>
      </p:sp>
      <p:pic>
        <p:nvPicPr>
          <p:cNvPr id="116" name="Picture 24">
            <a:extLst>
              <a:ext uri="{FF2B5EF4-FFF2-40B4-BE49-F238E27FC236}">
                <a16:creationId xmlns:a16="http://schemas.microsoft.com/office/drawing/2014/main" id="{5C9258A4-B5C3-4786-8A29-365C62CE39AF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340046" y="1342772"/>
            <a:ext cx="592937" cy="39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7" name="Obrázek 116">
            <a:extLst>
              <a:ext uri="{FF2B5EF4-FFF2-40B4-BE49-F238E27FC236}">
                <a16:creationId xmlns:a16="http://schemas.microsoft.com/office/drawing/2014/main" id="{26B2A134-C899-4F60-BA30-9405C93E7A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701" y="1259484"/>
            <a:ext cx="574173" cy="574173"/>
          </a:xfrm>
          <a:prstGeom prst="rect">
            <a:avLst/>
          </a:prstGeom>
        </p:spPr>
      </p:pic>
      <p:pic>
        <p:nvPicPr>
          <p:cNvPr id="24" name="Obrázek 23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119770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CEEE644-BC03-4930-9406-A18BB3FDE8F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823626" y="4199123"/>
            <a:ext cx="3200677" cy="2499577"/>
          </a:xfrm>
          <a:prstGeom prst="rect">
            <a:avLst/>
          </a:prstGeom>
        </p:spPr>
      </p:pic>
      <p:pic>
        <p:nvPicPr>
          <p:cNvPr id="2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599E2628-098A-6702-736C-CDA5BB2A0ED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9811" y="132258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38178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5907597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B81D8E1-CB62-40C4-83D2-92BAEB210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09D1D8C-9B39-4E39-A638-642D450725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BCDC7B5-D0C7-4CB3-8FEB-7B23A2E627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77CE669-E87B-4076-8BF7-B5F8FACF93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386F5D0-1905-4A90-AA87-EF399F118E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1074332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BFCD7AF-B4BF-4BFA-81CF-78B3DB8D9F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2FA837B-A771-4DF5-889E-9002F57C9E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583CF14B-5E02-4543-93F1-97608E5037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1B4625FA-DA7D-4C3A-9CE6-E57B43617A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00883D-4DBF-4C0F-8FF7-6124629E24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F352F66-0D29-4EB6-BFCF-30872D10A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1323581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0D2E6F-220F-49C4-98D1-7BDFBA882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A0704B2-04BF-4605-8B00-58FD10478C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8F8573A-E907-4D18-B067-D7A4FDDE36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109AA0B-E477-40F1-850D-D20799AB46E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3E941A86-9770-4E88-AAB2-0815300A360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0F9E5744-B9E8-45BB-A447-BC85B92430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03EFC422-20D3-4960-BAAA-ECE8FADBF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46F99830-FB58-4F62-8001-F24FC3D881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67104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D03F311-1E70-4822-89CE-32319CD2FA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33FF0B7D-7566-4780-A581-2A2F9B9C3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509D25FC-4423-4A76-AB29-D033162E3C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09D8008-D9AD-4F51-9B98-D18835D05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7882061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0991AD9-85F6-4F26-966A-72DFBEF2D9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692F1E13-0756-4B88-95D2-F763685E8B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126AF7B-CF4F-4AAB-99CD-11E227268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0384394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F433C8-18E1-4F4A-82D3-230E28E635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EFCAF9B-B07C-4F60-8B52-9DD2AF2F48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B4ACB9BC-1AC8-4046-9EDF-BEBC10C992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1E5FEF63-7A63-4DB6-BDAA-4EAA1AB25A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A1118FE-3E68-4D2E-AE4B-7A1AD578CF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842F0A7-918C-40E7-A8B9-FC8385C10A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892593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DFA5735-804B-45C0-8504-7D4A1DBDB0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8082B13D-580C-4CAB-99F6-79CAC18772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1F178461-1F4A-4C7B-88AE-967881315B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422DF14-BE8E-4A02-9D11-63C36FA0C5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C12F900-709B-461F-89C4-4DB2F65D6A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2943DD0-1809-47E6-9E2B-CA62A197F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9715449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91EB16E-9BD2-427F-9E7C-2BF9D04540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50334F-1265-45E9-9E82-606C1D9D9A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9C804F8-3081-4F12-BF3A-C9F2142D9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64879D0-9F7A-42A5-9F3A-9CE3798ECC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B77D64B-5826-4CB7-9638-91CF91CE29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883289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3A8C88C-8CD0-4995-80AA-8E66CF729D0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E0B86FD5-6EC9-4E89-A633-5C9096B495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078AF13-1B8F-49C4-A06B-7CAD375856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A281CBC-035B-4035-BDEC-4CDAB7107C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F650DD0-4EAF-45EC-9C28-52361ECFFB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48691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48373844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470006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50803998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7964374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347463" y="1160781"/>
            <a:ext cx="52200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cs-CZ" sz="22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400" b="1" dirty="0">
                <a:solidFill>
                  <a:schemeClr val="bg1"/>
                </a:solidFill>
              </a:rPr>
              <a:t>Plánování personálních kapacit ve zdravotnictví</a:t>
            </a:r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98422F-1202-68B7-A6C5-FD1E3B5029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43061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FE22DB4-93A5-4D39-A180-4CB22F024A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5FB906DD-24DA-4ECF-AA3D-FCC325B3C0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</p:spTree>
    <p:extLst>
      <p:ext uri="{BB962C8B-B14F-4D97-AF65-F5344CB8AC3E}">
        <p14:creationId xmlns:p14="http://schemas.microsoft.com/office/powerpoint/2010/main" val="29371876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A77974B-1FFA-4DB6-8A8F-C6D3C5060C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A51DC174-F8E7-4EAC-A194-2E59D5387B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FBAE8BB-28AF-4AE2-8287-52FCCAC1ADF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B2EB7FDB-8449-4365-952C-D854D1367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D0A128B-F7A7-4D02-8D71-42D14D61A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20E3E1E-8F17-4E77-8CB8-5F4C7FAD9A5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3076258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4541856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Volný tvar 17">
            <a:extLst>
              <a:ext uri="{FF2B5EF4-FFF2-40B4-BE49-F238E27FC236}">
                <a16:creationId xmlns:a16="http://schemas.microsoft.com/office/drawing/2014/main" id="{F9DF11D7-C1A0-46F5-B20A-EE3A4700E45D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Volný tvar 19">
            <a:extLst>
              <a:ext uri="{FF2B5EF4-FFF2-40B4-BE49-F238E27FC236}">
                <a16:creationId xmlns:a16="http://schemas.microsoft.com/office/drawing/2014/main" id="{DA5EF6B5-1015-4E5F-BC7C-2B0B40DC4C7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58137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4789459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459966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7"/>
            <a:ext cx="10515600" cy="631595"/>
          </a:xfrm>
        </p:spPr>
        <p:txBody>
          <a:bodyPr anchor="t">
            <a:normAutofit/>
          </a:bodyPr>
          <a:lstStyle>
            <a:lvl1pPr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288407740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6856458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4951530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435931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285639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77906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791330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0569750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813844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F6B18D0-DA41-4D0E-98BC-745BE988FE28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EBBFB874-7FBE-4101-B1CB-526AFCBFC42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7366134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rm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01512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" name="Obrázek 193">
            <a:extLst>
              <a:ext uri="{FF2B5EF4-FFF2-40B4-BE49-F238E27FC236}">
                <a16:creationId xmlns:a16="http://schemas.microsoft.com/office/drawing/2014/main" id="{7028FA8A-4E11-48CC-8D75-F1D56BD168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59277" y="1234929"/>
            <a:ext cx="11473666" cy="4852837"/>
          </a:xfrm>
          <a:prstGeom prst="rect">
            <a:avLst/>
          </a:prstGeom>
        </p:spPr>
      </p:pic>
      <p:sp>
        <p:nvSpPr>
          <p:cNvPr id="81" name="Obdélník 80">
            <a:extLst>
              <a:ext uri="{FF2B5EF4-FFF2-40B4-BE49-F238E27FC236}">
                <a16:creationId xmlns:a16="http://schemas.microsoft.com/office/drawing/2014/main" id="{40F2E09F-8544-4FF2-9F9A-AF0C8187713C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83" name="Obdélník 82">
            <a:extLst>
              <a:ext uri="{FF2B5EF4-FFF2-40B4-BE49-F238E27FC236}">
                <a16:creationId xmlns:a16="http://schemas.microsoft.com/office/drawing/2014/main" id="{5FE9660D-2B4A-4896-A4BF-330209511296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pic>
        <p:nvPicPr>
          <p:cNvPr id="86" name="Obrázek 85">
            <a:extLst>
              <a:ext uri="{FF2B5EF4-FFF2-40B4-BE49-F238E27FC236}">
                <a16:creationId xmlns:a16="http://schemas.microsoft.com/office/drawing/2014/main" id="{0FCBE275-6212-4CD7-81E4-A8D7F2CA9E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00" y="6186252"/>
            <a:ext cx="3763463" cy="324000"/>
          </a:xfrm>
          <a:prstGeom prst="rect">
            <a:avLst/>
          </a:prstGeom>
        </p:spPr>
      </p:pic>
      <p:sp>
        <p:nvSpPr>
          <p:cNvPr id="87" name="Volný tvar 6">
            <a:extLst>
              <a:ext uri="{FF2B5EF4-FFF2-40B4-BE49-F238E27FC236}">
                <a16:creationId xmlns:a16="http://schemas.microsoft.com/office/drawing/2014/main" id="{85C703E3-2B67-4C22-AC74-AE20B05EBAA9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8" name="Volný tvar 17">
            <a:extLst>
              <a:ext uri="{FF2B5EF4-FFF2-40B4-BE49-F238E27FC236}">
                <a16:creationId xmlns:a16="http://schemas.microsoft.com/office/drawing/2014/main" id="{2BD92B5F-BB92-4654-AEF1-C9A87A5248BF}"/>
              </a:ext>
            </a:extLst>
          </p:cNvPr>
          <p:cNvSpPr/>
          <p:nvPr userDrawn="1"/>
        </p:nvSpPr>
        <p:spPr>
          <a:xfrm rot="10800000">
            <a:off x="-1" y="4380806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gradFill flip="none" rotWithShape="1">
            <a:gsLst>
              <a:gs pos="0">
                <a:srgbClr val="AFEBEB"/>
              </a:gs>
              <a:gs pos="77000">
                <a:schemeClr val="bg1">
                  <a:alpha val="25000"/>
                </a:schemeClr>
              </a:gs>
              <a:gs pos="100000">
                <a:schemeClr val="bg1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9" name="Volný tvar 18">
            <a:extLst>
              <a:ext uri="{FF2B5EF4-FFF2-40B4-BE49-F238E27FC236}">
                <a16:creationId xmlns:a16="http://schemas.microsoft.com/office/drawing/2014/main" id="{C0623FAF-3EBE-4D32-9A7D-B3A292ACEE45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33CCCC">
              <a:alpha val="34902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90" name="Volný tvar 19">
            <a:extLst>
              <a:ext uri="{FF2B5EF4-FFF2-40B4-BE49-F238E27FC236}">
                <a16:creationId xmlns:a16="http://schemas.microsoft.com/office/drawing/2014/main" id="{CF154488-7084-4B19-8834-F35893F3FCDA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424242">
              <a:alpha val="27843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2" name="Obdélník 91">
            <a:extLst>
              <a:ext uri="{FF2B5EF4-FFF2-40B4-BE49-F238E27FC236}">
                <a16:creationId xmlns:a16="http://schemas.microsoft.com/office/drawing/2014/main" id="{B832A41A-EB50-44F7-B334-F2DF1D43A948}"/>
              </a:ext>
            </a:extLst>
          </p:cNvPr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F606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93" name="Obdélník 92">
            <a:extLst>
              <a:ext uri="{FF2B5EF4-FFF2-40B4-BE49-F238E27FC236}">
                <a16:creationId xmlns:a16="http://schemas.microsoft.com/office/drawing/2014/main" id="{541E5713-0979-4073-8195-8FDF98369170}"/>
              </a:ext>
            </a:extLst>
          </p:cNvPr>
          <p:cNvSpPr/>
          <p:nvPr userDrawn="1"/>
        </p:nvSpPr>
        <p:spPr>
          <a:xfrm>
            <a:off x="0" y="5861078"/>
            <a:ext cx="12192000" cy="45719"/>
          </a:xfrm>
          <a:prstGeom prst="rect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97" name="Volný tvar 6">
            <a:extLst>
              <a:ext uri="{FF2B5EF4-FFF2-40B4-BE49-F238E27FC236}">
                <a16:creationId xmlns:a16="http://schemas.microsoft.com/office/drawing/2014/main" id="{F101B372-16FE-412A-8851-DDC17B987951}"/>
              </a:ext>
            </a:extLst>
          </p:cNvPr>
          <p:cNvSpPr/>
          <p:nvPr userDrawn="1"/>
        </p:nvSpPr>
        <p:spPr>
          <a:xfrm>
            <a:off x="7105454" y="-9427"/>
            <a:ext cx="5102679" cy="3837214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>
              <a:alpha val="3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8" name="Volný tvar 17">
            <a:extLst>
              <a:ext uri="{FF2B5EF4-FFF2-40B4-BE49-F238E27FC236}">
                <a16:creationId xmlns:a16="http://schemas.microsoft.com/office/drawing/2014/main" id="{84116201-11AF-45C9-812E-00D732D624D2}"/>
              </a:ext>
            </a:extLst>
          </p:cNvPr>
          <p:cNvSpPr/>
          <p:nvPr userDrawn="1"/>
        </p:nvSpPr>
        <p:spPr>
          <a:xfrm rot="10800000">
            <a:off x="-9428" y="4390233"/>
            <a:ext cx="3549535" cy="2477193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FFC12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9" name="Volný tvar 18">
            <a:extLst>
              <a:ext uri="{FF2B5EF4-FFF2-40B4-BE49-F238E27FC236}">
                <a16:creationId xmlns:a16="http://schemas.microsoft.com/office/drawing/2014/main" id="{14FAE423-4E6B-4C0C-B3D6-E597049BF65F}"/>
              </a:ext>
            </a:extLst>
          </p:cNvPr>
          <p:cNvSpPr/>
          <p:nvPr userDrawn="1"/>
        </p:nvSpPr>
        <p:spPr>
          <a:xfrm>
            <a:off x="9081211" y="-9426"/>
            <a:ext cx="3129643" cy="2441120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>
              <a:alpha val="4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33CCCC"/>
              </a:solidFill>
            </a:endParaRPr>
          </a:p>
        </p:txBody>
      </p:sp>
      <p:sp>
        <p:nvSpPr>
          <p:cNvPr id="100" name="Volný tvar 19">
            <a:extLst>
              <a:ext uri="{FF2B5EF4-FFF2-40B4-BE49-F238E27FC236}">
                <a16:creationId xmlns:a16="http://schemas.microsoft.com/office/drawing/2014/main" id="{7995864E-5F17-4EF1-8C3D-368F128AAC04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1" name="Obdélník 100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215022" y="180208"/>
            <a:ext cx="11430108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3400" b="1" dirty="0">
                <a:solidFill>
                  <a:srgbClr val="2E5980"/>
                </a:solidFill>
              </a:rPr>
              <a:t>STRATEGICKÉ ANALÝZY POTŘEB REZORTU ZDRAVOTNICTVÍ</a:t>
            </a:r>
          </a:p>
          <a:p>
            <a:r>
              <a:rPr lang="cs-CZ" sz="3400" b="1" dirty="0">
                <a:solidFill>
                  <a:srgbClr val="2E5980"/>
                </a:solidFill>
              </a:rPr>
              <a:t> – OPTIMALIZACE PERSONÁLNÍCH KAPACIT </a:t>
            </a:r>
          </a:p>
        </p:txBody>
      </p:sp>
      <p:sp>
        <p:nvSpPr>
          <p:cNvPr id="102" name="Obdélník 101">
            <a:extLst>
              <a:ext uri="{FF2B5EF4-FFF2-40B4-BE49-F238E27FC236}">
                <a16:creationId xmlns:a16="http://schemas.microsoft.com/office/drawing/2014/main" id="{287E00CA-1E7B-4E51-8D15-DA48E2226502}"/>
              </a:ext>
            </a:extLst>
          </p:cNvPr>
          <p:cNvSpPr/>
          <p:nvPr userDrawn="1"/>
        </p:nvSpPr>
        <p:spPr>
          <a:xfrm>
            <a:off x="584088" y="5729492"/>
            <a:ext cx="3676008" cy="3264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3" name="Zástupný symbol textu 4">
            <a:extLst>
              <a:ext uri="{FF2B5EF4-FFF2-40B4-BE49-F238E27FC236}">
                <a16:creationId xmlns:a16="http://schemas.microsoft.com/office/drawing/2014/main" id="{6733D971-AA31-4C2B-9864-62E324087CA3}"/>
              </a:ext>
            </a:extLst>
          </p:cNvPr>
          <p:cNvSpPr txBox="1">
            <a:spLocks/>
          </p:cNvSpPr>
          <p:nvPr userDrawn="1"/>
        </p:nvSpPr>
        <p:spPr>
          <a:xfrm>
            <a:off x="659277" y="5627645"/>
            <a:ext cx="5612314" cy="50725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2800" dirty="0">
                <a:solidFill>
                  <a:srgbClr val="D71440"/>
                </a:solidFill>
              </a:rPr>
              <a:t>Kapacity zdravotnických záchranářů</a:t>
            </a:r>
          </a:p>
        </p:txBody>
      </p:sp>
      <p:pic>
        <p:nvPicPr>
          <p:cNvPr id="116" name="Picture 24">
            <a:extLst>
              <a:ext uri="{FF2B5EF4-FFF2-40B4-BE49-F238E27FC236}">
                <a16:creationId xmlns:a16="http://schemas.microsoft.com/office/drawing/2014/main" id="{5C9258A4-B5C3-4786-8A29-365C62CE39AF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340046" y="1342772"/>
            <a:ext cx="592937" cy="397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7" name="Obrázek 116">
            <a:extLst>
              <a:ext uri="{FF2B5EF4-FFF2-40B4-BE49-F238E27FC236}">
                <a16:creationId xmlns:a16="http://schemas.microsoft.com/office/drawing/2014/main" id="{26B2A134-C899-4F60-BA30-9405C93E7A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0701" y="1259484"/>
            <a:ext cx="574173" cy="574173"/>
          </a:xfrm>
          <a:prstGeom prst="rect">
            <a:avLst/>
          </a:prstGeom>
        </p:spPr>
      </p:pic>
      <p:pic>
        <p:nvPicPr>
          <p:cNvPr id="24" name="Obrázek 23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119770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CEEE644-BC03-4930-9406-A18BB3FDE8F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823626" y="4199123"/>
            <a:ext cx="3200677" cy="2499577"/>
          </a:xfrm>
          <a:prstGeom prst="rect">
            <a:avLst/>
          </a:prstGeom>
        </p:spPr>
      </p:pic>
      <p:pic>
        <p:nvPicPr>
          <p:cNvPr id="2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599E2628-098A-6702-736C-CDA5BB2A0ED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9811" y="132258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9484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id="{63EA0E24-3DEE-4F9B-BE62-2C949AF5B0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7E5BF0-AE0D-4088-9249-900F92A0E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12658"/>
            <a:ext cx="12192000" cy="4718304"/>
          </a:xfrm>
          <a:prstGeom prst="rect">
            <a:avLst/>
          </a:prstGeom>
        </p:spPr>
      </p:pic>
      <p:pic>
        <p:nvPicPr>
          <p:cNvPr id="66" name="Obrázek 65" descr="cid:image001.jpg@01CED555.8CFAB4A0">
            <a:extLst>
              <a:ext uri="{FF2B5EF4-FFF2-40B4-BE49-F238E27FC236}">
                <a16:creationId xmlns:a16="http://schemas.microsoft.com/office/drawing/2014/main" id="{D17F3592-01D7-4B8C-BAC8-A15B8AA86699}"/>
              </a:ext>
            </a:extLst>
          </p:cNvPr>
          <p:cNvPicPr/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0159" y="6243595"/>
            <a:ext cx="4320480" cy="50405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9" descr="logo_mzcr">
            <a:extLst>
              <a:ext uri="{FF2B5EF4-FFF2-40B4-BE49-F238E27FC236}">
                <a16:creationId xmlns:a16="http://schemas.microsoft.com/office/drawing/2014/main" id="{285C40DD-D2EF-48E7-99A8-53B809A1EA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77" y="137068"/>
            <a:ext cx="3896923" cy="3434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D4D1F535-DC44-479F-B5BD-92EA59F33323}"/>
              </a:ext>
            </a:extLst>
          </p:cNvPr>
          <p:cNvSpPr/>
          <p:nvPr userDrawn="1"/>
        </p:nvSpPr>
        <p:spPr>
          <a:xfrm>
            <a:off x="347463" y="1160781"/>
            <a:ext cx="52200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cs-CZ" sz="2200" b="1" i="1" dirty="0">
                <a:solidFill>
                  <a:schemeClr val="bg1"/>
                </a:solidFill>
              </a:rPr>
              <a:t>Analytické studie programu Zdraví 2030: </a:t>
            </a:r>
            <a:r>
              <a:rPr lang="cs-CZ" sz="3400" b="1" dirty="0">
                <a:solidFill>
                  <a:schemeClr val="bg1"/>
                </a:solidFill>
              </a:rPr>
              <a:t>Plánování personálních kapacit ve zdravotnictví</a:t>
            </a:r>
          </a:p>
        </p:txBody>
      </p:sp>
      <p:pic>
        <p:nvPicPr>
          <p:cNvPr id="4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8E98422F-1202-68B7-A6C5-FD1E3B50298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8032" y="87416"/>
            <a:ext cx="1252291" cy="487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97839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ozadi seda">
            <a:extLst>
              <a:ext uri="{FF2B5EF4-FFF2-40B4-BE49-F238E27FC236}">
                <a16:creationId xmlns:a16="http://schemas.microsoft.com/office/drawing/2014/main" id="{C6DB6EA3-D18B-4247-B7E0-D3F0ED4ABC66}"/>
              </a:ext>
            </a:extLst>
          </p:cNvPr>
          <p:cNvSpPr/>
          <p:nvPr userDrawn="1"/>
        </p:nvSpPr>
        <p:spPr bwMode="gray">
          <a:xfrm>
            <a:off x="0" y="1899462"/>
            <a:ext cx="12192000" cy="4028858"/>
          </a:xfrm>
          <a:prstGeom prst="rect">
            <a:avLst/>
          </a:prstGeom>
          <a:solidFill>
            <a:schemeClr val="bg1">
              <a:lumMod val="95000"/>
              <a:alpha val="6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4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Linka cervena">
            <a:extLst>
              <a:ext uri="{FF2B5EF4-FFF2-40B4-BE49-F238E27FC236}">
                <a16:creationId xmlns:a16="http://schemas.microsoft.com/office/drawing/2014/main" id="{B9205121-7638-4ABD-95F5-177B33D17428}"/>
              </a:ext>
            </a:extLst>
          </p:cNvPr>
          <p:cNvSpPr/>
          <p:nvPr userDrawn="1"/>
        </p:nvSpPr>
        <p:spPr>
          <a:xfrm flipV="1">
            <a:off x="5552" y="5881971"/>
            <a:ext cx="12173011" cy="36000"/>
          </a:xfrm>
          <a:prstGeom prst="rect">
            <a:avLst/>
          </a:prstGeom>
          <a:solidFill>
            <a:srgbClr val="D71440"/>
          </a:solidFill>
          <a:ln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805" y="6275298"/>
            <a:ext cx="3763463" cy="324000"/>
          </a:xfrm>
          <a:prstGeom prst="rect">
            <a:avLst/>
          </a:prstGeom>
        </p:spPr>
      </p:pic>
      <p:pic>
        <p:nvPicPr>
          <p:cNvPr id="6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9537" y="6124324"/>
            <a:ext cx="822458" cy="540000"/>
          </a:xfrm>
          <a:prstGeom prst="rect">
            <a:avLst/>
          </a:prstGeom>
        </p:spPr>
      </p:pic>
      <p:pic>
        <p:nvPicPr>
          <p:cNvPr id="11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113" y="2607870"/>
            <a:ext cx="5715760" cy="2224771"/>
          </a:xfrm>
          <a:prstGeom prst="rect">
            <a:avLst/>
          </a:prstGeom>
        </p:spPr>
      </p:pic>
      <p:pic>
        <p:nvPicPr>
          <p:cNvPr id="61" name="Ikona 7">
            <a:extLst>
              <a:ext uri="{FF2B5EF4-FFF2-40B4-BE49-F238E27FC236}">
                <a16:creationId xmlns:a16="http://schemas.microsoft.com/office/drawing/2014/main" id="{1E522FD7-51BC-4B8E-A68D-8A0B5E4169E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05" y="3727037"/>
            <a:ext cx="791389" cy="792000"/>
          </a:xfrm>
          <a:prstGeom prst="rect">
            <a:avLst/>
          </a:prstGeom>
        </p:spPr>
      </p:pic>
      <p:pic>
        <p:nvPicPr>
          <p:cNvPr id="62" name="Ikona 6">
            <a:extLst>
              <a:ext uri="{FF2B5EF4-FFF2-40B4-BE49-F238E27FC236}">
                <a16:creationId xmlns:a16="http://schemas.microsoft.com/office/drawing/2014/main" id="{E01AA11B-D042-44CE-8E91-BAD234FB490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916" y="2819547"/>
            <a:ext cx="791389" cy="792000"/>
          </a:xfrm>
          <a:prstGeom prst="rect">
            <a:avLst/>
          </a:prstGeom>
        </p:spPr>
      </p:pic>
      <p:pic>
        <p:nvPicPr>
          <p:cNvPr id="63" name="Ikona 5">
            <a:extLst>
              <a:ext uri="{FF2B5EF4-FFF2-40B4-BE49-F238E27FC236}">
                <a16:creationId xmlns:a16="http://schemas.microsoft.com/office/drawing/2014/main" id="{6E1D9AE5-9B01-4D1E-A130-EA1856689D6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4327" y="2821182"/>
            <a:ext cx="791389" cy="792000"/>
          </a:xfrm>
          <a:prstGeom prst="rect">
            <a:avLst/>
          </a:prstGeom>
        </p:spPr>
      </p:pic>
      <p:pic>
        <p:nvPicPr>
          <p:cNvPr id="64" name="Ikona 4">
            <a:extLst>
              <a:ext uri="{FF2B5EF4-FFF2-40B4-BE49-F238E27FC236}">
                <a16:creationId xmlns:a16="http://schemas.microsoft.com/office/drawing/2014/main" id="{78221017-9FB8-4EF8-A88B-38444E30A279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4197" y="2826357"/>
            <a:ext cx="788298" cy="792000"/>
          </a:xfrm>
          <a:prstGeom prst="rect">
            <a:avLst/>
          </a:prstGeom>
        </p:spPr>
      </p:pic>
      <p:pic>
        <p:nvPicPr>
          <p:cNvPr id="65" name="Ikona 3">
            <a:extLst>
              <a:ext uri="{FF2B5EF4-FFF2-40B4-BE49-F238E27FC236}">
                <a16:creationId xmlns:a16="http://schemas.microsoft.com/office/drawing/2014/main" id="{D435ECA9-9699-4A70-9ABD-16C688E3468C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68" y="2827327"/>
            <a:ext cx="788298" cy="792000"/>
          </a:xfrm>
          <a:prstGeom prst="rect">
            <a:avLst/>
          </a:prstGeom>
        </p:spPr>
      </p:pic>
      <p:pic>
        <p:nvPicPr>
          <p:cNvPr id="66" name="Ikona 2">
            <a:extLst>
              <a:ext uri="{FF2B5EF4-FFF2-40B4-BE49-F238E27FC236}">
                <a16:creationId xmlns:a16="http://schemas.microsoft.com/office/drawing/2014/main" id="{06B998D0-4DD3-4617-8B85-7A97769C7BF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592" y="3720280"/>
            <a:ext cx="791389" cy="792000"/>
          </a:xfrm>
          <a:prstGeom prst="rect">
            <a:avLst/>
          </a:prstGeom>
        </p:spPr>
      </p:pic>
      <p:pic>
        <p:nvPicPr>
          <p:cNvPr id="67" name="Ikona 1">
            <a:extLst>
              <a:ext uri="{FF2B5EF4-FFF2-40B4-BE49-F238E27FC236}">
                <a16:creationId xmlns:a16="http://schemas.microsoft.com/office/drawing/2014/main" id="{CDFE4053-986D-4CF5-BB65-55DDA986CB7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004" y="3714480"/>
            <a:ext cx="794492" cy="792000"/>
          </a:xfrm>
          <a:prstGeom prst="rect">
            <a:avLst/>
          </a:prstGeom>
        </p:spPr>
      </p:pic>
      <p:pic>
        <p:nvPicPr>
          <p:cNvPr id="9" name="Vlajka CR">
            <a:extLst>
              <a:ext uri="{FF2B5EF4-FFF2-40B4-BE49-F238E27FC236}">
                <a16:creationId xmlns:a16="http://schemas.microsoft.com/office/drawing/2014/main" id="{471DD38C-87B2-4EF0-9C4F-92FAABA3B665}"/>
              </a:ext>
            </a:extLst>
          </p:cNvPr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525177" y="249066"/>
            <a:ext cx="540000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Vlajka EU">
            <a:extLst>
              <a:ext uri="{FF2B5EF4-FFF2-40B4-BE49-F238E27FC236}">
                <a16:creationId xmlns:a16="http://schemas.microsoft.com/office/drawing/2014/main" id="{F0605D3E-9EE4-4CE0-8944-A11CBF44BE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18"/>
          <a:stretch/>
        </p:blipFill>
        <p:spPr>
          <a:xfrm>
            <a:off x="10876478" y="245794"/>
            <a:ext cx="538775" cy="360000"/>
          </a:xfrm>
          <a:prstGeom prst="rect">
            <a:avLst/>
          </a:prstGeom>
        </p:spPr>
      </p:pic>
      <p:sp>
        <p:nvSpPr>
          <p:cNvPr id="41" name="Podnadpis">
            <a:extLst>
              <a:ext uri="{FF2B5EF4-FFF2-40B4-BE49-F238E27FC236}">
                <a16:creationId xmlns:a16="http://schemas.microsoft.com/office/drawing/2014/main" id="{A48B58A5-C806-4673-B1BA-E9829457EA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00806" y="5471177"/>
            <a:ext cx="8608732" cy="468000"/>
          </a:xfrm>
          <a:noFill/>
        </p:spPr>
        <p:txBody>
          <a:bodyPr anchor="ctr"/>
          <a:lstStyle>
            <a:lvl1pPr marL="0" indent="0">
              <a:buNone/>
              <a:defRPr lang="cs-CZ" sz="28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cs-CZ" dirty="0"/>
              <a:t>Vložte podnadpis</a:t>
            </a:r>
          </a:p>
        </p:txBody>
      </p:sp>
      <p:sp>
        <p:nvSpPr>
          <p:cNvPr id="13" name="Nadpis">
            <a:extLst>
              <a:ext uri="{FF2B5EF4-FFF2-40B4-BE49-F238E27FC236}">
                <a16:creationId xmlns:a16="http://schemas.microsoft.com/office/drawing/2014/main" id="{99BDED9C-93B2-4C0D-BE31-6A2F4570EB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391" y="240974"/>
            <a:ext cx="8648147" cy="1598025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defRPr lang="cs-CZ" sz="3600" b="1" kern="1200">
                <a:solidFill>
                  <a:srgbClr val="2E598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29" name="Ovál 29">
            <a:extLst>
              <a:ext uri="{FF2B5EF4-FFF2-40B4-BE49-F238E27FC236}">
                <a16:creationId xmlns:a16="http://schemas.microsoft.com/office/drawing/2014/main" id="{E411B488-D6A9-4125-9226-91E8FF7C26F2}"/>
              </a:ext>
            </a:extLst>
          </p:cNvPr>
          <p:cNvSpPr/>
          <p:nvPr userDrawn="1"/>
        </p:nvSpPr>
        <p:spPr>
          <a:xfrm>
            <a:off x="8139289" y="752121"/>
            <a:ext cx="1747911" cy="1747911"/>
          </a:xfrm>
          <a:prstGeom prst="ellipse">
            <a:avLst/>
          </a:prstGeom>
          <a:solidFill>
            <a:schemeClr val="bg1"/>
          </a:solidFill>
          <a:ln w="19050">
            <a:solidFill>
              <a:srgbClr val="D714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" name="Ovál 30">
            <a:extLst>
              <a:ext uri="{FF2B5EF4-FFF2-40B4-BE49-F238E27FC236}">
                <a16:creationId xmlns:a16="http://schemas.microsoft.com/office/drawing/2014/main" id="{822DE0E7-21EC-4CAD-9CAC-791515B7EB64}"/>
              </a:ext>
            </a:extLst>
          </p:cNvPr>
          <p:cNvSpPr/>
          <p:nvPr userDrawn="1"/>
        </p:nvSpPr>
        <p:spPr>
          <a:xfrm>
            <a:off x="8256659" y="869491"/>
            <a:ext cx="1513171" cy="1513171"/>
          </a:xfrm>
          <a:prstGeom prst="ellipse">
            <a:avLst/>
          </a:prstGeom>
          <a:solidFill>
            <a:srgbClr val="D714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E5ADC67E-CB86-ABFB-8C3C-C59D6106E5A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294400" y="1162800"/>
            <a:ext cx="1457522" cy="882000"/>
            <a:chOff x="3727418" y="1998630"/>
            <a:chExt cx="4732781" cy="2863977"/>
          </a:xfrm>
        </p:grpSpPr>
        <p:sp>
          <p:nvSpPr>
            <p:cNvPr id="23" name="Volný tvar: obrazec 22">
              <a:extLst>
                <a:ext uri="{FF2B5EF4-FFF2-40B4-BE49-F238E27FC236}">
                  <a16:creationId xmlns:a16="http://schemas.microsoft.com/office/drawing/2014/main" id="{D0D15886-63C4-43F8-9A73-C5213BBCB995}"/>
                </a:ext>
              </a:extLst>
            </p:cNvPr>
            <p:cNvSpPr>
              <a:spLocks noChangeAspect="1"/>
            </p:cNvSpPr>
            <p:nvPr userDrawn="1">
              <p:custDataLst>
                <p:tags r:id="rId2"/>
              </p:custDataLst>
            </p:nvPr>
          </p:nvSpPr>
          <p:spPr>
            <a:xfrm>
              <a:off x="4319492" y="1998630"/>
              <a:ext cx="1182528" cy="1101852"/>
            </a:xfrm>
            <a:custGeom>
              <a:avLst/>
              <a:gdLst>
                <a:gd name="connsiteX0" fmla="*/ 1180148 w 1182528"/>
                <a:gd name="connsiteY0" fmla="*/ 147257 h 1101852"/>
                <a:gd name="connsiteX1" fmla="*/ 1175290 w 1182528"/>
                <a:gd name="connsiteY1" fmla="*/ 146304 h 1101852"/>
                <a:gd name="connsiteX2" fmla="*/ 1165003 w 1182528"/>
                <a:gd name="connsiteY2" fmla="*/ 154019 h 1101852"/>
                <a:gd name="connsiteX3" fmla="*/ 1158526 w 1182528"/>
                <a:gd name="connsiteY3" fmla="*/ 153257 h 1101852"/>
                <a:gd name="connsiteX4" fmla="*/ 1154144 w 1182528"/>
                <a:gd name="connsiteY4" fmla="*/ 156972 h 1101852"/>
                <a:gd name="connsiteX5" fmla="*/ 1146239 w 1182528"/>
                <a:gd name="connsiteY5" fmla="*/ 158020 h 1101852"/>
                <a:gd name="connsiteX6" fmla="*/ 1134428 w 1182528"/>
                <a:gd name="connsiteY6" fmla="*/ 165926 h 1101852"/>
                <a:gd name="connsiteX7" fmla="*/ 1130903 w 1182528"/>
                <a:gd name="connsiteY7" fmla="*/ 163163 h 1101852"/>
                <a:gd name="connsiteX8" fmla="*/ 1122617 w 1182528"/>
                <a:gd name="connsiteY8" fmla="*/ 161068 h 1101852"/>
                <a:gd name="connsiteX9" fmla="*/ 1120045 w 1182528"/>
                <a:gd name="connsiteY9" fmla="*/ 153353 h 1101852"/>
                <a:gd name="connsiteX10" fmla="*/ 1126331 w 1182528"/>
                <a:gd name="connsiteY10" fmla="*/ 139732 h 1101852"/>
                <a:gd name="connsiteX11" fmla="*/ 1134809 w 1182528"/>
                <a:gd name="connsiteY11" fmla="*/ 130588 h 1101852"/>
                <a:gd name="connsiteX12" fmla="*/ 1135571 w 1182528"/>
                <a:gd name="connsiteY12" fmla="*/ 124111 h 1101852"/>
                <a:gd name="connsiteX13" fmla="*/ 1143381 w 1182528"/>
                <a:gd name="connsiteY13" fmla="*/ 110300 h 1101852"/>
                <a:gd name="connsiteX14" fmla="*/ 1141190 w 1182528"/>
                <a:gd name="connsiteY14" fmla="*/ 105728 h 1101852"/>
                <a:gd name="connsiteX15" fmla="*/ 1143953 w 1182528"/>
                <a:gd name="connsiteY15" fmla="*/ 102203 h 1101852"/>
                <a:gd name="connsiteX16" fmla="*/ 1143381 w 1182528"/>
                <a:gd name="connsiteY16" fmla="*/ 97441 h 1101852"/>
                <a:gd name="connsiteX17" fmla="*/ 1145953 w 1182528"/>
                <a:gd name="connsiteY17" fmla="*/ 92297 h 1101852"/>
                <a:gd name="connsiteX18" fmla="*/ 1146048 w 1182528"/>
                <a:gd name="connsiteY18" fmla="*/ 81058 h 1101852"/>
                <a:gd name="connsiteX19" fmla="*/ 1142905 w 1182528"/>
                <a:gd name="connsiteY19" fmla="*/ 81439 h 1101852"/>
                <a:gd name="connsiteX20" fmla="*/ 1135571 w 1182528"/>
                <a:gd name="connsiteY20" fmla="*/ 74390 h 1101852"/>
                <a:gd name="connsiteX21" fmla="*/ 1133189 w 1182528"/>
                <a:gd name="connsiteY21" fmla="*/ 68294 h 1101852"/>
                <a:gd name="connsiteX22" fmla="*/ 1124140 w 1182528"/>
                <a:gd name="connsiteY22" fmla="*/ 59817 h 1101852"/>
                <a:gd name="connsiteX23" fmla="*/ 1122140 w 1182528"/>
                <a:gd name="connsiteY23" fmla="*/ 56864 h 1101852"/>
                <a:gd name="connsiteX24" fmla="*/ 1119188 w 1182528"/>
                <a:gd name="connsiteY24" fmla="*/ 58865 h 1101852"/>
                <a:gd name="connsiteX25" fmla="*/ 1103662 w 1182528"/>
                <a:gd name="connsiteY25" fmla="*/ 62389 h 1101852"/>
                <a:gd name="connsiteX26" fmla="*/ 1101852 w 1182528"/>
                <a:gd name="connsiteY26" fmla="*/ 61055 h 1101852"/>
                <a:gd name="connsiteX27" fmla="*/ 1101661 w 1182528"/>
                <a:gd name="connsiteY27" fmla="*/ 59436 h 1101852"/>
                <a:gd name="connsiteX28" fmla="*/ 1102805 w 1182528"/>
                <a:gd name="connsiteY28" fmla="*/ 56102 h 1101852"/>
                <a:gd name="connsiteX29" fmla="*/ 1105757 w 1182528"/>
                <a:gd name="connsiteY29" fmla="*/ 54102 h 1101852"/>
                <a:gd name="connsiteX30" fmla="*/ 1105567 w 1182528"/>
                <a:gd name="connsiteY30" fmla="*/ 52578 h 1101852"/>
                <a:gd name="connsiteX31" fmla="*/ 1100042 w 1182528"/>
                <a:gd name="connsiteY31" fmla="*/ 46863 h 1101852"/>
                <a:gd name="connsiteX32" fmla="*/ 1078516 w 1182528"/>
                <a:gd name="connsiteY32" fmla="*/ 41529 h 1101852"/>
                <a:gd name="connsiteX33" fmla="*/ 1078706 w 1182528"/>
                <a:gd name="connsiteY33" fmla="*/ 30290 h 1101852"/>
                <a:gd name="connsiteX34" fmla="*/ 1083564 w 1182528"/>
                <a:gd name="connsiteY34" fmla="*/ 18479 h 1101852"/>
                <a:gd name="connsiteX35" fmla="*/ 1079659 w 1182528"/>
                <a:gd name="connsiteY35" fmla="*/ 12573 h 1101852"/>
                <a:gd name="connsiteX36" fmla="*/ 1072134 w 1182528"/>
                <a:gd name="connsiteY36" fmla="*/ 16764 h 1101852"/>
                <a:gd name="connsiteX37" fmla="*/ 1074896 w 1182528"/>
                <a:gd name="connsiteY37" fmla="*/ 26003 h 1101852"/>
                <a:gd name="connsiteX38" fmla="*/ 1073372 w 1182528"/>
                <a:gd name="connsiteY38" fmla="*/ 39053 h 1101852"/>
                <a:gd name="connsiteX39" fmla="*/ 1061942 w 1182528"/>
                <a:gd name="connsiteY39" fmla="*/ 37243 h 1101852"/>
                <a:gd name="connsiteX40" fmla="*/ 1061276 w 1182528"/>
                <a:gd name="connsiteY40" fmla="*/ 32576 h 1101852"/>
                <a:gd name="connsiteX41" fmla="*/ 1059561 w 1182528"/>
                <a:gd name="connsiteY41" fmla="*/ 31147 h 1101852"/>
                <a:gd name="connsiteX42" fmla="*/ 1054036 w 1182528"/>
                <a:gd name="connsiteY42" fmla="*/ 25432 h 1101852"/>
                <a:gd name="connsiteX43" fmla="*/ 1047464 w 1182528"/>
                <a:gd name="connsiteY43" fmla="*/ 24670 h 1101852"/>
                <a:gd name="connsiteX44" fmla="*/ 1032891 w 1182528"/>
                <a:gd name="connsiteY44" fmla="*/ 36195 h 1101852"/>
                <a:gd name="connsiteX45" fmla="*/ 1031557 w 1182528"/>
                <a:gd name="connsiteY45" fmla="*/ 37910 h 1101852"/>
                <a:gd name="connsiteX46" fmla="*/ 1024223 w 1182528"/>
                <a:gd name="connsiteY46" fmla="*/ 43625 h 1101852"/>
                <a:gd name="connsiteX47" fmla="*/ 1017746 w 1182528"/>
                <a:gd name="connsiteY47" fmla="*/ 42863 h 1101852"/>
                <a:gd name="connsiteX48" fmla="*/ 1009269 w 1182528"/>
                <a:gd name="connsiteY48" fmla="*/ 39148 h 1101852"/>
                <a:gd name="connsiteX49" fmla="*/ 1004126 w 1182528"/>
                <a:gd name="connsiteY49" fmla="*/ 36576 h 1101852"/>
                <a:gd name="connsiteX50" fmla="*/ 998982 w 1182528"/>
                <a:gd name="connsiteY50" fmla="*/ 34100 h 1101852"/>
                <a:gd name="connsiteX51" fmla="*/ 997363 w 1182528"/>
                <a:gd name="connsiteY51" fmla="*/ 21431 h 1101852"/>
                <a:gd name="connsiteX52" fmla="*/ 992410 w 1182528"/>
                <a:gd name="connsiteY52" fmla="*/ 20479 h 1101852"/>
                <a:gd name="connsiteX53" fmla="*/ 985076 w 1182528"/>
                <a:gd name="connsiteY53" fmla="*/ 13335 h 1101852"/>
                <a:gd name="connsiteX54" fmla="*/ 974217 w 1182528"/>
                <a:gd name="connsiteY54" fmla="*/ 16383 h 1101852"/>
                <a:gd name="connsiteX55" fmla="*/ 972884 w 1182528"/>
                <a:gd name="connsiteY55" fmla="*/ 18098 h 1101852"/>
                <a:gd name="connsiteX56" fmla="*/ 966597 w 1182528"/>
                <a:gd name="connsiteY56" fmla="*/ 18955 h 1101852"/>
                <a:gd name="connsiteX57" fmla="*/ 960406 w 1182528"/>
                <a:gd name="connsiteY57" fmla="*/ 8477 h 1101852"/>
                <a:gd name="connsiteX58" fmla="*/ 951357 w 1182528"/>
                <a:gd name="connsiteY58" fmla="*/ 0 h 1101852"/>
                <a:gd name="connsiteX59" fmla="*/ 943451 w 1182528"/>
                <a:gd name="connsiteY59" fmla="*/ 1048 h 1101852"/>
                <a:gd name="connsiteX60" fmla="*/ 939356 w 1182528"/>
                <a:gd name="connsiteY60" fmla="*/ 6382 h 1101852"/>
                <a:gd name="connsiteX61" fmla="*/ 934402 w 1182528"/>
                <a:gd name="connsiteY61" fmla="*/ 18193 h 1101852"/>
                <a:gd name="connsiteX62" fmla="*/ 924497 w 1182528"/>
                <a:gd name="connsiteY62" fmla="*/ 16288 h 1101852"/>
                <a:gd name="connsiteX63" fmla="*/ 925163 w 1182528"/>
                <a:gd name="connsiteY63" fmla="*/ 21050 h 1101852"/>
                <a:gd name="connsiteX64" fmla="*/ 928497 w 1182528"/>
                <a:gd name="connsiteY64" fmla="*/ 22193 h 1101852"/>
                <a:gd name="connsiteX65" fmla="*/ 932498 w 1182528"/>
                <a:gd name="connsiteY65" fmla="*/ 28099 h 1101852"/>
                <a:gd name="connsiteX66" fmla="*/ 931735 w 1182528"/>
                <a:gd name="connsiteY66" fmla="*/ 34576 h 1101852"/>
                <a:gd name="connsiteX67" fmla="*/ 927735 w 1182528"/>
                <a:gd name="connsiteY67" fmla="*/ 41529 h 1101852"/>
                <a:gd name="connsiteX68" fmla="*/ 929735 w 1182528"/>
                <a:gd name="connsiteY68" fmla="*/ 44482 h 1101852"/>
                <a:gd name="connsiteX69" fmla="*/ 919448 w 1182528"/>
                <a:gd name="connsiteY69" fmla="*/ 52197 h 1101852"/>
                <a:gd name="connsiteX70" fmla="*/ 916114 w 1182528"/>
                <a:gd name="connsiteY70" fmla="*/ 51054 h 1101852"/>
                <a:gd name="connsiteX71" fmla="*/ 915352 w 1182528"/>
                <a:gd name="connsiteY71" fmla="*/ 57531 h 1101852"/>
                <a:gd name="connsiteX72" fmla="*/ 920877 w 1182528"/>
                <a:gd name="connsiteY72" fmla="*/ 63246 h 1101852"/>
                <a:gd name="connsiteX73" fmla="*/ 914019 w 1182528"/>
                <a:gd name="connsiteY73" fmla="*/ 72104 h 1101852"/>
                <a:gd name="connsiteX74" fmla="*/ 913067 w 1182528"/>
                <a:gd name="connsiteY74" fmla="*/ 77057 h 1101852"/>
                <a:gd name="connsiteX75" fmla="*/ 916781 w 1182528"/>
                <a:gd name="connsiteY75" fmla="*/ 81439 h 1101852"/>
                <a:gd name="connsiteX76" fmla="*/ 924877 w 1182528"/>
                <a:gd name="connsiteY76" fmla="*/ 82010 h 1101852"/>
                <a:gd name="connsiteX77" fmla="*/ 932212 w 1182528"/>
                <a:gd name="connsiteY77" fmla="*/ 89059 h 1101852"/>
                <a:gd name="connsiteX78" fmla="*/ 935355 w 1182528"/>
                <a:gd name="connsiteY78" fmla="*/ 88678 h 1101852"/>
                <a:gd name="connsiteX79" fmla="*/ 940118 w 1182528"/>
                <a:gd name="connsiteY79" fmla="*/ 88106 h 1101852"/>
                <a:gd name="connsiteX80" fmla="*/ 948976 w 1182528"/>
                <a:gd name="connsiteY80" fmla="*/ 82106 h 1101852"/>
                <a:gd name="connsiteX81" fmla="*/ 956881 w 1182528"/>
                <a:gd name="connsiteY81" fmla="*/ 81153 h 1101852"/>
                <a:gd name="connsiteX82" fmla="*/ 960596 w 1182528"/>
                <a:gd name="connsiteY82" fmla="*/ 85439 h 1101852"/>
                <a:gd name="connsiteX83" fmla="*/ 959453 w 1182528"/>
                <a:gd name="connsiteY83" fmla="*/ 88773 h 1101852"/>
                <a:gd name="connsiteX84" fmla="*/ 960215 w 1182528"/>
                <a:gd name="connsiteY84" fmla="*/ 95155 h 1101852"/>
                <a:gd name="connsiteX85" fmla="*/ 955548 w 1182528"/>
                <a:gd name="connsiteY85" fmla="*/ 95726 h 1101852"/>
                <a:gd name="connsiteX86" fmla="*/ 952119 w 1182528"/>
                <a:gd name="connsiteY86" fmla="*/ 94583 h 1101852"/>
                <a:gd name="connsiteX87" fmla="*/ 942118 w 1182528"/>
                <a:gd name="connsiteY87" fmla="*/ 103822 h 1101852"/>
                <a:gd name="connsiteX88" fmla="*/ 954119 w 1182528"/>
                <a:gd name="connsiteY88" fmla="*/ 110300 h 1101852"/>
                <a:gd name="connsiteX89" fmla="*/ 954405 w 1182528"/>
                <a:gd name="connsiteY89" fmla="*/ 111919 h 1101852"/>
                <a:gd name="connsiteX90" fmla="*/ 950023 w 1182528"/>
                <a:gd name="connsiteY90" fmla="*/ 115634 h 1101852"/>
                <a:gd name="connsiteX91" fmla="*/ 958882 w 1182528"/>
                <a:gd name="connsiteY91" fmla="*/ 122587 h 1101852"/>
                <a:gd name="connsiteX92" fmla="*/ 971740 w 1182528"/>
                <a:gd name="connsiteY92" fmla="*/ 122491 h 1101852"/>
                <a:gd name="connsiteX93" fmla="*/ 975551 w 1182528"/>
                <a:gd name="connsiteY93" fmla="*/ 126873 h 1101852"/>
                <a:gd name="connsiteX94" fmla="*/ 978884 w 1182528"/>
                <a:gd name="connsiteY94" fmla="*/ 128016 h 1101852"/>
                <a:gd name="connsiteX95" fmla="*/ 984218 w 1182528"/>
                <a:gd name="connsiteY95" fmla="*/ 132207 h 1101852"/>
                <a:gd name="connsiteX96" fmla="*/ 988695 w 1182528"/>
                <a:gd name="connsiteY96" fmla="*/ 130016 h 1101852"/>
                <a:gd name="connsiteX97" fmla="*/ 989362 w 1182528"/>
                <a:gd name="connsiteY97" fmla="*/ 134684 h 1101852"/>
                <a:gd name="connsiteX98" fmla="*/ 992696 w 1182528"/>
                <a:gd name="connsiteY98" fmla="*/ 135922 h 1101852"/>
                <a:gd name="connsiteX99" fmla="*/ 1001744 w 1182528"/>
                <a:gd name="connsiteY99" fmla="*/ 131540 h 1101852"/>
                <a:gd name="connsiteX100" fmla="*/ 1007269 w 1182528"/>
                <a:gd name="connsiteY100" fmla="*/ 137255 h 1101852"/>
                <a:gd name="connsiteX101" fmla="*/ 1011079 w 1182528"/>
                <a:gd name="connsiteY101" fmla="*/ 141542 h 1101852"/>
                <a:gd name="connsiteX102" fmla="*/ 1009936 w 1182528"/>
                <a:gd name="connsiteY102" fmla="*/ 144971 h 1101852"/>
                <a:gd name="connsiteX103" fmla="*/ 1010888 w 1182528"/>
                <a:gd name="connsiteY103" fmla="*/ 152781 h 1101852"/>
                <a:gd name="connsiteX104" fmla="*/ 1003173 w 1182528"/>
                <a:gd name="connsiteY104" fmla="*/ 155448 h 1101852"/>
                <a:gd name="connsiteX105" fmla="*/ 1006602 w 1182528"/>
                <a:gd name="connsiteY105" fmla="*/ 156591 h 1101852"/>
                <a:gd name="connsiteX106" fmla="*/ 1005364 w 1182528"/>
                <a:gd name="connsiteY106" fmla="*/ 159925 h 1101852"/>
                <a:gd name="connsiteX107" fmla="*/ 1002030 w 1182528"/>
                <a:gd name="connsiteY107" fmla="*/ 158782 h 1101852"/>
                <a:gd name="connsiteX108" fmla="*/ 1002221 w 1182528"/>
                <a:gd name="connsiteY108" fmla="*/ 160306 h 1101852"/>
                <a:gd name="connsiteX109" fmla="*/ 1000697 w 1182528"/>
                <a:gd name="connsiteY109" fmla="*/ 160496 h 1101852"/>
                <a:gd name="connsiteX110" fmla="*/ 1001839 w 1182528"/>
                <a:gd name="connsiteY110" fmla="*/ 170021 h 1101852"/>
                <a:gd name="connsiteX111" fmla="*/ 1001459 w 1182528"/>
                <a:gd name="connsiteY111" fmla="*/ 179642 h 1101852"/>
                <a:gd name="connsiteX112" fmla="*/ 1000125 w 1182528"/>
                <a:gd name="connsiteY112" fmla="*/ 181451 h 1101852"/>
                <a:gd name="connsiteX113" fmla="*/ 992219 w 1182528"/>
                <a:gd name="connsiteY113" fmla="*/ 182499 h 1101852"/>
                <a:gd name="connsiteX114" fmla="*/ 980599 w 1182528"/>
                <a:gd name="connsiteY114" fmla="*/ 179165 h 1101852"/>
                <a:gd name="connsiteX115" fmla="*/ 979170 w 1182528"/>
                <a:gd name="connsiteY115" fmla="*/ 180880 h 1101852"/>
                <a:gd name="connsiteX116" fmla="*/ 975646 w 1182528"/>
                <a:gd name="connsiteY116" fmla="*/ 178118 h 1101852"/>
                <a:gd name="connsiteX117" fmla="*/ 976408 w 1182528"/>
                <a:gd name="connsiteY117" fmla="*/ 184499 h 1101852"/>
                <a:gd name="connsiteX118" fmla="*/ 973646 w 1182528"/>
                <a:gd name="connsiteY118" fmla="*/ 188024 h 1101852"/>
                <a:gd name="connsiteX119" fmla="*/ 959644 w 1182528"/>
                <a:gd name="connsiteY119" fmla="*/ 191453 h 1101852"/>
                <a:gd name="connsiteX120" fmla="*/ 956310 w 1182528"/>
                <a:gd name="connsiteY120" fmla="*/ 190214 h 1101852"/>
                <a:gd name="connsiteX121" fmla="*/ 944309 w 1182528"/>
                <a:gd name="connsiteY121" fmla="*/ 196596 h 1101852"/>
                <a:gd name="connsiteX122" fmla="*/ 936022 w 1182528"/>
                <a:gd name="connsiteY122" fmla="*/ 194405 h 1101852"/>
                <a:gd name="connsiteX123" fmla="*/ 930307 w 1182528"/>
                <a:gd name="connsiteY123" fmla="*/ 187166 h 1101852"/>
                <a:gd name="connsiteX124" fmla="*/ 920210 w 1182528"/>
                <a:gd name="connsiteY124" fmla="*/ 183642 h 1101852"/>
                <a:gd name="connsiteX125" fmla="*/ 908399 w 1182528"/>
                <a:gd name="connsiteY125" fmla="*/ 191548 h 1101852"/>
                <a:gd name="connsiteX126" fmla="*/ 903827 w 1182528"/>
                <a:gd name="connsiteY126" fmla="*/ 193739 h 1101852"/>
                <a:gd name="connsiteX127" fmla="*/ 895540 w 1182528"/>
                <a:gd name="connsiteY127" fmla="*/ 191548 h 1101852"/>
                <a:gd name="connsiteX128" fmla="*/ 896969 w 1182528"/>
                <a:gd name="connsiteY128" fmla="*/ 202597 h 1101852"/>
                <a:gd name="connsiteX129" fmla="*/ 888302 w 1182528"/>
                <a:gd name="connsiteY129" fmla="*/ 222980 h 1101852"/>
                <a:gd name="connsiteX130" fmla="*/ 884968 w 1182528"/>
                <a:gd name="connsiteY130" fmla="*/ 221742 h 1101852"/>
                <a:gd name="connsiteX131" fmla="*/ 873347 w 1182528"/>
                <a:gd name="connsiteY131" fmla="*/ 231267 h 1101852"/>
                <a:gd name="connsiteX132" fmla="*/ 870204 w 1182528"/>
                <a:gd name="connsiteY132" fmla="*/ 231648 h 1101852"/>
                <a:gd name="connsiteX133" fmla="*/ 865823 w 1182528"/>
                <a:gd name="connsiteY133" fmla="*/ 235458 h 1101852"/>
                <a:gd name="connsiteX134" fmla="*/ 846773 w 1182528"/>
                <a:gd name="connsiteY134" fmla="*/ 236315 h 1101852"/>
                <a:gd name="connsiteX135" fmla="*/ 826198 w 1182528"/>
                <a:gd name="connsiteY135" fmla="*/ 251746 h 1101852"/>
                <a:gd name="connsiteX136" fmla="*/ 821341 w 1182528"/>
                <a:gd name="connsiteY136" fmla="*/ 250793 h 1101852"/>
                <a:gd name="connsiteX137" fmla="*/ 814006 w 1182528"/>
                <a:gd name="connsiteY137" fmla="*/ 256508 h 1101852"/>
                <a:gd name="connsiteX138" fmla="*/ 807720 w 1182528"/>
                <a:gd name="connsiteY138" fmla="*/ 257270 h 1101852"/>
                <a:gd name="connsiteX139" fmla="*/ 803148 w 1182528"/>
                <a:gd name="connsiteY139" fmla="*/ 259461 h 1101852"/>
                <a:gd name="connsiteX140" fmla="*/ 796861 w 1182528"/>
                <a:gd name="connsiteY140" fmla="*/ 260318 h 1101852"/>
                <a:gd name="connsiteX141" fmla="*/ 790003 w 1182528"/>
                <a:gd name="connsiteY141" fmla="*/ 269177 h 1101852"/>
                <a:gd name="connsiteX142" fmla="*/ 788956 w 1182528"/>
                <a:gd name="connsiteY142" fmla="*/ 274130 h 1101852"/>
                <a:gd name="connsiteX143" fmla="*/ 784669 w 1182528"/>
                <a:gd name="connsiteY143" fmla="*/ 277844 h 1101852"/>
                <a:gd name="connsiteX144" fmla="*/ 778383 w 1182528"/>
                <a:gd name="connsiteY144" fmla="*/ 278702 h 1101852"/>
                <a:gd name="connsiteX145" fmla="*/ 774764 w 1182528"/>
                <a:gd name="connsiteY145" fmla="*/ 275939 h 1101852"/>
                <a:gd name="connsiteX146" fmla="*/ 768477 w 1182528"/>
                <a:gd name="connsiteY146" fmla="*/ 276701 h 1101852"/>
                <a:gd name="connsiteX147" fmla="*/ 762190 w 1182528"/>
                <a:gd name="connsiteY147" fmla="*/ 277559 h 1101852"/>
                <a:gd name="connsiteX148" fmla="*/ 758285 w 1182528"/>
                <a:gd name="connsiteY148" fmla="*/ 284417 h 1101852"/>
                <a:gd name="connsiteX149" fmla="*/ 747522 w 1182528"/>
                <a:gd name="connsiteY149" fmla="*/ 276225 h 1101852"/>
                <a:gd name="connsiteX150" fmla="*/ 737902 w 1182528"/>
                <a:gd name="connsiteY150" fmla="*/ 275844 h 1101852"/>
                <a:gd name="connsiteX151" fmla="*/ 737330 w 1182528"/>
                <a:gd name="connsiteY151" fmla="*/ 271082 h 1101852"/>
                <a:gd name="connsiteX152" fmla="*/ 728567 w 1182528"/>
                <a:gd name="connsiteY152" fmla="*/ 265748 h 1101852"/>
                <a:gd name="connsiteX153" fmla="*/ 724281 w 1182528"/>
                <a:gd name="connsiteY153" fmla="*/ 269558 h 1101852"/>
                <a:gd name="connsiteX154" fmla="*/ 715423 w 1182528"/>
                <a:gd name="connsiteY154" fmla="*/ 275463 h 1101852"/>
                <a:gd name="connsiteX155" fmla="*/ 705898 w 1182528"/>
                <a:gd name="connsiteY155" fmla="*/ 276701 h 1101852"/>
                <a:gd name="connsiteX156" fmla="*/ 702945 w 1182528"/>
                <a:gd name="connsiteY156" fmla="*/ 278606 h 1101852"/>
                <a:gd name="connsiteX157" fmla="*/ 703993 w 1182528"/>
                <a:gd name="connsiteY157" fmla="*/ 286512 h 1101852"/>
                <a:gd name="connsiteX158" fmla="*/ 699611 w 1182528"/>
                <a:gd name="connsiteY158" fmla="*/ 290322 h 1101852"/>
                <a:gd name="connsiteX159" fmla="*/ 696944 w 1182528"/>
                <a:gd name="connsiteY159" fmla="*/ 293846 h 1101852"/>
                <a:gd name="connsiteX160" fmla="*/ 692753 w 1182528"/>
                <a:gd name="connsiteY160" fmla="*/ 299180 h 1101852"/>
                <a:gd name="connsiteX161" fmla="*/ 678180 w 1182528"/>
                <a:gd name="connsiteY161" fmla="*/ 297847 h 1101852"/>
                <a:gd name="connsiteX162" fmla="*/ 669512 w 1182528"/>
                <a:gd name="connsiteY162" fmla="*/ 292513 h 1101852"/>
                <a:gd name="connsiteX163" fmla="*/ 665131 w 1182528"/>
                <a:gd name="connsiteY163" fmla="*/ 296323 h 1101852"/>
                <a:gd name="connsiteX164" fmla="*/ 664178 w 1182528"/>
                <a:gd name="connsiteY164" fmla="*/ 301276 h 1101852"/>
                <a:gd name="connsiteX165" fmla="*/ 665988 w 1182528"/>
                <a:gd name="connsiteY165" fmla="*/ 302609 h 1101852"/>
                <a:gd name="connsiteX166" fmla="*/ 661988 w 1182528"/>
                <a:gd name="connsiteY166" fmla="*/ 309563 h 1101852"/>
                <a:gd name="connsiteX167" fmla="*/ 661226 w 1182528"/>
                <a:gd name="connsiteY167" fmla="*/ 316039 h 1101852"/>
                <a:gd name="connsiteX168" fmla="*/ 657130 w 1182528"/>
                <a:gd name="connsiteY168" fmla="*/ 321374 h 1101852"/>
                <a:gd name="connsiteX169" fmla="*/ 659702 w 1182528"/>
                <a:gd name="connsiteY169" fmla="*/ 329089 h 1101852"/>
                <a:gd name="connsiteX170" fmla="*/ 667417 w 1182528"/>
                <a:gd name="connsiteY170" fmla="*/ 339281 h 1101852"/>
                <a:gd name="connsiteX171" fmla="*/ 663893 w 1182528"/>
                <a:gd name="connsiteY171" fmla="*/ 349377 h 1101852"/>
                <a:gd name="connsiteX172" fmla="*/ 655034 w 1182528"/>
                <a:gd name="connsiteY172" fmla="*/ 355378 h 1101852"/>
                <a:gd name="connsiteX173" fmla="*/ 652081 w 1182528"/>
                <a:gd name="connsiteY173" fmla="*/ 357283 h 1101852"/>
                <a:gd name="connsiteX174" fmla="*/ 644747 w 1182528"/>
                <a:gd name="connsiteY174" fmla="*/ 350234 h 1101852"/>
                <a:gd name="connsiteX175" fmla="*/ 639985 w 1182528"/>
                <a:gd name="connsiteY175" fmla="*/ 350806 h 1101852"/>
                <a:gd name="connsiteX176" fmla="*/ 639413 w 1182528"/>
                <a:gd name="connsiteY176" fmla="*/ 358902 h 1101852"/>
                <a:gd name="connsiteX177" fmla="*/ 635889 w 1182528"/>
                <a:gd name="connsiteY177" fmla="*/ 368999 h 1101852"/>
                <a:gd name="connsiteX178" fmla="*/ 628174 w 1182528"/>
                <a:gd name="connsiteY178" fmla="*/ 371570 h 1101852"/>
                <a:gd name="connsiteX179" fmla="*/ 621316 w 1182528"/>
                <a:gd name="connsiteY179" fmla="*/ 367665 h 1101852"/>
                <a:gd name="connsiteX180" fmla="*/ 618554 w 1182528"/>
                <a:gd name="connsiteY180" fmla="*/ 371189 h 1101852"/>
                <a:gd name="connsiteX181" fmla="*/ 615410 w 1182528"/>
                <a:gd name="connsiteY181" fmla="*/ 371570 h 1101852"/>
                <a:gd name="connsiteX182" fmla="*/ 606266 w 1182528"/>
                <a:gd name="connsiteY182" fmla="*/ 363188 h 1101852"/>
                <a:gd name="connsiteX183" fmla="*/ 602742 w 1182528"/>
                <a:gd name="connsiteY183" fmla="*/ 360426 h 1101852"/>
                <a:gd name="connsiteX184" fmla="*/ 596265 w 1182528"/>
                <a:gd name="connsiteY184" fmla="*/ 359569 h 1101852"/>
                <a:gd name="connsiteX185" fmla="*/ 591693 w 1182528"/>
                <a:gd name="connsiteY185" fmla="*/ 361760 h 1101852"/>
                <a:gd name="connsiteX186" fmla="*/ 589502 w 1182528"/>
                <a:gd name="connsiteY186" fmla="*/ 357283 h 1101852"/>
                <a:gd name="connsiteX187" fmla="*/ 586740 w 1182528"/>
                <a:gd name="connsiteY187" fmla="*/ 360807 h 1101852"/>
                <a:gd name="connsiteX188" fmla="*/ 583025 w 1182528"/>
                <a:gd name="connsiteY188" fmla="*/ 356521 h 1101852"/>
                <a:gd name="connsiteX189" fmla="*/ 578644 w 1182528"/>
                <a:gd name="connsiteY189" fmla="*/ 360236 h 1101852"/>
                <a:gd name="connsiteX190" fmla="*/ 573500 w 1182528"/>
                <a:gd name="connsiteY190" fmla="*/ 357664 h 1101852"/>
                <a:gd name="connsiteX191" fmla="*/ 568833 w 1182528"/>
                <a:gd name="connsiteY191" fmla="*/ 358331 h 1101852"/>
                <a:gd name="connsiteX192" fmla="*/ 564642 w 1182528"/>
                <a:gd name="connsiteY192" fmla="*/ 363664 h 1101852"/>
                <a:gd name="connsiteX193" fmla="*/ 561689 w 1182528"/>
                <a:gd name="connsiteY193" fmla="*/ 365570 h 1101852"/>
                <a:gd name="connsiteX194" fmla="*/ 555403 w 1182528"/>
                <a:gd name="connsiteY194" fmla="*/ 366427 h 1101852"/>
                <a:gd name="connsiteX195" fmla="*/ 547878 w 1182528"/>
                <a:gd name="connsiteY195" fmla="*/ 357759 h 1101852"/>
                <a:gd name="connsiteX196" fmla="*/ 539591 w 1182528"/>
                <a:gd name="connsiteY196" fmla="*/ 368427 h 1101852"/>
                <a:gd name="connsiteX197" fmla="*/ 534924 w 1182528"/>
                <a:gd name="connsiteY197" fmla="*/ 368999 h 1101852"/>
                <a:gd name="connsiteX198" fmla="*/ 537305 w 1182528"/>
                <a:gd name="connsiteY198" fmla="*/ 375190 h 1101852"/>
                <a:gd name="connsiteX199" fmla="*/ 534543 w 1182528"/>
                <a:gd name="connsiteY199" fmla="*/ 378714 h 1101852"/>
                <a:gd name="connsiteX200" fmla="*/ 522827 w 1182528"/>
                <a:gd name="connsiteY200" fmla="*/ 375380 h 1101852"/>
                <a:gd name="connsiteX201" fmla="*/ 517112 w 1182528"/>
                <a:gd name="connsiteY201" fmla="*/ 368046 h 1101852"/>
                <a:gd name="connsiteX202" fmla="*/ 504825 w 1182528"/>
                <a:gd name="connsiteY202" fmla="*/ 360045 h 1101852"/>
                <a:gd name="connsiteX203" fmla="*/ 490633 w 1182528"/>
                <a:gd name="connsiteY203" fmla="*/ 361855 h 1101852"/>
                <a:gd name="connsiteX204" fmla="*/ 484727 w 1182528"/>
                <a:gd name="connsiteY204" fmla="*/ 365760 h 1101852"/>
                <a:gd name="connsiteX205" fmla="*/ 477298 w 1182528"/>
                <a:gd name="connsiteY205" fmla="*/ 369951 h 1101852"/>
                <a:gd name="connsiteX206" fmla="*/ 478250 w 1182528"/>
                <a:gd name="connsiteY206" fmla="*/ 377857 h 1101852"/>
                <a:gd name="connsiteX207" fmla="*/ 467201 w 1182528"/>
                <a:gd name="connsiteY207" fmla="*/ 379286 h 1101852"/>
                <a:gd name="connsiteX208" fmla="*/ 461296 w 1182528"/>
                <a:gd name="connsiteY208" fmla="*/ 383191 h 1101852"/>
                <a:gd name="connsiteX209" fmla="*/ 451199 w 1182528"/>
                <a:gd name="connsiteY209" fmla="*/ 379667 h 1101852"/>
                <a:gd name="connsiteX210" fmla="*/ 441389 w 1182528"/>
                <a:gd name="connsiteY210" fmla="*/ 377762 h 1101852"/>
                <a:gd name="connsiteX211" fmla="*/ 438436 w 1182528"/>
                <a:gd name="connsiteY211" fmla="*/ 379762 h 1101852"/>
                <a:gd name="connsiteX212" fmla="*/ 433292 w 1182528"/>
                <a:gd name="connsiteY212" fmla="*/ 377190 h 1101852"/>
                <a:gd name="connsiteX213" fmla="*/ 428530 w 1182528"/>
                <a:gd name="connsiteY213" fmla="*/ 377762 h 1101852"/>
                <a:gd name="connsiteX214" fmla="*/ 422434 w 1182528"/>
                <a:gd name="connsiteY214" fmla="*/ 380143 h 1101852"/>
                <a:gd name="connsiteX215" fmla="*/ 416909 w 1182528"/>
                <a:gd name="connsiteY215" fmla="*/ 387287 h 1101852"/>
                <a:gd name="connsiteX216" fmla="*/ 408813 w 1182528"/>
                <a:gd name="connsiteY216" fmla="*/ 386715 h 1101852"/>
                <a:gd name="connsiteX217" fmla="*/ 409861 w 1182528"/>
                <a:gd name="connsiteY217" fmla="*/ 394621 h 1101852"/>
                <a:gd name="connsiteX218" fmla="*/ 417576 w 1182528"/>
                <a:gd name="connsiteY218" fmla="*/ 404813 h 1101852"/>
                <a:gd name="connsiteX219" fmla="*/ 419767 w 1182528"/>
                <a:gd name="connsiteY219" fmla="*/ 409385 h 1101852"/>
                <a:gd name="connsiteX220" fmla="*/ 420910 w 1182528"/>
                <a:gd name="connsiteY220" fmla="*/ 418814 h 1101852"/>
                <a:gd name="connsiteX221" fmla="*/ 418147 w 1182528"/>
                <a:gd name="connsiteY221" fmla="*/ 422434 h 1101852"/>
                <a:gd name="connsiteX222" fmla="*/ 419005 w 1182528"/>
                <a:gd name="connsiteY222" fmla="*/ 428720 h 1101852"/>
                <a:gd name="connsiteX223" fmla="*/ 417576 w 1182528"/>
                <a:gd name="connsiteY223" fmla="*/ 430435 h 1101852"/>
                <a:gd name="connsiteX224" fmla="*/ 412718 w 1182528"/>
                <a:gd name="connsiteY224" fmla="*/ 429482 h 1101852"/>
                <a:gd name="connsiteX225" fmla="*/ 398716 w 1182528"/>
                <a:gd name="connsiteY225" fmla="*/ 445675 h 1101852"/>
                <a:gd name="connsiteX226" fmla="*/ 401288 w 1182528"/>
                <a:gd name="connsiteY226" fmla="*/ 453390 h 1101852"/>
                <a:gd name="connsiteX227" fmla="*/ 407575 w 1182528"/>
                <a:gd name="connsiteY227" fmla="*/ 452628 h 1101852"/>
                <a:gd name="connsiteX228" fmla="*/ 407194 w 1182528"/>
                <a:gd name="connsiteY228" fmla="*/ 462248 h 1101852"/>
                <a:gd name="connsiteX229" fmla="*/ 402908 w 1182528"/>
                <a:gd name="connsiteY229" fmla="*/ 466058 h 1101852"/>
                <a:gd name="connsiteX230" fmla="*/ 391858 w 1182528"/>
                <a:gd name="connsiteY230" fmla="*/ 467487 h 1101852"/>
                <a:gd name="connsiteX231" fmla="*/ 387477 w 1182528"/>
                <a:gd name="connsiteY231" fmla="*/ 471202 h 1101852"/>
                <a:gd name="connsiteX232" fmla="*/ 386906 w 1182528"/>
                <a:gd name="connsiteY232" fmla="*/ 479298 h 1101852"/>
                <a:gd name="connsiteX233" fmla="*/ 373761 w 1182528"/>
                <a:gd name="connsiteY233" fmla="*/ 489013 h 1101852"/>
                <a:gd name="connsiteX234" fmla="*/ 374142 w 1182528"/>
                <a:gd name="connsiteY234" fmla="*/ 492157 h 1101852"/>
                <a:gd name="connsiteX235" fmla="*/ 369856 w 1182528"/>
                <a:gd name="connsiteY235" fmla="*/ 495872 h 1101852"/>
                <a:gd name="connsiteX236" fmla="*/ 364331 w 1182528"/>
                <a:gd name="connsiteY236" fmla="*/ 503015 h 1101852"/>
                <a:gd name="connsiteX237" fmla="*/ 350329 w 1182528"/>
                <a:gd name="connsiteY237" fmla="*/ 493586 h 1101852"/>
                <a:gd name="connsiteX238" fmla="*/ 342233 w 1182528"/>
                <a:gd name="connsiteY238" fmla="*/ 493014 h 1101852"/>
                <a:gd name="connsiteX239" fmla="*/ 338614 w 1182528"/>
                <a:gd name="connsiteY239" fmla="*/ 490252 h 1101852"/>
                <a:gd name="connsiteX240" fmla="*/ 340233 w 1182528"/>
                <a:gd name="connsiteY240" fmla="*/ 490061 h 1101852"/>
                <a:gd name="connsiteX241" fmla="*/ 338233 w 1182528"/>
                <a:gd name="connsiteY241" fmla="*/ 487109 h 1101852"/>
                <a:gd name="connsiteX242" fmla="*/ 331756 w 1182528"/>
                <a:gd name="connsiteY242" fmla="*/ 486347 h 1101852"/>
                <a:gd name="connsiteX243" fmla="*/ 329946 w 1182528"/>
                <a:gd name="connsiteY243" fmla="*/ 484918 h 1101852"/>
                <a:gd name="connsiteX244" fmla="*/ 330899 w 1182528"/>
                <a:gd name="connsiteY244" fmla="*/ 480060 h 1101852"/>
                <a:gd name="connsiteX245" fmla="*/ 324326 w 1182528"/>
                <a:gd name="connsiteY245" fmla="*/ 466439 h 1101852"/>
                <a:gd name="connsiteX246" fmla="*/ 316611 w 1182528"/>
                <a:gd name="connsiteY246" fmla="*/ 456152 h 1101852"/>
                <a:gd name="connsiteX247" fmla="*/ 316039 w 1182528"/>
                <a:gd name="connsiteY247" fmla="*/ 451485 h 1101852"/>
                <a:gd name="connsiteX248" fmla="*/ 311087 w 1182528"/>
                <a:gd name="connsiteY248" fmla="*/ 450437 h 1101852"/>
                <a:gd name="connsiteX249" fmla="*/ 309753 w 1182528"/>
                <a:gd name="connsiteY249" fmla="*/ 452247 h 1101852"/>
                <a:gd name="connsiteX250" fmla="*/ 305943 w 1182528"/>
                <a:gd name="connsiteY250" fmla="*/ 447961 h 1101852"/>
                <a:gd name="connsiteX251" fmla="*/ 300799 w 1182528"/>
                <a:gd name="connsiteY251" fmla="*/ 445389 h 1101852"/>
                <a:gd name="connsiteX252" fmla="*/ 303657 w 1182528"/>
                <a:gd name="connsiteY252" fmla="*/ 467487 h 1101852"/>
                <a:gd name="connsiteX253" fmla="*/ 305848 w 1182528"/>
                <a:gd name="connsiteY253" fmla="*/ 471964 h 1101852"/>
                <a:gd name="connsiteX254" fmla="*/ 301466 w 1182528"/>
                <a:gd name="connsiteY254" fmla="*/ 475774 h 1101852"/>
                <a:gd name="connsiteX255" fmla="*/ 300514 w 1182528"/>
                <a:gd name="connsiteY255" fmla="*/ 480727 h 1101852"/>
                <a:gd name="connsiteX256" fmla="*/ 297561 w 1182528"/>
                <a:gd name="connsiteY256" fmla="*/ 482632 h 1101852"/>
                <a:gd name="connsiteX257" fmla="*/ 294418 w 1182528"/>
                <a:gd name="connsiteY257" fmla="*/ 483108 h 1101852"/>
                <a:gd name="connsiteX258" fmla="*/ 293084 w 1182528"/>
                <a:gd name="connsiteY258" fmla="*/ 484823 h 1101852"/>
                <a:gd name="connsiteX259" fmla="*/ 277463 w 1182528"/>
                <a:gd name="connsiteY259" fmla="*/ 488442 h 1101852"/>
                <a:gd name="connsiteX260" fmla="*/ 279464 w 1182528"/>
                <a:gd name="connsiteY260" fmla="*/ 491395 h 1101852"/>
                <a:gd name="connsiteX261" fmla="*/ 276701 w 1182528"/>
                <a:gd name="connsiteY261" fmla="*/ 494919 h 1101852"/>
                <a:gd name="connsiteX262" fmla="*/ 268605 w 1182528"/>
                <a:gd name="connsiteY262" fmla="*/ 494348 h 1101852"/>
                <a:gd name="connsiteX263" fmla="*/ 268986 w 1182528"/>
                <a:gd name="connsiteY263" fmla="*/ 497491 h 1101852"/>
                <a:gd name="connsiteX264" fmla="*/ 266224 w 1182528"/>
                <a:gd name="connsiteY264" fmla="*/ 501110 h 1101852"/>
                <a:gd name="connsiteX265" fmla="*/ 267081 w 1182528"/>
                <a:gd name="connsiteY265" fmla="*/ 507397 h 1101852"/>
                <a:gd name="connsiteX266" fmla="*/ 266510 w 1182528"/>
                <a:gd name="connsiteY266" fmla="*/ 515493 h 1101852"/>
                <a:gd name="connsiteX267" fmla="*/ 268224 w 1182528"/>
                <a:gd name="connsiteY267" fmla="*/ 516827 h 1101852"/>
                <a:gd name="connsiteX268" fmla="*/ 267652 w 1182528"/>
                <a:gd name="connsiteY268" fmla="*/ 524923 h 1101852"/>
                <a:gd name="connsiteX269" fmla="*/ 258413 w 1182528"/>
                <a:gd name="connsiteY269" fmla="*/ 527780 h 1101852"/>
                <a:gd name="connsiteX270" fmla="*/ 250317 w 1182528"/>
                <a:gd name="connsiteY270" fmla="*/ 527209 h 1101852"/>
                <a:gd name="connsiteX271" fmla="*/ 246031 w 1182528"/>
                <a:gd name="connsiteY271" fmla="*/ 530924 h 1101852"/>
                <a:gd name="connsiteX272" fmla="*/ 241268 w 1182528"/>
                <a:gd name="connsiteY272" fmla="*/ 518732 h 1101852"/>
                <a:gd name="connsiteX273" fmla="*/ 240792 w 1182528"/>
                <a:gd name="connsiteY273" fmla="*/ 515588 h 1101852"/>
                <a:gd name="connsiteX274" fmla="*/ 237077 w 1182528"/>
                <a:gd name="connsiteY274" fmla="*/ 511207 h 1101852"/>
                <a:gd name="connsiteX275" fmla="*/ 225838 w 1182528"/>
                <a:gd name="connsiteY275" fmla="*/ 511016 h 1101852"/>
                <a:gd name="connsiteX276" fmla="*/ 220504 w 1182528"/>
                <a:gd name="connsiteY276" fmla="*/ 506921 h 1101852"/>
                <a:gd name="connsiteX277" fmla="*/ 214789 w 1182528"/>
                <a:gd name="connsiteY277" fmla="*/ 512445 h 1101852"/>
                <a:gd name="connsiteX278" fmla="*/ 215360 w 1182528"/>
                <a:gd name="connsiteY278" fmla="*/ 517208 h 1101852"/>
                <a:gd name="connsiteX279" fmla="*/ 210883 w 1182528"/>
                <a:gd name="connsiteY279" fmla="*/ 519398 h 1101852"/>
                <a:gd name="connsiteX280" fmla="*/ 206693 w 1182528"/>
                <a:gd name="connsiteY280" fmla="*/ 524732 h 1101852"/>
                <a:gd name="connsiteX281" fmla="*/ 205359 w 1182528"/>
                <a:gd name="connsiteY281" fmla="*/ 526447 h 1101852"/>
                <a:gd name="connsiteX282" fmla="*/ 206312 w 1182528"/>
                <a:gd name="connsiteY282" fmla="*/ 534353 h 1101852"/>
                <a:gd name="connsiteX283" fmla="*/ 197834 w 1182528"/>
                <a:gd name="connsiteY283" fmla="*/ 543497 h 1101852"/>
                <a:gd name="connsiteX284" fmla="*/ 198501 w 1182528"/>
                <a:gd name="connsiteY284" fmla="*/ 548259 h 1101852"/>
                <a:gd name="connsiteX285" fmla="*/ 200692 w 1182528"/>
                <a:gd name="connsiteY285" fmla="*/ 552736 h 1101852"/>
                <a:gd name="connsiteX286" fmla="*/ 201454 w 1182528"/>
                <a:gd name="connsiteY286" fmla="*/ 559022 h 1101852"/>
                <a:gd name="connsiteX287" fmla="*/ 197168 w 1182528"/>
                <a:gd name="connsiteY287" fmla="*/ 562832 h 1101852"/>
                <a:gd name="connsiteX288" fmla="*/ 196120 w 1182528"/>
                <a:gd name="connsiteY288" fmla="*/ 567785 h 1101852"/>
                <a:gd name="connsiteX289" fmla="*/ 188309 w 1182528"/>
                <a:gd name="connsiteY289" fmla="*/ 581597 h 1101852"/>
                <a:gd name="connsiteX290" fmla="*/ 187738 w 1182528"/>
                <a:gd name="connsiteY290" fmla="*/ 589693 h 1101852"/>
                <a:gd name="connsiteX291" fmla="*/ 177260 w 1182528"/>
                <a:gd name="connsiteY291" fmla="*/ 595789 h 1101852"/>
                <a:gd name="connsiteX292" fmla="*/ 178879 w 1182528"/>
                <a:gd name="connsiteY292" fmla="*/ 608457 h 1101852"/>
                <a:gd name="connsiteX293" fmla="*/ 177546 w 1182528"/>
                <a:gd name="connsiteY293" fmla="*/ 610267 h 1101852"/>
                <a:gd name="connsiteX294" fmla="*/ 172593 w 1182528"/>
                <a:gd name="connsiteY294" fmla="*/ 609219 h 1101852"/>
                <a:gd name="connsiteX295" fmla="*/ 164497 w 1182528"/>
                <a:gd name="connsiteY295" fmla="*/ 608648 h 1101852"/>
                <a:gd name="connsiteX296" fmla="*/ 149257 w 1182528"/>
                <a:gd name="connsiteY296" fmla="*/ 602552 h 1101852"/>
                <a:gd name="connsiteX297" fmla="*/ 143351 w 1182528"/>
                <a:gd name="connsiteY297" fmla="*/ 606552 h 1101852"/>
                <a:gd name="connsiteX298" fmla="*/ 138398 w 1182528"/>
                <a:gd name="connsiteY298" fmla="*/ 605600 h 1101852"/>
                <a:gd name="connsiteX299" fmla="*/ 140779 w 1182528"/>
                <a:gd name="connsiteY299" fmla="*/ 598837 h 1101852"/>
                <a:gd name="connsiteX300" fmla="*/ 137255 w 1182528"/>
                <a:gd name="connsiteY300" fmla="*/ 596075 h 1101852"/>
                <a:gd name="connsiteX301" fmla="*/ 134874 w 1182528"/>
                <a:gd name="connsiteY301" fmla="*/ 589979 h 1101852"/>
                <a:gd name="connsiteX302" fmla="*/ 126016 w 1182528"/>
                <a:gd name="connsiteY302" fmla="*/ 595979 h 1101852"/>
                <a:gd name="connsiteX303" fmla="*/ 114586 w 1182528"/>
                <a:gd name="connsiteY303" fmla="*/ 607028 h 1101852"/>
                <a:gd name="connsiteX304" fmla="*/ 106680 w 1182528"/>
                <a:gd name="connsiteY304" fmla="*/ 607981 h 1101852"/>
                <a:gd name="connsiteX305" fmla="*/ 102299 w 1182528"/>
                <a:gd name="connsiteY305" fmla="*/ 611791 h 1101852"/>
                <a:gd name="connsiteX306" fmla="*/ 82772 w 1182528"/>
                <a:gd name="connsiteY306" fmla="*/ 609505 h 1101852"/>
                <a:gd name="connsiteX307" fmla="*/ 79057 w 1182528"/>
                <a:gd name="connsiteY307" fmla="*/ 605123 h 1101852"/>
                <a:gd name="connsiteX308" fmla="*/ 74866 w 1182528"/>
                <a:gd name="connsiteY308" fmla="*/ 597599 h 1101852"/>
                <a:gd name="connsiteX309" fmla="*/ 70295 w 1182528"/>
                <a:gd name="connsiteY309" fmla="*/ 599789 h 1101852"/>
                <a:gd name="connsiteX310" fmla="*/ 65437 w 1182528"/>
                <a:gd name="connsiteY310" fmla="*/ 598837 h 1101852"/>
                <a:gd name="connsiteX311" fmla="*/ 65246 w 1182528"/>
                <a:gd name="connsiteY311" fmla="*/ 610076 h 1101852"/>
                <a:gd name="connsiteX312" fmla="*/ 59150 w 1182528"/>
                <a:gd name="connsiteY312" fmla="*/ 625316 h 1101852"/>
                <a:gd name="connsiteX313" fmla="*/ 56864 w 1182528"/>
                <a:gd name="connsiteY313" fmla="*/ 644843 h 1101852"/>
                <a:gd name="connsiteX314" fmla="*/ 54864 w 1182528"/>
                <a:gd name="connsiteY314" fmla="*/ 654749 h 1101852"/>
                <a:gd name="connsiteX315" fmla="*/ 57626 w 1182528"/>
                <a:gd name="connsiteY315" fmla="*/ 663988 h 1101852"/>
                <a:gd name="connsiteX316" fmla="*/ 54102 w 1182528"/>
                <a:gd name="connsiteY316" fmla="*/ 674084 h 1101852"/>
                <a:gd name="connsiteX317" fmla="*/ 40957 w 1182528"/>
                <a:gd name="connsiteY317" fmla="*/ 683800 h 1101852"/>
                <a:gd name="connsiteX318" fmla="*/ 36766 w 1182528"/>
                <a:gd name="connsiteY318" fmla="*/ 689134 h 1101852"/>
                <a:gd name="connsiteX319" fmla="*/ 33242 w 1182528"/>
                <a:gd name="connsiteY319" fmla="*/ 699135 h 1101852"/>
                <a:gd name="connsiteX320" fmla="*/ 30289 w 1182528"/>
                <a:gd name="connsiteY320" fmla="*/ 701135 h 1101852"/>
                <a:gd name="connsiteX321" fmla="*/ 16574 w 1182528"/>
                <a:gd name="connsiteY321" fmla="*/ 706088 h 1101852"/>
                <a:gd name="connsiteX322" fmla="*/ 5524 w 1182528"/>
                <a:gd name="connsiteY322" fmla="*/ 707517 h 1101852"/>
                <a:gd name="connsiteX323" fmla="*/ 952 w 1182528"/>
                <a:gd name="connsiteY323" fmla="*/ 709708 h 1101852"/>
                <a:gd name="connsiteX324" fmla="*/ 0 w 1182528"/>
                <a:gd name="connsiteY324" fmla="*/ 714661 h 1101852"/>
                <a:gd name="connsiteX325" fmla="*/ 4858 w 1182528"/>
                <a:gd name="connsiteY325" fmla="*/ 715613 h 1101852"/>
                <a:gd name="connsiteX326" fmla="*/ 5143 w 1182528"/>
                <a:gd name="connsiteY326" fmla="*/ 717137 h 1101852"/>
                <a:gd name="connsiteX327" fmla="*/ 16954 w 1182528"/>
                <a:gd name="connsiteY327" fmla="*/ 722090 h 1101852"/>
                <a:gd name="connsiteX328" fmla="*/ 20955 w 1182528"/>
                <a:gd name="connsiteY328" fmla="*/ 727996 h 1101852"/>
                <a:gd name="connsiteX329" fmla="*/ 23336 w 1182528"/>
                <a:gd name="connsiteY329" fmla="*/ 734092 h 1101852"/>
                <a:gd name="connsiteX330" fmla="*/ 34099 w 1182528"/>
                <a:gd name="connsiteY330" fmla="*/ 731139 h 1101852"/>
                <a:gd name="connsiteX331" fmla="*/ 36100 w 1182528"/>
                <a:gd name="connsiteY331" fmla="*/ 734092 h 1101852"/>
                <a:gd name="connsiteX332" fmla="*/ 39052 w 1182528"/>
                <a:gd name="connsiteY332" fmla="*/ 732092 h 1101852"/>
                <a:gd name="connsiteX333" fmla="*/ 37909 w 1182528"/>
                <a:gd name="connsiteY333" fmla="*/ 735425 h 1101852"/>
                <a:gd name="connsiteX334" fmla="*/ 39719 w 1182528"/>
                <a:gd name="connsiteY334" fmla="*/ 736854 h 1101852"/>
                <a:gd name="connsiteX335" fmla="*/ 48577 w 1182528"/>
                <a:gd name="connsiteY335" fmla="*/ 730853 h 1101852"/>
                <a:gd name="connsiteX336" fmla="*/ 56197 w 1182528"/>
                <a:gd name="connsiteY336" fmla="*/ 728282 h 1101852"/>
                <a:gd name="connsiteX337" fmla="*/ 58864 w 1182528"/>
                <a:gd name="connsiteY337" fmla="*/ 735997 h 1101852"/>
                <a:gd name="connsiteX338" fmla="*/ 72676 w 1182528"/>
                <a:gd name="connsiteY338" fmla="*/ 743903 h 1101852"/>
                <a:gd name="connsiteX339" fmla="*/ 73628 w 1182528"/>
                <a:gd name="connsiteY339" fmla="*/ 738950 h 1101852"/>
                <a:gd name="connsiteX340" fmla="*/ 88201 w 1182528"/>
                <a:gd name="connsiteY340" fmla="*/ 740283 h 1101852"/>
                <a:gd name="connsiteX341" fmla="*/ 87820 w 1182528"/>
                <a:gd name="connsiteY341" fmla="*/ 737140 h 1101852"/>
                <a:gd name="connsiteX342" fmla="*/ 97155 w 1182528"/>
                <a:gd name="connsiteY342" fmla="*/ 747141 h 1101852"/>
                <a:gd name="connsiteX343" fmla="*/ 103632 w 1182528"/>
                <a:gd name="connsiteY343" fmla="*/ 747903 h 1101852"/>
                <a:gd name="connsiteX344" fmla="*/ 106585 w 1182528"/>
                <a:gd name="connsiteY344" fmla="*/ 745998 h 1101852"/>
                <a:gd name="connsiteX345" fmla="*/ 108395 w 1182528"/>
                <a:gd name="connsiteY345" fmla="*/ 747332 h 1101852"/>
                <a:gd name="connsiteX346" fmla="*/ 116300 w 1182528"/>
                <a:gd name="connsiteY346" fmla="*/ 759143 h 1101852"/>
                <a:gd name="connsiteX347" fmla="*/ 116491 w 1182528"/>
                <a:gd name="connsiteY347" fmla="*/ 760762 h 1101852"/>
                <a:gd name="connsiteX348" fmla="*/ 110204 w 1182528"/>
                <a:gd name="connsiteY348" fmla="*/ 761524 h 1101852"/>
                <a:gd name="connsiteX349" fmla="*/ 108204 w 1182528"/>
                <a:gd name="connsiteY349" fmla="*/ 771430 h 1101852"/>
                <a:gd name="connsiteX350" fmla="*/ 103727 w 1182528"/>
                <a:gd name="connsiteY350" fmla="*/ 773621 h 1101852"/>
                <a:gd name="connsiteX351" fmla="*/ 104299 w 1182528"/>
                <a:gd name="connsiteY351" fmla="*/ 778288 h 1101852"/>
                <a:gd name="connsiteX352" fmla="*/ 104299 w 1182528"/>
                <a:gd name="connsiteY352" fmla="*/ 778288 h 1101852"/>
                <a:gd name="connsiteX353" fmla="*/ 107251 w 1182528"/>
                <a:gd name="connsiteY353" fmla="*/ 776288 h 1101852"/>
                <a:gd name="connsiteX354" fmla="*/ 111062 w 1182528"/>
                <a:gd name="connsiteY354" fmla="*/ 780669 h 1101852"/>
                <a:gd name="connsiteX355" fmla="*/ 115729 w 1182528"/>
                <a:gd name="connsiteY355" fmla="*/ 780098 h 1101852"/>
                <a:gd name="connsiteX356" fmla="*/ 117539 w 1182528"/>
                <a:gd name="connsiteY356" fmla="*/ 781431 h 1101852"/>
                <a:gd name="connsiteX357" fmla="*/ 116205 w 1182528"/>
                <a:gd name="connsiteY357" fmla="*/ 783241 h 1101852"/>
                <a:gd name="connsiteX358" fmla="*/ 121253 w 1182528"/>
                <a:gd name="connsiteY358" fmla="*/ 785813 h 1101852"/>
                <a:gd name="connsiteX359" fmla="*/ 122682 w 1182528"/>
                <a:gd name="connsiteY359" fmla="*/ 784003 h 1101852"/>
                <a:gd name="connsiteX360" fmla="*/ 125825 w 1182528"/>
                <a:gd name="connsiteY360" fmla="*/ 783622 h 1101852"/>
                <a:gd name="connsiteX361" fmla="*/ 123634 w 1182528"/>
                <a:gd name="connsiteY361" fmla="*/ 779050 h 1101852"/>
                <a:gd name="connsiteX362" fmla="*/ 125254 w 1182528"/>
                <a:gd name="connsiteY362" fmla="*/ 778859 h 1101852"/>
                <a:gd name="connsiteX363" fmla="*/ 131159 w 1182528"/>
                <a:gd name="connsiteY363" fmla="*/ 774859 h 1101852"/>
                <a:gd name="connsiteX364" fmla="*/ 136112 w 1182528"/>
                <a:gd name="connsiteY364" fmla="*/ 775907 h 1101852"/>
                <a:gd name="connsiteX365" fmla="*/ 144208 w 1182528"/>
                <a:gd name="connsiteY365" fmla="*/ 776478 h 1101852"/>
                <a:gd name="connsiteX366" fmla="*/ 146304 w 1182528"/>
                <a:gd name="connsiteY366" fmla="*/ 780955 h 1101852"/>
                <a:gd name="connsiteX367" fmla="*/ 147923 w 1182528"/>
                <a:gd name="connsiteY367" fmla="*/ 780764 h 1101852"/>
                <a:gd name="connsiteX368" fmla="*/ 149733 w 1182528"/>
                <a:gd name="connsiteY368" fmla="*/ 782193 h 1101852"/>
                <a:gd name="connsiteX369" fmla="*/ 154400 w 1182528"/>
                <a:gd name="connsiteY369" fmla="*/ 781526 h 1101852"/>
                <a:gd name="connsiteX370" fmla="*/ 157829 w 1182528"/>
                <a:gd name="connsiteY370" fmla="*/ 782765 h 1101852"/>
                <a:gd name="connsiteX371" fmla="*/ 167259 w 1182528"/>
                <a:gd name="connsiteY371" fmla="*/ 781526 h 1101852"/>
                <a:gd name="connsiteX372" fmla="*/ 167830 w 1182528"/>
                <a:gd name="connsiteY372" fmla="*/ 786289 h 1101852"/>
                <a:gd name="connsiteX373" fmla="*/ 170402 w 1182528"/>
                <a:gd name="connsiteY373" fmla="*/ 781145 h 1101852"/>
                <a:gd name="connsiteX374" fmla="*/ 175355 w 1182528"/>
                <a:gd name="connsiteY374" fmla="*/ 782098 h 1101852"/>
                <a:gd name="connsiteX375" fmla="*/ 179451 w 1182528"/>
                <a:gd name="connsiteY375" fmla="*/ 776764 h 1101852"/>
                <a:gd name="connsiteX376" fmla="*/ 185642 w 1182528"/>
                <a:gd name="connsiteY376" fmla="*/ 774383 h 1101852"/>
                <a:gd name="connsiteX377" fmla="*/ 185833 w 1182528"/>
                <a:gd name="connsiteY377" fmla="*/ 776002 h 1101852"/>
                <a:gd name="connsiteX378" fmla="*/ 183261 w 1182528"/>
                <a:gd name="connsiteY378" fmla="*/ 781050 h 1101852"/>
                <a:gd name="connsiteX379" fmla="*/ 193548 w 1182528"/>
                <a:gd name="connsiteY379" fmla="*/ 786194 h 1101852"/>
                <a:gd name="connsiteX380" fmla="*/ 196691 w 1182528"/>
                <a:gd name="connsiteY380" fmla="*/ 798576 h 1101852"/>
                <a:gd name="connsiteX381" fmla="*/ 203645 w 1182528"/>
                <a:gd name="connsiteY381" fmla="*/ 802576 h 1101852"/>
                <a:gd name="connsiteX382" fmla="*/ 200882 w 1182528"/>
                <a:gd name="connsiteY382" fmla="*/ 806101 h 1101852"/>
                <a:gd name="connsiteX383" fmla="*/ 203454 w 1182528"/>
                <a:gd name="connsiteY383" fmla="*/ 813816 h 1101852"/>
                <a:gd name="connsiteX384" fmla="*/ 202025 w 1182528"/>
                <a:gd name="connsiteY384" fmla="*/ 815531 h 1101852"/>
                <a:gd name="connsiteX385" fmla="*/ 202501 w 1182528"/>
                <a:gd name="connsiteY385" fmla="*/ 818769 h 1101852"/>
                <a:gd name="connsiteX386" fmla="*/ 197929 w 1182528"/>
                <a:gd name="connsiteY386" fmla="*/ 820865 h 1101852"/>
                <a:gd name="connsiteX387" fmla="*/ 194977 w 1182528"/>
                <a:gd name="connsiteY387" fmla="*/ 822865 h 1101852"/>
                <a:gd name="connsiteX388" fmla="*/ 194977 w 1182528"/>
                <a:gd name="connsiteY388" fmla="*/ 822865 h 1101852"/>
                <a:gd name="connsiteX389" fmla="*/ 192214 w 1182528"/>
                <a:gd name="connsiteY389" fmla="*/ 826484 h 1101852"/>
                <a:gd name="connsiteX390" fmla="*/ 192595 w 1182528"/>
                <a:gd name="connsiteY390" fmla="*/ 829628 h 1101852"/>
                <a:gd name="connsiteX391" fmla="*/ 194596 w 1182528"/>
                <a:gd name="connsiteY391" fmla="*/ 832580 h 1101852"/>
                <a:gd name="connsiteX392" fmla="*/ 193453 w 1182528"/>
                <a:gd name="connsiteY392" fmla="*/ 835914 h 1101852"/>
                <a:gd name="connsiteX393" fmla="*/ 196596 w 1182528"/>
                <a:gd name="connsiteY393" fmla="*/ 835533 h 1101852"/>
                <a:gd name="connsiteX394" fmla="*/ 195643 w 1182528"/>
                <a:gd name="connsiteY394" fmla="*/ 840486 h 1101852"/>
                <a:gd name="connsiteX395" fmla="*/ 200597 w 1182528"/>
                <a:gd name="connsiteY395" fmla="*/ 841439 h 1101852"/>
                <a:gd name="connsiteX396" fmla="*/ 199739 w 1182528"/>
                <a:gd name="connsiteY396" fmla="*/ 847916 h 1101852"/>
                <a:gd name="connsiteX397" fmla="*/ 198215 w 1182528"/>
                <a:gd name="connsiteY397" fmla="*/ 848106 h 1101852"/>
                <a:gd name="connsiteX398" fmla="*/ 193643 w 1182528"/>
                <a:gd name="connsiteY398" fmla="*/ 850297 h 1101852"/>
                <a:gd name="connsiteX399" fmla="*/ 194310 w 1182528"/>
                <a:gd name="connsiteY399" fmla="*/ 855059 h 1101852"/>
                <a:gd name="connsiteX400" fmla="*/ 195834 w 1182528"/>
                <a:gd name="connsiteY400" fmla="*/ 854869 h 1101852"/>
                <a:gd name="connsiteX401" fmla="*/ 193262 w 1182528"/>
                <a:gd name="connsiteY401" fmla="*/ 860012 h 1101852"/>
                <a:gd name="connsiteX402" fmla="*/ 190119 w 1182528"/>
                <a:gd name="connsiteY402" fmla="*/ 860393 h 1101852"/>
                <a:gd name="connsiteX403" fmla="*/ 191929 w 1182528"/>
                <a:gd name="connsiteY403" fmla="*/ 861727 h 1101852"/>
                <a:gd name="connsiteX404" fmla="*/ 189928 w 1182528"/>
                <a:gd name="connsiteY404" fmla="*/ 871633 h 1101852"/>
                <a:gd name="connsiteX405" fmla="*/ 186785 w 1182528"/>
                <a:gd name="connsiteY405" fmla="*/ 872014 h 1101852"/>
                <a:gd name="connsiteX406" fmla="*/ 186976 w 1182528"/>
                <a:gd name="connsiteY406" fmla="*/ 873633 h 1101852"/>
                <a:gd name="connsiteX407" fmla="*/ 190214 w 1182528"/>
                <a:gd name="connsiteY407" fmla="*/ 873252 h 1101852"/>
                <a:gd name="connsiteX408" fmla="*/ 200025 w 1182528"/>
                <a:gd name="connsiteY408" fmla="*/ 875157 h 1101852"/>
                <a:gd name="connsiteX409" fmla="*/ 197453 w 1182528"/>
                <a:gd name="connsiteY409" fmla="*/ 880301 h 1101852"/>
                <a:gd name="connsiteX410" fmla="*/ 196501 w 1182528"/>
                <a:gd name="connsiteY410" fmla="*/ 885253 h 1101852"/>
                <a:gd name="connsiteX411" fmla="*/ 199835 w 1182528"/>
                <a:gd name="connsiteY411" fmla="*/ 886397 h 1101852"/>
                <a:gd name="connsiteX412" fmla="*/ 201073 w 1182528"/>
                <a:gd name="connsiteY412" fmla="*/ 895922 h 1101852"/>
                <a:gd name="connsiteX413" fmla="*/ 202120 w 1182528"/>
                <a:gd name="connsiteY413" fmla="*/ 903732 h 1101852"/>
                <a:gd name="connsiteX414" fmla="*/ 199168 w 1182528"/>
                <a:gd name="connsiteY414" fmla="*/ 905732 h 1101852"/>
                <a:gd name="connsiteX415" fmla="*/ 194405 w 1182528"/>
                <a:gd name="connsiteY415" fmla="*/ 906399 h 1101852"/>
                <a:gd name="connsiteX416" fmla="*/ 191643 w 1182528"/>
                <a:gd name="connsiteY416" fmla="*/ 909923 h 1101852"/>
                <a:gd name="connsiteX417" fmla="*/ 193453 w 1182528"/>
                <a:gd name="connsiteY417" fmla="*/ 911257 h 1101852"/>
                <a:gd name="connsiteX418" fmla="*/ 192024 w 1182528"/>
                <a:gd name="connsiteY418" fmla="*/ 913067 h 1101852"/>
                <a:gd name="connsiteX419" fmla="*/ 196405 w 1182528"/>
                <a:gd name="connsiteY419" fmla="*/ 922115 h 1101852"/>
                <a:gd name="connsiteX420" fmla="*/ 199739 w 1182528"/>
                <a:gd name="connsiteY420" fmla="*/ 923353 h 1101852"/>
                <a:gd name="connsiteX421" fmla="*/ 205835 w 1182528"/>
                <a:gd name="connsiteY421" fmla="*/ 920972 h 1101852"/>
                <a:gd name="connsiteX422" fmla="*/ 207454 w 1182528"/>
                <a:gd name="connsiteY422" fmla="*/ 920687 h 1101852"/>
                <a:gd name="connsiteX423" fmla="*/ 207835 w 1182528"/>
                <a:gd name="connsiteY423" fmla="*/ 923925 h 1101852"/>
                <a:gd name="connsiteX424" fmla="*/ 214598 w 1182528"/>
                <a:gd name="connsiteY424" fmla="*/ 926211 h 1101852"/>
                <a:gd name="connsiteX425" fmla="*/ 213170 w 1182528"/>
                <a:gd name="connsiteY425" fmla="*/ 928021 h 1101852"/>
                <a:gd name="connsiteX426" fmla="*/ 210217 w 1182528"/>
                <a:gd name="connsiteY426" fmla="*/ 930021 h 1101852"/>
                <a:gd name="connsiteX427" fmla="*/ 212217 w 1182528"/>
                <a:gd name="connsiteY427" fmla="*/ 932974 h 1101852"/>
                <a:gd name="connsiteX428" fmla="*/ 210883 w 1182528"/>
                <a:gd name="connsiteY428" fmla="*/ 934688 h 1101852"/>
                <a:gd name="connsiteX429" fmla="*/ 209455 w 1182528"/>
                <a:gd name="connsiteY429" fmla="*/ 936498 h 1101852"/>
                <a:gd name="connsiteX430" fmla="*/ 210312 w 1182528"/>
                <a:gd name="connsiteY430" fmla="*/ 942880 h 1101852"/>
                <a:gd name="connsiteX431" fmla="*/ 203930 w 1182528"/>
                <a:gd name="connsiteY431" fmla="*/ 943642 h 1101852"/>
                <a:gd name="connsiteX432" fmla="*/ 204787 w 1182528"/>
                <a:gd name="connsiteY432" fmla="*/ 949928 h 1101852"/>
                <a:gd name="connsiteX433" fmla="*/ 213074 w 1182528"/>
                <a:gd name="connsiteY433" fmla="*/ 952119 h 1101852"/>
                <a:gd name="connsiteX434" fmla="*/ 216218 w 1182528"/>
                <a:gd name="connsiteY434" fmla="*/ 951738 h 1101852"/>
                <a:gd name="connsiteX435" fmla="*/ 216408 w 1182528"/>
                <a:gd name="connsiteY435" fmla="*/ 953262 h 1101852"/>
                <a:gd name="connsiteX436" fmla="*/ 212312 w 1182528"/>
                <a:gd name="connsiteY436" fmla="*/ 958596 h 1101852"/>
                <a:gd name="connsiteX437" fmla="*/ 215646 w 1182528"/>
                <a:gd name="connsiteY437" fmla="*/ 959834 h 1101852"/>
                <a:gd name="connsiteX438" fmla="*/ 217170 w 1182528"/>
                <a:gd name="connsiteY438" fmla="*/ 959549 h 1101852"/>
                <a:gd name="connsiteX439" fmla="*/ 224314 w 1182528"/>
                <a:gd name="connsiteY439" fmla="*/ 965073 h 1101852"/>
                <a:gd name="connsiteX440" fmla="*/ 221742 w 1182528"/>
                <a:gd name="connsiteY440" fmla="*/ 970217 h 1101852"/>
                <a:gd name="connsiteX441" fmla="*/ 221742 w 1182528"/>
                <a:gd name="connsiteY441" fmla="*/ 970217 h 1101852"/>
                <a:gd name="connsiteX442" fmla="*/ 227362 w 1182528"/>
                <a:gd name="connsiteY442" fmla="*/ 975932 h 1101852"/>
                <a:gd name="connsiteX443" fmla="*/ 228314 w 1182528"/>
                <a:gd name="connsiteY443" fmla="*/ 983837 h 1101852"/>
                <a:gd name="connsiteX444" fmla="*/ 230124 w 1182528"/>
                <a:gd name="connsiteY444" fmla="*/ 985171 h 1101852"/>
                <a:gd name="connsiteX445" fmla="*/ 229362 w 1182528"/>
                <a:gd name="connsiteY445" fmla="*/ 991743 h 1101852"/>
                <a:gd name="connsiteX446" fmla="*/ 226600 w 1182528"/>
                <a:gd name="connsiteY446" fmla="*/ 995267 h 1101852"/>
                <a:gd name="connsiteX447" fmla="*/ 236220 w 1182528"/>
                <a:gd name="connsiteY447" fmla="*/ 995648 h 1101852"/>
                <a:gd name="connsiteX448" fmla="*/ 233077 w 1182528"/>
                <a:gd name="connsiteY448" fmla="*/ 1008888 h 1101852"/>
                <a:gd name="connsiteX449" fmla="*/ 224790 w 1182528"/>
                <a:gd name="connsiteY449" fmla="*/ 1006697 h 1101852"/>
                <a:gd name="connsiteX450" fmla="*/ 220313 w 1182528"/>
                <a:gd name="connsiteY450" fmla="*/ 1008888 h 1101852"/>
                <a:gd name="connsiteX451" fmla="*/ 221837 w 1182528"/>
                <a:gd name="connsiteY451" fmla="*/ 1008698 h 1101852"/>
                <a:gd name="connsiteX452" fmla="*/ 220885 w 1182528"/>
                <a:gd name="connsiteY452" fmla="*/ 1013651 h 1101852"/>
                <a:gd name="connsiteX453" fmla="*/ 229362 w 1182528"/>
                <a:gd name="connsiteY453" fmla="*/ 1017365 h 1101852"/>
                <a:gd name="connsiteX454" fmla="*/ 229743 w 1182528"/>
                <a:gd name="connsiteY454" fmla="*/ 1020509 h 1101852"/>
                <a:gd name="connsiteX455" fmla="*/ 228219 w 1182528"/>
                <a:gd name="connsiteY455" fmla="*/ 1020699 h 1101852"/>
                <a:gd name="connsiteX456" fmla="*/ 233362 w 1182528"/>
                <a:gd name="connsiteY456" fmla="*/ 1023271 h 1101852"/>
                <a:gd name="connsiteX457" fmla="*/ 230410 w 1182528"/>
                <a:gd name="connsiteY457" fmla="*/ 1025271 h 1101852"/>
                <a:gd name="connsiteX458" fmla="*/ 232791 w 1182528"/>
                <a:gd name="connsiteY458" fmla="*/ 1031367 h 1101852"/>
                <a:gd name="connsiteX459" fmla="*/ 229648 w 1182528"/>
                <a:gd name="connsiteY459" fmla="*/ 1031748 h 1101852"/>
                <a:gd name="connsiteX460" fmla="*/ 220885 w 1182528"/>
                <a:gd name="connsiteY460" fmla="*/ 1026509 h 1101852"/>
                <a:gd name="connsiteX461" fmla="*/ 223837 w 1182528"/>
                <a:gd name="connsiteY461" fmla="*/ 1024509 h 1101852"/>
                <a:gd name="connsiteX462" fmla="*/ 220504 w 1182528"/>
                <a:gd name="connsiteY462" fmla="*/ 1023271 h 1101852"/>
                <a:gd name="connsiteX463" fmla="*/ 219170 w 1182528"/>
                <a:gd name="connsiteY463" fmla="*/ 1025081 h 1101852"/>
                <a:gd name="connsiteX464" fmla="*/ 217360 w 1182528"/>
                <a:gd name="connsiteY464" fmla="*/ 1023747 h 1101852"/>
                <a:gd name="connsiteX465" fmla="*/ 217551 w 1182528"/>
                <a:gd name="connsiteY465" fmla="*/ 1025271 h 1101852"/>
                <a:gd name="connsiteX466" fmla="*/ 209074 w 1182528"/>
                <a:gd name="connsiteY466" fmla="*/ 1021556 h 1101852"/>
                <a:gd name="connsiteX467" fmla="*/ 207931 w 1182528"/>
                <a:gd name="connsiteY467" fmla="*/ 1024890 h 1101852"/>
                <a:gd name="connsiteX468" fmla="*/ 207740 w 1182528"/>
                <a:gd name="connsiteY468" fmla="*/ 1023366 h 1101852"/>
                <a:gd name="connsiteX469" fmla="*/ 200025 w 1182528"/>
                <a:gd name="connsiteY469" fmla="*/ 1025938 h 1101852"/>
                <a:gd name="connsiteX470" fmla="*/ 198787 w 1182528"/>
                <a:gd name="connsiteY470" fmla="*/ 1029272 h 1101852"/>
                <a:gd name="connsiteX471" fmla="*/ 202216 w 1182528"/>
                <a:gd name="connsiteY471" fmla="*/ 1030415 h 1101852"/>
                <a:gd name="connsiteX472" fmla="*/ 200977 w 1182528"/>
                <a:gd name="connsiteY472" fmla="*/ 1033844 h 1101852"/>
                <a:gd name="connsiteX473" fmla="*/ 193072 w 1182528"/>
                <a:gd name="connsiteY473" fmla="*/ 1034796 h 1101852"/>
                <a:gd name="connsiteX474" fmla="*/ 196691 w 1182528"/>
                <a:gd name="connsiteY474" fmla="*/ 1037558 h 1101852"/>
                <a:gd name="connsiteX475" fmla="*/ 199835 w 1182528"/>
                <a:gd name="connsiteY475" fmla="*/ 1037177 h 1101852"/>
                <a:gd name="connsiteX476" fmla="*/ 205549 w 1182528"/>
                <a:gd name="connsiteY476" fmla="*/ 1044416 h 1101852"/>
                <a:gd name="connsiteX477" fmla="*/ 208121 w 1182528"/>
                <a:gd name="connsiteY477" fmla="*/ 1039368 h 1101852"/>
                <a:gd name="connsiteX478" fmla="*/ 213455 w 1182528"/>
                <a:gd name="connsiteY478" fmla="*/ 1043464 h 1101852"/>
                <a:gd name="connsiteX479" fmla="*/ 221170 w 1182528"/>
                <a:gd name="connsiteY479" fmla="*/ 1040892 h 1101852"/>
                <a:gd name="connsiteX480" fmla="*/ 226124 w 1182528"/>
                <a:gd name="connsiteY480" fmla="*/ 1041845 h 1101852"/>
                <a:gd name="connsiteX481" fmla="*/ 228505 w 1182528"/>
                <a:gd name="connsiteY481" fmla="*/ 1047941 h 1101852"/>
                <a:gd name="connsiteX482" fmla="*/ 228695 w 1182528"/>
                <a:gd name="connsiteY482" fmla="*/ 1049560 h 1101852"/>
                <a:gd name="connsiteX483" fmla="*/ 235553 w 1182528"/>
                <a:gd name="connsiteY483" fmla="*/ 1053465 h 1101852"/>
                <a:gd name="connsiteX484" fmla="*/ 231076 w 1182528"/>
                <a:gd name="connsiteY484" fmla="*/ 1055656 h 1101852"/>
                <a:gd name="connsiteX485" fmla="*/ 229648 w 1182528"/>
                <a:gd name="connsiteY485" fmla="*/ 1057466 h 1101852"/>
                <a:gd name="connsiteX486" fmla="*/ 237553 w 1182528"/>
                <a:gd name="connsiteY486" fmla="*/ 1056418 h 1101852"/>
                <a:gd name="connsiteX487" fmla="*/ 239363 w 1182528"/>
                <a:gd name="connsiteY487" fmla="*/ 1057847 h 1101852"/>
                <a:gd name="connsiteX488" fmla="*/ 240983 w 1182528"/>
                <a:gd name="connsiteY488" fmla="*/ 1070420 h 1101852"/>
                <a:gd name="connsiteX489" fmla="*/ 239744 w 1182528"/>
                <a:gd name="connsiteY489" fmla="*/ 1073753 h 1101852"/>
                <a:gd name="connsiteX490" fmla="*/ 243173 w 1182528"/>
                <a:gd name="connsiteY490" fmla="*/ 1074992 h 1101852"/>
                <a:gd name="connsiteX491" fmla="*/ 246126 w 1182528"/>
                <a:gd name="connsiteY491" fmla="*/ 1072991 h 1101852"/>
                <a:gd name="connsiteX492" fmla="*/ 259080 w 1182528"/>
                <a:gd name="connsiteY492" fmla="*/ 1074515 h 1101852"/>
                <a:gd name="connsiteX493" fmla="*/ 258699 w 1182528"/>
                <a:gd name="connsiteY493" fmla="*/ 1071372 h 1101852"/>
                <a:gd name="connsiteX494" fmla="*/ 260318 w 1182528"/>
                <a:gd name="connsiteY494" fmla="*/ 1071182 h 1101852"/>
                <a:gd name="connsiteX495" fmla="*/ 261461 w 1182528"/>
                <a:gd name="connsiteY495" fmla="*/ 1080611 h 1101852"/>
                <a:gd name="connsiteX496" fmla="*/ 259366 w 1182528"/>
                <a:gd name="connsiteY496" fmla="*/ 1088898 h 1101852"/>
                <a:gd name="connsiteX497" fmla="*/ 265843 w 1182528"/>
                <a:gd name="connsiteY497" fmla="*/ 1089660 h 1101852"/>
                <a:gd name="connsiteX498" fmla="*/ 268414 w 1182528"/>
                <a:gd name="connsiteY498" fmla="*/ 1084517 h 1101852"/>
                <a:gd name="connsiteX499" fmla="*/ 271558 w 1182528"/>
                <a:gd name="connsiteY499" fmla="*/ 1084136 h 1101852"/>
                <a:gd name="connsiteX500" fmla="*/ 272510 w 1182528"/>
                <a:gd name="connsiteY500" fmla="*/ 1079183 h 1101852"/>
                <a:gd name="connsiteX501" fmla="*/ 273749 w 1182528"/>
                <a:gd name="connsiteY501" fmla="*/ 1075849 h 1101852"/>
                <a:gd name="connsiteX502" fmla="*/ 276892 w 1182528"/>
                <a:gd name="connsiteY502" fmla="*/ 1075468 h 1101852"/>
                <a:gd name="connsiteX503" fmla="*/ 281178 w 1182528"/>
                <a:gd name="connsiteY503" fmla="*/ 1071753 h 1101852"/>
                <a:gd name="connsiteX504" fmla="*/ 283178 w 1182528"/>
                <a:gd name="connsiteY504" fmla="*/ 1074706 h 1101852"/>
                <a:gd name="connsiteX505" fmla="*/ 280035 w 1182528"/>
                <a:gd name="connsiteY505" fmla="*/ 1075087 h 1101852"/>
                <a:gd name="connsiteX506" fmla="*/ 278701 w 1182528"/>
                <a:gd name="connsiteY506" fmla="*/ 1076801 h 1101852"/>
                <a:gd name="connsiteX507" fmla="*/ 283750 w 1182528"/>
                <a:gd name="connsiteY507" fmla="*/ 1079373 h 1101852"/>
                <a:gd name="connsiteX508" fmla="*/ 282988 w 1182528"/>
                <a:gd name="connsiteY508" fmla="*/ 1085945 h 1101852"/>
                <a:gd name="connsiteX509" fmla="*/ 286226 w 1182528"/>
                <a:gd name="connsiteY509" fmla="*/ 1085469 h 1101852"/>
                <a:gd name="connsiteX510" fmla="*/ 287941 w 1182528"/>
                <a:gd name="connsiteY510" fmla="*/ 1086898 h 1101852"/>
                <a:gd name="connsiteX511" fmla="*/ 291084 w 1182528"/>
                <a:gd name="connsiteY511" fmla="*/ 1086517 h 1101852"/>
                <a:gd name="connsiteX512" fmla="*/ 291179 w 1182528"/>
                <a:gd name="connsiteY512" fmla="*/ 1099280 h 1101852"/>
                <a:gd name="connsiteX513" fmla="*/ 296323 w 1182528"/>
                <a:gd name="connsiteY513" fmla="*/ 1101852 h 1101852"/>
                <a:gd name="connsiteX514" fmla="*/ 302228 w 1182528"/>
                <a:gd name="connsiteY514" fmla="*/ 1097852 h 1101852"/>
                <a:gd name="connsiteX515" fmla="*/ 305372 w 1182528"/>
                <a:gd name="connsiteY515" fmla="*/ 1097471 h 1101852"/>
                <a:gd name="connsiteX516" fmla="*/ 308705 w 1182528"/>
                <a:gd name="connsiteY516" fmla="*/ 1098709 h 1101852"/>
                <a:gd name="connsiteX517" fmla="*/ 308515 w 1182528"/>
                <a:gd name="connsiteY517" fmla="*/ 1097090 h 1101852"/>
                <a:gd name="connsiteX518" fmla="*/ 314611 w 1182528"/>
                <a:gd name="connsiteY518" fmla="*/ 1094708 h 1101852"/>
                <a:gd name="connsiteX519" fmla="*/ 315373 w 1182528"/>
                <a:gd name="connsiteY519" fmla="*/ 1088231 h 1101852"/>
                <a:gd name="connsiteX520" fmla="*/ 317183 w 1182528"/>
                <a:gd name="connsiteY520" fmla="*/ 1089565 h 1101852"/>
                <a:gd name="connsiteX521" fmla="*/ 317945 w 1182528"/>
                <a:gd name="connsiteY521" fmla="*/ 1083088 h 1101852"/>
                <a:gd name="connsiteX522" fmla="*/ 315944 w 1182528"/>
                <a:gd name="connsiteY522" fmla="*/ 1080135 h 1101852"/>
                <a:gd name="connsiteX523" fmla="*/ 320326 w 1182528"/>
                <a:gd name="connsiteY523" fmla="*/ 1076325 h 1101852"/>
                <a:gd name="connsiteX524" fmla="*/ 323660 w 1182528"/>
                <a:gd name="connsiteY524" fmla="*/ 1077563 h 1101852"/>
                <a:gd name="connsiteX525" fmla="*/ 326422 w 1182528"/>
                <a:gd name="connsiteY525" fmla="*/ 1073944 h 1101852"/>
                <a:gd name="connsiteX526" fmla="*/ 329565 w 1182528"/>
                <a:gd name="connsiteY526" fmla="*/ 1073563 h 1101852"/>
                <a:gd name="connsiteX527" fmla="*/ 330327 w 1182528"/>
                <a:gd name="connsiteY527" fmla="*/ 1067086 h 1101852"/>
                <a:gd name="connsiteX528" fmla="*/ 340043 w 1182528"/>
                <a:gd name="connsiteY528" fmla="*/ 1067467 h 1101852"/>
                <a:gd name="connsiteX529" fmla="*/ 340043 w 1182528"/>
                <a:gd name="connsiteY529" fmla="*/ 1067467 h 1101852"/>
                <a:gd name="connsiteX530" fmla="*/ 340233 w 1182528"/>
                <a:gd name="connsiteY530" fmla="*/ 1068991 h 1101852"/>
                <a:gd name="connsiteX531" fmla="*/ 350234 w 1182528"/>
                <a:gd name="connsiteY531" fmla="*/ 1072515 h 1101852"/>
                <a:gd name="connsiteX532" fmla="*/ 354997 w 1182528"/>
                <a:gd name="connsiteY532" fmla="*/ 1071944 h 1101852"/>
                <a:gd name="connsiteX533" fmla="*/ 355949 w 1182528"/>
                <a:gd name="connsiteY533" fmla="*/ 1066991 h 1101852"/>
                <a:gd name="connsiteX534" fmla="*/ 354235 w 1182528"/>
                <a:gd name="connsiteY534" fmla="*/ 1065657 h 1101852"/>
                <a:gd name="connsiteX535" fmla="*/ 355378 w 1182528"/>
                <a:gd name="connsiteY535" fmla="*/ 1062228 h 1101852"/>
                <a:gd name="connsiteX536" fmla="*/ 357187 w 1182528"/>
                <a:gd name="connsiteY536" fmla="*/ 1063657 h 1101852"/>
                <a:gd name="connsiteX537" fmla="*/ 361855 w 1182528"/>
                <a:gd name="connsiteY537" fmla="*/ 1062990 h 1101852"/>
                <a:gd name="connsiteX538" fmla="*/ 360712 w 1182528"/>
                <a:gd name="connsiteY538" fmla="*/ 1053560 h 1101852"/>
                <a:gd name="connsiteX539" fmla="*/ 360521 w 1182528"/>
                <a:gd name="connsiteY539" fmla="*/ 1051941 h 1101852"/>
                <a:gd name="connsiteX540" fmla="*/ 360902 w 1182528"/>
                <a:gd name="connsiteY540" fmla="*/ 1042321 h 1101852"/>
                <a:gd name="connsiteX541" fmla="*/ 361283 w 1182528"/>
                <a:gd name="connsiteY541" fmla="*/ 1045464 h 1101852"/>
                <a:gd name="connsiteX542" fmla="*/ 362617 w 1182528"/>
                <a:gd name="connsiteY542" fmla="*/ 1043654 h 1101852"/>
                <a:gd name="connsiteX543" fmla="*/ 364808 w 1182528"/>
                <a:gd name="connsiteY543" fmla="*/ 1048226 h 1101852"/>
                <a:gd name="connsiteX544" fmla="*/ 369760 w 1182528"/>
                <a:gd name="connsiteY544" fmla="*/ 1049179 h 1101852"/>
                <a:gd name="connsiteX545" fmla="*/ 374714 w 1182528"/>
                <a:gd name="connsiteY545" fmla="*/ 1050131 h 1101852"/>
                <a:gd name="connsiteX546" fmla="*/ 375666 w 1182528"/>
                <a:gd name="connsiteY546" fmla="*/ 1045274 h 1101852"/>
                <a:gd name="connsiteX547" fmla="*/ 374904 w 1182528"/>
                <a:gd name="connsiteY547" fmla="*/ 1038892 h 1101852"/>
                <a:gd name="connsiteX548" fmla="*/ 374047 w 1182528"/>
                <a:gd name="connsiteY548" fmla="*/ 1032605 h 1101852"/>
                <a:gd name="connsiteX549" fmla="*/ 368903 w 1182528"/>
                <a:gd name="connsiteY549" fmla="*/ 1030034 h 1101852"/>
                <a:gd name="connsiteX550" fmla="*/ 368903 w 1182528"/>
                <a:gd name="connsiteY550" fmla="*/ 1030034 h 1101852"/>
                <a:gd name="connsiteX551" fmla="*/ 378428 w 1182528"/>
                <a:gd name="connsiteY551" fmla="*/ 1028891 h 1101852"/>
                <a:gd name="connsiteX552" fmla="*/ 379381 w 1182528"/>
                <a:gd name="connsiteY552" fmla="*/ 1023938 h 1101852"/>
                <a:gd name="connsiteX553" fmla="*/ 374809 w 1182528"/>
                <a:gd name="connsiteY553" fmla="*/ 1013270 h 1101852"/>
                <a:gd name="connsiteX554" fmla="*/ 377571 w 1182528"/>
                <a:gd name="connsiteY554" fmla="*/ 1009745 h 1101852"/>
                <a:gd name="connsiteX555" fmla="*/ 374999 w 1182528"/>
                <a:gd name="connsiteY555" fmla="*/ 1002030 h 1101852"/>
                <a:gd name="connsiteX556" fmla="*/ 378714 w 1182528"/>
                <a:gd name="connsiteY556" fmla="*/ 1006316 h 1101852"/>
                <a:gd name="connsiteX557" fmla="*/ 378524 w 1182528"/>
                <a:gd name="connsiteY557" fmla="*/ 1004792 h 1101852"/>
                <a:gd name="connsiteX558" fmla="*/ 386429 w 1182528"/>
                <a:gd name="connsiteY558" fmla="*/ 1003745 h 1101852"/>
                <a:gd name="connsiteX559" fmla="*/ 389382 w 1182528"/>
                <a:gd name="connsiteY559" fmla="*/ 1001840 h 1101852"/>
                <a:gd name="connsiteX560" fmla="*/ 389191 w 1182528"/>
                <a:gd name="connsiteY560" fmla="*/ 1000220 h 1101852"/>
                <a:gd name="connsiteX561" fmla="*/ 392335 w 1182528"/>
                <a:gd name="connsiteY561" fmla="*/ 999839 h 1101852"/>
                <a:gd name="connsiteX562" fmla="*/ 392335 w 1182528"/>
                <a:gd name="connsiteY562" fmla="*/ 999839 h 1101852"/>
                <a:gd name="connsiteX563" fmla="*/ 391954 w 1182528"/>
                <a:gd name="connsiteY563" fmla="*/ 996696 h 1101852"/>
                <a:gd name="connsiteX564" fmla="*/ 396621 w 1182528"/>
                <a:gd name="connsiteY564" fmla="*/ 996029 h 1101852"/>
                <a:gd name="connsiteX565" fmla="*/ 394906 w 1182528"/>
                <a:gd name="connsiteY565" fmla="*/ 994696 h 1101852"/>
                <a:gd name="connsiteX566" fmla="*/ 394049 w 1182528"/>
                <a:gd name="connsiteY566" fmla="*/ 988409 h 1101852"/>
                <a:gd name="connsiteX567" fmla="*/ 395668 w 1182528"/>
                <a:gd name="connsiteY567" fmla="*/ 988124 h 1101852"/>
                <a:gd name="connsiteX568" fmla="*/ 399002 w 1182528"/>
                <a:gd name="connsiteY568" fmla="*/ 989362 h 1101852"/>
                <a:gd name="connsiteX569" fmla="*/ 400145 w 1182528"/>
                <a:gd name="connsiteY569" fmla="*/ 986028 h 1101852"/>
                <a:gd name="connsiteX570" fmla="*/ 406527 w 1182528"/>
                <a:gd name="connsiteY570" fmla="*/ 985171 h 1101852"/>
                <a:gd name="connsiteX571" fmla="*/ 408813 w 1182528"/>
                <a:gd name="connsiteY571" fmla="*/ 978503 h 1101852"/>
                <a:gd name="connsiteX572" fmla="*/ 416528 w 1182528"/>
                <a:gd name="connsiteY572" fmla="*/ 975932 h 1101852"/>
                <a:gd name="connsiteX573" fmla="*/ 419672 w 1182528"/>
                <a:gd name="connsiteY573" fmla="*/ 975455 h 1101852"/>
                <a:gd name="connsiteX574" fmla="*/ 419481 w 1182528"/>
                <a:gd name="connsiteY574" fmla="*/ 973931 h 1101852"/>
                <a:gd name="connsiteX575" fmla="*/ 422434 w 1182528"/>
                <a:gd name="connsiteY575" fmla="*/ 971931 h 1101852"/>
                <a:gd name="connsiteX576" fmla="*/ 422434 w 1182528"/>
                <a:gd name="connsiteY576" fmla="*/ 971931 h 1101852"/>
                <a:gd name="connsiteX577" fmla="*/ 430149 w 1182528"/>
                <a:gd name="connsiteY577" fmla="*/ 982123 h 1101852"/>
                <a:gd name="connsiteX578" fmla="*/ 433578 w 1182528"/>
                <a:gd name="connsiteY578" fmla="*/ 983361 h 1101852"/>
                <a:gd name="connsiteX579" fmla="*/ 436531 w 1182528"/>
                <a:gd name="connsiteY579" fmla="*/ 981361 h 1101852"/>
                <a:gd name="connsiteX580" fmla="*/ 444341 w 1182528"/>
                <a:gd name="connsiteY580" fmla="*/ 980313 h 1101852"/>
                <a:gd name="connsiteX581" fmla="*/ 451485 w 1182528"/>
                <a:gd name="connsiteY581" fmla="*/ 973074 h 1101852"/>
                <a:gd name="connsiteX582" fmla="*/ 456629 w 1182528"/>
                <a:gd name="connsiteY582" fmla="*/ 975551 h 1101852"/>
                <a:gd name="connsiteX583" fmla="*/ 456152 w 1182528"/>
                <a:gd name="connsiteY583" fmla="*/ 972407 h 1101852"/>
                <a:gd name="connsiteX584" fmla="*/ 469583 w 1182528"/>
                <a:gd name="connsiteY584" fmla="*/ 964311 h 1101852"/>
                <a:gd name="connsiteX585" fmla="*/ 465391 w 1182528"/>
                <a:gd name="connsiteY585" fmla="*/ 956786 h 1101852"/>
                <a:gd name="connsiteX586" fmla="*/ 473774 w 1182528"/>
                <a:gd name="connsiteY586" fmla="*/ 958977 h 1101852"/>
                <a:gd name="connsiteX587" fmla="*/ 476726 w 1182528"/>
                <a:gd name="connsiteY587" fmla="*/ 956977 h 1101852"/>
                <a:gd name="connsiteX588" fmla="*/ 480441 w 1182528"/>
                <a:gd name="connsiteY588" fmla="*/ 948500 h 1101852"/>
                <a:gd name="connsiteX589" fmla="*/ 478631 w 1182528"/>
                <a:gd name="connsiteY589" fmla="*/ 947166 h 1101852"/>
                <a:gd name="connsiteX590" fmla="*/ 479965 w 1182528"/>
                <a:gd name="connsiteY590" fmla="*/ 945356 h 1101852"/>
                <a:gd name="connsiteX591" fmla="*/ 480251 w 1182528"/>
                <a:gd name="connsiteY591" fmla="*/ 946880 h 1101852"/>
                <a:gd name="connsiteX592" fmla="*/ 484918 w 1182528"/>
                <a:gd name="connsiteY592" fmla="*/ 946309 h 1101852"/>
                <a:gd name="connsiteX593" fmla="*/ 489109 w 1182528"/>
                <a:gd name="connsiteY593" fmla="*/ 940975 h 1101852"/>
                <a:gd name="connsiteX594" fmla="*/ 501491 w 1182528"/>
                <a:gd name="connsiteY594" fmla="*/ 924973 h 1101852"/>
                <a:gd name="connsiteX595" fmla="*/ 503491 w 1182528"/>
                <a:gd name="connsiteY595" fmla="*/ 927926 h 1101852"/>
                <a:gd name="connsiteX596" fmla="*/ 502063 w 1182528"/>
                <a:gd name="connsiteY596" fmla="*/ 929735 h 1101852"/>
                <a:gd name="connsiteX597" fmla="*/ 502063 w 1182528"/>
                <a:gd name="connsiteY597" fmla="*/ 942499 h 1101852"/>
                <a:gd name="connsiteX598" fmla="*/ 511397 w 1182528"/>
                <a:gd name="connsiteY598" fmla="*/ 939737 h 1101852"/>
                <a:gd name="connsiteX599" fmla="*/ 514731 w 1182528"/>
                <a:gd name="connsiteY599" fmla="*/ 940880 h 1101852"/>
                <a:gd name="connsiteX600" fmla="*/ 520065 w 1182528"/>
                <a:gd name="connsiteY600" fmla="*/ 945071 h 1101852"/>
                <a:gd name="connsiteX601" fmla="*/ 523208 w 1182528"/>
                <a:gd name="connsiteY601" fmla="*/ 944690 h 1101852"/>
                <a:gd name="connsiteX602" fmla="*/ 533876 w 1182528"/>
                <a:gd name="connsiteY602" fmla="*/ 940118 h 1101852"/>
                <a:gd name="connsiteX603" fmla="*/ 551593 w 1182528"/>
                <a:gd name="connsiteY603" fmla="*/ 941070 h 1101852"/>
                <a:gd name="connsiteX604" fmla="*/ 556736 w 1182528"/>
                <a:gd name="connsiteY604" fmla="*/ 943547 h 1101852"/>
                <a:gd name="connsiteX605" fmla="*/ 559118 w 1182528"/>
                <a:gd name="connsiteY605" fmla="*/ 936879 h 1101852"/>
                <a:gd name="connsiteX606" fmla="*/ 559879 w 1182528"/>
                <a:gd name="connsiteY606" fmla="*/ 930307 h 1101852"/>
                <a:gd name="connsiteX607" fmla="*/ 561880 w 1182528"/>
                <a:gd name="connsiteY607" fmla="*/ 933355 h 1101852"/>
                <a:gd name="connsiteX608" fmla="*/ 565595 w 1182528"/>
                <a:gd name="connsiteY608" fmla="*/ 924782 h 1101852"/>
                <a:gd name="connsiteX609" fmla="*/ 567595 w 1182528"/>
                <a:gd name="connsiteY609" fmla="*/ 927735 h 1101852"/>
                <a:gd name="connsiteX610" fmla="*/ 566833 w 1182528"/>
                <a:gd name="connsiteY610" fmla="*/ 934307 h 1101852"/>
                <a:gd name="connsiteX611" fmla="*/ 569976 w 1182528"/>
                <a:gd name="connsiteY611" fmla="*/ 933926 h 1101852"/>
                <a:gd name="connsiteX612" fmla="*/ 572548 w 1182528"/>
                <a:gd name="connsiteY612" fmla="*/ 928783 h 1101852"/>
                <a:gd name="connsiteX613" fmla="*/ 575691 w 1182528"/>
                <a:gd name="connsiteY613" fmla="*/ 928307 h 1101852"/>
                <a:gd name="connsiteX614" fmla="*/ 583978 w 1182528"/>
                <a:gd name="connsiteY614" fmla="*/ 917639 h 1101852"/>
                <a:gd name="connsiteX615" fmla="*/ 589407 w 1182528"/>
                <a:gd name="connsiteY615" fmla="*/ 910590 h 1101852"/>
                <a:gd name="connsiteX616" fmla="*/ 591788 w 1182528"/>
                <a:gd name="connsiteY616" fmla="*/ 903827 h 1101852"/>
                <a:gd name="connsiteX617" fmla="*/ 594931 w 1182528"/>
                <a:gd name="connsiteY617" fmla="*/ 903446 h 1101852"/>
                <a:gd name="connsiteX618" fmla="*/ 600837 w 1182528"/>
                <a:gd name="connsiteY618" fmla="*/ 899446 h 1101852"/>
                <a:gd name="connsiteX619" fmla="*/ 603980 w 1182528"/>
                <a:gd name="connsiteY619" fmla="*/ 899065 h 1101852"/>
                <a:gd name="connsiteX620" fmla="*/ 607981 w 1182528"/>
                <a:gd name="connsiteY620" fmla="*/ 904970 h 1101852"/>
                <a:gd name="connsiteX621" fmla="*/ 609124 w 1182528"/>
                <a:gd name="connsiteY621" fmla="*/ 901637 h 1101852"/>
                <a:gd name="connsiteX622" fmla="*/ 610933 w 1182528"/>
                <a:gd name="connsiteY622" fmla="*/ 902970 h 1101852"/>
                <a:gd name="connsiteX623" fmla="*/ 617506 w 1182528"/>
                <a:gd name="connsiteY623" fmla="*/ 916591 h 1101852"/>
                <a:gd name="connsiteX624" fmla="*/ 616744 w 1182528"/>
                <a:gd name="connsiteY624" fmla="*/ 923163 h 1101852"/>
                <a:gd name="connsiteX625" fmla="*/ 618649 w 1182528"/>
                <a:gd name="connsiteY625" fmla="*/ 926116 h 1101852"/>
                <a:gd name="connsiteX626" fmla="*/ 618649 w 1182528"/>
                <a:gd name="connsiteY626" fmla="*/ 926116 h 1101852"/>
                <a:gd name="connsiteX627" fmla="*/ 635794 w 1182528"/>
                <a:gd name="connsiteY627" fmla="*/ 922306 h 1101852"/>
                <a:gd name="connsiteX628" fmla="*/ 636175 w 1182528"/>
                <a:gd name="connsiteY628" fmla="*/ 912590 h 1101852"/>
                <a:gd name="connsiteX629" fmla="*/ 639127 w 1182528"/>
                <a:gd name="connsiteY629" fmla="*/ 910590 h 1101852"/>
                <a:gd name="connsiteX630" fmla="*/ 636746 w 1182528"/>
                <a:gd name="connsiteY630" fmla="*/ 904494 h 1101852"/>
                <a:gd name="connsiteX631" fmla="*/ 642461 w 1182528"/>
                <a:gd name="connsiteY631" fmla="*/ 898970 h 1101852"/>
                <a:gd name="connsiteX632" fmla="*/ 646462 w 1182528"/>
                <a:gd name="connsiteY632" fmla="*/ 892112 h 1101852"/>
                <a:gd name="connsiteX633" fmla="*/ 652748 w 1182528"/>
                <a:gd name="connsiteY633" fmla="*/ 891254 h 1101852"/>
                <a:gd name="connsiteX634" fmla="*/ 668274 w 1182528"/>
                <a:gd name="connsiteY634" fmla="*/ 887635 h 1101852"/>
                <a:gd name="connsiteX635" fmla="*/ 671513 w 1182528"/>
                <a:gd name="connsiteY635" fmla="*/ 887254 h 1101852"/>
                <a:gd name="connsiteX636" fmla="*/ 670274 w 1182528"/>
                <a:gd name="connsiteY636" fmla="*/ 890588 h 1101852"/>
                <a:gd name="connsiteX637" fmla="*/ 679323 w 1182528"/>
                <a:gd name="connsiteY637" fmla="*/ 886301 h 1101852"/>
                <a:gd name="connsiteX638" fmla="*/ 680561 w 1182528"/>
                <a:gd name="connsiteY638" fmla="*/ 882872 h 1101852"/>
                <a:gd name="connsiteX639" fmla="*/ 685228 w 1182528"/>
                <a:gd name="connsiteY639" fmla="*/ 882301 h 1101852"/>
                <a:gd name="connsiteX640" fmla="*/ 689801 w 1182528"/>
                <a:gd name="connsiteY640" fmla="*/ 880110 h 1101852"/>
                <a:gd name="connsiteX641" fmla="*/ 690563 w 1182528"/>
                <a:gd name="connsiteY641" fmla="*/ 873633 h 1101852"/>
                <a:gd name="connsiteX642" fmla="*/ 693706 w 1182528"/>
                <a:gd name="connsiteY642" fmla="*/ 873252 h 1101852"/>
                <a:gd name="connsiteX643" fmla="*/ 693515 w 1182528"/>
                <a:gd name="connsiteY643" fmla="*/ 871633 h 1101852"/>
                <a:gd name="connsiteX644" fmla="*/ 696849 w 1182528"/>
                <a:gd name="connsiteY644" fmla="*/ 872776 h 1101852"/>
                <a:gd name="connsiteX645" fmla="*/ 699611 w 1182528"/>
                <a:gd name="connsiteY645" fmla="*/ 869251 h 1101852"/>
                <a:gd name="connsiteX646" fmla="*/ 700850 w 1182528"/>
                <a:gd name="connsiteY646" fmla="*/ 865918 h 1101852"/>
                <a:gd name="connsiteX647" fmla="*/ 699230 w 1182528"/>
                <a:gd name="connsiteY647" fmla="*/ 853250 h 1101852"/>
                <a:gd name="connsiteX648" fmla="*/ 696087 w 1182528"/>
                <a:gd name="connsiteY648" fmla="*/ 853631 h 1101852"/>
                <a:gd name="connsiteX649" fmla="*/ 697611 w 1182528"/>
                <a:gd name="connsiteY649" fmla="*/ 853440 h 1101852"/>
                <a:gd name="connsiteX650" fmla="*/ 697421 w 1182528"/>
                <a:gd name="connsiteY650" fmla="*/ 851916 h 1101852"/>
                <a:gd name="connsiteX651" fmla="*/ 703993 w 1182528"/>
                <a:gd name="connsiteY651" fmla="*/ 852678 h 1101852"/>
                <a:gd name="connsiteX652" fmla="*/ 704183 w 1182528"/>
                <a:gd name="connsiteY652" fmla="*/ 854202 h 1101852"/>
                <a:gd name="connsiteX653" fmla="*/ 710470 w 1182528"/>
                <a:gd name="connsiteY653" fmla="*/ 853440 h 1101852"/>
                <a:gd name="connsiteX654" fmla="*/ 710851 w 1182528"/>
                <a:gd name="connsiteY654" fmla="*/ 856583 h 1101852"/>
                <a:gd name="connsiteX655" fmla="*/ 723710 w 1182528"/>
                <a:gd name="connsiteY655" fmla="*/ 856583 h 1101852"/>
                <a:gd name="connsiteX656" fmla="*/ 726853 w 1182528"/>
                <a:gd name="connsiteY656" fmla="*/ 856202 h 1101852"/>
                <a:gd name="connsiteX657" fmla="*/ 726662 w 1182528"/>
                <a:gd name="connsiteY657" fmla="*/ 854583 h 1101852"/>
                <a:gd name="connsiteX658" fmla="*/ 724662 w 1182528"/>
                <a:gd name="connsiteY658" fmla="*/ 851630 h 1101852"/>
                <a:gd name="connsiteX659" fmla="*/ 726281 w 1182528"/>
                <a:gd name="connsiteY659" fmla="*/ 851440 h 1101852"/>
                <a:gd name="connsiteX660" fmla="*/ 725996 w 1182528"/>
                <a:gd name="connsiteY660" fmla="*/ 849821 h 1101852"/>
                <a:gd name="connsiteX661" fmla="*/ 724281 w 1182528"/>
                <a:gd name="connsiteY661" fmla="*/ 848487 h 1101852"/>
                <a:gd name="connsiteX662" fmla="*/ 726567 w 1182528"/>
                <a:gd name="connsiteY662" fmla="*/ 841724 h 1101852"/>
                <a:gd name="connsiteX663" fmla="*/ 722662 w 1182528"/>
                <a:gd name="connsiteY663" fmla="*/ 835819 h 1101852"/>
                <a:gd name="connsiteX664" fmla="*/ 719519 w 1182528"/>
                <a:gd name="connsiteY664" fmla="*/ 836295 h 1101852"/>
                <a:gd name="connsiteX665" fmla="*/ 717709 w 1182528"/>
                <a:gd name="connsiteY665" fmla="*/ 822008 h 1101852"/>
                <a:gd name="connsiteX666" fmla="*/ 725424 w 1182528"/>
                <a:gd name="connsiteY666" fmla="*/ 819436 h 1101852"/>
                <a:gd name="connsiteX667" fmla="*/ 723614 w 1182528"/>
                <a:gd name="connsiteY667" fmla="*/ 818102 h 1101852"/>
                <a:gd name="connsiteX668" fmla="*/ 728377 w 1182528"/>
                <a:gd name="connsiteY668" fmla="*/ 817531 h 1101852"/>
                <a:gd name="connsiteX669" fmla="*/ 730853 w 1182528"/>
                <a:gd name="connsiteY669" fmla="*/ 812387 h 1101852"/>
                <a:gd name="connsiteX670" fmla="*/ 733997 w 1182528"/>
                <a:gd name="connsiteY670" fmla="*/ 811911 h 1101852"/>
                <a:gd name="connsiteX671" fmla="*/ 736759 w 1182528"/>
                <a:gd name="connsiteY671" fmla="*/ 808387 h 1101852"/>
                <a:gd name="connsiteX672" fmla="*/ 744474 w 1182528"/>
                <a:gd name="connsiteY672" fmla="*/ 805815 h 1101852"/>
                <a:gd name="connsiteX673" fmla="*/ 750189 w 1182528"/>
                <a:gd name="connsiteY673" fmla="*/ 813054 h 1101852"/>
                <a:gd name="connsiteX674" fmla="*/ 753618 w 1182528"/>
                <a:gd name="connsiteY674" fmla="*/ 814292 h 1101852"/>
                <a:gd name="connsiteX675" fmla="*/ 752951 w 1182528"/>
                <a:gd name="connsiteY675" fmla="*/ 809530 h 1101852"/>
                <a:gd name="connsiteX676" fmla="*/ 756094 w 1182528"/>
                <a:gd name="connsiteY676" fmla="*/ 809149 h 1101852"/>
                <a:gd name="connsiteX677" fmla="*/ 755904 w 1182528"/>
                <a:gd name="connsiteY677" fmla="*/ 807530 h 1101852"/>
                <a:gd name="connsiteX678" fmla="*/ 768001 w 1182528"/>
                <a:gd name="connsiteY678" fmla="*/ 814007 h 1101852"/>
                <a:gd name="connsiteX679" fmla="*/ 777811 w 1182528"/>
                <a:gd name="connsiteY679" fmla="*/ 816007 h 1101852"/>
                <a:gd name="connsiteX680" fmla="*/ 779812 w 1182528"/>
                <a:gd name="connsiteY680" fmla="*/ 818960 h 1101852"/>
                <a:gd name="connsiteX681" fmla="*/ 782955 w 1182528"/>
                <a:gd name="connsiteY681" fmla="*/ 818578 h 1101852"/>
                <a:gd name="connsiteX682" fmla="*/ 783431 w 1182528"/>
                <a:gd name="connsiteY682" fmla="*/ 821722 h 1101852"/>
                <a:gd name="connsiteX683" fmla="*/ 784955 w 1182528"/>
                <a:gd name="connsiteY683" fmla="*/ 821531 h 1101852"/>
                <a:gd name="connsiteX684" fmla="*/ 797814 w 1182528"/>
                <a:gd name="connsiteY684" fmla="*/ 821436 h 1101852"/>
                <a:gd name="connsiteX685" fmla="*/ 812197 w 1182528"/>
                <a:gd name="connsiteY685" fmla="*/ 821246 h 1101852"/>
                <a:gd name="connsiteX686" fmla="*/ 812578 w 1182528"/>
                <a:gd name="connsiteY686" fmla="*/ 824389 h 1101852"/>
                <a:gd name="connsiteX687" fmla="*/ 819150 w 1182528"/>
                <a:gd name="connsiteY687" fmla="*/ 825151 h 1101852"/>
                <a:gd name="connsiteX688" fmla="*/ 828770 w 1182528"/>
                <a:gd name="connsiteY688" fmla="*/ 825532 h 1101852"/>
                <a:gd name="connsiteX689" fmla="*/ 830580 w 1182528"/>
                <a:gd name="connsiteY689" fmla="*/ 826865 h 1101852"/>
                <a:gd name="connsiteX690" fmla="*/ 831914 w 1182528"/>
                <a:gd name="connsiteY690" fmla="*/ 825151 h 1101852"/>
                <a:gd name="connsiteX691" fmla="*/ 847725 w 1182528"/>
                <a:gd name="connsiteY691" fmla="*/ 823151 h 1101852"/>
                <a:gd name="connsiteX692" fmla="*/ 849059 w 1182528"/>
                <a:gd name="connsiteY692" fmla="*/ 821341 h 1101852"/>
                <a:gd name="connsiteX693" fmla="*/ 857440 w 1182528"/>
                <a:gd name="connsiteY693" fmla="*/ 823532 h 1101852"/>
                <a:gd name="connsiteX694" fmla="*/ 859727 w 1182528"/>
                <a:gd name="connsiteY694" fmla="*/ 816769 h 1101852"/>
                <a:gd name="connsiteX695" fmla="*/ 857536 w 1182528"/>
                <a:gd name="connsiteY695" fmla="*/ 812197 h 1101852"/>
                <a:gd name="connsiteX696" fmla="*/ 867632 w 1182528"/>
                <a:gd name="connsiteY696" fmla="*/ 815816 h 1101852"/>
                <a:gd name="connsiteX697" fmla="*/ 866299 w 1182528"/>
                <a:gd name="connsiteY697" fmla="*/ 817531 h 1101852"/>
                <a:gd name="connsiteX698" fmla="*/ 870204 w 1182528"/>
                <a:gd name="connsiteY698" fmla="*/ 823436 h 1101852"/>
                <a:gd name="connsiteX699" fmla="*/ 871442 w 1182528"/>
                <a:gd name="connsiteY699" fmla="*/ 820103 h 1101852"/>
                <a:gd name="connsiteX700" fmla="*/ 878300 w 1182528"/>
                <a:gd name="connsiteY700" fmla="*/ 824008 h 1101852"/>
                <a:gd name="connsiteX701" fmla="*/ 877919 w 1182528"/>
                <a:gd name="connsiteY701" fmla="*/ 820865 h 1101852"/>
                <a:gd name="connsiteX702" fmla="*/ 881253 w 1182528"/>
                <a:gd name="connsiteY702" fmla="*/ 822008 h 1101852"/>
                <a:gd name="connsiteX703" fmla="*/ 882206 w 1182528"/>
                <a:gd name="connsiteY703" fmla="*/ 817150 h 1101852"/>
                <a:gd name="connsiteX704" fmla="*/ 897827 w 1182528"/>
                <a:gd name="connsiteY704" fmla="*/ 826389 h 1101852"/>
                <a:gd name="connsiteX705" fmla="*/ 902780 w 1182528"/>
                <a:gd name="connsiteY705" fmla="*/ 827342 h 1101852"/>
                <a:gd name="connsiteX706" fmla="*/ 903160 w 1182528"/>
                <a:gd name="connsiteY706" fmla="*/ 830485 h 1101852"/>
                <a:gd name="connsiteX707" fmla="*/ 904970 w 1182528"/>
                <a:gd name="connsiteY707" fmla="*/ 831818 h 1101852"/>
                <a:gd name="connsiteX708" fmla="*/ 908494 w 1182528"/>
                <a:gd name="connsiteY708" fmla="*/ 821817 h 1101852"/>
                <a:gd name="connsiteX709" fmla="*/ 910114 w 1182528"/>
                <a:gd name="connsiteY709" fmla="*/ 821626 h 1101852"/>
                <a:gd name="connsiteX710" fmla="*/ 914400 w 1182528"/>
                <a:gd name="connsiteY710" fmla="*/ 817817 h 1101852"/>
                <a:gd name="connsiteX711" fmla="*/ 914019 w 1182528"/>
                <a:gd name="connsiteY711" fmla="*/ 814673 h 1101852"/>
                <a:gd name="connsiteX712" fmla="*/ 917734 w 1182528"/>
                <a:gd name="connsiteY712" fmla="*/ 806196 h 1101852"/>
                <a:gd name="connsiteX713" fmla="*/ 919544 w 1182528"/>
                <a:gd name="connsiteY713" fmla="*/ 807530 h 1101852"/>
                <a:gd name="connsiteX714" fmla="*/ 923639 w 1182528"/>
                <a:gd name="connsiteY714" fmla="*/ 802196 h 1101852"/>
                <a:gd name="connsiteX715" fmla="*/ 930783 w 1182528"/>
                <a:gd name="connsiteY715" fmla="*/ 807720 h 1101852"/>
                <a:gd name="connsiteX716" fmla="*/ 935736 w 1182528"/>
                <a:gd name="connsiteY716" fmla="*/ 808673 h 1101852"/>
                <a:gd name="connsiteX717" fmla="*/ 937069 w 1182528"/>
                <a:gd name="connsiteY717" fmla="*/ 806958 h 1101852"/>
                <a:gd name="connsiteX718" fmla="*/ 936879 w 1182528"/>
                <a:gd name="connsiteY718" fmla="*/ 805339 h 1101852"/>
                <a:gd name="connsiteX719" fmla="*/ 942023 w 1182528"/>
                <a:gd name="connsiteY719" fmla="*/ 807911 h 1101852"/>
                <a:gd name="connsiteX720" fmla="*/ 946785 w 1182528"/>
                <a:gd name="connsiteY720" fmla="*/ 807339 h 1101852"/>
                <a:gd name="connsiteX721" fmla="*/ 944594 w 1182528"/>
                <a:gd name="connsiteY721" fmla="*/ 802767 h 1101852"/>
                <a:gd name="connsiteX722" fmla="*/ 956024 w 1182528"/>
                <a:gd name="connsiteY722" fmla="*/ 804482 h 1101852"/>
                <a:gd name="connsiteX723" fmla="*/ 955453 w 1182528"/>
                <a:gd name="connsiteY723" fmla="*/ 799814 h 1101852"/>
                <a:gd name="connsiteX724" fmla="*/ 958786 w 1182528"/>
                <a:gd name="connsiteY724" fmla="*/ 800957 h 1101852"/>
                <a:gd name="connsiteX725" fmla="*/ 960120 w 1182528"/>
                <a:gd name="connsiteY725" fmla="*/ 799148 h 1101852"/>
                <a:gd name="connsiteX726" fmla="*/ 966692 w 1182528"/>
                <a:gd name="connsiteY726" fmla="*/ 799910 h 1101852"/>
                <a:gd name="connsiteX727" fmla="*/ 966883 w 1182528"/>
                <a:gd name="connsiteY727" fmla="*/ 801529 h 1101852"/>
                <a:gd name="connsiteX728" fmla="*/ 970217 w 1182528"/>
                <a:gd name="connsiteY728" fmla="*/ 802672 h 1101852"/>
                <a:gd name="connsiteX729" fmla="*/ 970407 w 1182528"/>
                <a:gd name="connsiteY729" fmla="*/ 804291 h 1101852"/>
                <a:gd name="connsiteX730" fmla="*/ 973741 w 1182528"/>
                <a:gd name="connsiteY730" fmla="*/ 805434 h 1101852"/>
                <a:gd name="connsiteX731" fmla="*/ 974407 w 1182528"/>
                <a:gd name="connsiteY731" fmla="*/ 810197 h 1101852"/>
                <a:gd name="connsiteX732" fmla="*/ 975551 w 1182528"/>
                <a:gd name="connsiteY732" fmla="*/ 806863 h 1101852"/>
                <a:gd name="connsiteX733" fmla="*/ 978884 w 1182528"/>
                <a:gd name="connsiteY733" fmla="*/ 808006 h 1101852"/>
                <a:gd name="connsiteX734" fmla="*/ 975360 w 1182528"/>
                <a:gd name="connsiteY734" fmla="*/ 805244 h 1101852"/>
                <a:gd name="connsiteX735" fmla="*/ 978503 w 1182528"/>
                <a:gd name="connsiteY735" fmla="*/ 804863 h 1101852"/>
                <a:gd name="connsiteX736" fmla="*/ 980313 w 1182528"/>
                <a:gd name="connsiteY736" fmla="*/ 806196 h 1101852"/>
                <a:gd name="connsiteX737" fmla="*/ 978884 w 1182528"/>
                <a:gd name="connsiteY737" fmla="*/ 808006 h 1101852"/>
                <a:gd name="connsiteX738" fmla="*/ 979075 w 1182528"/>
                <a:gd name="connsiteY738" fmla="*/ 809625 h 1101852"/>
                <a:gd name="connsiteX739" fmla="*/ 983456 w 1182528"/>
                <a:gd name="connsiteY739" fmla="*/ 805815 h 1101852"/>
                <a:gd name="connsiteX740" fmla="*/ 984980 w 1182528"/>
                <a:gd name="connsiteY740" fmla="*/ 805625 h 1101852"/>
                <a:gd name="connsiteX741" fmla="*/ 990124 w 1182528"/>
                <a:gd name="connsiteY741" fmla="*/ 795338 h 1101852"/>
                <a:gd name="connsiteX742" fmla="*/ 988505 w 1182528"/>
                <a:gd name="connsiteY742" fmla="*/ 795528 h 1101852"/>
                <a:gd name="connsiteX743" fmla="*/ 989552 w 1182528"/>
                <a:gd name="connsiteY743" fmla="*/ 790575 h 1101852"/>
                <a:gd name="connsiteX744" fmla="*/ 987933 w 1182528"/>
                <a:gd name="connsiteY744" fmla="*/ 790861 h 1101852"/>
                <a:gd name="connsiteX745" fmla="*/ 989362 w 1182528"/>
                <a:gd name="connsiteY745" fmla="*/ 789051 h 1101852"/>
                <a:gd name="connsiteX746" fmla="*/ 985933 w 1182528"/>
                <a:gd name="connsiteY746" fmla="*/ 787908 h 1101852"/>
                <a:gd name="connsiteX747" fmla="*/ 987361 w 1182528"/>
                <a:gd name="connsiteY747" fmla="*/ 786098 h 1101852"/>
                <a:gd name="connsiteX748" fmla="*/ 986123 w 1182528"/>
                <a:gd name="connsiteY748" fmla="*/ 776573 h 1101852"/>
                <a:gd name="connsiteX749" fmla="*/ 992886 w 1182528"/>
                <a:gd name="connsiteY749" fmla="*/ 778955 h 1101852"/>
                <a:gd name="connsiteX750" fmla="*/ 992600 w 1182528"/>
                <a:gd name="connsiteY750" fmla="*/ 764572 h 1101852"/>
                <a:gd name="connsiteX751" fmla="*/ 992029 w 1182528"/>
                <a:gd name="connsiteY751" fmla="*/ 759809 h 1101852"/>
                <a:gd name="connsiteX752" fmla="*/ 993553 w 1182528"/>
                <a:gd name="connsiteY752" fmla="*/ 759619 h 1101852"/>
                <a:gd name="connsiteX753" fmla="*/ 994791 w 1182528"/>
                <a:gd name="connsiteY753" fmla="*/ 756285 h 1101852"/>
                <a:gd name="connsiteX754" fmla="*/ 991172 w 1182528"/>
                <a:gd name="connsiteY754" fmla="*/ 753523 h 1101852"/>
                <a:gd name="connsiteX755" fmla="*/ 987838 w 1182528"/>
                <a:gd name="connsiteY755" fmla="*/ 752380 h 1101852"/>
                <a:gd name="connsiteX756" fmla="*/ 987266 w 1182528"/>
                <a:gd name="connsiteY756" fmla="*/ 747617 h 1101852"/>
                <a:gd name="connsiteX757" fmla="*/ 983742 w 1182528"/>
                <a:gd name="connsiteY757" fmla="*/ 744855 h 1101852"/>
                <a:gd name="connsiteX758" fmla="*/ 983266 w 1182528"/>
                <a:gd name="connsiteY758" fmla="*/ 741712 h 1101852"/>
                <a:gd name="connsiteX759" fmla="*/ 987647 w 1182528"/>
                <a:gd name="connsiteY759" fmla="*/ 737902 h 1101852"/>
                <a:gd name="connsiteX760" fmla="*/ 989648 w 1182528"/>
                <a:gd name="connsiteY760" fmla="*/ 740855 h 1101852"/>
                <a:gd name="connsiteX761" fmla="*/ 992600 w 1182528"/>
                <a:gd name="connsiteY761" fmla="*/ 738950 h 1101852"/>
                <a:gd name="connsiteX762" fmla="*/ 988981 w 1182528"/>
                <a:gd name="connsiteY762" fmla="*/ 736187 h 1101852"/>
                <a:gd name="connsiteX763" fmla="*/ 988600 w 1182528"/>
                <a:gd name="connsiteY763" fmla="*/ 733044 h 1101852"/>
                <a:gd name="connsiteX764" fmla="*/ 985076 w 1182528"/>
                <a:gd name="connsiteY764" fmla="*/ 730282 h 1101852"/>
                <a:gd name="connsiteX765" fmla="*/ 986219 w 1182528"/>
                <a:gd name="connsiteY765" fmla="*/ 726853 h 1101852"/>
                <a:gd name="connsiteX766" fmla="*/ 988028 w 1182528"/>
                <a:gd name="connsiteY766" fmla="*/ 728282 h 1101852"/>
                <a:gd name="connsiteX767" fmla="*/ 987552 w 1182528"/>
                <a:gd name="connsiteY767" fmla="*/ 725138 h 1101852"/>
                <a:gd name="connsiteX768" fmla="*/ 985838 w 1182528"/>
                <a:gd name="connsiteY768" fmla="*/ 723710 h 1101852"/>
                <a:gd name="connsiteX769" fmla="*/ 985647 w 1182528"/>
                <a:gd name="connsiteY769" fmla="*/ 722186 h 1101852"/>
                <a:gd name="connsiteX770" fmla="*/ 982027 w 1182528"/>
                <a:gd name="connsiteY770" fmla="*/ 719423 h 1101852"/>
                <a:gd name="connsiteX771" fmla="*/ 981837 w 1182528"/>
                <a:gd name="connsiteY771" fmla="*/ 717804 h 1101852"/>
                <a:gd name="connsiteX772" fmla="*/ 984790 w 1182528"/>
                <a:gd name="connsiteY772" fmla="*/ 715804 h 1101852"/>
                <a:gd name="connsiteX773" fmla="*/ 987933 w 1182528"/>
                <a:gd name="connsiteY773" fmla="*/ 715423 h 1101852"/>
                <a:gd name="connsiteX774" fmla="*/ 989171 w 1182528"/>
                <a:gd name="connsiteY774" fmla="*/ 712089 h 1101852"/>
                <a:gd name="connsiteX775" fmla="*/ 992124 w 1182528"/>
                <a:gd name="connsiteY775" fmla="*/ 710089 h 1101852"/>
                <a:gd name="connsiteX776" fmla="*/ 1004792 w 1182528"/>
                <a:gd name="connsiteY776" fmla="*/ 721328 h 1101852"/>
                <a:gd name="connsiteX777" fmla="*/ 1019937 w 1182528"/>
                <a:gd name="connsiteY777" fmla="*/ 727424 h 1101852"/>
                <a:gd name="connsiteX778" fmla="*/ 1021175 w 1182528"/>
                <a:gd name="connsiteY778" fmla="*/ 724091 h 1101852"/>
                <a:gd name="connsiteX779" fmla="*/ 1024509 w 1182528"/>
                <a:gd name="connsiteY779" fmla="*/ 725234 h 1101852"/>
                <a:gd name="connsiteX780" fmla="*/ 1020889 w 1182528"/>
                <a:gd name="connsiteY780" fmla="*/ 722471 h 1101852"/>
                <a:gd name="connsiteX781" fmla="*/ 1023652 w 1182528"/>
                <a:gd name="connsiteY781" fmla="*/ 718947 h 1101852"/>
                <a:gd name="connsiteX782" fmla="*/ 1021937 w 1182528"/>
                <a:gd name="connsiteY782" fmla="*/ 717518 h 1101852"/>
                <a:gd name="connsiteX783" fmla="*/ 1017175 w 1182528"/>
                <a:gd name="connsiteY783" fmla="*/ 718090 h 1101852"/>
                <a:gd name="connsiteX784" fmla="*/ 1015365 w 1182528"/>
                <a:gd name="connsiteY784" fmla="*/ 716756 h 1101852"/>
                <a:gd name="connsiteX785" fmla="*/ 1019556 w 1182528"/>
                <a:gd name="connsiteY785" fmla="*/ 711422 h 1101852"/>
                <a:gd name="connsiteX786" fmla="*/ 1023080 w 1182528"/>
                <a:gd name="connsiteY786" fmla="*/ 714185 h 1101852"/>
                <a:gd name="connsiteX787" fmla="*/ 1024223 w 1182528"/>
                <a:gd name="connsiteY787" fmla="*/ 710851 h 1101852"/>
                <a:gd name="connsiteX788" fmla="*/ 1020889 w 1182528"/>
                <a:gd name="connsiteY788" fmla="*/ 709613 h 1101852"/>
                <a:gd name="connsiteX789" fmla="*/ 1022509 w 1182528"/>
                <a:gd name="connsiteY789" fmla="*/ 709422 h 1101852"/>
                <a:gd name="connsiteX790" fmla="*/ 1026985 w 1182528"/>
                <a:gd name="connsiteY790" fmla="*/ 707231 h 1101852"/>
                <a:gd name="connsiteX791" fmla="*/ 1024985 w 1182528"/>
                <a:gd name="connsiteY791" fmla="*/ 691515 h 1101852"/>
                <a:gd name="connsiteX792" fmla="*/ 1035653 w 1182528"/>
                <a:gd name="connsiteY792" fmla="*/ 699707 h 1101852"/>
                <a:gd name="connsiteX793" fmla="*/ 1043559 w 1182528"/>
                <a:gd name="connsiteY793" fmla="*/ 698754 h 1101852"/>
                <a:gd name="connsiteX794" fmla="*/ 1042606 w 1182528"/>
                <a:gd name="connsiteY794" fmla="*/ 690848 h 1101852"/>
                <a:gd name="connsiteX795" fmla="*/ 1051274 w 1182528"/>
                <a:gd name="connsiteY795" fmla="*/ 696182 h 1101852"/>
                <a:gd name="connsiteX796" fmla="*/ 1059371 w 1182528"/>
                <a:gd name="connsiteY796" fmla="*/ 696754 h 1101852"/>
                <a:gd name="connsiteX797" fmla="*/ 1057942 w 1182528"/>
                <a:gd name="connsiteY797" fmla="*/ 685705 h 1101852"/>
                <a:gd name="connsiteX798" fmla="*/ 1059085 w 1182528"/>
                <a:gd name="connsiteY798" fmla="*/ 682276 h 1101852"/>
                <a:gd name="connsiteX799" fmla="*/ 1058513 w 1182528"/>
                <a:gd name="connsiteY799" fmla="*/ 677609 h 1101852"/>
                <a:gd name="connsiteX800" fmla="*/ 1059656 w 1182528"/>
                <a:gd name="connsiteY800" fmla="*/ 674275 h 1101852"/>
                <a:gd name="connsiteX801" fmla="*/ 1054799 w 1182528"/>
                <a:gd name="connsiteY801" fmla="*/ 673227 h 1101852"/>
                <a:gd name="connsiteX802" fmla="*/ 1057942 w 1182528"/>
                <a:gd name="connsiteY802" fmla="*/ 672846 h 1101852"/>
                <a:gd name="connsiteX803" fmla="*/ 1058323 w 1182528"/>
                <a:gd name="connsiteY803" fmla="*/ 663226 h 1101852"/>
                <a:gd name="connsiteX804" fmla="*/ 1047560 w 1182528"/>
                <a:gd name="connsiteY804" fmla="*/ 642080 h 1101852"/>
                <a:gd name="connsiteX805" fmla="*/ 1060037 w 1182528"/>
                <a:gd name="connsiteY805" fmla="*/ 638937 h 1101852"/>
                <a:gd name="connsiteX806" fmla="*/ 1056989 w 1182528"/>
                <a:gd name="connsiteY806" fmla="*/ 628078 h 1101852"/>
                <a:gd name="connsiteX807" fmla="*/ 1068896 w 1182528"/>
                <a:gd name="connsiteY807" fmla="*/ 632936 h 1101852"/>
                <a:gd name="connsiteX808" fmla="*/ 1066324 w 1182528"/>
                <a:gd name="connsiteY808" fmla="*/ 625316 h 1101852"/>
                <a:gd name="connsiteX809" fmla="*/ 1064133 w 1182528"/>
                <a:gd name="connsiteY809" fmla="*/ 620744 h 1101852"/>
                <a:gd name="connsiteX810" fmla="*/ 1060704 w 1182528"/>
                <a:gd name="connsiteY810" fmla="*/ 619601 h 1101852"/>
                <a:gd name="connsiteX811" fmla="*/ 1061276 w 1182528"/>
                <a:gd name="connsiteY811" fmla="*/ 611505 h 1101852"/>
                <a:gd name="connsiteX812" fmla="*/ 1056418 w 1182528"/>
                <a:gd name="connsiteY812" fmla="*/ 610457 h 1101852"/>
                <a:gd name="connsiteX813" fmla="*/ 1057751 w 1182528"/>
                <a:gd name="connsiteY813" fmla="*/ 608743 h 1101852"/>
                <a:gd name="connsiteX814" fmla="*/ 1057561 w 1182528"/>
                <a:gd name="connsiteY814" fmla="*/ 607124 h 1101852"/>
                <a:gd name="connsiteX815" fmla="*/ 1054418 w 1182528"/>
                <a:gd name="connsiteY815" fmla="*/ 607505 h 1101852"/>
                <a:gd name="connsiteX816" fmla="*/ 1049465 w 1182528"/>
                <a:gd name="connsiteY816" fmla="*/ 606552 h 1101852"/>
                <a:gd name="connsiteX817" fmla="*/ 1049655 w 1182528"/>
                <a:gd name="connsiteY817" fmla="*/ 608171 h 1101852"/>
                <a:gd name="connsiteX818" fmla="*/ 1047845 w 1182528"/>
                <a:gd name="connsiteY818" fmla="*/ 606743 h 1101852"/>
                <a:gd name="connsiteX819" fmla="*/ 1047845 w 1182528"/>
                <a:gd name="connsiteY819" fmla="*/ 606743 h 1101852"/>
                <a:gd name="connsiteX820" fmla="*/ 1047655 w 1182528"/>
                <a:gd name="connsiteY820" fmla="*/ 605219 h 1101852"/>
                <a:gd name="connsiteX821" fmla="*/ 1046321 w 1182528"/>
                <a:gd name="connsiteY821" fmla="*/ 606933 h 1101852"/>
                <a:gd name="connsiteX822" fmla="*/ 1038035 w 1182528"/>
                <a:gd name="connsiteY822" fmla="*/ 604838 h 1101852"/>
                <a:gd name="connsiteX823" fmla="*/ 1038797 w 1182528"/>
                <a:gd name="connsiteY823" fmla="*/ 598265 h 1101852"/>
                <a:gd name="connsiteX824" fmla="*/ 1037368 w 1182528"/>
                <a:gd name="connsiteY824" fmla="*/ 600075 h 1101852"/>
                <a:gd name="connsiteX825" fmla="*/ 1035463 w 1182528"/>
                <a:gd name="connsiteY825" fmla="*/ 597122 h 1101852"/>
                <a:gd name="connsiteX826" fmla="*/ 1036415 w 1182528"/>
                <a:gd name="connsiteY826" fmla="*/ 592169 h 1101852"/>
                <a:gd name="connsiteX827" fmla="*/ 1036225 w 1182528"/>
                <a:gd name="connsiteY827" fmla="*/ 590645 h 1101852"/>
                <a:gd name="connsiteX828" fmla="*/ 1034606 w 1182528"/>
                <a:gd name="connsiteY828" fmla="*/ 590836 h 1101852"/>
                <a:gd name="connsiteX829" fmla="*/ 1033081 w 1182528"/>
                <a:gd name="connsiteY829" fmla="*/ 591026 h 1101852"/>
                <a:gd name="connsiteX830" fmla="*/ 1034415 w 1182528"/>
                <a:gd name="connsiteY830" fmla="*/ 589217 h 1101852"/>
                <a:gd name="connsiteX831" fmla="*/ 1032605 w 1182528"/>
                <a:gd name="connsiteY831" fmla="*/ 587883 h 1101852"/>
                <a:gd name="connsiteX832" fmla="*/ 1033844 w 1182528"/>
                <a:gd name="connsiteY832" fmla="*/ 584549 h 1101852"/>
                <a:gd name="connsiteX833" fmla="*/ 1030700 w 1182528"/>
                <a:gd name="connsiteY833" fmla="*/ 584930 h 1101852"/>
                <a:gd name="connsiteX834" fmla="*/ 1032034 w 1182528"/>
                <a:gd name="connsiteY834" fmla="*/ 583121 h 1101852"/>
                <a:gd name="connsiteX835" fmla="*/ 1030510 w 1182528"/>
                <a:gd name="connsiteY835" fmla="*/ 583311 h 1101852"/>
                <a:gd name="connsiteX836" fmla="*/ 1027843 w 1182528"/>
                <a:gd name="connsiteY836" fmla="*/ 575596 h 1101852"/>
                <a:gd name="connsiteX837" fmla="*/ 1020985 w 1182528"/>
                <a:gd name="connsiteY837" fmla="*/ 571691 h 1101852"/>
                <a:gd name="connsiteX838" fmla="*/ 1022128 w 1182528"/>
                <a:gd name="connsiteY838" fmla="*/ 568357 h 1101852"/>
                <a:gd name="connsiteX839" fmla="*/ 1020985 w 1182528"/>
                <a:gd name="connsiteY839" fmla="*/ 558927 h 1101852"/>
                <a:gd name="connsiteX840" fmla="*/ 1018985 w 1182528"/>
                <a:gd name="connsiteY840" fmla="*/ 555974 h 1101852"/>
                <a:gd name="connsiteX841" fmla="*/ 1018603 w 1182528"/>
                <a:gd name="connsiteY841" fmla="*/ 552736 h 1101852"/>
                <a:gd name="connsiteX842" fmla="*/ 1016984 w 1182528"/>
                <a:gd name="connsiteY842" fmla="*/ 553022 h 1101852"/>
                <a:gd name="connsiteX843" fmla="*/ 1015746 w 1182528"/>
                <a:gd name="connsiteY843" fmla="*/ 543497 h 1101852"/>
                <a:gd name="connsiteX844" fmla="*/ 1012603 w 1182528"/>
                <a:gd name="connsiteY844" fmla="*/ 543878 h 1101852"/>
                <a:gd name="connsiteX845" fmla="*/ 1014031 w 1182528"/>
                <a:gd name="connsiteY845" fmla="*/ 542163 h 1101852"/>
                <a:gd name="connsiteX846" fmla="*/ 1012412 w 1182528"/>
                <a:gd name="connsiteY846" fmla="*/ 542354 h 1101852"/>
                <a:gd name="connsiteX847" fmla="*/ 1013174 w 1182528"/>
                <a:gd name="connsiteY847" fmla="*/ 535781 h 1101852"/>
                <a:gd name="connsiteX848" fmla="*/ 1003078 w 1182528"/>
                <a:gd name="connsiteY848" fmla="*/ 532257 h 1101852"/>
                <a:gd name="connsiteX849" fmla="*/ 1004316 w 1182528"/>
                <a:gd name="connsiteY849" fmla="*/ 528923 h 1101852"/>
                <a:gd name="connsiteX850" fmla="*/ 1000315 w 1182528"/>
                <a:gd name="connsiteY850" fmla="*/ 523018 h 1101852"/>
                <a:gd name="connsiteX851" fmla="*/ 995363 w 1182528"/>
                <a:gd name="connsiteY851" fmla="*/ 522065 h 1101852"/>
                <a:gd name="connsiteX852" fmla="*/ 997934 w 1182528"/>
                <a:gd name="connsiteY852" fmla="*/ 516922 h 1101852"/>
                <a:gd name="connsiteX853" fmla="*/ 994981 w 1182528"/>
                <a:gd name="connsiteY853" fmla="*/ 506063 h 1101852"/>
                <a:gd name="connsiteX854" fmla="*/ 987838 w 1182528"/>
                <a:gd name="connsiteY854" fmla="*/ 500539 h 1101852"/>
                <a:gd name="connsiteX855" fmla="*/ 987457 w 1182528"/>
                <a:gd name="connsiteY855" fmla="*/ 497396 h 1101852"/>
                <a:gd name="connsiteX856" fmla="*/ 988790 w 1182528"/>
                <a:gd name="connsiteY856" fmla="*/ 495586 h 1101852"/>
                <a:gd name="connsiteX857" fmla="*/ 981742 w 1182528"/>
                <a:gd name="connsiteY857" fmla="*/ 490157 h 1101852"/>
                <a:gd name="connsiteX858" fmla="*/ 985266 w 1182528"/>
                <a:gd name="connsiteY858" fmla="*/ 480060 h 1101852"/>
                <a:gd name="connsiteX859" fmla="*/ 984790 w 1182528"/>
                <a:gd name="connsiteY859" fmla="*/ 476917 h 1101852"/>
                <a:gd name="connsiteX860" fmla="*/ 982027 w 1182528"/>
                <a:gd name="connsiteY860" fmla="*/ 467582 h 1101852"/>
                <a:gd name="connsiteX861" fmla="*/ 981837 w 1182528"/>
                <a:gd name="connsiteY861" fmla="*/ 466058 h 1101852"/>
                <a:gd name="connsiteX862" fmla="*/ 981456 w 1182528"/>
                <a:gd name="connsiteY862" fmla="*/ 462915 h 1101852"/>
                <a:gd name="connsiteX863" fmla="*/ 982218 w 1182528"/>
                <a:gd name="connsiteY863" fmla="*/ 456343 h 1101852"/>
                <a:gd name="connsiteX864" fmla="*/ 980599 w 1182528"/>
                <a:gd name="connsiteY864" fmla="*/ 456533 h 1101852"/>
                <a:gd name="connsiteX865" fmla="*/ 975931 w 1182528"/>
                <a:gd name="connsiteY865" fmla="*/ 457200 h 1101852"/>
                <a:gd name="connsiteX866" fmla="*/ 970978 w 1182528"/>
                <a:gd name="connsiteY866" fmla="*/ 456248 h 1101852"/>
                <a:gd name="connsiteX867" fmla="*/ 971169 w 1182528"/>
                <a:gd name="connsiteY867" fmla="*/ 444913 h 1101852"/>
                <a:gd name="connsiteX868" fmla="*/ 977456 w 1182528"/>
                <a:gd name="connsiteY868" fmla="*/ 431292 h 1101852"/>
                <a:gd name="connsiteX869" fmla="*/ 979170 w 1182528"/>
                <a:gd name="connsiteY869" fmla="*/ 432721 h 1101852"/>
                <a:gd name="connsiteX870" fmla="*/ 993553 w 1182528"/>
                <a:gd name="connsiteY870" fmla="*/ 419672 h 1101852"/>
                <a:gd name="connsiteX871" fmla="*/ 992981 w 1182528"/>
                <a:gd name="connsiteY871" fmla="*/ 414909 h 1101852"/>
                <a:gd name="connsiteX872" fmla="*/ 986028 w 1182528"/>
                <a:gd name="connsiteY872" fmla="*/ 411004 h 1101852"/>
                <a:gd name="connsiteX873" fmla="*/ 986600 w 1182528"/>
                <a:gd name="connsiteY873" fmla="*/ 402908 h 1101852"/>
                <a:gd name="connsiteX874" fmla="*/ 990790 w 1182528"/>
                <a:gd name="connsiteY874" fmla="*/ 397574 h 1101852"/>
                <a:gd name="connsiteX875" fmla="*/ 989933 w 1182528"/>
                <a:gd name="connsiteY875" fmla="*/ 391192 h 1101852"/>
                <a:gd name="connsiteX876" fmla="*/ 993839 w 1182528"/>
                <a:gd name="connsiteY876" fmla="*/ 384334 h 1101852"/>
                <a:gd name="connsiteX877" fmla="*/ 1003173 w 1182528"/>
                <a:gd name="connsiteY877" fmla="*/ 381572 h 1101852"/>
                <a:gd name="connsiteX878" fmla="*/ 1012222 w 1182528"/>
                <a:gd name="connsiteY878" fmla="*/ 377190 h 1101852"/>
                <a:gd name="connsiteX879" fmla="*/ 1015936 w 1182528"/>
                <a:gd name="connsiteY879" fmla="*/ 368713 h 1101852"/>
                <a:gd name="connsiteX880" fmla="*/ 1015746 w 1182528"/>
                <a:gd name="connsiteY880" fmla="*/ 367094 h 1101852"/>
                <a:gd name="connsiteX881" fmla="*/ 1018318 w 1182528"/>
                <a:gd name="connsiteY881" fmla="*/ 361950 h 1101852"/>
                <a:gd name="connsiteX882" fmla="*/ 1020699 w 1182528"/>
                <a:gd name="connsiteY882" fmla="*/ 368046 h 1101852"/>
                <a:gd name="connsiteX883" fmla="*/ 1019461 w 1182528"/>
                <a:gd name="connsiteY883" fmla="*/ 371475 h 1101852"/>
                <a:gd name="connsiteX884" fmla="*/ 1021080 w 1182528"/>
                <a:gd name="connsiteY884" fmla="*/ 371189 h 1101852"/>
                <a:gd name="connsiteX885" fmla="*/ 1027367 w 1182528"/>
                <a:gd name="connsiteY885" fmla="*/ 370427 h 1101852"/>
                <a:gd name="connsiteX886" fmla="*/ 1030129 w 1182528"/>
                <a:gd name="connsiteY886" fmla="*/ 366903 h 1101852"/>
                <a:gd name="connsiteX887" fmla="*/ 1021271 w 1182528"/>
                <a:gd name="connsiteY887" fmla="*/ 359950 h 1101852"/>
                <a:gd name="connsiteX888" fmla="*/ 1022032 w 1182528"/>
                <a:gd name="connsiteY888" fmla="*/ 353473 h 1101852"/>
                <a:gd name="connsiteX889" fmla="*/ 1024985 w 1182528"/>
                <a:gd name="connsiteY889" fmla="*/ 351473 h 1101852"/>
                <a:gd name="connsiteX890" fmla="*/ 1025938 w 1182528"/>
                <a:gd name="connsiteY890" fmla="*/ 346520 h 1101852"/>
                <a:gd name="connsiteX891" fmla="*/ 1027462 w 1182528"/>
                <a:gd name="connsiteY891" fmla="*/ 333566 h 1101852"/>
                <a:gd name="connsiteX892" fmla="*/ 1032986 w 1182528"/>
                <a:gd name="connsiteY892" fmla="*/ 326422 h 1101852"/>
                <a:gd name="connsiteX893" fmla="*/ 1032796 w 1182528"/>
                <a:gd name="connsiteY893" fmla="*/ 324803 h 1101852"/>
                <a:gd name="connsiteX894" fmla="*/ 1037558 w 1182528"/>
                <a:gd name="connsiteY894" fmla="*/ 324231 h 1101852"/>
                <a:gd name="connsiteX895" fmla="*/ 1042702 w 1182528"/>
                <a:gd name="connsiteY895" fmla="*/ 326803 h 1101852"/>
                <a:gd name="connsiteX896" fmla="*/ 1048036 w 1182528"/>
                <a:gd name="connsiteY896" fmla="*/ 318040 h 1101852"/>
                <a:gd name="connsiteX897" fmla="*/ 1042416 w 1182528"/>
                <a:gd name="connsiteY897" fmla="*/ 312420 h 1101852"/>
                <a:gd name="connsiteX898" fmla="*/ 1043654 w 1182528"/>
                <a:gd name="connsiteY898" fmla="*/ 308991 h 1101852"/>
                <a:gd name="connsiteX899" fmla="*/ 1049560 w 1182528"/>
                <a:gd name="connsiteY899" fmla="*/ 305086 h 1101852"/>
                <a:gd name="connsiteX900" fmla="*/ 1049369 w 1182528"/>
                <a:gd name="connsiteY900" fmla="*/ 303467 h 1101852"/>
                <a:gd name="connsiteX901" fmla="*/ 1049179 w 1182528"/>
                <a:gd name="connsiteY901" fmla="*/ 301943 h 1101852"/>
                <a:gd name="connsiteX902" fmla="*/ 1047369 w 1182528"/>
                <a:gd name="connsiteY902" fmla="*/ 300514 h 1101852"/>
                <a:gd name="connsiteX903" fmla="*/ 1045750 w 1182528"/>
                <a:gd name="connsiteY903" fmla="*/ 300704 h 1101852"/>
                <a:gd name="connsiteX904" fmla="*/ 1044035 w 1182528"/>
                <a:gd name="connsiteY904" fmla="*/ 299371 h 1101852"/>
                <a:gd name="connsiteX905" fmla="*/ 1044988 w 1182528"/>
                <a:gd name="connsiteY905" fmla="*/ 294418 h 1101852"/>
                <a:gd name="connsiteX906" fmla="*/ 1043178 w 1182528"/>
                <a:gd name="connsiteY906" fmla="*/ 293084 h 1101852"/>
                <a:gd name="connsiteX907" fmla="*/ 1045750 w 1182528"/>
                <a:gd name="connsiteY907" fmla="*/ 287941 h 1101852"/>
                <a:gd name="connsiteX908" fmla="*/ 1049274 w 1182528"/>
                <a:gd name="connsiteY908" fmla="*/ 290703 h 1101852"/>
                <a:gd name="connsiteX909" fmla="*/ 1048893 w 1182528"/>
                <a:gd name="connsiteY909" fmla="*/ 287465 h 1101852"/>
                <a:gd name="connsiteX910" fmla="*/ 1045559 w 1182528"/>
                <a:gd name="connsiteY910" fmla="*/ 286322 h 1101852"/>
                <a:gd name="connsiteX911" fmla="*/ 1044131 w 1182528"/>
                <a:gd name="connsiteY911" fmla="*/ 288131 h 1101852"/>
                <a:gd name="connsiteX912" fmla="*/ 1040797 w 1182528"/>
                <a:gd name="connsiteY912" fmla="*/ 286893 h 1101852"/>
                <a:gd name="connsiteX913" fmla="*/ 1042226 w 1182528"/>
                <a:gd name="connsiteY913" fmla="*/ 285179 h 1101852"/>
                <a:gd name="connsiteX914" fmla="*/ 1038415 w 1182528"/>
                <a:gd name="connsiteY914" fmla="*/ 280797 h 1101852"/>
                <a:gd name="connsiteX915" fmla="*/ 1044511 w 1182528"/>
                <a:gd name="connsiteY915" fmla="*/ 278416 h 1101852"/>
                <a:gd name="connsiteX916" fmla="*/ 1050036 w 1182528"/>
                <a:gd name="connsiteY916" fmla="*/ 284131 h 1101852"/>
                <a:gd name="connsiteX917" fmla="*/ 1054227 w 1182528"/>
                <a:gd name="connsiteY917" fmla="*/ 278797 h 1101852"/>
                <a:gd name="connsiteX918" fmla="*/ 1061942 w 1182528"/>
                <a:gd name="connsiteY918" fmla="*/ 276225 h 1101852"/>
                <a:gd name="connsiteX919" fmla="*/ 1063657 w 1182528"/>
                <a:gd name="connsiteY919" fmla="*/ 277559 h 1101852"/>
                <a:gd name="connsiteX920" fmla="*/ 1066800 w 1182528"/>
                <a:gd name="connsiteY920" fmla="*/ 277178 h 1101852"/>
                <a:gd name="connsiteX921" fmla="*/ 1065848 w 1182528"/>
                <a:gd name="connsiteY921" fmla="*/ 282131 h 1101852"/>
                <a:gd name="connsiteX922" fmla="*/ 1063085 w 1182528"/>
                <a:gd name="connsiteY922" fmla="*/ 285655 h 1101852"/>
                <a:gd name="connsiteX923" fmla="*/ 1067657 w 1182528"/>
                <a:gd name="connsiteY923" fmla="*/ 283464 h 1101852"/>
                <a:gd name="connsiteX924" fmla="*/ 1069372 w 1182528"/>
                <a:gd name="connsiteY924" fmla="*/ 284893 h 1101852"/>
                <a:gd name="connsiteX925" fmla="*/ 1070801 w 1182528"/>
                <a:gd name="connsiteY925" fmla="*/ 283083 h 1101852"/>
                <a:gd name="connsiteX926" fmla="*/ 1073944 w 1182528"/>
                <a:gd name="connsiteY926" fmla="*/ 282702 h 1101852"/>
                <a:gd name="connsiteX927" fmla="*/ 1082611 w 1182528"/>
                <a:gd name="connsiteY927" fmla="*/ 288036 h 1101852"/>
                <a:gd name="connsiteX928" fmla="*/ 1084993 w 1182528"/>
                <a:gd name="connsiteY928" fmla="*/ 294132 h 1101852"/>
                <a:gd name="connsiteX929" fmla="*/ 1093280 w 1182528"/>
                <a:gd name="connsiteY929" fmla="*/ 296323 h 1101852"/>
                <a:gd name="connsiteX930" fmla="*/ 1095280 w 1182528"/>
                <a:gd name="connsiteY930" fmla="*/ 299276 h 1101852"/>
                <a:gd name="connsiteX931" fmla="*/ 1101661 w 1182528"/>
                <a:gd name="connsiteY931" fmla="*/ 298418 h 1101852"/>
                <a:gd name="connsiteX932" fmla="*/ 1105376 w 1182528"/>
                <a:gd name="connsiteY932" fmla="*/ 302800 h 1101852"/>
                <a:gd name="connsiteX933" fmla="*/ 1106329 w 1182528"/>
                <a:gd name="connsiteY933" fmla="*/ 297847 h 1101852"/>
                <a:gd name="connsiteX934" fmla="*/ 1106519 w 1182528"/>
                <a:gd name="connsiteY934" fmla="*/ 299371 h 1101852"/>
                <a:gd name="connsiteX935" fmla="*/ 1111282 w 1182528"/>
                <a:gd name="connsiteY935" fmla="*/ 298799 h 1101852"/>
                <a:gd name="connsiteX936" fmla="*/ 1118997 w 1182528"/>
                <a:gd name="connsiteY936" fmla="*/ 296228 h 1101852"/>
                <a:gd name="connsiteX937" fmla="*/ 1121093 w 1182528"/>
                <a:gd name="connsiteY937" fmla="*/ 287941 h 1101852"/>
                <a:gd name="connsiteX938" fmla="*/ 1119950 w 1182528"/>
                <a:gd name="connsiteY938" fmla="*/ 278416 h 1101852"/>
                <a:gd name="connsiteX939" fmla="*/ 1122426 w 1182528"/>
                <a:gd name="connsiteY939" fmla="*/ 273272 h 1101852"/>
                <a:gd name="connsiteX940" fmla="*/ 1121474 w 1182528"/>
                <a:gd name="connsiteY940" fmla="*/ 265462 h 1101852"/>
                <a:gd name="connsiteX941" fmla="*/ 1125760 w 1182528"/>
                <a:gd name="connsiteY941" fmla="*/ 261652 h 1101852"/>
                <a:gd name="connsiteX942" fmla="*/ 1123188 w 1182528"/>
                <a:gd name="connsiteY942" fmla="*/ 253937 h 1101852"/>
                <a:gd name="connsiteX943" fmla="*/ 1124426 w 1182528"/>
                <a:gd name="connsiteY943" fmla="*/ 250603 h 1101852"/>
                <a:gd name="connsiteX944" fmla="*/ 1139190 w 1182528"/>
                <a:gd name="connsiteY944" fmla="*/ 253556 h 1101852"/>
                <a:gd name="connsiteX945" fmla="*/ 1143572 w 1182528"/>
                <a:gd name="connsiteY945" fmla="*/ 249746 h 1101852"/>
                <a:gd name="connsiteX946" fmla="*/ 1148239 w 1182528"/>
                <a:gd name="connsiteY946" fmla="*/ 249174 h 1101852"/>
                <a:gd name="connsiteX947" fmla="*/ 1151192 w 1182528"/>
                <a:gd name="connsiteY947" fmla="*/ 247174 h 1101852"/>
                <a:gd name="connsiteX948" fmla="*/ 1158716 w 1182528"/>
                <a:gd name="connsiteY948" fmla="*/ 230219 h 1101852"/>
                <a:gd name="connsiteX949" fmla="*/ 1159288 w 1182528"/>
                <a:gd name="connsiteY949" fmla="*/ 222123 h 1101852"/>
                <a:gd name="connsiteX950" fmla="*/ 1162050 w 1182528"/>
                <a:gd name="connsiteY950" fmla="*/ 218599 h 1101852"/>
                <a:gd name="connsiteX951" fmla="*/ 1168813 w 1182528"/>
                <a:gd name="connsiteY951" fmla="*/ 196882 h 1101852"/>
                <a:gd name="connsiteX952" fmla="*/ 1171956 w 1182528"/>
                <a:gd name="connsiteY952" fmla="*/ 183642 h 1101852"/>
                <a:gd name="connsiteX953" fmla="*/ 1182243 w 1182528"/>
                <a:gd name="connsiteY953" fmla="*/ 175927 h 1101852"/>
                <a:gd name="connsiteX954" fmla="*/ 1182529 w 1182528"/>
                <a:gd name="connsiteY954" fmla="*/ 153353 h 1101852"/>
                <a:gd name="connsiteX955" fmla="*/ 1180148 w 1182528"/>
                <a:gd name="connsiteY955" fmla="*/ 147257 h 1101852"/>
                <a:gd name="connsiteX956" fmla="*/ 1180148 w 1182528"/>
                <a:gd name="connsiteY956" fmla="*/ 147257 h 1101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</a:cxnLst>
              <a:rect l="l" t="t" r="r" b="b"/>
              <a:pathLst>
                <a:path w="1182528" h="1101852">
                  <a:moveTo>
                    <a:pt x="1180148" y="147257"/>
                  </a:moveTo>
                  <a:lnTo>
                    <a:pt x="1175290" y="146304"/>
                  </a:lnTo>
                  <a:lnTo>
                    <a:pt x="1165003" y="154019"/>
                  </a:lnTo>
                  <a:lnTo>
                    <a:pt x="1158526" y="153257"/>
                  </a:lnTo>
                  <a:lnTo>
                    <a:pt x="1154144" y="156972"/>
                  </a:lnTo>
                  <a:lnTo>
                    <a:pt x="1146239" y="158020"/>
                  </a:lnTo>
                  <a:lnTo>
                    <a:pt x="1134428" y="165926"/>
                  </a:lnTo>
                  <a:lnTo>
                    <a:pt x="1130903" y="163163"/>
                  </a:lnTo>
                  <a:lnTo>
                    <a:pt x="1122617" y="161068"/>
                  </a:lnTo>
                  <a:lnTo>
                    <a:pt x="1120045" y="153353"/>
                  </a:lnTo>
                  <a:lnTo>
                    <a:pt x="1126331" y="139732"/>
                  </a:lnTo>
                  <a:lnTo>
                    <a:pt x="1134809" y="130588"/>
                  </a:lnTo>
                  <a:lnTo>
                    <a:pt x="1135571" y="124111"/>
                  </a:lnTo>
                  <a:lnTo>
                    <a:pt x="1143381" y="110300"/>
                  </a:lnTo>
                  <a:lnTo>
                    <a:pt x="1141190" y="105728"/>
                  </a:lnTo>
                  <a:lnTo>
                    <a:pt x="1143953" y="102203"/>
                  </a:lnTo>
                  <a:lnTo>
                    <a:pt x="1143381" y="97441"/>
                  </a:lnTo>
                  <a:lnTo>
                    <a:pt x="1145953" y="92297"/>
                  </a:lnTo>
                  <a:lnTo>
                    <a:pt x="1146048" y="81058"/>
                  </a:lnTo>
                  <a:lnTo>
                    <a:pt x="1142905" y="81439"/>
                  </a:lnTo>
                  <a:lnTo>
                    <a:pt x="1135571" y="74390"/>
                  </a:lnTo>
                  <a:lnTo>
                    <a:pt x="1133189" y="68294"/>
                  </a:lnTo>
                  <a:lnTo>
                    <a:pt x="1124140" y="59817"/>
                  </a:lnTo>
                  <a:lnTo>
                    <a:pt x="1122140" y="56864"/>
                  </a:lnTo>
                  <a:lnTo>
                    <a:pt x="1119188" y="58865"/>
                  </a:lnTo>
                  <a:lnTo>
                    <a:pt x="1103662" y="62389"/>
                  </a:lnTo>
                  <a:lnTo>
                    <a:pt x="1101852" y="61055"/>
                  </a:lnTo>
                  <a:lnTo>
                    <a:pt x="1101661" y="59436"/>
                  </a:lnTo>
                  <a:lnTo>
                    <a:pt x="1102805" y="56102"/>
                  </a:lnTo>
                  <a:lnTo>
                    <a:pt x="1105757" y="54102"/>
                  </a:lnTo>
                  <a:lnTo>
                    <a:pt x="1105567" y="52578"/>
                  </a:lnTo>
                  <a:lnTo>
                    <a:pt x="1100042" y="46863"/>
                  </a:lnTo>
                  <a:lnTo>
                    <a:pt x="1078516" y="41529"/>
                  </a:lnTo>
                  <a:lnTo>
                    <a:pt x="1078706" y="30290"/>
                  </a:lnTo>
                  <a:lnTo>
                    <a:pt x="1083564" y="18479"/>
                  </a:lnTo>
                  <a:lnTo>
                    <a:pt x="1079659" y="12573"/>
                  </a:lnTo>
                  <a:lnTo>
                    <a:pt x="1072134" y="16764"/>
                  </a:lnTo>
                  <a:lnTo>
                    <a:pt x="1074896" y="26003"/>
                  </a:lnTo>
                  <a:lnTo>
                    <a:pt x="1073372" y="39053"/>
                  </a:lnTo>
                  <a:lnTo>
                    <a:pt x="1061942" y="37243"/>
                  </a:lnTo>
                  <a:lnTo>
                    <a:pt x="1061276" y="32576"/>
                  </a:lnTo>
                  <a:lnTo>
                    <a:pt x="1059561" y="31147"/>
                  </a:lnTo>
                  <a:lnTo>
                    <a:pt x="1054036" y="25432"/>
                  </a:lnTo>
                  <a:lnTo>
                    <a:pt x="1047464" y="24670"/>
                  </a:lnTo>
                  <a:lnTo>
                    <a:pt x="1032891" y="36195"/>
                  </a:lnTo>
                  <a:lnTo>
                    <a:pt x="1031557" y="37910"/>
                  </a:lnTo>
                  <a:lnTo>
                    <a:pt x="1024223" y="43625"/>
                  </a:lnTo>
                  <a:lnTo>
                    <a:pt x="1017746" y="42863"/>
                  </a:lnTo>
                  <a:lnTo>
                    <a:pt x="1009269" y="39148"/>
                  </a:lnTo>
                  <a:lnTo>
                    <a:pt x="1004126" y="36576"/>
                  </a:lnTo>
                  <a:lnTo>
                    <a:pt x="998982" y="34100"/>
                  </a:lnTo>
                  <a:lnTo>
                    <a:pt x="997363" y="21431"/>
                  </a:lnTo>
                  <a:lnTo>
                    <a:pt x="992410" y="20479"/>
                  </a:lnTo>
                  <a:lnTo>
                    <a:pt x="985076" y="13335"/>
                  </a:lnTo>
                  <a:lnTo>
                    <a:pt x="974217" y="16383"/>
                  </a:lnTo>
                  <a:lnTo>
                    <a:pt x="972884" y="18098"/>
                  </a:lnTo>
                  <a:lnTo>
                    <a:pt x="966597" y="18955"/>
                  </a:lnTo>
                  <a:lnTo>
                    <a:pt x="960406" y="8477"/>
                  </a:lnTo>
                  <a:lnTo>
                    <a:pt x="951357" y="0"/>
                  </a:lnTo>
                  <a:lnTo>
                    <a:pt x="943451" y="1048"/>
                  </a:lnTo>
                  <a:lnTo>
                    <a:pt x="939356" y="6382"/>
                  </a:lnTo>
                  <a:lnTo>
                    <a:pt x="934402" y="18193"/>
                  </a:lnTo>
                  <a:lnTo>
                    <a:pt x="924497" y="16288"/>
                  </a:lnTo>
                  <a:lnTo>
                    <a:pt x="925163" y="21050"/>
                  </a:lnTo>
                  <a:lnTo>
                    <a:pt x="928497" y="22193"/>
                  </a:lnTo>
                  <a:lnTo>
                    <a:pt x="932498" y="28099"/>
                  </a:lnTo>
                  <a:lnTo>
                    <a:pt x="931735" y="34576"/>
                  </a:lnTo>
                  <a:lnTo>
                    <a:pt x="927735" y="41529"/>
                  </a:lnTo>
                  <a:lnTo>
                    <a:pt x="929735" y="44482"/>
                  </a:lnTo>
                  <a:lnTo>
                    <a:pt x="919448" y="52197"/>
                  </a:lnTo>
                  <a:lnTo>
                    <a:pt x="916114" y="51054"/>
                  </a:lnTo>
                  <a:lnTo>
                    <a:pt x="915352" y="57531"/>
                  </a:lnTo>
                  <a:lnTo>
                    <a:pt x="920877" y="63246"/>
                  </a:lnTo>
                  <a:lnTo>
                    <a:pt x="914019" y="72104"/>
                  </a:lnTo>
                  <a:lnTo>
                    <a:pt x="913067" y="77057"/>
                  </a:lnTo>
                  <a:lnTo>
                    <a:pt x="916781" y="81439"/>
                  </a:lnTo>
                  <a:lnTo>
                    <a:pt x="924877" y="82010"/>
                  </a:lnTo>
                  <a:lnTo>
                    <a:pt x="932212" y="89059"/>
                  </a:lnTo>
                  <a:lnTo>
                    <a:pt x="935355" y="88678"/>
                  </a:lnTo>
                  <a:lnTo>
                    <a:pt x="940118" y="88106"/>
                  </a:lnTo>
                  <a:lnTo>
                    <a:pt x="948976" y="82106"/>
                  </a:lnTo>
                  <a:lnTo>
                    <a:pt x="956881" y="81153"/>
                  </a:lnTo>
                  <a:lnTo>
                    <a:pt x="960596" y="85439"/>
                  </a:lnTo>
                  <a:lnTo>
                    <a:pt x="959453" y="88773"/>
                  </a:lnTo>
                  <a:lnTo>
                    <a:pt x="960215" y="95155"/>
                  </a:lnTo>
                  <a:lnTo>
                    <a:pt x="955548" y="95726"/>
                  </a:lnTo>
                  <a:lnTo>
                    <a:pt x="952119" y="94583"/>
                  </a:lnTo>
                  <a:lnTo>
                    <a:pt x="942118" y="103822"/>
                  </a:lnTo>
                  <a:lnTo>
                    <a:pt x="954119" y="110300"/>
                  </a:lnTo>
                  <a:lnTo>
                    <a:pt x="954405" y="111919"/>
                  </a:lnTo>
                  <a:lnTo>
                    <a:pt x="950023" y="115634"/>
                  </a:lnTo>
                  <a:lnTo>
                    <a:pt x="958882" y="122587"/>
                  </a:lnTo>
                  <a:lnTo>
                    <a:pt x="971740" y="122491"/>
                  </a:lnTo>
                  <a:lnTo>
                    <a:pt x="975551" y="126873"/>
                  </a:lnTo>
                  <a:lnTo>
                    <a:pt x="978884" y="128016"/>
                  </a:lnTo>
                  <a:lnTo>
                    <a:pt x="984218" y="132207"/>
                  </a:lnTo>
                  <a:lnTo>
                    <a:pt x="988695" y="130016"/>
                  </a:lnTo>
                  <a:lnTo>
                    <a:pt x="989362" y="134684"/>
                  </a:lnTo>
                  <a:lnTo>
                    <a:pt x="992696" y="135922"/>
                  </a:lnTo>
                  <a:lnTo>
                    <a:pt x="1001744" y="131540"/>
                  </a:lnTo>
                  <a:lnTo>
                    <a:pt x="1007269" y="137255"/>
                  </a:lnTo>
                  <a:lnTo>
                    <a:pt x="1011079" y="141542"/>
                  </a:lnTo>
                  <a:lnTo>
                    <a:pt x="1009936" y="144971"/>
                  </a:lnTo>
                  <a:lnTo>
                    <a:pt x="1010888" y="152781"/>
                  </a:lnTo>
                  <a:lnTo>
                    <a:pt x="1003173" y="155448"/>
                  </a:lnTo>
                  <a:lnTo>
                    <a:pt x="1006602" y="156591"/>
                  </a:lnTo>
                  <a:lnTo>
                    <a:pt x="1005364" y="159925"/>
                  </a:lnTo>
                  <a:lnTo>
                    <a:pt x="1002030" y="158782"/>
                  </a:lnTo>
                  <a:lnTo>
                    <a:pt x="1002221" y="160306"/>
                  </a:lnTo>
                  <a:lnTo>
                    <a:pt x="1000697" y="160496"/>
                  </a:lnTo>
                  <a:lnTo>
                    <a:pt x="1001839" y="170021"/>
                  </a:lnTo>
                  <a:lnTo>
                    <a:pt x="1001459" y="179642"/>
                  </a:lnTo>
                  <a:lnTo>
                    <a:pt x="1000125" y="181451"/>
                  </a:lnTo>
                  <a:lnTo>
                    <a:pt x="992219" y="182499"/>
                  </a:lnTo>
                  <a:lnTo>
                    <a:pt x="980599" y="179165"/>
                  </a:lnTo>
                  <a:lnTo>
                    <a:pt x="979170" y="180880"/>
                  </a:lnTo>
                  <a:lnTo>
                    <a:pt x="975646" y="178118"/>
                  </a:lnTo>
                  <a:lnTo>
                    <a:pt x="976408" y="184499"/>
                  </a:lnTo>
                  <a:lnTo>
                    <a:pt x="973646" y="188024"/>
                  </a:lnTo>
                  <a:lnTo>
                    <a:pt x="959644" y="191453"/>
                  </a:lnTo>
                  <a:lnTo>
                    <a:pt x="956310" y="190214"/>
                  </a:lnTo>
                  <a:lnTo>
                    <a:pt x="944309" y="196596"/>
                  </a:lnTo>
                  <a:lnTo>
                    <a:pt x="936022" y="194405"/>
                  </a:lnTo>
                  <a:lnTo>
                    <a:pt x="930307" y="187166"/>
                  </a:lnTo>
                  <a:lnTo>
                    <a:pt x="920210" y="183642"/>
                  </a:lnTo>
                  <a:lnTo>
                    <a:pt x="908399" y="191548"/>
                  </a:lnTo>
                  <a:lnTo>
                    <a:pt x="903827" y="193739"/>
                  </a:lnTo>
                  <a:lnTo>
                    <a:pt x="895540" y="191548"/>
                  </a:lnTo>
                  <a:lnTo>
                    <a:pt x="896969" y="202597"/>
                  </a:lnTo>
                  <a:lnTo>
                    <a:pt x="888302" y="222980"/>
                  </a:lnTo>
                  <a:lnTo>
                    <a:pt x="884968" y="221742"/>
                  </a:lnTo>
                  <a:lnTo>
                    <a:pt x="873347" y="231267"/>
                  </a:lnTo>
                  <a:lnTo>
                    <a:pt x="870204" y="231648"/>
                  </a:lnTo>
                  <a:lnTo>
                    <a:pt x="865823" y="235458"/>
                  </a:lnTo>
                  <a:lnTo>
                    <a:pt x="846773" y="236315"/>
                  </a:lnTo>
                  <a:lnTo>
                    <a:pt x="826198" y="251746"/>
                  </a:lnTo>
                  <a:lnTo>
                    <a:pt x="821341" y="250793"/>
                  </a:lnTo>
                  <a:lnTo>
                    <a:pt x="814006" y="256508"/>
                  </a:lnTo>
                  <a:lnTo>
                    <a:pt x="807720" y="257270"/>
                  </a:lnTo>
                  <a:lnTo>
                    <a:pt x="803148" y="259461"/>
                  </a:lnTo>
                  <a:lnTo>
                    <a:pt x="796861" y="260318"/>
                  </a:lnTo>
                  <a:lnTo>
                    <a:pt x="790003" y="269177"/>
                  </a:lnTo>
                  <a:lnTo>
                    <a:pt x="788956" y="274130"/>
                  </a:lnTo>
                  <a:lnTo>
                    <a:pt x="784669" y="277844"/>
                  </a:lnTo>
                  <a:lnTo>
                    <a:pt x="778383" y="278702"/>
                  </a:lnTo>
                  <a:lnTo>
                    <a:pt x="774764" y="275939"/>
                  </a:lnTo>
                  <a:lnTo>
                    <a:pt x="768477" y="276701"/>
                  </a:lnTo>
                  <a:lnTo>
                    <a:pt x="762190" y="277559"/>
                  </a:lnTo>
                  <a:lnTo>
                    <a:pt x="758285" y="284417"/>
                  </a:lnTo>
                  <a:lnTo>
                    <a:pt x="747522" y="276225"/>
                  </a:lnTo>
                  <a:lnTo>
                    <a:pt x="737902" y="275844"/>
                  </a:lnTo>
                  <a:lnTo>
                    <a:pt x="737330" y="271082"/>
                  </a:lnTo>
                  <a:lnTo>
                    <a:pt x="728567" y="265748"/>
                  </a:lnTo>
                  <a:lnTo>
                    <a:pt x="724281" y="269558"/>
                  </a:lnTo>
                  <a:lnTo>
                    <a:pt x="715423" y="275463"/>
                  </a:lnTo>
                  <a:lnTo>
                    <a:pt x="705898" y="276701"/>
                  </a:lnTo>
                  <a:lnTo>
                    <a:pt x="702945" y="278606"/>
                  </a:lnTo>
                  <a:lnTo>
                    <a:pt x="703993" y="286512"/>
                  </a:lnTo>
                  <a:lnTo>
                    <a:pt x="699611" y="290322"/>
                  </a:lnTo>
                  <a:lnTo>
                    <a:pt x="696944" y="293846"/>
                  </a:lnTo>
                  <a:lnTo>
                    <a:pt x="692753" y="299180"/>
                  </a:lnTo>
                  <a:lnTo>
                    <a:pt x="678180" y="297847"/>
                  </a:lnTo>
                  <a:lnTo>
                    <a:pt x="669512" y="292513"/>
                  </a:lnTo>
                  <a:lnTo>
                    <a:pt x="665131" y="296323"/>
                  </a:lnTo>
                  <a:lnTo>
                    <a:pt x="664178" y="301276"/>
                  </a:lnTo>
                  <a:lnTo>
                    <a:pt x="665988" y="302609"/>
                  </a:lnTo>
                  <a:lnTo>
                    <a:pt x="661988" y="309563"/>
                  </a:lnTo>
                  <a:lnTo>
                    <a:pt x="661226" y="316039"/>
                  </a:lnTo>
                  <a:lnTo>
                    <a:pt x="657130" y="321374"/>
                  </a:lnTo>
                  <a:lnTo>
                    <a:pt x="659702" y="329089"/>
                  </a:lnTo>
                  <a:lnTo>
                    <a:pt x="667417" y="339281"/>
                  </a:lnTo>
                  <a:lnTo>
                    <a:pt x="663893" y="349377"/>
                  </a:lnTo>
                  <a:lnTo>
                    <a:pt x="655034" y="355378"/>
                  </a:lnTo>
                  <a:lnTo>
                    <a:pt x="652081" y="357283"/>
                  </a:lnTo>
                  <a:lnTo>
                    <a:pt x="644747" y="350234"/>
                  </a:lnTo>
                  <a:lnTo>
                    <a:pt x="639985" y="350806"/>
                  </a:lnTo>
                  <a:lnTo>
                    <a:pt x="639413" y="358902"/>
                  </a:lnTo>
                  <a:lnTo>
                    <a:pt x="635889" y="368999"/>
                  </a:lnTo>
                  <a:lnTo>
                    <a:pt x="628174" y="371570"/>
                  </a:lnTo>
                  <a:lnTo>
                    <a:pt x="621316" y="367665"/>
                  </a:lnTo>
                  <a:lnTo>
                    <a:pt x="618554" y="371189"/>
                  </a:lnTo>
                  <a:lnTo>
                    <a:pt x="615410" y="371570"/>
                  </a:lnTo>
                  <a:lnTo>
                    <a:pt x="606266" y="363188"/>
                  </a:lnTo>
                  <a:lnTo>
                    <a:pt x="602742" y="360426"/>
                  </a:lnTo>
                  <a:lnTo>
                    <a:pt x="596265" y="359569"/>
                  </a:lnTo>
                  <a:lnTo>
                    <a:pt x="591693" y="361760"/>
                  </a:lnTo>
                  <a:lnTo>
                    <a:pt x="589502" y="357283"/>
                  </a:lnTo>
                  <a:lnTo>
                    <a:pt x="586740" y="360807"/>
                  </a:lnTo>
                  <a:lnTo>
                    <a:pt x="583025" y="356521"/>
                  </a:lnTo>
                  <a:lnTo>
                    <a:pt x="578644" y="360236"/>
                  </a:lnTo>
                  <a:lnTo>
                    <a:pt x="573500" y="357664"/>
                  </a:lnTo>
                  <a:lnTo>
                    <a:pt x="568833" y="358331"/>
                  </a:lnTo>
                  <a:lnTo>
                    <a:pt x="564642" y="363664"/>
                  </a:lnTo>
                  <a:lnTo>
                    <a:pt x="561689" y="365570"/>
                  </a:lnTo>
                  <a:lnTo>
                    <a:pt x="555403" y="366427"/>
                  </a:lnTo>
                  <a:lnTo>
                    <a:pt x="547878" y="357759"/>
                  </a:lnTo>
                  <a:lnTo>
                    <a:pt x="539591" y="368427"/>
                  </a:lnTo>
                  <a:lnTo>
                    <a:pt x="534924" y="368999"/>
                  </a:lnTo>
                  <a:lnTo>
                    <a:pt x="537305" y="375190"/>
                  </a:lnTo>
                  <a:lnTo>
                    <a:pt x="534543" y="378714"/>
                  </a:lnTo>
                  <a:lnTo>
                    <a:pt x="522827" y="375380"/>
                  </a:lnTo>
                  <a:lnTo>
                    <a:pt x="517112" y="368046"/>
                  </a:lnTo>
                  <a:lnTo>
                    <a:pt x="504825" y="360045"/>
                  </a:lnTo>
                  <a:lnTo>
                    <a:pt x="490633" y="361855"/>
                  </a:lnTo>
                  <a:lnTo>
                    <a:pt x="484727" y="365760"/>
                  </a:lnTo>
                  <a:lnTo>
                    <a:pt x="477298" y="369951"/>
                  </a:lnTo>
                  <a:lnTo>
                    <a:pt x="478250" y="377857"/>
                  </a:lnTo>
                  <a:lnTo>
                    <a:pt x="467201" y="379286"/>
                  </a:lnTo>
                  <a:lnTo>
                    <a:pt x="461296" y="383191"/>
                  </a:lnTo>
                  <a:lnTo>
                    <a:pt x="451199" y="379667"/>
                  </a:lnTo>
                  <a:lnTo>
                    <a:pt x="441389" y="377762"/>
                  </a:lnTo>
                  <a:lnTo>
                    <a:pt x="438436" y="379762"/>
                  </a:lnTo>
                  <a:lnTo>
                    <a:pt x="433292" y="377190"/>
                  </a:lnTo>
                  <a:lnTo>
                    <a:pt x="428530" y="377762"/>
                  </a:lnTo>
                  <a:lnTo>
                    <a:pt x="422434" y="380143"/>
                  </a:lnTo>
                  <a:lnTo>
                    <a:pt x="416909" y="387287"/>
                  </a:lnTo>
                  <a:lnTo>
                    <a:pt x="408813" y="386715"/>
                  </a:lnTo>
                  <a:lnTo>
                    <a:pt x="409861" y="394621"/>
                  </a:lnTo>
                  <a:lnTo>
                    <a:pt x="417576" y="404813"/>
                  </a:lnTo>
                  <a:lnTo>
                    <a:pt x="419767" y="409385"/>
                  </a:lnTo>
                  <a:lnTo>
                    <a:pt x="420910" y="418814"/>
                  </a:lnTo>
                  <a:lnTo>
                    <a:pt x="418147" y="422434"/>
                  </a:lnTo>
                  <a:lnTo>
                    <a:pt x="419005" y="428720"/>
                  </a:lnTo>
                  <a:lnTo>
                    <a:pt x="417576" y="430435"/>
                  </a:lnTo>
                  <a:lnTo>
                    <a:pt x="412718" y="429482"/>
                  </a:lnTo>
                  <a:lnTo>
                    <a:pt x="398716" y="445675"/>
                  </a:lnTo>
                  <a:lnTo>
                    <a:pt x="401288" y="453390"/>
                  </a:lnTo>
                  <a:lnTo>
                    <a:pt x="407575" y="452628"/>
                  </a:lnTo>
                  <a:lnTo>
                    <a:pt x="407194" y="462248"/>
                  </a:lnTo>
                  <a:lnTo>
                    <a:pt x="402908" y="466058"/>
                  </a:lnTo>
                  <a:lnTo>
                    <a:pt x="391858" y="467487"/>
                  </a:lnTo>
                  <a:lnTo>
                    <a:pt x="387477" y="471202"/>
                  </a:lnTo>
                  <a:lnTo>
                    <a:pt x="386906" y="479298"/>
                  </a:lnTo>
                  <a:lnTo>
                    <a:pt x="373761" y="489013"/>
                  </a:lnTo>
                  <a:lnTo>
                    <a:pt x="374142" y="492157"/>
                  </a:lnTo>
                  <a:lnTo>
                    <a:pt x="369856" y="495872"/>
                  </a:lnTo>
                  <a:lnTo>
                    <a:pt x="364331" y="503015"/>
                  </a:lnTo>
                  <a:lnTo>
                    <a:pt x="350329" y="493586"/>
                  </a:lnTo>
                  <a:lnTo>
                    <a:pt x="342233" y="493014"/>
                  </a:lnTo>
                  <a:lnTo>
                    <a:pt x="338614" y="490252"/>
                  </a:lnTo>
                  <a:lnTo>
                    <a:pt x="340233" y="490061"/>
                  </a:lnTo>
                  <a:lnTo>
                    <a:pt x="338233" y="487109"/>
                  </a:lnTo>
                  <a:lnTo>
                    <a:pt x="331756" y="486347"/>
                  </a:lnTo>
                  <a:lnTo>
                    <a:pt x="329946" y="484918"/>
                  </a:lnTo>
                  <a:lnTo>
                    <a:pt x="330899" y="480060"/>
                  </a:lnTo>
                  <a:lnTo>
                    <a:pt x="324326" y="466439"/>
                  </a:lnTo>
                  <a:lnTo>
                    <a:pt x="316611" y="456152"/>
                  </a:lnTo>
                  <a:lnTo>
                    <a:pt x="316039" y="451485"/>
                  </a:lnTo>
                  <a:lnTo>
                    <a:pt x="311087" y="450437"/>
                  </a:lnTo>
                  <a:lnTo>
                    <a:pt x="309753" y="452247"/>
                  </a:lnTo>
                  <a:lnTo>
                    <a:pt x="305943" y="447961"/>
                  </a:lnTo>
                  <a:lnTo>
                    <a:pt x="300799" y="445389"/>
                  </a:lnTo>
                  <a:lnTo>
                    <a:pt x="303657" y="467487"/>
                  </a:lnTo>
                  <a:lnTo>
                    <a:pt x="305848" y="471964"/>
                  </a:lnTo>
                  <a:lnTo>
                    <a:pt x="301466" y="475774"/>
                  </a:lnTo>
                  <a:lnTo>
                    <a:pt x="300514" y="480727"/>
                  </a:lnTo>
                  <a:lnTo>
                    <a:pt x="297561" y="482632"/>
                  </a:lnTo>
                  <a:lnTo>
                    <a:pt x="294418" y="483108"/>
                  </a:lnTo>
                  <a:lnTo>
                    <a:pt x="293084" y="484823"/>
                  </a:lnTo>
                  <a:lnTo>
                    <a:pt x="277463" y="488442"/>
                  </a:lnTo>
                  <a:lnTo>
                    <a:pt x="279464" y="491395"/>
                  </a:lnTo>
                  <a:lnTo>
                    <a:pt x="276701" y="494919"/>
                  </a:lnTo>
                  <a:lnTo>
                    <a:pt x="268605" y="494348"/>
                  </a:lnTo>
                  <a:lnTo>
                    <a:pt x="268986" y="497491"/>
                  </a:lnTo>
                  <a:lnTo>
                    <a:pt x="266224" y="501110"/>
                  </a:lnTo>
                  <a:lnTo>
                    <a:pt x="267081" y="507397"/>
                  </a:lnTo>
                  <a:lnTo>
                    <a:pt x="266510" y="515493"/>
                  </a:lnTo>
                  <a:lnTo>
                    <a:pt x="268224" y="516827"/>
                  </a:lnTo>
                  <a:lnTo>
                    <a:pt x="267652" y="524923"/>
                  </a:lnTo>
                  <a:lnTo>
                    <a:pt x="258413" y="527780"/>
                  </a:lnTo>
                  <a:lnTo>
                    <a:pt x="250317" y="527209"/>
                  </a:lnTo>
                  <a:lnTo>
                    <a:pt x="246031" y="530924"/>
                  </a:lnTo>
                  <a:lnTo>
                    <a:pt x="241268" y="518732"/>
                  </a:lnTo>
                  <a:lnTo>
                    <a:pt x="240792" y="515588"/>
                  </a:lnTo>
                  <a:lnTo>
                    <a:pt x="237077" y="511207"/>
                  </a:lnTo>
                  <a:lnTo>
                    <a:pt x="225838" y="511016"/>
                  </a:lnTo>
                  <a:lnTo>
                    <a:pt x="220504" y="506921"/>
                  </a:lnTo>
                  <a:lnTo>
                    <a:pt x="214789" y="512445"/>
                  </a:lnTo>
                  <a:lnTo>
                    <a:pt x="215360" y="517208"/>
                  </a:lnTo>
                  <a:lnTo>
                    <a:pt x="210883" y="519398"/>
                  </a:lnTo>
                  <a:lnTo>
                    <a:pt x="206693" y="524732"/>
                  </a:lnTo>
                  <a:lnTo>
                    <a:pt x="205359" y="526447"/>
                  </a:lnTo>
                  <a:lnTo>
                    <a:pt x="206312" y="534353"/>
                  </a:lnTo>
                  <a:lnTo>
                    <a:pt x="197834" y="543497"/>
                  </a:lnTo>
                  <a:lnTo>
                    <a:pt x="198501" y="548259"/>
                  </a:lnTo>
                  <a:lnTo>
                    <a:pt x="200692" y="552736"/>
                  </a:lnTo>
                  <a:lnTo>
                    <a:pt x="201454" y="559022"/>
                  </a:lnTo>
                  <a:lnTo>
                    <a:pt x="197168" y="562832"/>
                  </a:lnTo>
                  <a:lnTo>
                    <a:pt x="196120" y="567785"/>
                  </a:lnTo>
                  <a:lnTo>
                    <a:pt x="188309" y="581597"/>
                  </a:lnTo>
                  <a:lnTo>
                    <a:pt x="187738" y="589693"/>
                  </a:lnTo>
                  <a:lnTo>
                    <a:pt x="177260" y="595789"/>
                  </a:lnTo>
                  <a:lnTo>
                    <a:pt x="178879" y="608457"/>
                  </a:lnTo>
                  <a:lnTo>
                    <a:pt x="177546" y="610267"/>
                  </a:lnTo>
                  <a:lnTo>
                    <a:pt x="172593" y="609219"/>
                  </a:lnTo>
                  <a:lnTo>
                    <a:pt x="164497" y="608648"/>
                  </a:lnTo>
                  <a:lnTo>
                    <a:pt x="149257" y="602552"/>
                  </a:lnTo>
                  <a:lnTo>
                    <a:pt x="143351" y="606552"/>
                  </a:lnTo>
                  <a:lnTo>
                    <a:pt x="138398" y="605600"/>
                  </a:lnTo>
                  <a:lnTo>
                    <a:pt x="140779" y="598837"/>
                  </a:lnTo>
                  <a:lnTo>
                    <a:pt x="137255" y="596075"/>
                  </a:lnTo>
                  <a:lnTo>
                    <a:pt x="134874" y="589979"/>
                  </a:lnTo>
                  <a:lnTo>
                    <a:pt x="126016" y="595979"/>
                  </a:lnTo>
                  <a:lnTo>
                    <a:pt x="114586" y="607028"/>
                  </a:lnTo>
                  <a:lnTo>
                    <a:pt x="106680" y="607981"/>
                  </a:lnTo>
                  <a:lnTo>
                    <a:pt x="102299" y="611791"/>
                  </a:lnTo>
                  <a:lnTo>
                    <a:pt x="82772" y="609505"/>
                  </a:lnTo>
                  <a:lnTo>
                    <a:pt x="79057" y="605123"/>
                  </a:lnTo>
                  <a:lnTo>
                    <a:pt x="74866" y="597599"/>
                  </a:lnTo>
                  <a:lnTo>
                    <a:pt x="70295" y="599789"/>
                  </a:lnTo>
                  <a:lnTo>
                    <a:pt x="65437" y="598837"/>
                  </a:lnTo>
                  <a:lnTo>
                    <a:pt x="65246" y="610076"/>
                  </a:lnTo>
                  <a:lnTo>
                    <a:pt x="59150" y="625316"/>
                  </a:lnTo>
                  <a:lnTo>
                    <a:pt x="56864" y="644843"/>
                  </a:lnTo>
                  <a:lnTo>
                    <a:pt x="54864" y="654749"/>
                  </a:lnTo>
                  <a:lnTo>
                    <a:pt x="57626" y="663988"/>
                  </a:lnTo>
                  <a:lnTo>
                    <a:pt x="54102" y="674084"/>
                  </a:lnTo>
                  <a:lnTo>
                    <a:pt x="40957" y="683800"/>
                  </a:lnTo>
                  <a:lnTo>
                    <a:pt x="36766" y="689134"/>
                  </a:lnTo>
                  <a:lnTo>
                    <a:pt x="33242" y="699135"/>
                  </a:lnTo>
                  <a:lnTo>
                    <a:pt x="30289" y="701135"/>
                  </a:lnTo>
                  <a:lnTo>
                    <a:pt x="16574" y="706088"/>
                  </a:lnTo>
                  <a:lnTo>
                    <a:pt x="5524" y="707517"/>
                  </a:lnTo>
                  <a:lnTo>
                    <a:pt x="952" y="709708"/>
                  </a:lnTo>
                  <a:lnTo>
                    <a:pt x="0" y="714661"/>
                  </a:lnTo>
                  <a:lnTo>
                    <a:pt x="4858" y="715613"/>
                  </a:lnTo>
                  <a:lnTo>
                    <a:pt x="5143" y="717137"/>
                  </a:lnTo>
                  <a:lnTo>
                    <a:pt x="16954" y="722090"/>
                  </a:lnTo>
                  <a:lnTo>
                    <a:pt x="20955" y="727996"/>
                  </a:lnTo>
                  <a:lnTo>
                    <a:pt x="23336" y="734092"/>
                  </a:lnTo>
                  <a:lnTo>
                    <a:pt x="34099" y="731139"/>
                  </a:lnTo>
                  <a:lnTo>
                    <a:pt x="36100" y="734092"/>
                  </a:lnTo>
                  <a:lnTo>
                    <a:pt x="39052" y="732092"/>
                  </a:lnTo>
                  <a:lnTo>
                    <a:pt x="37909" y="735425"/>
                  </a:lnTo>
                  <a:lnTo>
                    <a:pt x="39719" y="736854"/>
                  </a:lnTo>
                  <a:lnTo>
                    <a:pt x="48577" y="730853"/>
                  </a:lnTo>
                  <a:lnTo>
                    <a:pt x="56197" y="728282"/>
                  </a:lnTo>
                  <a:lnTo>
                    <a:pt x="58864" y="735997"/>
                  </a:lnTo>
                  <a:lnTo>
                    <a:pt x="72676" y="743903"/>
                  </a:lnTo>
                  <a:lnTo>
                    <a:pt x="73628" y="738950"/>
                  </a:lnTo>
                  <a:lnTo>
                    <a:pt x="88201" y="740283"/>
                  </a:lnTo>
                  <a:lnTo>
                    <a:pt x="87820" y="737140"/>
                  </a:lnTo>
                  <a:lnTo>
                    <a:pt x="97155" y="747141"/>
                  </a:lnTo>
                  <a:lnTo>
                    <a:pt x="103632" y="747903"/>
                  </a:lnTo>
                  <a:lnTo>
                    <a:pt x="106585" y="745998"/>
                  </a:lnTo>
                  <a:lnTo>
                    <a:pt x="108395" y="747332"/>
                  </a:lnTo>
                  <a:lnTo>
                    <a:pt x="116300" y="759143"/>
                  </a:lnTo>
                  <a:lnTo>
                    <a:pt x="116491" y="760762"/>
                  </a:lnTo>
                  <a:lnTo>
                    <a:pt x="110204" y="761524"/>
                  </a:lnTo>
                  <a:lnTo>
                    <a:pt x="108204" y="771430"/>
                  </a:lnTo>
                  <a:lnTo>
                    <a:pt x="103727" y="773621"/>
                  </a:lnTo>
                  <a:lnTo>
                    <a:pt x="104299" y="778288"/>
                  </a:lnTo>
                  <a:lnTo>
                    <a:pt x="104299" y="778288"/>
                  </a:lnTo>
                  <a:lnTo>
                    <a:pt x="107251" y="776288"/>
                  </a:lnTo>
                  <a:lnTo>
                    <a:pt x="111062" y="780669"/>
                  </a:lnTo>
                  <a:lnTo>
                    <a:pt x="115729" y="780098"/>
                  </a:lnTo>
                  <a:lnTo>
                    <a:pt x="117539" y="781431"/>
                  </a:lnTo>
                  <a:lnTo>
                    <a:pt x="116205" y="783241"/>
                  </a:lnTo>
                  <a:lnTo>
                    <a:pt x="121253" y="785813"/>
                  </a:lnTo>
                  <a:lnTo>
                    <a:pt x="122682" y="784003"/>
                  </a:lnTo>
                  <a:lnTo>
                    <a:pt x="125825" y="783622"/>
                  </a:lnTo>
                  <a:lnTo>
                    <a:pt x="123634" y="779050"/>
                  </a:lnTo>
                  <a:lnTo>
                    <a:pt x="125254" y="778859"/>
                  </a:lnTo>
                  <a:lnTo>
                    <a:pt x="131159" y="774859"/>
                  </a:lnTo>
                  <a:lnTo>
                    <a:pt x="136112" y="775907"/>
                  </a:lnTo>
                  <a:lnTo>
                    <a:pt x="144208" y="776478"/>
                  </a:lnTo>
                  <a:lnTo>
                    <a:pt x="146304" y="780955"/>
                  </a:lnTo>
                  <a:lnTo>
                    <a:pt x="147923" y="780764"/>
                  </a:lnTo>
                  <a:lnTo>
                    <a:pt x="149733" y="782193"/>
                  </a:lnTo>
                  <a:lnTo>
                    <a:pt x="154400" y="781526"/>
                  </a:lnTo>
                  <a:lnTo>
                    <a:pt x="157829" y="782765"/>
                  </a:lnTo>
                  <a:lnTo>
                    <a:pt x="167259" y="781526"/>
                  </a:lnTo>
                  <a:lnTo>
                    <a:pt x="167830" y="786289"/>
                  </a:lnTo>
                  <a:lnTo>
                    <a:pt x="170402" y="781145"/>
                  </a:lnTo>
                  <a:lnTo>
                    <a:pt x="175355" y="782098"/>
                  </a:lnTo>
                  <a:lnTo>
                    <a:pt x="179451" y="776764"/>
                  </a:lnTo>
                  <a:lnTo>
                    <a:pt x="185642" y="774383"/>
                  </a:lnTo>
                  <a:lnTo>
                    <a:pt x="185833" y="776002"/>
                  </a:lnTo>
                  <a:lnTo>
                    <a:pt x="183261" y="781050"/>
                  </a:lnTo>
                  <a:lnTo>
                    <a:pt x="193548" y="786194"/>
                  </a:lnTo>
                  <a:lnTo>
                    <a:pt x="196691" y="798576"/>
                  </a:lnTo>
                  <a:lnTo>
                    <a:pt x="203645" y="802576"/>
                  </a:lnTo>
                  <a:lnTo>
                    <a:pt x="200882" y="806101"/>
                  </a:lnTo>
                  <a:lnTo>
                    <a:pt x="203454" y="813816"/>
                  </a:lnTo>
                  <a:lnTo>
                    <a:pt x="202025" y="815531"/>
                  </a:lnTo>
                  <a:lnTo>
                    <a:pt x="202501" y="818769"/>
                  </a:lnTo>
                  <a:lnTo>
                    <a:pt x="197929" y="820865"/>
                  </a:lnTo>
                  <a:lnTo>
                    <a:pt x="194977" y="822865"/>
                  </a:lnTo>
                  <a:lnTo>
                    <a:pt x="194977" y="822865"/>
                  </a:lnTo>
                  <a:lnTo>
                    <a:pt x="192214" y="826484"/>
                  </a:lnTo>
                  <a:lnTo>
                    <a:pt x="192595" y="829628"/>
                  </a:lnTo>
                  <a:lnTo>
                    <a:pt x="194596" y="832580"/>
                  </a:lnTo>
                  <a:lnTo>
                    <a:pt x="193453" y="835914"/>
                  </a:lnTo>
                  <a:lnTo>
                    <a:pt x="196596" y="835533"/>
                  </a:lnTo>
                  <a:lnTo>
                    <a:pt x="195643" y="840486"/>
                  </a:lnTo>
                  <a:lnTo>
                    <a:pt x="200597" y="841439"/>
                  </a:lnTo>
                  <a:lnTo>
                    <a:pt x="199739" y="847916"/>
                  </a:lnTo>
                  <a:lnTo>
                    <a:pt x="198215" y="848106"/>
                  </a:lnTo>
                  <a:lnTo>
                    <a:pt x="193643" y="850297"/>
                  </a:lnTo>
                  <a:lnTo>
                    <a:pt x="194310" y="855059"/>
                  </a:lnTo>
                  <a:lnTo>
                    <a:pt x="195834" y="854869"/>
                  </a:lnTo>
                  <a:lnTo>
                    <a:pt x="193262" y="860012"/>
                  </a:lnTo>
                  <a:lnTo>
                    <a:pt x="190119" y="860393"/>
                  </a:lnTo>
                  <a:lnTo>
                    <a:pt x="191929" y="861727"/>
                  </a:lnTo>
                  <a:lnTo>
                    <a:pt x="189928" y="871633"/>
                  </a:lnTo>
                  <a:lnTo>
                    <a:pt x="186785" y="872014"/>
                  </a:lnTo>
                  <a:lnTo>
                    <a:pt x="186976" y="873633"/>
                  </a:lnTo>
                  <a:lnTo>
                    <a:pt x="190214" y="873252"/>
                  </a:lnTo>
                  <a:lnTo>
                    <a:pt x="200025" y="875157"/>
                  </a:lnTo>
                  <a:lnTo>
                    <a:pt x="197453" y="880301"/>
                  </a:lnTo>
                  <a:lnTo>
                    <a:pt x="196501" y="885253"/>
                  </a:lnTo>
                  <a:lnTo>
                    <a:pt x="199835" y="886397"/>
                  </a:lnTo>
                  <a:lnTo>
                    <a:pt x="201073" y="895922"/>
                  </a:lnTo>
                  <a:lnTo>
                    <a:pt x="202120" y="903732"/>
                  </a:lnTo>
                  <a:lnTo>
                    <a:pt x="199168" y="905732"/>
                  </a:lnTo>
                  <a:lnTo>
                    <a:pt x="194405" y="906399"/>
                  </a:lnTo>
                  <a:lnTo>
                    <a:pt x="191643" y="909923"/>
                  </a:lnTo>
                  <a:lnTo>
                    <a:pt x="193453" y="911257"/>
                  </a:lnTo>
                  <a:lnTo>
                    <a:pt x="192024" y="913067"/>
                  </a:lnTo>
                  <a:lnTo>
                    <a:pt x="196405" y="922115"/>
                  </a:lnTo>
                  <a:lnTo>
                    <a:pt x="199739" y="923353"/>
                  </a:lnTo>
                  <a:lnTo>
                    <a:pt x="205835" y="920972"/>
                  </a:lnTo>
                  <a:lnTo>
                    <a:pt x="207454" y="920687"/>
                  </a:lnTo>
                  <a:lnTo>
                    <a:pt x="207835" y="923925"/>
                  </a:lnTo>
                  <a:lnTo>
                    <a:pt x="214598" y="926211"/>
                  </a:lnTo>
                  <a:lnTo>
                    <a:pt x="213170" y="928021"/>
                  </a:lnTo>
                  <a:lnTo>
                    <a:pt x="210217" y="930021"/>
                  </a:lnTo>
                  <a:lnTo>
                    <a:pt x="212217" y="932974"/>
                  </a:lnTo>
                  <a:lnTo>
                    <a:pt x="210883" y="934688"/>
                  </a:lnTo>
                  <a:lnTo>
                    <a:pt x="209455" y="936498"/>
                  </a:lnTo>
                  <a:lnTo>
                    <a:pt x="210312" y="942880"/>
                  </a:lnTo>
                  <a:lnTo>
                    <a:pt x="203930" y="943642"/>
                  </a:lnTo>
                  <a:lnTo>
                    <a:pt x="204787" y="949928"/>
                  </a:lnTo>
                  <a:lnTo>
                    <a:pt x="213074" y="952119"/>
                  </a:lnTo>
                  <a:lnTo>
                    <a:pt x="216218" y="951738"/>
                  </a:lnTo>
                  <a:lnTo>
                    <a:pt x="216408" y="953262"/>
                  </a:lnTo>
                  <a:lnTo>
                    <a:pt x="212312" y="958596"/>
                  </a:lnTo>
                  <a:lnTo>
                    <a:pt x="215646" y="959834"/>
                  </a:lnTo>
                  <a:lnTo>
                    <a:pt x="217170" y="959549"/>
                  </a:lnTo>
                  <a:lnTo>
                    <a:pt x="224314" y="965073"/>
                  </a:lnTo>
                  <a:lnTo>
                    <a:pt x="221742" y="970217"/>
                  </a:lnTo>
                  <a:lnTo>
                    <a:pt x="221742" y="970217"/>
                  </a:lnTo>
                  <a:lnTo>
                    <a:pt x="227362" y="975932"/>
                  </a:lnTo>
                  <a:lnTo>
                    <a:pt x="228314" y="983837"/>
                  </a:lnTo>
                  <a:lnTo>
                    <a:pt x="230124" y="985171"/>
                  </a:lnTo>
                  <a:lnTo>
                    <a:pt x="229362" y="991743"/>
                  </a:lnTo>
                  <a:lnTo>
                    <a:pt x="226600" y="995267"/>
                  </a:lnTo>
                  <a:lnTo>
                    <a:pt x="236220" y="995648"/>
                  </a:lnTo>
                  <a:lnTo>
                    <a:pt x="233077" y="1008888"/>
                  </a:lnTo>
                  <a:lnTo>
                    <a:pt x="224790" y="1006697"/>
                  </a:lnTo>
                  <a:lnTo>
                    <a:pt x="220313" y="1008888"/>
                  </a:lnTo>
                  <a:lnTo>
                    <a:pt x="221837" y="1008698"/>
                  </a:lnTo>
                  <a:lnTo>
                    <a:pt x="220885" y="1013651"/>
                  </a:lnTo>
                  <a:lnTo>
                    <a:pt x="229362" y="1017365"/>
                  </a:lnTo>
                  <a:lnTo>
                    <a:pt x="229743" y="1020509"/>
                  </a:lnTo>
                  <a:lnTo>
                    <a:pt x="228219" y="1020699"/>
                  </a:lnTo>
                  <a:lnTo>
                    <a:pt x="233362" y="1023271"/>
                  </a:lnTo>
                  <a:lnTo>
                    <a:pt x="230410" y="1025271"/>
                  </a:lnTo>
                  <a:lnTo>
                    <a:pt x="232791" y="1031367"/>
                  </a:lnTo>
                  <a:lnTo>
                    <a:pt x="229648" y="1031748"/>
                  </a:lnTo>
                  <a:lnTo>
                    <a:pt x="220885" y="1026509"/>
                  </a:lnTo>
                  <a:lnTo>
                    <a:pt x="223837" y="1024509"/>
                  </a:lnTo>
                  <a:lnTo>
                    <a:pt x="220504" y="1023271"/>
                  </a:lnTo>
                  <a:lnTo>
                    <a:pt x="219170" y="1025081"/>
                  </a:lnTo>
                  <a:lnTo>
                    <a:pt x="217360" y="1023747"/>
                  </a:lnTo>
                  <a:lnTo>
                    <a:pt x="217551" y="1025271"/>
                  </a:lnTo>
                  <a:lnTo>
                    <a:pt x="209074" y="1021556"/>
                  </a:lnTo>
                  <a:lnTo>
                    <a:pt x="207931" y="1024890"/>
                  </a:lnTo>
                  <a:lnTo>
                    <a:pt x="207740" y="1023366"/>
                  </a:lnTo>
                  <a:lnTo>
                    <a:pt x="200025" y="1025938"/>
                  </a:lnTo>
                  <a:lnTo>
                    <a:pt x="198787" y="1029272"/>
                  </a:lnTo>
                  <a:lnTo>
                    <a:pt x="202216" y="1030415"/>
                  </a:lnTo>
                  <a:lnTo>
                    <a:pt x="200977" y="1033844"/>
                  </a:lnTo>
                  <a:lnTo>
                    <a:pt x="193072" y="1034796"/>
                  </a:lnTo>
                  <a:lnTo>
                    <a:pt x="196691" y="1037558"/>
                  </a:lnTo>
                  <a:lnTo>
                    <a:pt x="199835" y="1037177"/>
                  </a:lnTo>
                  <a:lnTo>
                    <a:pt x="205549" y="1044416"/>
                  </a:lnTo>
                  <a:lnTo>
                    <a:pt x="208121" y="1039368"/>
                  </a:lnTo>
                  <a:lnTo>
                    <a:pt x="213455" y="1043464"/>
                  </a:lnTo>
                  <a:lnTo>
                    <a:pt x="221170" y="1040892"/>
                  </a:lnTo>
                  <a:lnTo>
                    <a:pt x="226124" y="1041845"/>
                  </a:lnTo>
                  <a:lnTo>
                    <a:pt x="228505" y="1047941"/>
                  </a:lnTo>
                  <a:lnTo>
                    <a:pt x="228695" y="1049560"/>
                  </a:lnTo>
                  <a:lnTo>
                    <a:pt x="235553" y="1053465"/>
                  </a:lnTo>
                  <a:lnTo>
                    <a:pt x="231076" y="1055656"/>
                  </a:lnTo>
                  <a:lnTo>
                    <a:pt x="229648" y="1057466"/>
                  </a:lnTo>
                  <a:lnTo>
                    <a:pt x="237553" y="1056418"/>
                  </a:lnTo>
                  <a:lnTo>
                    <a:pt x="239363" y="1057847"/>
                  </a:lnTo>
                  <a:lnTo>
                    <a:pt x="240983" y="1070420"/>
                  </a:lnTo>
                  <a:lnTo>
                    <a:pt x="239744" y="1073753"/>
                  </a:lnTo>
                  <a:lnTo>
                    <a:pt x="243173" y="1074992"/>
                  </a:lnTo>
                  <a:lnTo>
                    <a:pt x="246126" y="1072991"/>
                  </a:lnTo>
                  <a:lnTo>
                    <a:pt x="259080" y="1074515"/>
                  </a:lnTo>
                  <a:lnTo>
                    <a:pt x="258699" y="1071372"/>
                  </a:lnTo>
                  <a:lnTo>
                    <a:pt x="260318" y="1071182"/>
                  </a:lnTo>
                  <a:lnTo>
                    <a:pt x="261461" y="1080611"/>
                  </a:lnTo>
                  <a:lnTo>
                    <a:pt x="259366" y="1088898"/>
                  </a:lnTo>
                  <a:lnTo>
                    <a:pt x="265843" y="1089660"/>
                  </a:lnTo>
                  <a:lnTo>
                    <a:pt x="268414" y="1084517"/>
                  </a:lnTo>
                  <a:lnTo>
                    <a:pt x="271558" y="1084136"/>
                  </a:lnTo>
                  <a:lnTo>
                    <a:pt x="272510" y="1079183"/>
                  </a:lnTo>
                  <a:lnTo>
                    <a:pt x="273749" y="1075849"/>
                  </a:lnTo>
                  <a:lnTo>
                    <a:pt x="276892" y="1075468"/>
                  </a:lnTo>
                  <a:lnTo>
                    <a:pt x="281178" y="1071753"/>
                  </a:lnTo>
                  <a:lnTo>
                    <a:pt x="283178" y="1074706"/>
                  </a:lnTo>
                  <a:lnTo>
                    <a:pt x="280035" y="1075087"/>
                  </a:lnTo>
                  <a:lnTo>
                    <a:pt x="278701" y="1076801"/>
                  </a:lnTo>
                  <a:lnTo>
                    <a:pt x="283750" y="1079373"/>
                  </a:lnTo>
                  <a:lnTo>
                    <a:pt x="282988" y="1085945"/>
                  </a:lnTo>
                  <a:lnTo>
                    <a:pt x="286226" y="1085469"/>
                  </a:lnTo>
                  <a:lnTo>
                    <a:pt x="287941" y="1086898"/>
                  </a:lnTo>
                  <a:lnTo>
                    <a:pt x="291084" y="1086517"/>
                  </a:lnTo>
                  <a:lnTo>
                    <a:pt x="291179" y="1099280"/>
                  </a:lnTo>
                  <a:lnTo>
                    <a:pt x="296323" y="1101852"/>
                  </a:lnTo>
                  <a:lnTo>
                    <a:pt x="302228" y="1097852"/>
                  </a:lnTo>
                  <a:lnTo>
                    <a:pt x="305372" y="1097471"/>
                  </a:lnTo>
                  <a:lnTo>
                    <a:pt x="308705" y="1098709"/>
                  </a:lnTo>
                  <a:lnTo>
                    <a:pt x="308515" y="1097090"/>
                  </a:lnTo>
                  <a:lnTo>
                    <a:pt x="314611" y="1094708"/>
                  </a:lnTo>
                  <a:lnTo>
                    <a:pt x="315373" y="1088231"/>
                  </a:lnTo>
                  <a:lnTo>
                    <a:pt x="317183" y="1089565"/>
                  </a:lnTo>
                  <a:lnTo>
                    <a:pt x="317945" y="1083088"/>
                  </a:lnTo>
                  <a:lnTo>
                    <a:pt x="315944" y="1080135"/>
                  </a:lnTo>
                  <a:lnTo>
                    <a:pt x="320326" y="1076325"/>
                  </a:lnTo>
                  <a:lnTo>
                    <a:pt x="323660" y="1077563"/>
                  </a:lnTo>
                  <a:lnTo>
                    <a:pt x="326422" y="1073944"/>
                  </a:lnTo>
                  <a:lnTo>
                    <a:pt x="329565" y="1073563"/>
                  </a:lnTo>
                  <a:lnTo>
                    <a:pt x="330327" y="1067086"/>
                  </a:lnTo>
                  <a:lnTo>
                    <a:pt x="340043" y="1067467"/>
                  </a:lnTo>
                  <a:lnTo>
                    <a:pt x="340043" y="1067467"/>
                  </a:lnTo>
                  <a:lnTo>
                    <a:pt x="340233" y="1068991"/>
                  </a:lnTo>
                  <a:lnTo>
                    <a:pt x="350234" y="1072515"/>
                  </a:lnTo>
                  <a:lnTo>
                    <a:pt x="354997" y="1071944"/>
                  </a:lnTo>
                  <a:lnTo>
                    <a:pt x="355949" y="1066991"/>
                  </a:lnTo>
                  <a:lnTo>
                    <a:pt x="354235" y="1065657"/>
                  </a:lnTo>
                  <a:lnTo>
                    <a:pt x="355378" y="1062228"/>
                  </a:lnTo>
                  <a:lnTo>
                    <a:pt x="357187" y="1063657"/>
                  </a:lnTo>
                  <a:lnTo>
                    <a:pt x="361855" y="1062990"/>
                  </a:lnTo>
                  <a:lnTo>
                    <a:pt x="360712" y="1053560"/>
                  </a:lnTo>
                  <a:lnTo>
                    <a:pt x="360521" y="1051941"/>
                  </a:lnTo>
                  <a:lnTo>
                    <a:pt x="360902" y="1042321"/>
                  </a:lnTo>
                  <a:lnTo>
                    <a:pt x="361283" y="1045464"/>
                  </a:lnTo>
                  <a:lnTo>
                    <a:pt x="362617" y="1043654"/>
                  </a:lnTo>
                  <a:lnTo>
                    <a:pt x="364808" y="1048226"/>
                  </a:lnTo>
                  <a:lnTo>
                    <a:pt x="369760" y="1049179"/>
                  </a:lnTo>
                  <a:lnTo>
                    <a:pt x="374714" y="1050131"/>
                  </a:lnTo>
                  <a:lnTo>
                    <a:pt x="375666" y="1045274"/>
                  </a:lnTo>
                  <a:lnTo>
                    <a:pt x="374904" y="1038892"/>
                  </a:lnTo>
                  <a:lnTo>
                    <a:pt x="374047" y="1032605"/>
                  </a:lnTo>
                  <a:lnTo>
                    <a:pt x="368903" y="1030034"/>
                  </a:lnTo>
                  <a:lnTo>
                    <a:pt x="368903" y="1030034"/>
                  </a:lnTo>
                  <a:lnTo>
                    <a:pt x="378428" y="1028891"/>
                  </a:lnTo>
                  <a:lnTo>
                    <a:pt x="379381" y="1023938"/>
                  </a:lnTo>
                  <a:lnTo>
                    <a:pt x="374809" y="1013270"/>
                  </a:lnTo>
                  <a:lnTo>
                    <a:pt x="377571" y="1009745"/>
                  </a:lnTo>
                  <a:lnTo>
                    <a:pt x="374999" y="1002030"/>
                  </a:lnTo>
                  <a:lnTo>
                    <a:pt x="378714" y="1006316"/>
                  </a:lnTo>
                  <a:lnTo>
                    <a:pt x="378524" y="1004792"/>
                  </a:lnTo>
                  <a:lnTo>
                    <a:pt x="386429" y="1003745"/>
                  </a:lnTo>
                  <a:lnTo>
                    <a:pt x="389382" y="1001840"/>
                  </a:lnTo>
                  <a:lnTo>
                    <a:pt x="389191" y="1000220"/>
                  </a:lnTo>
                  <a:lnTo>
                    <a:pt x="392335" y="999839"/>
                  </a:lnTo>
                  <a:lnTo>
                    <a:pt x="392335" y="999839"/>
                  </a:lnTo>
                  <a:lnTo>
                    <a:pt x="391954" y="996696"/>
                  </a:lnTo>
                  <a:lnTo>
                    <a:pt x="396621" y="996029"/>
                  </a:lnTo>
                  <a:lnTo>
                    <a:pt x="394906" y="994696"/>
                  </a:lnTo>
                  <a:lnTo>
                    <a:pt x="394049" y="988409"/>
                  </a:lnTo>
                  <a:lnTo>
                    <a:pt x="395668" y="988124"/>
                  </a:lnTo>
                  <a:lnTo>
                    <a:pt x="399002" y="989362"/>
                  </a:lnTo>
                  <a:lnTo>
                    <a:pt x="400145" y="986028"/>
                  </a:lnTo>
                  <a:lnTo>
                    <a:pt x="406527" y="985171"/>
                  </a:lnTo>
                  <a:lnTo>
                    <a:pt x="408813" y="978503"/>
                  </a:lnTo>
                  <a:lnTo>
                    <a:pt x="416528" y="975932"/>
                  </a:lnTo>
                  <a:lnTo>
                    <a:pt x="419672" y="975455"/>
                  </a:lnTo>
                  <a:lnTo>
                    <a:pt x="419481" y="973931"/>
                  </a:lnTo>
                  <a:lnTo>
                    <a:pt x="422434" y="971931"/>
                  </a:lnTo>
                  <a:lnTo>
                    <a:pt x="422434" y="971931"/>
                  </a:lnTo>
                  <a:lnTo>
                    <a:pt x="430149" y="982123"/>
                  </a:lnTo>
                  <a:lnTo>
                    <a:pt x="433578" y="983361"/>
                  </a:lnTo>
                  <a:lnTo>
                    <a:pt x="436531" y="981361"/>
                  </a:lnTo>
                  <a:lnTo>
                    <a:pt x="444341" y="980313"/>
                  </a:lnTo>
                  <a:lnTo>
                    <a:pt x="451485" y="973074"/>
                  </a:lnTo>
                  <a:lnTo>
                    <a:pt x="456629" y="975551"/>
                  </a:lnTo>
                  <a:lnTo>
                    <a:pt x="456152" y="972407"/>
                  </a:lnTo>
                  <a:lnTo>
                    <a:pt x="469583" y="964311"/>
                  </a:lnTo>
                  <a:lnTo>
                    <a:pt x="465391" y="956786"/>
                  </a:lnTo>
                  <a:lnTo>
                    <a:pt x="473774" y="958977"/>
                  </a:lnTo>
                  <a:lnTo>
                    <a:pt x="476726" y="956977"/>
                  </a:lnTo>
                  <a:lnTo>
                    <a:pt x="480441" y="948500"/>
                  </a:lnTo>
                  <a:lnTo>
                    <a:pt x="478631" y="947166"/>
                  </a:lnTo>
                  <a:lnTo>
                    <a:pt x="479965" y="945356"/>
                  </a:lnTo>
                  <a:lnTo>
                    <a:pt x="480251" y="946880"/>
                  </a:lnTo>
                  <a:lnTo>
                    <a:pt x="484918" y="946309"/>
                  </a:lnTo>
                  <a:lnTo>
                    <a:pt x="489109" y="940975"/>
                  </a:lnTo>
                  <a:lnTo>
                    <a:pt x="501491" y="924973"/>
                  </a:lnTo>
                  <a:lnTo>
                    <a:pt x="503491" y="927926"/>
                  </a:lnTo>
                  <a:lnTo>
                    <a:pt x="502063" y="929735"/>
                  </a:lnTo>
                  <a:lnTo>
                    <a:pt x="502063" y="942499"/>
                  </a:lnTo>
                  <a:lnTo>
                    <a:pt x="511397" y="939737"/>
                  </a:lnTo>
                  <a:lnTo>
                    <a:pt x="514731" y="940880"/>
                  </a:lnTo>
                  <a:lnTo>
                    <a:pt x="520065" y="945071"/>
                  </a:lnTo>
                  <a:lnTo>
                    <a:pt x="523208" y="944690"/>
                  </a:lnTo>
                  <a:lnTo>
                    <a:pt x="533876" y="940118"/>
                  </a:lnTo>
                  <a:lnTo>
                    <a:pt x="551593" y="941070"/>
                  </a:lnTo>
                  <a:lnTo>
                    <a:pt x="556736" y="943547"/>
                  </a:lnTo>
                  <a:lnTo>
                    <a:pt x="559118" y="936879"/>
                  </a:lnTo>
                  <a:lnTo>
                    <a:pt x="559879" y="930307"/>
                  </a:lnTo>
                  <a:lnTo>
                    <a:pt x="561880" y="933355"/>
                  </a:lnTo>
                  <a:lnTo>
                    <a:pt x="565595" y="924782"/>
                  </a:lnTo>
                  <a:lnTo>
                    <a:pt x="567595" y="927735"/>
                  </a:lnTo>
                  <a:lnTo>
                    <a:pt x="566833" y="934307"/>
                  </a:lnTo>
                  <a:lnTo>
                    <a:pt x="569976" y="933926"/>
                  </a:lnTo>
                  <a:lnTo>
                    <a:pt x="572548" y="928783"/>
                  </a:lnTo>
                  <a:lnTo>
                    <a:pt x="575691" y="928307"/>
                  </a:lnTo>
                  <a:lnTo>
                    <a:pt x="583978" y="917639"/>
                  </a:lnTo>
                  <a:lnTo>
                    <a:pt x="589407" y="910590"/>
                  </a:lnTo>
                  <a:lnTo>
                    <a:pt x="591788" y="903827"/>
                  </a:lnTo>
                  <a:lnTo>
                    <a:pt x="594931" y="903446"/>
                  </a:lnTo>
                  <a:lnTo>
                    <a:pt x="600837" y="899446"/>
                  </a:lnTo>
                  <a:lnTo>
                    <a:pt x="603980" y="899065"/>
                  </a:lnTo>
                  <a:lnTo>
                    <a:pt x="607981" y="904970"/>
                  </a:lnTo>
                  <a:lnTo>
                    <a:pt x="609124" y="901637"/>
                  </a:lnTo>
                  <a:lnTo>
                    <a:pt x="610933" y="902970"/>
                  </a:lnTo>
                  <a:lnTo>
                    <a:pt x="617506" y="916591"/>
                  </a:lnTo>
                  <a:lnTo>
                    <a:pt x="616744" y="923163"/>
                  </a:lnTo>
                  <a:lnTo>
                    <a:pt x="618649" y="926116"/>
                  </a:lnTo>
                  <a:lnTo>
                    <a:pt x="618649" y="926116"/>
                  </a:lnTo>
                  <a:lnTo>
                    <a:pt x="635794" y="922306"/>
                  </a:lnTo>
                  <a:lnTo>
                    <a:pt x="636175" y="912590"/>
                  </a:lnTo>
                  <a:lnTo>
                    <a:pt x="639127" y="910590"/>
                  </a:lnTo>
                  <a:lnTo>
                    <a:pt x="636746" y="904494"/>
                  </a:lnTo>
                  <a:lnTo>
                    <a:pt x="642461" y="898970"/>
                  </a:lnTo>
                  <a:lnTo>
                    <a:pt x="646462" y="892112"/>
                  </a:lnTo>
                  <a:lnTo>
                    <a:pt x="652748" y="891254"/>
                  </a:lnTo>
                  <a:lnTo>
                    <a:pt x="668274" y="887635"/>
                  </a:lnTo>
                  <a:lnTo>
                    <a:pt x="671513" y="887254"/>
                  </a:lnTo>
                  <a:lnTo>
                    <a:pt x="670274" y="890588"/>
                  </a:lnTo>
                  <a:lnTo>
                    <a:pt x="679323" y="886301"/>
                  </a:lnTo>
                  <a:lnTo>
                    <a:pt x="680561" y="882872"/>
                  </a:lnTo>
                  <a:lnTo>
                    <a:pt x="685228" y="882301"/>
                  </a:lnTo>
                  <a:lnTo>
                    <a:pt x="689801" y="880110"/>
                  </a:lnTo>
                  <a:lnTo>
                    <a:pt x="690563" y="873633"/>
                  </a:lnTo>
                  <a:lnTo>
                    <a:pt x="693706" y="873252"/>
                  </a:lnTo>
                  <a:lnTo>
                    <a:pt x="693515" y="871633"/>
                  </a:lnTo>
                  <a:lnTo>
                    <a:pt x="696849" y="872776"/>
                  </a:lnTo>
                  <a:lnTo>
                    <a:pt x="699611" y="869251"/>
                  </a:lnTo>
                  <a:lnTo>
                    <a:pt x="700850" y="865918"/>
                  </a:lnTo>
                  <a:lnTo>
                    <a:pt x="699230" y="853250"/>
                  </a:lnTo>
                  <a:lnTo>
                    <a:pt x="696087" y="853631"/>
                  </a:lnTo>
                  <a:lnTo>
                    <a:pt x="697611" y="853440"/>
                  </a:lnTo>
                  <a:lnTo>
                    <a:pt x="697421" y="851916"/>
                  </a:lnTo>
                  <a:lnTo>
                    <a:pt x="703993" y="852678"/>
                  </a:lnTo>
                  <a:lnTo>
                    <a:pt x="704183" y="854202"/>
                  </a:lnTo>
                  <a:lnTo>
                    <a:pt x="710470" y="853440"/>
                  </a:lnTo>
                  <a:lnTo>
                    <a:pt x="710851" y="856583"/>
                  </a:lnTo>
                  <a:lnTo>
                    <a:pt x="723710" y="856583"/>
                  </a:lnTo>
                  <a:lnTo>
                    <a:pt x="726853" y="856202"/>
                  </a:lnTo>
                  <a:lnTo>
                    <a:pt x="726662" y="854583"/>
                  </a:lnTo>
                  <a:lnTo>
                    <a:pt x="724662" y="851630"/>
                  </a:lnTo>
                  <a:lnTo>
                    <a:pt x="726281" y="851440"/>
                  </a:lnTo>
                  <a:lnTo>
                    <a:pt x="725996" y="849821"/>
                  </a:lnTo>
                  <a:lnTo>
                    <a:pt x="724281" y="848487"/>
                  </a:lnTo>
                  <a:lnTo>
                    <a:pt x="726567" y="841724"/>
                  </a:lnTo>
                  <a:lnTo>
                    <a:pt x="722662" y="835819"/>
                  </a:lnTo>
                  <a:lnTo>
                    <a:pt x="719519" y="836295"/>
                  </a:lnTo>
                  <a:lnTo>
                    <a:pt x="717709" y="822008"/>
                  </a:lnTo>
                  <a:lnTo>
                    <a:pt x="725424" y="819436"/>
                  </a:lnTo>
                  <a:lnTo>
                    <a:pt x="723614" y="818102"/>
                  </a:lnTo>
                  <a:lnTo>
                    <a:pt x="728377" y="817531"/>
                  </a:lnTo>
                  <a:lnTo>
                    <a:pt x="730853" y="812387"/>
                  </a:lnTo>
                  <a:lnTo>
                    <a:pt x="733997" y="811911"/>
                  </a:lnTo>
                  <a:lnTo>
                    <a:pt x="736759" y="808387"/>
                  </a:lnTo>
                  <a:lnTo>
                    <a:pt x="744474" y="805815"/>
                  </a:lnTo>
                  <a:lnTo>
                    <a:pt x="750189" y="813054"/>
                  </a:lnTo>
                  <a:lnTo>
                    <a:pt x="753618" y="814292"/>
                  </a:lnTo>
                  <a:lnTo>
                    <a:pt x="752951" y="809530"/>
                  </a:lnTo>
                  <a:lnTo>
                    <a:pt x="756094" y="809149"/>
                  </a:lnTo>
                  <a:lnTo>
                    <a:pt x="755904" y="807530"/>
                  </a:lnTo>
                  <a:lnTo>
                    <a:pt x="768001" y="814007"/>
                  </a:lnTo>
                  <a:lnTo>
                    <a:pt x="777811" y="816007"/>
                  </a:lnTo>
                  <a:lnTo>
                    <a:pt x="779812" y="818960"/>
                  </a:lnTo>
                  <a:lnTo>
                    <a:pt x="782955" y="818578"/>
                  </a:lnTo>
                  <a:lnTo>
                    <a:pt x="783431" y="821722"/>
                  </a:lnTo>
                  <a:lnTo>
                    <a:pt x="784955" y="821531"/>
                  </a:lnTo>
                  <a:lnTo>
                    <a:pt x="797814" y="821436"/>
                  </a:lnTo>
                  <a:lnTo>
                    <a:pt x="812197" y="821246"/>
                  </a:lnTo>
                  <a:lnTo>
                    <a:pt x="812578" y="824389"/>
                  </a:lnTo>
                  <a:lnTo>
                    <a:pt x="819150" y="825151"/>
                  </a:lnTo>
                  <a:lnTo>
                    <a:pt x="828770" y="825532"/>
                  </a:lnTo>
                  <a:lnTo>
                    <a:pt x="830580" y="826865"/>
                  </a:lnTo>
                  <a:lnTo>
                    <a:pt x="831914" y="825151"/>
                  </a:lnTo>
                  <a:lnTo>
                    <a:pt x="847725" y="823151"/>
                  </a:lnTo>
                  <a:lnTo>
                    <a:pt x="849059" y="821341"/>
                  </a:lnTo>
                  <a:lnTo>
                    <a:pt x="857440" y="823532"/>
                  </a:lnTo>
                  <a:lnTo>
                    <a:pt x="859727" y="816769"/>
                  </a:lnTo>
                  <a:lnTo>
                    <a:pt x="857536" y="812197"/>
                  </a:lnTo>
                  <a:lnTo>
                    <a:pt x="867632" y="815816"/>
                  </a:lnTo>
                  <a:lnTo>
                    <a:pt x="866299" y="817531"/>
                  </a:lnTo>
                  <a:lnTo>
                    <a:pt x="870204" y="823436"/>
                  </a:lnTo>
                  <a:lnTo>
                    <a:pt x="871442" y="820103"/>
                  </a:lnTo>
                  <a:lnTo>
                    <a:pt x="878300" y="824008"/>
                  </a:lnTo>
                  <a:lnTo>
                    <a:pt x="877919" y="820865"/>
                  </a:lnTo>
                  <a:lnTo>
                    <a:pt x="881253" y="822008"/>
                  </a:lnTo>
                  <a:lnTo>
                    <a:pt x="882206" y="817150"/>
                  </a:lnTo>
                  <a:lnTo>
                    <a:pt x="897827" y="826389"/>
                  </a:lnTo>
                  <a:lnTo>
                    <a:pt x="902780" y="827342"/>
                  </a:lnTo>
                  <a:lnTo>
                    <a:pt x="903160" y="830485"/>
                  </a:lnTo>
                  <a:lnTo>
                    <a:pt x="904970" y="831818"/>
                  </a:lnTo>
                  <a:lnTo>
                    <a:pt x="908494" y="821817"/>
                  </a:lnTo>
                  <a:lnTo>
                    <a:pt x="910114" y="821626"/>
                  </a:lnTo>
                  <a:lnTo>
                    <a:pt x="914400" y="817817"/>
                  </a:lnTo>
                  <a:lnTo>
                    <a:pt x="914019" y="814673"/>
                  </a:lnTo>
                  <a:lnTo>
                    <a:pt x="917734" y="806196"/>
                  </a:lnTo>
                  <a:lnTo>
                    <a:pt x="919544" y="807530"/>
                  </a:lnTo>
                  <a:lnTo>
                    <a:pt x="923639" y="802196"/>
                  </a:lnTo>
                  <a:lnTo>
                    <a:pt x="930783" y="807720"/>
                  </a:lnTo>
                  <a:lnTo>
                    <a:pt x="935736" y="808673"/>
                  </a:lnTo>
                  <a:lnTo>
                    <a:pt x="937069" y="806958"/>
                  </a:lnTo>
                  <a:lnTo>
                    <a:pt x="936879" y="805339"/>
                  </a:lnTo>
                  <a:lnTo>
                    <a:pt x="942023" y="807911"/>
                  </a:lnTo>
                  <a:lnTo>
                    <a:pt x="946785" y="807339"/>
                  </a:lnTo>
                  <a:lnTo>
                    <a:pt x="944594" y="802767"/>
                  </a:lnTo>
                  <a:lnTo>
                    <a:pt x="956024" y="804482"/>
                  </a:lnTo>
                  <a:lnTo>
                    <a:pt x="955453" y="799814"/>
                  </a:lnTo>
                  <a:lnTo>
                    <a:pt x="958786" y="800957"/>
                  </a:lnTo>
                  <a:lnTo>
                    <a:pt x="960120" y="799148"/>
                  </a:lnTo>
                  <a:lnTo>
                    <a:pt x="966692" y="799910"/>
                  </a:lnTo>
                  <a:lnTo>
                    <a:pt x="966883" y="801529"/>
                  </a:lnTo>
                  <a:lnTo>
                    <a:pt x="970217" y="802672"/>
                  </a:lnTo>
                  <a:lnTo>
                    <a:pt x="970407" y="804291"/>
                  </a:lnTo>
                  <a:lnTo>
                    <a:pt x="973741" y="805434"/>
                  </a:lnTo>
                  <a:lnTo>
                    <a:pt x="974407" y="810197"/>
                  </a:lnTo>
                  <a:lnTo>
                    <a:pt x="975551" y="806863"/>
                  </a:lnTo>
                  <a:lnTo>
                    <a:pt x="978884" y="808006"/>
                  </a:lnTo>
                  <a:lnTo>
                    <a:pt x="975360" y="805244"/>
                  </a:lnTo>
                  <a:lnTo>
                    <a:pt x="978503" y="804863"/>
                  </a:lnTo>
                  <a:lnTo>
                    <a:pt x="980313" y="806196"/>
                  </a:lnTo>
                  <a:lnTo>
                    <a:pt x="978884" y="808006"/>
                  </a:lnTo>
                  <a:lnTo>
                    <a:pt x="979075" y="809625"/>
                  </a:lnTo>
                  <a:lnTo>
                    <a:pt x="983456" y="805815"/>
                  </a:lnTo>
                  <a:lnTo>
                    <a:pt x="984980" y="805625"/>
                  </a:lnTo>
                  <a:lnTo>
                    <a:pt x="990124" y="795338"/>
                  </a:lnTo>
                  <a:lnTo>
                    <a:pt x="988505" y="795528"/>
                  </a:lnTo>
                  <a:lnTo>
                    <a:pt x="989552" y="790575"/>
                  </a:lnTo>
                  <a:lnTo>
                    <a:pt x="987933" y="790861"/>
                  </a:lnTo>
                  <a:lnTo>
                    <a:pt x="989362" y="789051"/>
                  </a:lnTo>
                  <a:lnTo>
                    <a:pt x="985933" y="787908"/>
                  </a:lnTo>
                  <a:lnTo>
                    <a:pt x="987361" y="786098"/>
                  </a:lnTo>
                  <a:lnTo>
                    <a:pt x="986123" y="776573"/>
                  </a:lnTo>
                  <a:lnTo>
                    <a:pt x="992886" y="778955"/>
                  </a:lnTo>
                  <a:lnTo>
                    <a:pt x="992600" y="764572"/>
                  </a:lnTo>
                  <a:lnTo>
                    <a:pt x="992029" y="759809"/>
                  </a:lnTo>
                  <a:lnTo>
                    <a:pt x="993553" y="759619"/>
                  </a:lnTo>
                  <a:lnTo>
                    <a:pt x="994791" y="756285"/>
                  </a:lnTo>
                  <a:lnTo>
                    <a:pt x="991172" y="753523"/>
                  </a:lnTo>
                  <a:lnTo>
                    <a:pt x="987838" y="752380"/>
                  </a:lnTo>
                  <a:lnTo>
                    <a:pt x="987266" y="747617"/>
                  </a:lnTo>
                  <a:lnTo>
                    <a:pt x="983742" y="744855"/>
                  </a:lnTo>
                  <a:lnTo>
                    <a:pt x="983266" y="741712"/>
                  </a:lnTo>
                  <a:lnTo>
                    <a:pt x="987647" y="737902"/>
                  </a:lnTo>
                  <a:lnTo>
                    <a:pt x="989648" y="740855"/>
                  </a:lnTo>
                  <a:lnTo>
                    <a:pt x="992600" y="738950"/>
                  </a:lnTo>
                  <a:lnTo>
                    <a:pt x="988981" y="736187"/>
                  </a:lnTo>
                  <a:lnTo>
                    <a:pt x="988600" y="733044"/>
                  </a:lnTo>
                  <a:lnTo>
                    <a:pt x="985076" y="730282"/>
                  </a:lnTo>
                  <a:lnTo>
                    <a:pt x="986219" y="726853"/>
                  </a:lnTo>
                  <a:lnTo>
                    <a:pt x="988028" y="728282"/>
                  </a:lnTo>
                  <a:lnTo>
                    <a:pt x="987552" y="725138"/>
                  </a:lnTo>
                  <a:lnTo>
                    <a:pt x="985838" y="723710"/>
                  </a:lnTo>
                  <a:lnTo>
                    <a:pt x="985647" y="722186"/>
                  </a:lnTo>
                  <a:lnTo>
                    <a:pt x="982027" y="719423"/>
                  </a:lnTo>
                  <a:lnTo>
                    <a:pt x="981837" y="717804"/>
                  </a:lnTo>
                  <a:lnTo>
                    <a:pt x="984790" y="715804"/>
                  </a:lnTo>
                  <a:lnTo>
                    <a:pt x="987933" y="715423"/>
                  </a:lnTo>
                  <a:lnTo>
                    <a:pt x="989171" y="712089"/>
                  </a:lnTo>
                  <a:lnTo>
                    <a:pt x="992124" y="710089"/>
                  </a:lnTo>
                  <a:lnTo>
                    <a:pt x="1004792" y="721328"/>
                  </a:lnTo>
                  <a:lnTo>
                    <a:pt x="1019937" y="727424"/>
                  </a:lnTo>
                  <a:lnTo>
                    <a:pt x="1021175" y="724091"/>
                  </a:lnTo>
                  <a:lnTo>
                    <a:pt x="1024509" y="725234"/>
                  </a:lnTo>
                  <a:lnTo>
                    <a:pt x="1020889" y="722471"/>
                  </a:lnTo>
                  <a:lnTo>
                    <a:pt x="1023652" y="718947"/>
                  </a:lnTo>
                  <a:lnTo>
                    <a:pt x="1021937" y="717518"/>
                  </a:lnTo>
                  <a:lnTo>
                    <a:pt x="1017175" y="718090"/>
                  </a:lnTo>
                  <a:lnTo>
                    <a:pt x="1015365" y="716756"/>
                  </a:lnTo>
                  <a:lnTo>
                    <a:pt x="1019556" y="711422"/>
                  </a:lnTo>
                  <a:lnTo>
                    <a:pt x="1023080" y="714185"/>
                  </a:lnTo>
                  <a:lnTo>
                    <a:pt x="1024223" y="710851"/>
                  </a:lnTo>
                  <a:lnTo>
                    <a:pt x="1020889" y="709613"/>
                  </a:lnTo>
                  <a:lnTo>
                    <a:pt x="1022509" y="709422"/>
                  </a:lnTo>
                  <a:lnTo>
                    <a:pt x="1026985" y="707231"/>
                  </a:lnTo>
                  <a:lnTo>
                    <a:pt x="1024985" y="691515"/>
                  </a:lnTo>
                  <a:lnTo>
                    <a:pt x="1035653" y="699707"/>
                  </a:lnTo>
                  <a:lnTo>
                    <a:pt x="1043559" y="698754"/>
                  </a:lnTo>
                  <a:lnTo>
                    <a:pt x="1042606" y="690848"/>
                  </a:lnTo>
                  <a:lnTo>
                    <a:pt x="1051274" y="696182"/>
                  </a:lnTo>
                  <a:lnTo>
                    <a:pt x="1059371" y="696754"/>
                  </a:lnTo>
                  <a:lnTo>
                    <a:pt x="1057942" y="685705"/>
                  </a:lnTo>
                  <a:lnTo>
                    <a:pt x="1059085" y="682276"/>
                  </a:lnTo>
                  <a:lnTo>
                    <a:pt x="1058513" y="677609"/>
                  </a:lnTo>
                  <a:lnTo>
                    <a:pt x="1059656" y="674275"/>
                  </a:lnTo>
                  <a:lnTo>
                    <a:pt x="1054799" y="673227"/>
                  </a:lnTo>
                  <a:lnTo>
                    <a:pt x="1057942" y="672846"/>
                  </a:lnTo>
                  <a:lnTo>
                    <a:pt x="1058323" y="663226"/>
                  </a:lnTo>
                  <a:lnTo>
                    <a:pt x="1047560" y="642080"/>
                  </a:lnTo>
                  <a:lnTo>
                    <a:pt x="1060037" y="638937"/>
                  </a:lnTo>
                  <a:lnTo>
                    <a:pt x="1056989" y="628078"/>
                  </a:lnTo>
                  <a:lnTo>
                    <a:pt x="1068896" y="632936"/>
                  </a:lnTo>
                  <a:lnTo>
                    <a:pt x="1066324" y="625316"/>
                  </a:lnTo>
                  <a:lnTo>
                    <a:pt x="1064133" y="620744"/>
                  </a:lnTo>
                  <a:lnTo>
                    <a:pt x="1060704" y="619601"/>
                  </a:lnTo>
                  <a:lnTo>
                    <a:pt x="1061276" y="611505"/>
                  </a:lnTo>
                  <a:lnTo>
                    <a:pt x="1056418" y="610457"/>
                  </a:lnTo>
                  <a:lnTo>
                    <a:pt x="1057751" y="608743"/>
                  </a:lnTo>
                  <a:lnTo>
                    <a:pt x="1057561" y="607124"/>
                  </a:lnTo>
                  <a:lnTo>
                    <a:pt x="1054418" y="607505"/>
                  </a:lnTo>
                  <a:lnTo>
                    <a:pt x="1049465" y="606552"/>
                  </a:lnTo>
                  <a:lnTo>
                    <a:pt x="1049655" y="608171"/>
                  </a:lnTo>
                  <a:lnTo>
                    <a:pt x="1047845" y="606743"/>
                  </a:lnTo>
                  <a:lnTo>
                    <a:pt x="1047845" y="606743"/>
                  </a:lnTo>
                  <a:lnTo>
                    <a:pt x="1047655" y="605219"/>
                  </a:lnTo>
                  <a:lnTo>
                    <a:pt x="1046321" y="606933"/>
                  </a:lnTo>
                  <a:lnTo>
                    <a:pt x="1038035" y="604838"/>
                  </a:lnTo>
                  <a:lnTo>
                    <a:pt x="1038797" y="598265"/>
                  </a:lnTo>
                  <a:lnTo>
                    <a:pt x="1037368" y="600075"/>
                  </a:lnTo>
                  <a:lnTo>
                    <a:pt x="1035463" y="597122"/>
                  </a:lnTo>
                  <a:lnTo>
                    <a:pt x="1036415" y="592169"/>
                  </a:lnTo>
                  <a:lnTo>
                    <a:pt x="1036225" y="590645"/>
                  </a:lnTo>
                  <a:lnTo>
                    <a:pt x="1034606" y="590836"/>
                  </a:lnTo>
                  <a:lnTo>
                    <a:pt x="1033081" y="591026"/>
                  </a:lnTo>
                  <a:lnTo>
                    <a:pt x="1034415" y="589217"/>
                  </a:lnTo>
                  <a:lnTo>
                    <a:pt x="1032605" y="587883"/>
                  </a:lnTo>
                  <a:lnTo>
                    <a:pt x="1033844" y="584549"/>
                  </a:lnTo>
                  <a:lnTo>
                    <a:pt x="1030700" y="584930"/>
                  </a:lnTo>
                  <a:lnTo>
                    <a:pt x="1032034" y="583121"/>
                  </a:lnTo>
                  <a:lnTo>
                    <a:pt x="1030510" y="583311"/>
                  </a:lnTo>
                  <a:lnTo>
                    <a:pt x="1027843" y="575596"/>
                  </a:lnTo>
                  <a:lnTo>
                    <a:pt x="1020985" y="571691"/>
                  </a:lnTo>
                  <a:lnTo>
                    <a:pt x="1022128" y="568357"/>
                  </a:lnTo>
                  <a:lnTo>
                    <a:pt x="1020985" y="558927"/>
                  </a:lnTo>
                  <a:lnTo>
                    <a:pt x="1018985" y="555974"/>
                  </a:lnTo>
                  <a:lnTo>
                    <a:pt x="1018603" y="552736"/>
                  </a:lnTo>
                  <a:lnTo>
                    <a:pt x="1016984" y="553022"/>
                  </a:lnTo>
                  <a:lnTo>
                    <a:pt x="1015746" y="543497"/>
                  </a:lnTo>
                  <a:lnTo>
                    <a:pt x="1012603" y="543878"/>
                  </a:lnTo>
                  <a:lnTo>
                    <a:pt x="1014031" y="542163"/>
                  </a:lnTo>
                  <a:lnTo>
                    <a:pt x="1012412" y="542354"/>
                  </a:lnTo>
                  <a:lnTo>
                    <a:pt x="1013174" y="535781"/>
                  </a:lnTo>
                  <a:lnTo>
                    <a:pt x="1003078" y="532257"/>
                  </a:lnTo>
                  <a:lnTo>
                    <a:pt x="1004316" y="528923"/>
                  </a:lnTo>
                  <a:lnTo>
                    <a:pt x="1000315" y="523018"/>
                  </a:lnTo>
                  <a:lnTo>
                    <a:pt x="995363" y="522065"/>
                  </a:lnTo>
                  <a:lnTo>
                    <a:pt x="997934" y="516922"/>
                  </a:lnTo>
                  <a:lnTo>
                    <a:pt x="994981" y="506063"/>
                  </a:lnTo>
                  <a:lnTo>
                    <a:pt x="987838" y="500539"/>
                  </a:lnTo>
                  <a:lnTo>
                    <a:pt x="987457" y="497396"/>
                  </a:lnTo>
                  <a:lnTo>
                    <a:pt x="988790" y="495586"/>
                  </a:lnTo>
                  <a:lnTo>
                    <a:pt x="981742" y="490157"/>
                  </a:lnTo>
                  <a:lnTo>
                    <a:pt x="985266" y="480060"/>
                  </a:lnTo>
                  <a:lnTo>
                    <a:pt x="984790" y="476917"/>
                  </a:lnTo>
                  <a:lnTo>
                    <a:pt x="982027" y="467582"/>
                  </a:lnTo>
                  <a:lnTo>
                    <a:pt x="981837" y="466058"/>
                  </a:lnTo>
                  <a:lnTo>
                    <a:pt x="981456" y="462915"/>
                  </a:lnTo>
                  <a:lnTo>
                    <a:pt x="982218" y="456343"/>
                  </a:lnTo>
                  <a:lnTo>
                    <a:pt x="980599" y="456533"/>
                  </a:lnTo>
                  <a:lnTo>
                    <a:pt x="975931" y="457200"/>
                  </a:lnTo>
                  <a:lnTo>
                    <a:pt x="970978" y="456248"/>
                  </a:lnTo>
                  <a:lnTo>
                    <a:pt x="971169" y="444913"/>
                  </a:lnTo>
                  <a:lnTo>
                    <a:pt x="977456" y="431292"/>
                  </a:lnTo>
                  <a:lnTo>
                    <a:pt x="979170" y="432721"/>
                  </a:lnTo>
                  <a:lnTo>
                    <a:pt x="993553" y="419672"/>
                  </a:lnTo>
                  <a:lnTo>
                    <a:pt x="992981" y="414909"/>
                  </a:lnTo>
                  <a:lnTo>
                    <a:pt x="986028" y="411004"/>
                  </a:lnTo>
                  <a:lnTo>
                    <a:pt x="986600" y="402908"/>
                  </a:lnTo>
                  <a:lnTo>
                    <a:pt x="990790" y="397574"/>
                  </a:lnTo>
                  <a:lnTo>
                    <a:pt x="989933" y="391192"/>
                  </a:lnTo>
                  <a:lnTo>
                    <a:pt x="993839" y="384334"/>
                  </a:lnTo>
                  <a:lnTo>
                    <a:pt x="1003173" y="381572"/>
                  </a:lnTo>
                  <a:lnTo>
                    <a:pt x="1012222" y="377190"/>
                  </a:lnTo>
                  <a:lnTo>
                    <a:pt x="1015936" y="368713"/>
                  </a:lnTo>
                  <a:lnTo>
                    <a:pt x="1015746" y="367094"/>
                  </a:lnTo>
                  <a:lnTo>
                    <a:pt x="1018318" y="361950"/>
                  </a:lnTo>
                  <a:lnTo>
                    <a:pt x="1020699" y="368046"/>
                  </a:lnTo>
                  <a:lnTo>
                    <a:pt x="1019461" y="371475"/>
                  </a:lnTo>
                  <a:lnTo>
                    <a:pt x="1021080" y="371189"/>
                  </a:lnTo>
                  <a:lnTo>
                    <a:pt x="1027367" y="370427"/>
                  </a:lnTo>
                  <a:lnTo>
                    <a:pt x="1030129" y="366903"/>
                  </a:lnTo>
                  <a:lnTo>
                    <a:pt x="1021271" y="359950"/>
                  </a:lnTo>
                  <a:lnTo>
                    <a:pt x="1022032" y="353473"/>
                  </a:lnTo>
                  <a:lnTo>
                    <a:pt x="1024985" y="351473"/>
                  </a:lnTo>
                  <a:lnTo>
                    <a:pt x="1025938" y="346520"/>
                  </a:lnTo>
                  <a:lnTo>
                    <a:pt x="1027462" y="333566"/>
                  </a:lnTo>
                  <a:lnTo>
                    <a:pt x="1032986" y="326422"/>
                  </a:lnTo>
                  <a:lnTo>
                    <a:pt x="1032796" y="324803"/>
                  </a:lnTo>
                  <a:lnTo>
                    <a:pt x="1037558" y="324231"/>
                  </a:lnTo>
                  <a:lnTo>
                    <a:pt x="1042702" y="326803"/>
                  </a:lnTo>
                  <a:lnTo>
                    <a:pt x="1048036" y="318040"/>
                  </a:lnTo>
                  <a:lnTo>
                    <a:pt x="1042416" y="312420"/>
                  </a:lnTo>
                  <a:lnTo>
                    <a:pt x="1043654" y="308991"/>
                  </a:lnTo>
                  <a:lnTo>
                    <a:pt x="1049560" y="305086"/>
                  </a:lnTo>
                  <a:lnTo>
                    <a:pt x="1049369" y="303467"/>
                  </a:lnTo>
                  <a:lnTo>
                    <a:pt x="1049179" y="301943"/>
                  </a:lnTo>
                  <a:lnTo>
                    <a:pt x="1047369" y="300514"/>
                  </a:lnTo>
                  <a:lnTo>
                    <a:pt x="1045750" y="300704"/>
                  </a:lnTo>
                  <a:lnTo>
                    <a:pt x="1044035" y="299371"/>
                  </a:lnTo>
                  <a:lnTo>
                    <a:pt x="1044988" y="294418"/>
                  </a:lnTo>
                  <a:lnTo>
                    <a:pt x="1043178" y="293084"/>
                  </a:lnTo>
                  <a:lnTo>
                    <a:pt x="1045750" y="287941"/>
                  </a:lnTo>
                  <a:lnTo>
                    <a:pt x="1049274" y="290703"/>
                  </a:lnTo>
                  <a:lnTo>
                    <a:pt x="1048893" y="287465"/>
                  </a:lnTo>
                  <a:lnTo>
                    <a:pt x="1045559" y="286322"/>
                  </a:lnTo>
                  <a:lnTo>
                    <a:pt x="1044131" y="288131"/>
                  </a:lnTo>
                  <a:lnTo>
                    <a:pt x="1040797" y="286893"/>
                  </a:lnTo>
                  <a:lnTo>
                    <a:pt x="1042226" y="285179"/>
                  </a:lnTo>
                  <a:lnTo>
                    <a:pt x="1038415" y="280797"/>
                  </a:lnTo>
                  <a:lnTo>
                    <a:pt x="1044511" y="278416"/>
                  </a:lnTo>
                  <a:lnTo>
                    <a:pt x="1050036" y="284131"/>
                  </a:lnTo>
                  <a:lnTo>
                    <a:pt x="1054227" y="278797"/>
                  </a:lnTo>
                  <a:lnTo>
                    <a:pt x="1061942" y="276225"/>
                  </a:lnTo>
                  <a:lnTo>
                    <a:pt x="1063657" y="277559"/>
                  </a:lnTo>
                  <a:lnTo>
                    <a:pt x="1066800" y="277178"/>
                  </a:lnTo>
                  <a:lnTo>
                    <a:pt x="1065848" y="282131"/>
                  </a:lnTo>
                  <a:lnTo>
                    <a:pt x="1063085" y="285655"/>
                  </a:lnTo>
                  <a:lnTo>
                    <a:pt x="1067657" y="283464"/>
                  </a:lnTo>
                  <a:lnTo>
                    <a:pt x="1069372" y="284893"/>
                  </a:lnTo>
                  <a:lnTo>
                    <a:pt x="1070801" y="283083"/>
                  </a:lnTo>
                  <a:lnTo>
                    <a:pt x="1073944" y="282702"/>
                  </a:lnTo>
                  <a:lnTo>
                    <a:pt x="1082611" y="288036"/>
                  </a:lnTo>
                  <a:lnTo>
                    <a:pt x="1084993" y="294132"/>
                  </a:lnTo>
                  <a:lnTo>
                    <a:pt x="1093280" y="296323"/>
                  </a:lnTo>
                  <a:lnTo>
                    <a:pt x="1095280" y="299276"/>
                  </a:lnTo>
                  <a:lnTo>
                    <a:pt x="1101661" y="298418"/>
                  </a:lnTo>
                  <a:lnTo>
                    <a:pt x="1105376" y="302800"/>
                  </a:lnTo>
                  <a:lnTo>
                    <a:pt x="1106329" y="297847"/>
                  </a:lnTo>
                  <a:lnTo>
                    <a:pt x="1106519" y="299371"/>
                  </a:lnTo>
                  <a:lnTo>
                    <a:pt x="1111282" y="298799"/>
                  </a:lnTo>
                  <a:lnTo>
                    <a:pt x="1118997" y="296228"/>
                  </a:lnTo>
                  <a:lnTo>
                    <a:pt x="1121093" y="287941"/>
                  </a:lnTo>
                  <a:lnTo>
                    <a:pt x="1119950" y="278416"/>
                  </a:lnTo>
                  <a:lnTo>
                    <a:pt x="1122426" y="273272"/>
                  </a:lnTo>
                  <a:lnTo>
                    <a:pt x="1121474" y="265462"/>
                  </a:lnTo>
                  <a:lnTo>
                    <a:pt x="1125760" y="261652"/>
                  </a:lnTo>
                  <a:lnTo>
                    <a:pt x="1123188" y="253937"/>
                  </a:lnTo>
                  <a:lnTo>
                    <a:pt x="1124426" y="250603"/>
                  </a:lnTo>
                  <a:lnTo>
                    <a:pt x="1139190" y="253556"/>
                  </a:lnTo>
                  <a:lnTo>
                    <a:pt x="1143572" y="249746"/>
                  </a:lnTo>
                  <a:lnTo>
                    <a:pt x="1148239" y="249174"/>
                  </a:lnTo>
                  <a:lnTo>
                    <a:pt x="1151192" y="247174"/>
                  </a:lnTo>
                  <a:lnTo>
                    <a:pt x="1158716" y="230219"/>
                  </a:lnTo>
                  <a:lnTo>
                    <a:pt x="1159288" y="222123"/>
                  </a:lnTo>
                  <a:lnTo>
                    <a:pt x="1162050" y="218599"/>
                  </a:lnTo>
                  <a:lnTo>
                    <a:pt x="1168813" y="196882"/>
                  </a:lnTo>
                  <a:lnTo>
                    <a:pt x="1171956" y="183642"/>
                  </a:lnTo>
                  <a:lnTo>
                    <a:pt x="1182243" y="175927"/>
                  </a:lnTo>
                  <a:lnTo>
                    <a:pt x="1182529" y="153353"/>
                  </a:lnTo>
                  <a:lnTo>
                    <a:pt x="1180148" y="147257"/>
                  </a:lnTo>
                  <a:lnTo>
                    <a:pt x="1180148" y="147257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4" name="Volný tvar: obrazec 23">
              <a:extLst>
                <a:ext uri="{FF2B5EF4-FFF2-40B4-BE49-F238E27FC236}">
                  <a16:creationId xmlns:a16="http://schemas.microsoft.com/office/drawing/2014/main" id="{27319101-0C10-9846-22EA-7E97A646F80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15107" y="2323813"/>
              <a:ext cx="1029843" cy="845819"/>
            </a:xfrm>
            <a:custGeom>
              <a:avLst/>
              <a:gdLst>
                <a:gd name="connsiteX0" fmla="*/ 1029843 w 1029843"/>
                <a:gd name="connsiteY0" fmla="*/ 713994 h 845819"/>
                <a:gd name="connsiteX1" fmla="*/ 1026319 w 1029843"/>
                <a:gd name="connsiteY1" fmla="*/ 711232 h 845819"/>
                <a:gd name="connsiteX2" fmla="*/ 1024128 w 1029843"/>
                <a:gd name="connsiteY2" fmla="*/ 706660 h 845819"/>
                <a:gd name="connsiteX3" fmla="*/ 1013651 w 1029843"/>
                <a:gd name="connsiteY3" fmla="*/ 699992 h 845819"/>
                <a:gd name="connsiteX4" fmla="*/ 1011079 w 1029843"/>
                <a:gd name="connsiteY4" fmla="*/ 692277 h 845819"/>
                <a:gd name="connsiteX5" fmla="*/ 1010888 w 1029843"/>
                <a:gd name="connsiteY5" fmla="*/ 690753 h 845819"/>
                <a:gd name="connsiteX6" fmla="*/ 1014603 w 1029843"/>
                <a:gd name="connsiteY6" fmla="*/ 682276 h 845819"/>
                <a:gd name="connsiteX7" fmla="*/ 1012412 w 1029843"/>
                <a:gd name="connsiteY7" fmla="*/ 677704 h 845819"/>
                <a:gd name="connsiteX8" fmla="*/ 1009079 w 1029843"/>
                <a:gd name="connsiteY8" fmla="*/ 676561 h 845819"/>
                <a:gd name="connsiteX9" fmla="*/ 1010222 w 1029843"/>
                <a:gd name="connsiteY9" fmla="*/ 673132 h 845819"/>
                <a:gd name="connsiteX10" fmla="*/ 1007650 w 1029843"/>
                <a:gd name="connsiteY10" fmla="*/ 665512 h 845819"/>
                <a:gd name="connsiteX11" fmla="*/ 1008602 w 1029843"/>
                <a:gd name="connsiteY11" fmla="*/ 660559 h 845819"/>
                <a:gd name="connsiteX12" fmla="*/ 1008031 w 1029843"/>
                <a:gd name="connsiteY12" fmla="*/ 655796 h 845819"/>
                <a:gd name="connsiteX13" fmla="*/ 1010984 w 1029843"/>
                <a:gd name="connsiteY13" fmla="*/ 653796 h 845819"/>
                <a:gd name="connsiteX14" fmla="*/ 1012126 w 1029843"/>
                <a:gd name="connsiteY14" fmla="*/ 650462 h 845819"/>
                <a:gd name="connsiteX15" fmla="*/ 1009555 w 1029843"/>
                <a:gd name="connsiteY15" fmla="*/ 642747 h 845819"/>
                <a:gd name="connsiteX16" fmla="*/ 1006412 w 1029843"/>
                <a:gd name="connsiteY16" fmla="*/ 643223 h 845819"/>
                <a:gd name="connsiteX17" fmla="*/ 1008793 w 1029843"/>
                <a:gd name="connsiteY17" fmla="*/ 636461 h 845819"/>
                <a:gd name="connsiteX18" fmla="*/ 1003649 w 1029843"/>
                <a:gd name="connsiteY18" fmla="*/ 633889 h 845819"/>
                <a:gd name="connsiteX19" fmla="*/ 1002601 w 1029843"/>
                <a:gd name="connsiteY19" fmla="*/ 625983 h 845819"/>
                <a:gd name="connsiteX20" fmla="*/ 995458 w 1029843"/>
                <a:gd name="connsiteY20" fmla="*/ 620554 h 845819"/>
                <a:gd name="connsiteX21" fmla="*/ 994886 w 1029843"/>
                <a:gd name="connsiteY21" fmla="*/ 615791 h 845819"/>
                <a:gd name="connsiteX22" fmla="*/ 988600 w 1029843"/>
                <a:gd name="connsiteY22" fmla="*/ 616553 h 845819"/>
                <a:gd name="connsiteX23" fmla="*/ 983647 w 1029843"/>
                <a:gd name="connsiteY23" fmla="*/ 615601 h 845819"/>
                <a:gd name="connsiteX24" fmla="*/ 977551 w 1029843"/>
                <a:gd name="connsiteY24" fmla="*/ 605123 h 845819"/>
                <a:gd name="connsiteX25" fmla="*/ 978503 w 1029843"/>
                <a:gd name="connsiteY25" fmla="*/ 600265 h 845819"/>
                <a:gd name="connsiteX26" fmla="*/ 973550 w 1029843"/>
                <a:gd name="connsiteY26" fmla="*/ 599218 h 845819"/>
                <a:gd name="connsiteX27" fmla="*/ 972502 w 1029843"/>
                <a:gd name="connsiteY27" fmla="*/ 591407 h 845819"/>
                <a:gd name="connsiteX28" fmla="*/ 969169 w 1029843"/>
                <a:gd name="connsiteY28" fmla="*/ 590169 h 845819"/>
                <a:gd name="connsiteX29" fmla="*/ 964406 w 1029843"/>
                <a:gd name="connsiteY29" fmla="*/ 590836 h 845819"/>
                <a:gd name="connsiteX30" fmla="*/ 962501 w 1029843"/>
                <a:gd name="connsiteY30" fmla="*/ 587788 h 845819"/>
                <a:gd name="connsiteX31" fmla="*/ 960692 w 1029843"/>
                <a:gd name="connsiteY31" fmla="*/ 586454 h 845819"/>
                <a:gd name="connsiteX32" fmla="*/ 960120 w 1029843"/>
                <a:gd name="connsiteY32" fmla="*/ 581692 h 845819"/>
                <a:gd name="connsiteX33" fmla="*/ 953167 w 1029843"/>
                <a:gd name="connsiteY33" fmla="*/ 577786 h 845819"/>
                <a:gd name="connsiteX34" fmla="*/ 952595 w 1029843"/>
                <a:gd name="connsiteY34" fmla="*/ 573024 h 845819"/>
                <a:gd name="connsiteX35" fmla="*/ 943070 w 1029843"/>
                <a:gd name="connsiteY35" fmla="*/ 561404 h 845819"/>
                <a:gd name="connsiteX36" fmla="*/ 944213 w 1029843"/>
                <a:gd name="connsiteY36" fmla="*/ 558070 h 845819"/>
                <a:gd name="connsiteX37" fmla="*/ 942023 w 1029843"/>
                <a:gd name="connsiteY37" fmla="*/ 553593 h 845819"/>
                <a:gd name="connsiteX38" fmla="*/ 941642 w 1029843"/>
                <a:gd name="connsiteY38" fmla="*/ 550355 h 845819"/>
                <a:gd name="connsiteX39" fmla="*/ 930783 w 1029843"/>
                <a:gd name="connsiteY39" fmla="*/ 540544 h 845819"/>
                <a:gd name="connsiteX40" fmla="*/ 926401 w 1029843"/>
                <a:gd name="connsiteY40" fmla="*/ 531495 h 845819"/>
                <a:gd name="connsiteX41" fmla="*/ 922687 w 1029843"/>
                <a:gd name="connsiteY41" fmla="*/ 527113 h 845819"/>
                <a:gd name="connsiteX42" fmla="*/ 922020 w 1029843"/>
                <a:gd name="connsiteY42" fmla="*/ 522446 h 845819"/>
                <a:gd name="connsiteX43" fmla="*/ 918305 w 1029843"/>
                <a:gd name="connsiteY43" fmla="*/ 518065 h 845819"/>
                <a:gd name="connsiteX44" fmla="*/ 907256 w 1029843"/>
                <a:gd name="connsiteY44" fmla="*/ 519494 h 845819"/>
                <a:gd name="connsiteX45" fmla="*/ 903923 w 1029843"/>
                <a:gd name="connsiteY45" fmla="*/ 518350 h 845819"/>
                <a:gd name="connsiteX46" fmla="*/ 900970 w 1029843"/>
                <a:gd name="connsiteY46" fmla="*/ 520255 h 845819"/>
                <a:gd name="connsiteX47" fmla="*/ 899732 w 1029843"/>
                <a:gd name="connsiteY47" fmla="*/ 523684 h 845819"/>
                <a:gd name="connsiteX48" fmla="*/ 896588 w 1029843"/>
                <a:gd name="connsiteY48" fmla="*/ 524065 h 845819"/>
                <a:gd name="connsiteX49" fmla="*/ 885730 w 1029843"/>
                <a:gd name="connsiteY49" fmla="*/ 514255 h 845819"/>
                <a:gd name="connsiteX50" fmla="*/ 878776 w 1029843"/>
                <a:gd name="connsiteY50" fmla="*/ 497491 h 845819"/>
                <a:gd name="connsiteX51" fmla="*/ 869728 w 1029843"/>
                <a:gd name="connsiteY51" fmla="*/ 489013 h 845819"/>
                <a:gd name="connsiteX52" fmla="*/ 869251 w 1029843"/>
                <a:gd name="connsiteY52" fmla="*/ 485870 h 845819"/>
                <a:gd name="connsiteX53" fmla="*/ 873443 w 1029843"/>
                <a:gd name="connsiteY53" fmla="*/ 480536 h 845819"/>
                <a:gd name="connsiteX54" fmla="*/ 871061 w 1029843"/>
                <a:gd name="connsiteY54" fmla="*/ 474440 h 845819"/>
                <a:gd name="connsiteX55" fmla="*/ 873824 w 1029843"/>
                <a:gd name="connsiteY55" fmla="*/ 470821 h 845819"/>
                <a:gd name="connsiteX56" fmla="*/ 869823 w 1029843"/>
                <a:gd name="connsiteY56" fmla="*/ 464915 h 845819"/>
                <a:gd name="connsiteX57" fmla="*/ 869061 w 1029843"/>
                <a:gd name="connsiteY57" fmla="*/ 458629 h 845819"/>
                <a:gd name="connsiteX58" fmla="*/ 867061 w 1029843"/>
                <a:gd name="connsiteY58" fmla="*/ 455676 h 845819"/>
                <a:gd name="connsiteX59" fmla="*/ 862489 w 1029843"/>
                <a:gd name="connsiteY59" fmla="*/ 457867 h 845819"/>
                <a:gd name="connsiteX60" fmla="*/ 858965 w 1029843"/>
                <a:gd name="connsiteY60" fmla="*/ 455105 h 845819"/>
                <a:gd name="connsiteX61" fmla="*/ 852868 w 1029843"/>
                <a:gd name="connsiteY61" fmla="*/ 457486 h 845819"/>
                <a:gd name="connsiteX62" fmla="*/ 844391 w 1029843"/>
                <a:gd name="connsiteY62" fmla="*/ 453771 h 845819"/>
                <a:gd name="connsiteX63" fmla="*/ 838200 w 1029843"/>
                <a:gd name="connsiteY63" fmla="*/ 456152 h 845819"/>
                <a:gd name="connsiteX64" fmla="*/ 831342 w 1029843"/>
                <a:gd name="connsiteY64" fmla="*/ 452152 h 845819"/>
                <a:gd name="connsiteX65" fmla="*/ 829723 w 1029843"/>
                <a:gd name="connsiteY65" fmla="*/ 452438 h 845819"/>
                <a:gd name="connsiteX66" fmla="*/ 825246 w 1029843"/>
                <a:gd name="connsiteY66" fmla="*/ 454533 h 845819"/>
                <a:gd name="connsiteX67" fmla="*/ 821531 w 1029843"/>
                <a:gd name="connsiteY67" fmla="*/ 463105 h 845819"/>
                <a:gd name="connsiteX68" fmla="*/ 821912 w 1029843"/>
                <a:gd name="connsiteY68" fmla="*/ 466249 h 845819"/>
                <a:gd name="connsiteX69" fmla="*/ 816007 w 1029843"/>
                <a:gd name="connsiteY69" fmla="*/ 470154 h 845819"/>
                <a:gd name="connsiteX70" fmla="*/ 811244 w 1029843"/>
                <a:gd name="connsiteY70" fmla="*/ 470821 h 845819"/>
                <a:gd name="connsiteX71" fmla="*/ 809816 w 1029843"/>
                <a:gd name="connsiteY71" fmla="*/ 459772 h 845819"/>
                <a:gd name="connsiteX72" fmla="*/ 802672 w 1029843"/>
                <a:gd name="connsiteY72" fmla="*/ 454247 h 845819"/>
                <a:gd name="connsiteX73" fmla="*/ 803720 w 1029843"/>
                <a:gd name="connsiteY73" fmla="*/ 449294 h 845819"/>
                <a:gd name="connsiteX74" fmla="*/ 801148 w 1029843"/>
                <a:gd name="connsiteY74" fmla="*/ 441579 h 845819"/>
                <a:gd name="connsiteX75" fmla="*/ 799148 w 1029843"/>
                <a:gd name="connsiteY75" fmla="*/ 438626 h 845819"/>
                <a:gd name="connsiteX76" fmla="*/ 789623 w 1029843"/>
                <a:gd name="connsiteY76" fmla="*/ 439865 h 845819"/>
                <a:gd name="connsiteX77" fmla="*/ 789242 w 1029843"/>
                <a:gd name="connsiteY77" fmla="*/ 436721 h 845819"/>
                <a:gd name="connsiteX78" fmla="*/ 792956 w 1029843"/>
                <a:gd name="connsiteY78" fmla="*/ 428244 h 845819"/>
                <a:gd name="connsiteX79" fmla="*/ 791242 w 1029843"/>
                <a:gd name="connsiteY79" fmla="*/ 426815 h 845819"/>
                <a:gd name="connsiteX80" fmla="*/ 784289 w 1029843"/>
                <a:gd name="connsiteY80" fmla="*/ 422910 h 845819"/>
                <a:gd name="connsiteX81" fmla="*/ 783717 w 1029843"/>
                <a:gd name="connsiteY81" fmla="*/ 418148 h 845819"/>
                <a:gd name="connsiteX82" fmla="*/ 778764 w 1029843"/>
                <a:gd name="connsiteY82" fmla="*/ 417195 h 845819"/>
                <a:gd name="connsiteX83" fmla="*/ 771620 w 1029843"/>
                <a:gd name="connsiteY83" fmla="*/ 424529 h 845819"/>
                <a:gd name="connsiteX84" fmla="*/ 763143 w 1029843"/>
                <a:gd name="connsiteY84" fmla="*/ 420815 h 845819"/>
                <a:gd name="connsiteX85" fmla="*/ 765715 w 1029843"/>
                <a:gd name="connsiteY85" fmla="*/ 415671 h 845819"/>
                <a:gd name="connsiteX86" fmla="*/ 760762 w 1029843"/>
                <a:gd name="connsiteY86" fmla="*/ 401860 h 845819"/>
                <a:gd name="connsiteX87" fmla="*/ 757238 w 1029843"/>
                <a:gd name="connsiteY87" fmla="*/ 399098 h 845819"/>
                <a:gd name="connsiteX88" fmla="*/ 752475 w 1029843"/>
                <a:gd name="connsiteY88" fmla="*/ 399669 h 845819"/>
                <a:gd name="connsiteX89" fmla="*/ 751904 w 1029843"/>
                <a:gd name="connsiteY89" fmla="*/ 395002 h 845819"/>
                <a:gd name="connsiteX90" fmla="*/ 753237 w 1029843"/>
                <a:gd name="connsiteY90" fmla="*/ 393192 h 845819"/>
                <a:gd name="connsiteX91" fmla="*/ 755618 w 1029843"/>
                <a:gd name="connsiteY91" fmla="*/ 386429 h 845819"/>
                <a:gd name="connsiteX92" fmla="*/ 759524 w 1029843"/>
                <a:gd name="connsiteY92" fmla="*/ 379571 h 845819"/>
                <a:gd name="connsiteX93" fmla="*/ 762286 w 1029843"/>
                <a:gd name="connsiteY93" fmla="*/ 375952 h 845819"/>
                <a:gd name="connsiteX94" fmla="*/ 763619 w 1029843"/>
                <a:gd name="connsiteY94" fmla="*/ 374237 h 845819"/>
                <a:gd name="connsiteX95" fmla="*/ 768382 w 1029843"/>
                <a:gd name="connsiteY95" fmla="*/ 373571 h 845819"/>
                <a:gd name="connsiteX96" fmla="*/ 768953 w 1029843"/>
                <a:gd name="connsiteY96" fmla="*/ 378333 h 845819"/>
                <a:gd name="connsiteX97" fmla="*/ 771334 w 1029843"/>
                <a:gd name="connsiteY97" fmla="*/ 384429 h 845819"/>
                <a:gd name="connsiteX98" fmla="*/ 777716 w 1029843"/>
                <a:gd name="connsiteY98" fmla="*/ 383667 h 845819"/>
                <a:gd name="connsiteX99" fmla="*/ 778478 w 1029843"/>
                <a:gd name="connsiteY99" fmla="*/ 377095 h 845819"/>
                <a:gd name="connsiteX100" fmla="*/ 776097 w 1029843"/>
                <a:gd name="connsiteY100" fmla="*/ 370999 h 845819"/>
                <a:gd name="connsiteX101" fmla="*/ 772477 w 1029843"/>
                <a:gd name="connsiteY101" fmla="*/ 368236 h 845819"/>
                <a:gd name="connsiteX102" fmla="*/ 769144 w 1029843"/>
                <a:gd name="connsiteY102" fmla="*/ 367094 h 845819"/>
                <a:gd name="connsiteX103" fmla="*/ 772097 w 1029843"/>
                <a:gd name="connsiteY103" fmla="*/ 365093 h 845819"/>
                <a:gd name="connsiteX104" fmla="*/ 780002 w 1029843"/>
                <a:gd name="connsiteY104" fmla="*/ 364141 h 845819"/>
                <a:gd name="connsiteX105" fmla="*/ 777621 w 1029843"/>
                <a:gd name="connsiteY105" fmla="*/ 358045 h 845819"/>
                <a:gd name="connsiteX106" fmla="*/ 785908 w 1029843"/>
                <a:gd name="connsiteY106" fmla="*/ 360140 h 845819"/>
                <a:gd name="connsiteX107" fmla="*/ 793433 w 1029843"/>
                <a:gd name="connsiteY107" fmla="*/ 355949 h 845819"/>
                <a:gd name="connsiteX108" fmla="*/ 789242 w 1029843"/>
                <a:gd name="connsiteY108" fmla="*/ 348520 h 845819"/>
                <a:gd name="connsiteX109" fmla="*/ 796576 w 1029843"/>
                <a:gd name="connsiteY109" fmla="*/ 342805 h 845819"/>
                <a:gd name="connsiteX110" fmla="*/ 799719 w 1029843"/>
                <a:gd name="connsiteY110" fmla="*/ 342329 h 845819"/>
                <a:gd name="connsiteX111" fmla="*/ 803243 w 1029843"/>
                <a:gd name="connsiteY111" fmla="*/ 345091 h 845819"/>
                <a:gd name="connsiteX112" fmla="*/ 806387 w 1029843"/>
                <a:gd name="connsiteY112" fmla="*/ 344710 h 845819"/>
                <a:gd name="connsiteX113" fmla="*/ 802481 w 1029843"/>
                <a:gd name="connsiteY113" fmla="*/ 338804 h 845819"/>
                <a:gd name="connsiteX114" fmla="*/ 803815 w 1029843"/>
                <a:gd name="connsiteY114" fmla="*/ 336994 h 845819"/>
                <a:gd name="connsiteX115" fmla="*/ 805815 w 1029843"/>
                <a:gd name="connsiteY115" fmla="*/ 339947 h 845819"/>
                <a:gd name="connsiteX116" fmla="*/ 812483 w 1029843"/>
                <a:gd name="connsiteY116" fmla="*/ 342329 h 845819"/>
                <a:gd name="connsiteX117" fmla="*/ 815435 w 1029843"/>
                <a:gd name="connsiteY117" fmla="*/ 340328 h 845819"/>
                <a:gd name="connsiteX118" fmla="*/ 819055 w 1029843"/>
                <a:gd name="connsiteY118" fmla="*/ 343090 h 845819"/>
                <a:gd name="connsiteX119" fmla="*/ 824293 w 1029843"/>
                <a:gd name="connsiteY119" fmla="*/ 334423 h 845819"/>
                <a:gd name="connsiteX120" fmla="*/ 823722 w 1029843"/>
                <a:gd name="connsiteY120" fmla="*/ 329660 h 845819"/>
                <a:gd name="connsiteX121" fmla="*/ 829818 w 1029843"/>
                <a:gd name="connsiteY121" fmla="*/ 327279 h 845819"/>
                <a:gd name="connsiteX122" fmla="*/ 831247 w 1029843"/>
                <a:gd name="connsiteY122" fmla="*/ 325469 h 845819"/>
                <a:gd name="connsiteX123" fmla="*/ 828389 w 1029843"/>
                <a:gd name="connsiteY123" fmla="*/ 316230 h 845819"/>
                <a:gd name="connsiteX124" fmla="*/ 829627 w 1029843"/>
                <a:gd name="connsiteY124" fmla="*/ 312896 h 845819"/>
                <a:gd name="connsiteX125" fmla="*/ 835724 w 1029843"/>
                <a:gd name="connsiteY125" fmla="*/ 310515 h 845819"/>
                <a:gd name="connsiteX126" fmla="*/ 837343 w 1029843"/>
                <a:gd name="connsiteY126" fmla="*/ 310325 h 845819"/>
                <a:gd name="connsiteX127" fmla="*/ 844201 w 1029843"/>
                <a:gd name="connsiteY127" fmla="*/ 314230 h 845819"/>
                <a:gd name="connsiteX128" fmla="*/ 846201 w 1029843"/>
                <a:gd name="connsiteY128" fmla="*/ 317182 h 845819"/>
                <a:gd name="connsiteX129" fmla="*/ 853345 w 1029843"/>
                <a:gd name="connsiteY129" fmla="*/ 322707 h 845819"/>
                <a:gd name="connsiteX130" fmla="*/ 863727 w 1029843"/>
                <a:gd name="connsiteY130" fmla="*/ 316516 h 845819"/>
                <a:gd name="connsiteX131" fmla="*/ 872776 w 1029843"/>
                <a:gd name="connsiteY131" fmla="*/ 299371 h 845819"/>
                <a:gd name="connsiteX132" fmla="*/ 881825 w 1029843"/>
                <a:gd name="connsiteY132" fmla="*/ 294989 h 845819"/>
                <a:gd name="connsiteX133" fmla="*/ 891921 w 1029843"/>
                <a:gd name="connsiteY133" fmla="*/ 285750 h 845819"/>
                <a:gd name="connsiteX134" fmla="*/ 891540 w 1029843"/>
                <a:gd name="connsiteY134" fmla="*/ 282511 h 845819"/>
                <a:gd name="connsiteX135" fmla="*/ 889540 w 1029843"/>
                <a:gd name="connsiteY135" fmla="*/ 279559 h 845819"/>
                <a:gd name="connsiteX136" fmla="*/ 891064 w 1029843"/>
                <a:gd name="connsiteY136" fmla="*/ 279368 h 845819"/>
                <a:gd name="connsiteX137" fmla="*/ 881825 w 1029843"/>
                <a:gd name="connsiteY137" fmla="*/ 269367 h 845819"/>
                <a:gd name="connsiteX138" fmla="*/ 888111 w 1029843"/>
                <a:gd name="connsiteY138" fmla="*/ 268510 h 845819"/>
                <a:gd name="connsiteX139" fmla="*/ 898589 w 1029843"/>
                <a:gd name="connsiteY139" fmla="*/ 262414 h 845819"/>
                <a:gd name="connsiteX140" fmla="*/ 898970 w 1029843"/>
                <a:gd name="connsiteY140" fmla="*/ 252698 h 845819"/>
                <a:gd name="connsiteX141" fmla="*/ 892778 w 1029843"/>
                <a:gd name="connsiteY141" fmla="*/ 242316 h 845819"/>
                <a:gd name="connsiteX142" fmla="*/ 893921 w 1029843"/>
                <a:gd name="connsiteY142" fmla="*/ 238982 h 845819"/>
                <a:gd name="connsiteX143" fmla="*/ 903637 w 1029843"/>
                <a:gd name="connsiteY143" fmla="*/ 239268 h 845819"/>
                <a:gd name="connsiteX144" fmla="*/ 908209 w 1029843"/>
                <a:gd name="connsiteY144" fmla="*/ 237172 h 845819"/>
                <a:gd name="connsiteX145" fmla="*/ 921163 w 1029843"/>
                <a:gd name="connsiteY145" fmla="*/ 225838 h 845819"/>
                <a:gd name="connsiteX146" fmla="*/ 920401 w 1029843"/>
                <a:gd name="connsiteY146" fmla="*/ 219551 h 845819"/>
                <a:gd name="connsiteX147" fmla="*/ 917734 w 1029843"/>
                <a:gd name="connsiteY147" fmla="*/ 211836 h 845819"/>
                <a:gd name="connsiteX148" fmla="*/ 908685 w 1029843"/>
                <a:gd name="connsiteY148" fmla="*/ 203359 h 845819"/>
                <a:gd name="connsiteX149" fmla="*/ 906113 w 1029843"/>
                <a:gd name="connsiteY149" fmla="*/ 195739 h 845819"/>
                <a:gd name="connsiteX150" fmla="*/ 897446 w 1029843"/>
                <a:gd name="connsiteY150" fmla="*/ 190405 h 845819"/>
                <a:gd name="connsiteX151" fmla="*/ 893445 w 1029843"/>
                <a:gd name="connsiteY151" fmla="*/ 184499 h 845819"/>
                <a:gd name="connsiteX152" fmla="*/ 885158 w 1029843"/>
                <a:gd name="connsiteY152" fmla="*/ 182309 h 845819"/>
                <a:gd name="connsiteX153" fmla="*/ 875252 w 1029843"/>
                <a:gd name="connsiteY153" fmla="*/ 167545 h 845819"/>
                <a:gd name="connsiteX154" fmla="*/ 874395 w 1029843"/>
                <a:gd name="connsiteY154" fmla="*/ 161258 h 845819"/>
                <a:gd name="connsiteX155" fmla="*/ 872871 w 1029843"/>
                <a:gd name="connsiteY155" fmla="*/ 161449 h 845819"/>
                <a:gd name="connsiteX156" fmla="*/ 869728 w 1029843"/>
                <a:gd name="connsiteY156" fmla="*/ 161830 h 845819"/>
                <a:gd name="connsiteX157" fmla="*/ 867727 w 1029843"/>
                <a:gd name="connsiteY157" fmla="*/ 158877 h 845819"/>
                <a:gd name="connsiteX158" fmla="*/ 863156 w 1029843"/>
                <a:gd name="connsiteY158" fmla="*/ 148209 h 845819"/>
                <a:gd name="connsiteX159" fmla="*/ 855250 w 1029843"/>
                <a:gd name="connsiteY159" fmla="*/ 149257 h 845819"/>
                <a:gd name="connsiteX160" fmla="*/ 854678 w 1029843"/>
                <a:gd name="connsiteY160" fmla="*/ 144494 h 845819"/>
                <a:gd name="connsiteX161" fmla="*/ 848297 w 1029843"/>
                <a:gd name="connsiteY161" fmla="*/ 132493 h 845819"/>
                <a:gd name="connsiteX162" fmla="*/ 834866 w 1029843"/>
                <a:gd name="connsiteY162" fmla="*/ 127825 h 845819"/>
                <a:gd name="connsiteX163" fmla="*/ 828580 w 1029843"/>
                <a:gd name="connsiteY163" fmla="*/ 128588 h 845819"/>
                <a:gd name="connsiteX164" fmla="*/ 824675 w 1029843"/>
                <a:gd name="connsiteY164" fmla="*/ 135541 h 845819"/>
                <a:gd name="connsiteX165" fmla="*/ 818102 w 1029843"/>
                <a:gd name="connsiteY165" fmla="*/ 134779 h 845819"/>
                <a:gd name="connsiteX166" fmla="*/ 806863 w 1029843"/>
                <a:gd name="connsiteY166" fmla="*/ 134588 h 845819"/>
                <a:gd name="connsiteX167" fmla="*/ 805720 w 1029843"/>
                <a:gd name="connsiteY167" fmla="*/ 125063 h 845819"/>
                <a:gd name="connsiteX168" fmla="*/ 804101 w 1029843"/>
                <a:gd name="connsiteY168" fmla="*/ 125254 h 845819"/>
                <a:gd name="connsiteX169" fmla="*/ 800957 w 1029843"/>
                <a:gd name="connsiteY169" fmla="*/ 125730 h 845819"/>
                <a:gd name="connsiteX170" fmla="*/ 792861 w 1029843"/>
                <a:gd name="connsiteY170" fmla="*/ 125158 h 845819"/>
                <a:gd name="connsiteX171" fmla="*/ 789908 w 1029843"/>
                <a:gd name="connsiteY171" fmla="*/ 127064 h 845819"/>
                <a:gd name="connsiteX172" fmla="*/ 774859 w 1029843"/>
                <a:gd name="connsiteY172" fmla="*/ 122587 h 845819"/>
                <a:gd name="connsiteX173" fmla="*/ 771716 w 1029843"/>
                <a:gd name="connsiteY173" fmla="*/ 122968 h 845819"/>
                <a:gd name="connsiteX174" fmla="*/ 763524 w 1029843"/>
                <a:gd name="connsiteY174" fmla="*/ 146494 h 845819"/>
                <a:gd name="connsiteX175" fmla="*/ 765143 w 1029843"/>
                <a:gd name="connsiteY175" fmla="*/ 159163 h 845819"/>
                <a:gd name="connsiteX176" fmla="*/ 763524 w 1029843"/>
                <a:gd name="connsiteY176" fmla="*/ 159353 h 845819"/>
                <a:gd name="connsiteX177" fmla="*/ 765524 w 1029843"/>
                <a:gd name="connsiteY177" fmla="*/ 162306 h 845819"/>
                <a:gd name="connsiteX178" fmla="*/ 762952 w 1029843"/>
                <a:gd name="connsiteY178" fmla="*/ 167449 h 845819"/>
                <a:gd name="connsiteX179" fmla="*/ 747141 w 1029843"/>
                <a:gd name="connsiteY179" fmla="*/ 169450 h 845819"/>
                <a:gd name="connsiteX180" fmla="*/ 741235 w 1029843"/>
                <a:gd name="connsiteY180" fmla="*/ 173355 h 845819"/>
                <a:gd name="connsiteX181" fmla="*/ 736092 w 1029843"/>
                <a:gd name="connsiteY181" fmla="*/ 170878 h 845819"/>
                <a:gd name="connsiteX182" fmla="*/ 737711 w 1029843"/>
                <a:gd name="connsiteY182" fmla="*/ 170593 h 845819"/>
                <a:gd name="connsiteX183" fmla="*/ 734759 w 1029843"/>
                <a:gd name="connsiteY183" fmla="*/ 159829 h 845819"/>
                <a:gd name="connsiteX184" fmla="*/ 730568 w 1029843"/>
                <a:gd name="connsiteY184" fmla="*/ 152305 h 845819"/>
                <a:gd name="connsiteX185" fmla="*/ 714947 w 1029843"/>
                <a:gd name="connsiteY185" fmla="*/ 143066 h 845819"/>
                <a:gd name="connsiteX186" fmla="*/ 707231 w 1029843"/>
                <a:gd name="connsiteY186" fmla="*/ 145637 h 845819"/>
                <a:gd name="connsiteX187" fmla="*/ 704850 w 1029843"/>
                <a:gd name="connsiteY187" fmla="*/ 139541 h 845819"/>
                <a:gd name="connsiteX188" fmla="*/ 701516 w 1029843"/>
                <a:gd name="connsiteY188" fmla="*/ 138398 h 845819"/>
                <a:gd name="connsiteX189" fmla="*/ 699516 w 1029843"/>
                <a:gd name="connsiteY189" fmla="*/ 135445 h 845819"/>
                <a:gd name="connsiteX190" fmla="*/ 691706 w 1029843"/>
                <a:gd name="connsiteY190" fmla="*/ 136398 h 845819"/>
                <a:gd name="connsiteX191" fmla="*/ 688086 w 1029843"/>
                <a:gd name="connsiteY191" fmla="*/ 133636 h 845819"/>
                <a:gd name="connsiteX192" fmla="*/ 681800 w 1029843"/>
                <a:gd name="connsiteY192" fmla="*/ 134493 h 845819"/>
                <a:gd name="connsiteX193" fmla="*/ 679609 w 1029843"/>
                <a:gd name="connsiteY193" fmla="*/ 142780 h 845819"/>
                <a:gd name="connsiteX194" fmla="*/ 676656 w 1029843"/>
                <a:gd name="connsiteY194" fmla="*/ 144780 h 845819"/>
                <a:gd name="connsiteX195" fmla="*/ 673513 w 1029843"/>
                <a:gd name="connsiteY195" fmla="*/ 145161 h 845819"/>
                <a:gd name="connsiteX196" fmla="*/ 672560 w 1029843"/>
                <a:gd name="connsiteY196" fmla="*/ 150114 h 845819"/>
                <a:gd name="connsiteX197" fmla="*/ 664083 w 1029843"/>
                <a:gd name="connsiteY197" fmla="*/ 159163 h 845819"/>
                <a:gd name="connsiteX198" fmla="*/ 659321 w 1029843"/>
                <a:gd name="connsiteY198" fmla="*/ 159734 h 845819"/>
                <a:gd name="connsiteX199" fmla="*/ 659797 w 1029843"/>
                <a:gd name="connsiteY199" fmla="*/ 162973 h 845819"/>
                <a:gd name="connsiteX200" fmla="*/ 655606 w 1029843"/>
                <a:gd name="connsiteY200" fmla="*/ 168307 h 845819"/>
                <a:gd name="connsiteX201" fmla="*/ 653129 w 1029843"/>
                <a:gd name="connsiteY201" fmla="*/ 186214 h 845819"/>
                <a:gd name="connsiteX202" fmla="*/ 653510 w 1029843"/>
                <a:gd name="connsiteY202" fmla="*/ 189357 h 845819"/>
                <a:gd name="connsiteX203" fmla="*/ 652367 w 1029843"/>
                <a:gd name="connsiteY203" fmla="*/ 192786 h 845819"/>
                <a:gd name="connsiteX204" fmla="*/ 642271 w 1029843"/>
                <a:gd name="connsiteY204" fmla="*/ 189167 h 845819"/>
                <a:gd name="connsiteX205" fmla="*/ 631603 w 1029843"/>
                <a:gd name="connsiteY205" fmla="*/ 206597 h 845819"/>
                <a:gd name="connsiteX206" fmla="*/ 626269 w 1029843"/>
                <a:gd name="connsiteY206" fmla="*/ 202501 h 845819"/>
                <a:gd name="connsiteX207" fmla="*/ 624364 w 1029843"/>
                <a:gd name="connsiteY207" fmla="*/ 199549 h 845819"/>
                <a:gd name="connsiteX208" fmla="*/ 619411 w 1029843"/>
                <a:gd name="connsiteY208" fmla="*/ 198596 h 845819"/>
                <a:gd name="connsiteX209" fmla="*/ 609124 w 1029843"/>
                <a:gd name="connsiteY209" fmla="*/ 193453 h 845819"/>
                <a:gd name="connsiteX210" fmla="*/ 605600 w 1029843"/>
                <a:gd name="connsiteY210" fmla="*/ 190691 h 845819"/>
                <a:gd name="connsiteX211" fmla="*/ 605123 w 1029843"/>
                <a:gd name="connsiteY211" fmla="*/ 187547 h 845819"/>
                <a:gd name="connsiteX212" fmla="*/ 610648 w 1029843"/>
                <a:gd name="connsiteY212" fmla="*/ 180403 h 845819"/>
                <a:gd name="connsiteX213" fmla="*/ 618363 w 1029843"/>
                <a:gd name="connsiteY213" fmla="*/ 177832 h 845819"/>
                <a:gd name="connsiteX214" fmla="*/ 628555 w 1029843"/>
                <a:gd name="connsiteY214" fmla="*/ 170117 h 845819"/>
                <a:gd name="connsiteX215" fmla="*/ 626650 w 1029843"/>
                <a:gd name="connsiteY215" fmla="*/ 167164 h 845819"/>
                <a:gd name="connsiteX216" fmla="*/ 618363 w 1029843"/>
                <a:gd name="connsiteY216" fmla="*/ 164973 h 845819"/>
                <a:gd name="connsiteX217" fmla="*/ 617125 w 1029843"/>
                <a:gd name="connsiteY217" fmla="*/ 155543 h 845819"/>
                <a:gd name="connsiteX218" fmla="*/ 613791 w 1029843"/>
                <a:gd name="connsiteY218" fmla="*/ 154400 h 845819"/>
                <a:gd name="connsiteX219" fmla="*/ 616268 w 1029843"/>
                <a:gd name="connsiteY219" fmla="*/ 149257 h 845819"/>
                <a:gd name="connsiteX220" fmla="*/ 614743 w 1029843"/>
                <a:gd name="connsiteY220" fmla="*/ 136589 h 845819"/>
                <a:gd name="connsiteX221" fmla="*/ 612076 w 1029843"/>
                <a:gd name="connsiteY221" fmla="*/ 128873 h 845819"/>
                <a:gd name="connsiteX222" fmla="*/ 612934 w 1029843"/>
                <a:gd name="connsiteY222" fmla="*/ 122396 h 845819"/>
                <a:gd name="connsiteX223" fmla="*/ 609505 w 1029843"/>
                <a:gd name="connsiteY223" fmla="*/ 121253 h 845819"/>
                <a:gd name="connsiteX224" fmla="*/ 605600 w 1029843"/>
                <a:gd name="connsiteY224" fmla="*/ 115348 h 845819"/>
                <a:gd name="connsiteX225" fmla="*/ 606552 w 1029843"/>
                <a:gd name="connsiteY225" fmla="*/ 110395 h 845819"/>
                <a:gd name="connsiteX226" fmla="*/ 606171 w 1029843"/>
                <a:gd name="connsiteY226" fmla="*/ 107251 h 845819"/>
                <a:gd name="connsiteX227" fmla="*/ 587597 w 1029843"/>
                <a:gd name="connsiteY227" fmla="*/ 99917 h 845819"/>
                <a:gd name="connsiteX228" fmla="*/ 578072 w 1029843"/>
                <a:gd name="connsiteY228" fmla="*/ 101155 h 845819"/>
                <a:gd name="connsiteX229" fmla="*/ 576739 w 1029843"/>
                <a:gd name="connsiteY229" fmla="*/ 102965 h 845819"/>
                <a:gd name="connsiteX230" fmla="*/ 572452 w 1029843"/>
                <a:gd name="connsiteY230" fmla="*/ 106680 h 845819"/>
                <a:gd name="connsiteX231" fmla="*/ 565880 w 1029843"/>
                <a:gd name="connsiteY231" fmla="*/ 105918 h 845819"/>
                <a:gd name="connsiteX232" fmla="*/ 563309 w 1029843"/>
                <a:gd name="connsiteY232" fmla="*/ 111062 h 845819"/>
                <a:gd name="connsiteX233" fmla="*/ 556641 w 1029843"/>
                <a:gd name="connsiteY233" fmla="*/ 108680 h 845819"/>
                <a:gd name="connsiteX234" fmla="*/ 549116 w 1029843"/>
                <a:gd name="connsiteY234" fmla="*/ 112871 h 845819"/>
                <a:gd name="connsiteX235" fmla="*/ 533972 w 1029843"/>
                <a:gd name="connsiteY235" fmla="*/ 119634 h 845819"/>
                <a:gd name="connsiteX236" fmla="*/ 533019 w 1029843"/>
                <a:gd name="connsiteY236" fmla="*/ 124587 h 845819"/>
                <a:gd name="connsiteX237" fmla="*/ 517970 w 1029843"/>
                <a:gd name="connsiteY237" fmla="*/ 120015 h 845819"/>
                <a:gd name="connsiteX238" fmla="*/ 518732 w 1029843"/>
                <a:gd name="connsiteY238" fmla="*/ 113538 h 845819"/>
                <a:gd name="connsiteX239" fmla="*/ 518160 w 1029843"/>
                <a:gd name="connsiteY239" fmla="*/ 108775 h 845819"/>
                <a:gd name="connsiteX240" fmla="*/ 514731 w 1029843"/>
                <a:gd name="connsiteY240" fmla="*/ 94774 h 845819"/>
                <a:gd name="connsiteX241" fmla="*/ 511016 w 1029843"/>
                <a:gd name="connsiteY241" fmla="*/ 90488 h 845819"/>
                <a:gd name="connsiteX242" fmla="*/ 509778 w 1029843"/>
                <a:gd name="connsiteY242" fmla="*/ 80963 h 845819"/>
                <a:gd name="connsiteX243" fmla="*/ 506444 w 1029843"/>
                <a:gd name="connsiteY243" fmla="*/ 79819 h 845819"/>
                <a:gd name="connsiteX244" fmla="*/ 498539 w 1029843"/>
                <a:gd name="connsiteY244" fmla="*/ 68008 h 845819"/>
                <a:gd name="connsiteX245" fmla="*/ 494538 w 1029843"/>
                <a:gd name="connsiteY245" fmla="*/ 62103 h 845819"/>
                <a:gd name="connsiteX246" fmla="*/ 496634 w 1029843"/>
                <a:gd name="connsiteY246" fmla="*/ 40957 h 845819"/>
                <a:gd name="connsiteX247" fmla="*/ 487966 w 1029843"/>
                <a:gd name="connsiteY247" fmla="*/ 35623 h 845819"/>
                <a:gd name="connsiteX248" fmla="*/ 485394 w 1029843"/>
                <a:gd name="connsiteY248" fmla="*/ 28003 h 845819"/>
                <a:gd name="connsiteX249" fmla="*/ 466630 w 1029843"/>
                <a:gd name="connsiteY249" fmla="*/ 32004 h 845819"/>
                <a:gd name="connsiteX250" fmla="*/ 465677 w 1029843"/>
                <a:gd name="connsiteY250" fmla="*/ 36862 h 845819"/>
                <a:gd name="connsiteX251" fmla="*/ 459962 w 1029843"/>
                <a:gd name="connsiteY251" fmla="*/ 42481 h 845819"/>
                <a:gd name="connsiteX252" fmla="*/ 446913 w 1029843"/>
                <a:gd name="connsiteY252" fmla="*/ 40862 h 845819"/>
                <a:gd name="connsiteX253" fmla="*/ 436340 w 1029843"/>
                <a:gd name="connsiteY253" fmla="*/ 45434 h 845819"/>
                <a:gd name="connsiteX254" fmla="*/ 431959 w 1029843"/>
                <a:gd name="connsiteY254" fmla="*/ 49244 h 845819"/>
                <a:gd name="connsiteX255" fmla="*/ 430435 w 1029843"/>
                <a:gd name="connsiteY255" fmla="*/ 49435 h 845819"/>
                <a:gd name="connsiteX256" fmla="*/ 420148 w 1029843"/>
                <a:gd name="connsiteY256" fmla="*/ 44291 h 845819"/>
                <a:gd name="connsiteX257" fmla="*/ 409289 w 1029843"/>
                <a:gd name="connsiteY257" fmla="*/ 47339 h 845819"/>
                <a:gd name="connsiteX258" fmla="*/ 404336 w 1029843"/>
                <a:gd name="connsiteY258" fmla="*/ 46292 h 845819"/>
                <a:gd name="connsiteX259" fmla="*/ 397383 w 1029843"/>
                <a:gd name="connsiteY259" fmla="*/ 42386 h 845819"/>
                <a:gd name="connsiteX260" fmla="*/ 394621 w 1029843"/>
                <a:gd name="connsiteY260" fmla="*/ 33147 h 845819"/>
                <a:gd name="connsiteX261" fmla="*/ 390906 w 1029843"/>
                <a:gd name="connsiteY261" fmla="*/ 28766 h 845819"/>
                <a:gd name="connsiteX262" fmla="*/ 382619 w 1029843"/>
                <a:gd name="connsiteY262" fmla="*/ 26670 h 845819"/>
                <a:gd name="connsiteX263" fmla="*/ 377285 w 1029843"/>
                <a:gd name="connsiteY263" fmla="*/ 22479 h 845819"/>
                <a:gd name="connsiteX264" fmla="*/ 369189 w 1029843"/>
                <a:gd name="connsiteY264" fmla="*/ 21907 h 845819"/>
                <a:gd name="connsiteX265" fmla="*/ 350996 w 1029843"/>
                <a:gd name="connsiteY265" fmla="*/ 17812 h 845819"/>
                <a:gd name="connsiteX266" fmla="*/ 348043 w 1029843"/>
                <a:gd name="connsiteY266" fmla="*/ 6953 h 845819"/>
                <a:gd name="connsiteX267" fmla="*/ 337947 w 1029843"/>
                <a:gd name="connsiteY267" fmla="*/ 3429 h 845819"/>
                <a:gd name="connsiteX268" fmla="*/ 321564 w 1029843"/>
                <a:gd name="connsiteY268" fmla="*/ 762 h 845819"/>
                <a:gd name="connsiteX269" fmla="*/ 309372 w 1029843"/>
                <a:gd name="connsiteY269" fmla="*/ 5524 h 845819"/>
                <a:gd name="connsiteX270" fmla="*/ 302228 w 1029843"/>
                <a:gd name="connsiteY270" fmla="*/ 0 h 845819"/>
                <a:gd name="connsiteX271" fmla="*/ 292703 w 1029843"/>
                <a:gd name="connsiteY271" fmla="*/ 1238 h 845819"/>
                <a:gd name="connsiteX272" fmla="*/ 292989 w 1029843"/>
                <a:gd name="connsiteY272" fmla="*/ 15621 h 845819"/>
                <a:gd name="connsiteX273" fmla="*/ 293942 w 1029843"/>
                <a:gd name="connsiteY273" fmla="*/ 23527 h 845819"/>
                <a:gd name="connsiteX274" fmla="*/ 297942 w 1029843"/>
                <a:gd name="connsiteY274" fmla="*/ 29432 h 845819"/>
                <a:gd name="connsiteX275" fmla="*/ 313754 w 1029843"/>
                <a:gd name="connsiteY275" fmla="*/ 40195 h 845819"/>
                <a:gd name="connsiteX276" fmla="*/ 318325 w 1029843"/>
                <a:gd name="connsiteY276" fmla="*/ 50864 h 845819"/>
                <a:gd name="connsiteX277" fmla="*/ 316135 w 1029843"/>
                <a:gd name="connsiteY277" fmla="*/ 59150 h 845819"/>
                <a:gd name="connsiteX278" fmla="*/ 308324 w 1029843"/>
                <a:gd name="connsiteY278" fmla="*/ 72962 h 845819"/>
                <a:gd name="connsiteX279" fmla="*/ 307086 w 1029843"/>
                <a:gd name="connsiteY279" fmla="*/ 76391 h 845819"/>
                <a:gd name="connsiteX280" fmla="*/ 314230 w 1029843"/>
                <a:gd name="connsiteY280" fmla="*/ 81820 h 845819"/>
                <a:gd name="connsiteX281" fmla="*/ 312706 w 1029843"/>
                <a:gd name="connsiteY281" fmla="*/ 94869 h 845819"/>
                <a:gd name="connsiteX282" fmla="*/ 314706 w 1029843"/>
                <a:gd name="connsiteY282" fmla="*/ 97822 h 845819"/>
                <a:gd name="connsiteX283" fmla="*/ 311182 w 1029843"/>
                <a:gd name="connsiteY283" fmla="*/ 107918 h 845819"/>
                <a:gd name="connsiteX284" fmla="*/ 311753 w 1029843"/>
                <a:gd name="connsiteY284" fmla="*/ 112681 h 845819"/>
                <a:gd name="connsiteX285" fmla="*/ 313563 w 1029843"/>
                <a:gd name="connsiteY285" fmla="*/ 114014 h 845819"/>
                <a:gd name="connsiteX286" fmla="*/ 319945 w 1029843"/>
                <a:gd name="connsiteY286" fmla="*/ 138874 h 845819"/>
                <a:gd name="connsiteX287" fmla="*/ 326993 w 1029843"/>
                <a:gd name="connsiteY287" fmla="*/ 144399 h 845819"/>
                <a:gd name="connsiteX288" fmla="*/ 319945 w 1029843"/>
                <a:gd name="connsiteY288" fmla="*/ 151733 h 845819"/>
                <a:gd name="connsiteX289" fmla="*/ 314801 w 1029843"/>
                <a:gd name="connsiteY289" fmla="*/ 161925 h 845819"/>
                <a:gd name="connsiteX290" fmla="*/ 314992 w 1029843"/>
                <a:gd name="connsiteY290" fmla="*/ 163544 h 845819"/>
                <a:gd name="connsiteX291" fmla="*/ 325469 w 1029843"/>
                <a:gd name="connsiteY291" fmla="*/ 170212 h 845819"/>
                <a:gd name="connsiteX292" fmla="*/ 329660 w 1029843"/>
                <a:gd name="connsiteY292" fmla="*/ 177737 h 845819"/>
                <a:gd name="connsiteX293" fmla="*/ 330518 w 1029843"/>
                <a:gd name="connsiteY293" fmla="*/ 184023 h 845819"/>
                <a:gd name="connsiteX294" fmla="*/ 339185 w 1029843"/>
                <a:gd name="connsiteY294" fmla="*/ 189357 h 845819"/>
                <a:gd name="connsiteX295" fmla="*/ 333470 w 1029843"/>
                <a:gd name="connsiteY295" fmla="*/ 194881 h 845819"/>
                <a:gd name="connsiteX296" fmla="*/ 326803 w 1029843"/>
                <a:gd name="connsiteY296" fmla="*/ 205359 h 845819"/>
                <a:gd name="connsiteX297" fmla="*/ 328994 w 1029843"/>
                <a:gd name="connsiteY297" fmla="*/ 209931 h 845819"/>
                <a:gd name="connsiteX298" fmla="*/ 318516 w 1029843"/>
                <a:gd name="connsiteY298" fmla="*/ 228886 h 845819"/>
                <a:gd name="connsiteX299" fmla="*/ 325660 w 1029843"/>
                <a:gd name="connsiteY299" fmla="*/ 234315 h 845819"/>
                <a:gd name="connsiteX300" fmla="*/ 335375 w 1029843"/>
                <a:gd name="connsiteY300" fmla="*/ 234696 h 845819"/>
                <a:gd name="connsiteX301" fmla="*/ 332804 w 1029843"/>
                <a:gd name="connsiteY301" fmla="*/ 239840 h 845819"/>
                <a:gd name="connsiteX302" fmla="*/ 328232 w 1029843"/>
                <a:gd name="connsiteY302" fmla="*/ 242030 h 845819"/>
                <a:gd name="connsiteX303" fmla="*/ 339281 w 1029843"/>
                <a:gd name="connsiteY303" fmla="*/ 253460 h 845819"/>
                <a:gd name="connsiteX304" fmla="*/ 334423 w 1029843"/>
                <a:gd name="connsiteY304" fmla="*/ 252508 h 845819"/>
                <a:gd name="connsiteX305" fmla="*/ 334613 w 1029843"/>
                <a:gd name="connsiteY305" fmla="*/ 254032 h 845819"/>
                <a:gd name="connsiteX306" fmla="*/ 341090 w 1029843"/>
                <a:gd name="connsiteY306" fmla="*/ 254889 h 845819"/>
                <a:gd name="connsiteX307" fmla="*/ 343472 w 1029843"/>
                <a:gd name="connsiteY307" fmla="*/ 260985 h 845819"/>
                <a:gd name="connsiteX308" fmla="*/ 348806 w 1029843"/>
                <a:gd name="connsiteY308" fmla="*/ 265081 h 845819"/>
                <a:gd name="connsiteX309" fmla="*/ 349187 w 1029843"/>
                <a:gd name="connsiteY309" fmla="*/ 268224 h 845819"/>
                <a:gd name="connsiteX310" fmla="*/ 352806 w 1029843"/>
                <a:gd name="connsiteY310" fmla="*/ 270986 h 845819"/>
                <a:gd name="connsiteX311" fmla="*/ 356997 w 1029843"/>
                <a:gd name="connsiteY311" fmla="*/ 278511 h 845819"/>
                <a:gd name="connsiteX312" fmla="*/ 358521 w 1029843"/>
                <a:gd name="connsiteY312" fmla="*/ 278320 h 845819"/>
                <a:gd name="connsiteX313" fmla="*/ 359283 w 1029843"/>
                <a:gd name="connsiteY313" fmla="*/ 284607 h 845819"/>
                <a:gd name="connsiteX314" fmla="*/ 363284 w 1029843"/>
                <a:gd name="connsiteY314" fmla="*/ 290513 h 845819"/>
                <a:gd name="connsiteX315" fmla="*/ 362141 w 1029843"/>
                <a:gd name="connsiteY315" fmla="*/ 293846 h 845819"/>
                <a:gd name="connsiteX316" fmla="*/ 340043 w 1029843"/>
                <a:gd name="connsiteY316" fmla="*/ 296704 h 845819"/>
                <a:gd name="connsiteX317" fmla="*/ 335471 w 1029843"/>
                <a:gd name="connsiteY317" fmla="*/ 298894 h 845819"/>
                <a:gd name="connsiteX318" fmla="*/ 334137 w 1029843"/>
                <a:gd name="connsiteY318" fmla="*/ 300609 h 845819"/>
                <a:gd name="connsiteX319" fmla="*/ 331946 w 1029843"/>
                <a:gd name="connsiteY319" fmla="*/ 296132 h 845819"/>
                <a:gd name="connsiteX320" fmla="*/ 329184 w 1029843"/>
                <a:gd name="connsiteY320" fmla="*/ 299657 h 845819"/>
                <a:gd name="connsiteX321" fmla="*/ 331184 w 1029843"/>
                <a:gd name="connsiteY321" fmla="*/ 302609 h 845819"/>
                <a:gd name="connsiteX322" fmla="*/ 328041 w 1029843"/>
                <a:gd name="connsiteY322" fmla="*/ 302990 h 845819"/>
                <a:gd name="connsiteX323" fmla="*/ 326803 w 1029843"/>
                <a:gd name="connsiteY323" fmla="*/ 293561 h 845819"/>
                <a:gd name="connsiteX324" fmla="*/ 323660 w 1029843"/>
                <a:gd name="connsiteY324" fmla="*/ 293942 h 845819"/>
                <a:gd name="connsiteX325" fmla="*/ 323850 w 1029843"/>
                <a:gd name="connsiteY325" fmla="*/ 295561 h 845819"/>
                <a:gd name="connsiteX326" fmla="*/ 320516 w 1029843"/>
                <a:gd name="connsiteY326" fmla="*/ 294323 h 845819"/>
                <a:gd name="connsiteX327" fmla="*/ 320040 w 1029843"/>
                <a:gd name="connsiteY327" fmla="*/ 291179 h 845819"/>
                <a:gd name="connsiteX328" fmla="*/ 318707 w 1029843"/>
                <a:gd name="connsiteY328" fmla="*/ 292989 h 845819"/>
                <a:gd name="connsiteX329" fmla="*/ 318325 w 1029843"/>
                <a:gd name="connsiteY329" fmla="*/ 289846 h 845819"/>
                <a:gd name="connsiteX330" fmla="*/ 316706 w 1029843"/>
                <a:gd name="connsiteY330" fmla="*/ 290036 h 845819"/>
                <a:gd name="connsiteX331" fmla="*/ 310801 w 1029843"/>
                <a:gd name="connsiteY331" fmla="*/ 293942 h 845819"/>
                <a:gd name="connsiteX332" fmla="*/ 309277 w 1029843"/>
                <a:gd name="connsiteY332" fmla="*/ 294227 h 845819"/>
                <a:gd name="connsiteX333" fmla="*/ 304705 w 1029843"/>
                <a:gd name="connsiteY333" fmla="*/ 296323 h 845819"/>
                <a:gd name="connsiteX334" fmla="*/ 301371 w 1029843"/>
                <a:gd name="connsiteY334" fmla="*/ 295180 h 845819"/>
                <a:gd name="connsiteX335" fmla="*/ 302324 w 1029843"/>
                <a:gd name="connsiteY335" fmla="*/ 303086 h 845819"/>
                <a:gd name="connsiteX336" fmla="*/ 294418 w 1029843"/>
                <a:gd name="connsiteY336" fmla="*/ 304133 h 845819"/>
                <a:gd name="connsiteX337" fmla="*/ 292227 w 1029843"/>
                <a:gd name="connsiteY337" fmla="*/ 299561 h 845819"/>
                <a:gd name="connsiteX338" fmla="*/ 287750 w 1029843"/>
                <a:gd name="connsiteY338" fmla="*/ 301752 h 845819"/>
                <a:gd name="connsiteX339" fmla="*/ 285750 w 1029843"/>
                <a:gd name="connsiteY339" fmla="*/ 298799 h 845819"/>
                <a:gd name="connsiteX340" fmla="*/ 279464 w 1029843"/>
                <a:gd name="connsiteY340" fmla="*/ 299561 h 845819"/>
                <a:gd name="connsiteX341" fmla="*/ 278606 w 1029843"/>
                <a:gd name="connsiteY341" fmla="*/ 293275 h 845819"/>
                <a:gd name="connsiteX342" fmla="*/ 267557 w 1029843"/>
                <a:gd name="connsiteY342" fmla="*/ 281845 h 845819"/>
                <a:gd name="connsiteX343" fmla="*/ 268319 w 1029843"/>
                <a:gd name="connsiteY343" fmla="*/ 275368 h 845819"/>
                <a:gd name="connsiteX344" fmla="*/ 270129 w 1029843"/>
                <a:gd name="connsiteY344" fmla="*/ 276701 h 845819"/>
                <a:gd name="connsiteX345" fmla="*/ 269748 w 1029843"/>
                <a:gd name="connsiteY345" fmla="*/ 273558 h 845819"/>
                <a:gd name="connsiteX346" fmla="*/ 267748 w 1029843"/>
                <a:gd name="connsiteY346" fmla="*/ 270605 h 845819"/>
                <a:gd name="connsiteX347" fmla="*/ 254318 w 1029843"/>
                <a:gd name="connsiteY347" fmla="*/ 265938 h 845819"/>
                <a:gd name="connsiteX348" fmla="*/ 254889 w 1029843"/>
                <a:gd name="connsiteY348" fmla="*/ 270605 h 845819"/>
                <a:gd name="connsiteX349" fmla="*/ 256508 w 1029843"/>
                <a:gd name="connsiteY349" fmla="*/ 270415 h 845819"/>
                <a:gd name="connsiteX350" fmla="*/ 253746 w 1029843"/>
                <a:gd name="connsiteY350" fmla="*/ 274034 h 845819"/>
                <a:gd name="connsiteX351" fmla="*/ 257461 w 1029843"/>
                <a:gd name="connsiteY351" fmla="*/ 278320 h 845819"/>
                <a:gd name="connsiteX352" fmla="*/ 256508 w 1029843"/>
                <a:gd name="connsiteY352" fmla="*/ 283273 h 845819"/>
                <a:gd name="connsiteX353" fmla="*/ 254699 w 1029843"/>
                <a:gd name="connsiteY353" fmla="*/ 281845 h 845819"/>
                <a:gd name="connsiteX354" fmla="*/ 253365 w 1029843"/>
                <a:gd name="connsiteY354" fmla="*/ 283655 h 845819"/>
                <a:gd name="connsiteX355" fmla="*/ 248031 w 1029843"/>
                <a:gd name="connsiteY355" fmla="*/ 279559 h 845819"/>
                <a:gd name="connsiteX356" fmla="*/ 247841 w 1029843"/>
                <a:gd name="connsiteY356" fmla="*/ 290798 h 845819"/>
                <a:gd name="connsiteX357" fmla="*/ 240125 w 1029843"/>
                <a:gd name="connsiteY357" fmla="*/ 293370 h 845819"/>
                <a:gd name="connsiteX358" fmla="*/ 238411 w 1029843"/>
                <a:gd name="connsiteY358" fmla="*/ 292036 h 845819"/>
                <a:gd name="connsiteX359" fmla="*/ 229076 w 1029843"/>
                <a:gd name="connsiteY359" fmla="*/ 294799 h 845819"/>
                <a:gd name="connsiteX360" fmla="*/ 228124 w 1029843"/>
                <a:gd name="connsiteY360" fmla="*/ 299752 h 845819"/>
                <a:gd name="connsiteX361" fmla="*/ 226790 w 1029843"/>
                <a:gd name="connsiteY361" fmla="*/ 301466 h 845819"/>
                <a:gd name="connsiteX362" fmla="*/ 230505 w 1029843"/>
                <a:gd name="connsiteY362" fmla="*/ 305848 h 845819"/>
                <a:gd name="connsiteX363" fmla="*/ 231743 w 1029843"/>
                <a:gd name="connsiteY363" fmla="*/ 315278 h 845819"/>
                <a:gd name="connsiteX364" fmla="*/ 238697 w 1029843"/>
                <a:gd name="connsiteY364" fmla="*/ 319183 h 845819"/>
                <a:gd name="connsiteX365" fmla="*/ 237649 w 1029843"/>
                <a:gd name="connsiteY365" fmla="*/ 324136 h 845819"/>
                <a:gd name="connsiteX366" fmla="*/ 232982 w 1029843"/>
                <a:gd name="connsiteY366" fmla="*/ 324803 h 845819"/>
                <a:gd name="connsiteX367" fmla="*/ 234887 w 1029843"/>
                <a:gd name="connsiteY367" fmla="*/ 327755 h 845819"/>
                <a:gd name="connsiteX368" fmla="*/ 232124 w 1029843"/>
                <a:gd name="connsiteY368" fmla="*/ 331280 h 845819"/>
                <a:gd name="connsiteX369" fmla="*/ 231172 w 1029843"/>
                <a:gd name="connsiteY369" fmla="*/ 336232 h 845819"/>
                <a:gd name="connsiteX370" fmla="*/ 226219 w 1029843"/>
                <a:gd name="connsiteY370" fmla="*/ 335280 h 845819"/>
                <a:gd name="connsiteX371" fmla="*/ 223838 w 1029843"/>
                <a:gd name="connsiteY371" fmla="*/ 329089 h 845819"/>
                <a:gd name="connsiteX372" fmla="*/ 220885 w 1029843"/>
                <a:gd name="connsiteY372" fmla="*/ 331089 h 845819"/>
                <a:gd name="connsiteX373" fmla="*/ 218123 w 1029843"/>
                <a:gd name="connsiteY373" fmla="*/ 334709 h 845819"/>
                <a:gd name="connsiteX374" fmla="*/ 221933 w 1029843"/>
                <a:gd name="connsiteY374" fmla="*/ 338995 h 845819"/>
                <a:gd name="connsiteX375" fmla="*/ 222123 w 1029843"/>
                <a:gd name="connsiteY375" fmla="*/ 340614 h 845819"/>
                <a:gd name="connsiteX376" fmla="*/ 218789 w 1029843"/>
                <a:gd name="connsiteY376" fmla="*/ 339376 h 845819"/>
                <a:gd name="connsiteX377" fmla="*/ 218980 w 1029843"/>
                <a:gd name="connsiteY377" fmla="*/ 340995 h 845819"/>
                <a:gd name="connsiteX378" fmla="*/ 213836 w 1029843"/>
                <a:gd name="connsiteY378" fmla="*/ 338423 h 845819"/>
                <a:gd name="connsiteX379" fmla="*/ 212693 w 1029843"/>
                <a:gd name="connsiteY379" fmla="*/ 341757 h 845819"/>
                <a:gd name="connsiteX380" fmla="*/ 207740 w 1029843"/>
                <a:gd name="connsiteY380" fmla="*/ 340805 h 845819"/>
                <a:gd name="connsiteX381" fmla="*/ 203168 w 1029843"/>
                <a:gd name="connsiteY381" fmla="*/ 342995 h 845819"/>
                <a:gd name="connsiteX382" fmla="*/ 196691 w 1029843"/>
                <a:gd name="connsiteY382" fmla="*/ 342233 h 845819"/>
                <a:gd name="connsiteX383" fmla="*/ 196025 w 1029843"/>
                <a:gd name="connsiteY383" fmla="*/ 337471 h 845819"/>
                <a:gd name="connsiteX384" fmla="*/ 192691 w 1029843"/>
                <a:gd name="connsiteY384" fmla="*/ 336328 h 845819"/>
                <a:gd name="connsiteX385" fmla="*/ 195834 w 1029843"/>
                <a:gd name="connsiteY385" fmla="*/ 335947 h 845819"/>
                <a:gd name="connsiteX386" fmla="*/ 195453 w 1029843"/>
                <a:gd name="connsiteY386" fmla="*/ 332708 h 845819"/>
                <a:gd name="connsiteX387" fmla="*/ 190691 w 1029843"/>
                <a:gd name="connsiteY387" fmla="*/ 333375 h 845819"/>
                <a:gd name="connsiteX388" fmla="*/ 188786 w 1029843"/>
                <a:gd name="connsiteY388" fmla="*/ 330422 h 845819"/>
                <a:gd name="connsiteX389" fmla="*/ 196882 w 1029843"/>
                <a:gd name="connsiteY389" fmla="*/ 330994 h 845819"/>
                <a:gd name="connsiteX390" fmla="*/ 196596 w 1029843"/>
                <a:gd name="connsiteY390" fmla="*/ 329375 h 845819"/>
                <a:gd name="connsiteX391" fmla="*/ 193262 w 1029843"/>
                <a:gd name="connsiteY391" fmla="*/ 328232 h 845819"/>
                <a:gd name="connsiteX392" fmla="*/ 191072 w 1029843"/>
                <a:gd name="connsiteY392" fmla="*/ 323659 h 845819"/>
                <a:gd name="connsiteX393" fmla="*/ 194215 w 1029843"/>
                <a:gd name="connsiteY393" fmla="*/ 323279 h 845819"/>
                <a:gd name="connsiteX394" fmla="*/ 190119 w 1029843"/>
                <a:gd name="connsiteY394" fmla="*/ 315754 h 845819"/>
                <a:gd name="connsiteX395" fmla="*/ 191262 w 1029843"/>
                <a:gd name="connsiteY395" fmla="*/ 312420 h 845819"/>
                <a:gd name="connsiteX396" fmla="*/ 187928 w 1029843"/>
                <a:gd name="connsiteY396" fmla="*/ 311277 h 845819"/>
                <a:gd name="connsiteX397" fmla="*/ 182023 w 1029843"/>
                <a:gd name="connsiteY397" fmla="*/ 315182 h 845819"/>
                <a:gd name="connsiteX398" fmla="*/ 181832 w 1029843"/>
                <a:gd name="connsiteY398" fmla="*/ 326422 h 845819"/>
                <a:gd name="connsiteX399" fmla="*/ 174879 w 1029843"/>
                <a:gd name="connsiteY399" fmla="*/ 322517 h 845819"/>
                <a:gd name="connsiteX400" fmla="*/ 172784 w 1029843"/>
                <a:gd name="connsiteY400" fmla="*/ 318040 h 845819"/>
                <a:gd name="connsiteX401" fmla="*/ 166021 w 1029843"/>
                <a:gd name="connsiteY401" fmla="*/ 315659 h 845819"/>
                <a:gd name="connsiteX402" fmla="*/ 164402 w 1029843"/>
                <a:gd name="connsiteY402" fmla="*/ 315849 h 845819"/>
                <a:gd name="connsiteX403" fmla="*/ 160306 w 1029843"/>
                <a:gd name="connsiteY403" fmla="*/ 308324 h 845819"/>
                <a:gd name="connsiteX404" fmla="*/ 161449 w 1029843"/>
                <a:gd name="connsiteY404" fmla="*/ 304990 h 845819"/>
                <a:gd name="connsiteX405" fmla="*/ 153162 w 1029843"/>
                <a:gd name="connsiteY405" fmla="*/ 302895 h 845819"/>
                <a:gd name="connsiteX406" fmla="*/ 152019 w 1029843"/>
                <a:gd name="connsiteY406" fmla="*/ 306229 h 845819"/>
                <a:gd name="connsiteX407" fmla="*/ 150400 w 1029843"/>
                <a:gd name="connsiteY407" fmla="*/ 306419 h 845819"/>
                <a:gd name="connsiteX408" fmla="*/ 148209 w 1029843"/>
                <a:gd name="connsiteY408" fmla="*/ 301847 h 845819"/>
                <a:gd name="connsiteX409" fmla="*/ 144113 w 1029843"/>
                <a:gd name="connsiteY409" fmla="*/ 307181 h 845819"/>
                <a:gd name="connsiteX410" fmla="*/ 142113 w 1029843"/>
                <a:gd name="connsiteY410" fmla="*/ 304229 h 845819"/>
                <a:gd name="connsiteX411" fmla="*/ 133826 w 1029843"/>
                <a:gd name="connsiteY411" fmla="*/ 302133 h 845819"/>
                <a:gd name="connsiteX412" fmla="*/ 134969 w 1029843"/>
                <a:gd name="connsiteY412" fmla="*/ 298704 h 845819"/>
                <a:gd name="connsiteX413" fmla="*/ 126302 w 1029843"/>
                <a:gd name="connsiteY413" fmla="*/ 293465 h 845819"/>
                <a:gd name="connsiteX414" fmla="*/ 124968 w 1029843"/>
                <a:gd name="connsiteY414" fmla="*/ 295180 h 845819"/>
                <a:gd name="connsiteX415" fmla="*/ 121349 w 1029843"/>
                <a:gd name="connsiteY415" fmla="*/ 292513 h 845819"/>
                <a:gd name="connsiteX416" fmla="*/ 116681 w 1029843"/>
                <a:gd name="connsiteY416" fmla="*/ 293084 h 845819"/>
                <a:gd name="connsiteX417" fmla="*/ 115253 w 1029843"/>
                <a:gd name="connsiteY417" fmla="*/ 294894 h 845819"/>
                <a:gd name="connsiteX418" fmla="*/ 111538 w 1029843"/>
                <a:gd name="connsiteY418" fmla="*/ 290513 h 845819"/>
                <a:gd name="connsiteX419" fmla="*/ 110300 w 1029843"/>
                <a:gd name="connsiteY419" fmla="*/ 293846 h 845819"/>
                <a:gd name="connsiteX420" fmla="*/ 107156 w 1029843"/>
                <a:gd name="connsiteY420" fmla="*/ 294323 h 845819"/>
                <a:gd name="connsiteX421" fmla="*/ 106013 w 1029843"/>
                <a:gd name="connsiteY421" fmla="*/ 297656 h 845819"/>
                <a:gd name="connsiteX422" fmla="*/ 104394 w 1029843"/>
                <a:gd name="connsiteY422" fmla="*/ 297847 h 845819"/>
                <a:gd name="connsiteX423" fmla="*/ 101632 w 1029843"/>
                <a:gd name="connsiteY423" fmla="*/ 301371 h 845819"/>
                <a:gd name="connsiteX424" fmla="*/ 103442 w 1029843"/>
                <a:gd name="connsiteY424" fmla="*/ 302800 h 845819"/>
                <a:gd name="connsiteX425" fmla="*/ 95726 w 1029843"/>
                <a:gd name="connsiteY425" fmla="*/ 305371 h 845819"/>
                <a:gd name="connsiteX426" fmla="*/ 96583 w 1029843"/>
                <a:gd name="connsiteY426" fmla="*/ 311658 h 845819"/>
                <a:gd name="connsiteX427" fmla="*/ 91631 w 1029843"/>
                <a:gd name="connsiteY427" fmla="*/ 310705 h 845819"/>
                <a:gd name="connsiteX428" fmla="*/ 93631 w 1029843"/>
                <a:gd name="connsiteY428" fmla="*/ 313658 h 845819"/>
                <a:gd name="connsiteX429" fmla="*/ 92869 w 1029843"/>
                <a:gd name="connsiteY429" fmla="*/ 320135 h 845819"/>
                <a:gd name="connsiteX430" fmla="*/ 93250 w 1029843"/>
                <a:gd name="connsiteY430" fmla="*/ 323279 h 845819"/>
                <a:gd name="connsiteX431" fmla="*/ 88487 w 1029843"/>
                <a:gd name="connsiteY431" fmla="*/ 323945 h 845819"/>
                <a:gd name="connsiteX432" fmla="*/ 85344 w 1029843"/>
                <a:gd name="connsiteY432" fmla="*/ 324326 h 845819"/>
                <a:gd name="connsiteX433" fmla="*/ 80772 w 1029843"/>
                <a:gd name="connsiteY433" fmla="*/ 326517 h 845819"/>
                <a:gd name="connsiteX434" fmla="*/ 71723 w 1029843"/>
                <a:gd name="connsiteY434" fmla="*/ 318040 h 845819"/>
                <a:gd name="connsiteX435" fmla="*/ 63246 w 1029843"/>
                <a:gd name="connsiteY435" fmla="*/ 314325 h 845819"/>
                <a:gd name="connsiteX436" fmla="*/ 54959 w 1029843"/>
                <a:gd name="connsiteY436" fmla="*/ 312134 h 845819"/>
                <a:gd name="connsiteX437" fmla="*/ 51149 w 1029843"/>
                <a:gd name="connsiteY437" fmla="*/ 307848 h 845819"/>
                <a:gd name="connsiteX438" fmla="*/ 47625 w 1029843"/>
                <a:gd name="connsiteY438" fmla="*/ 305086 h 845819"/>
                <a:gd name="connsiteX439" fmla="*/ 35528 w 1029843"/>
                <a:gd name="connsiteY439" fmla="*/ 298609 h 845819"/>
                <a:gd name="connsiteX440" fmla="*/ 34195 w 1029843"/>
                <a:gd name="connsiteY440" fmla="*/ 300419 h 845819"/>
                <a:gd name="connsiteX441" fmla="*/ 29242 w 1029843"/>
                <a:gd name="connsiteY441" fmla="*/ 299371 h 845819"/>
                <a:gd name="connsiteX442" fmla="*/ 28670 w 1029843"/>
                <a:gd name="connsiteY442" fmla="*/ 294704 h 845819"/>
                <a:gd name="connsiteX443" fmla="*/ 26670 w 1029843"/>
                <a:gd name="connsiteY443" fmla="*/ 291751 h 845819"/>
                <a:gd name="connsiteX444" fmla="*/ 25527 w 1029843"/>
                <a:gd name="connsiteY444" fmla="*/ 295084 h 845819"/>
                <a:gd name="connsiteX445" fmla="*/ 23908 w 1029843"/>
                <a:gd name="connsiteY445" fmla="*/ 295275 h 845819"/>
                <a:gd name="connsiteX446" fmla="*/ 24289 w 1029843"/>
                <a:gd name="connsiteY446" fmla="*/ 298418 h 845819"/>
                <a:gd name="connsiteX447" fmla="*/ 22765 w 1029843"/>
                <a:gd name="connsiteY447" fmla="*/ 298609 h 845819"/>
                <a:gd name="connsiteX448" fmla="*/ 23336 w 1029843"/>
                <a:gd name="connsiteY448" fmla="*/ 303371 h 845819"/>
                <a:gd name="connsiteX449" fmla="*/ 16859 w 1029843"/>
                <a:gd name="connsiteY449" fmla="*/ 302609 h 845819"/>
                <a:gd name="connsiteX450" fmla="*/ 17240 w 1029843"/>
                <a:gd name="connsiteY450" fmla="*/ 305753 h 845819"/>
                <a:gd name="connsiteX451" fmla="*/ 9335 w 1029843"/>
                <a:gd name="connsiteY451" fmla="*/ 306705 h 845819"/>
                <a:gd name="connsiteX452" fmla="*/ 4953 w 1029843"/>
                <a:gd name="connsiteY452" fmla="*/ 310515 h 845819"/>
                <a:gd name="connsiteX453" fmla="*/ 6001 w 1029843"/>
                <a:gd name="connsiteY453" fmla="*/ 318421 h 845819"/>
                <a:gd name="connsiteX454" fmla="*/ 8001 w 1029843"/>
                <a:gd name="connsiteY454" fmla="*/ 321373 h 845819"/>
                <a:gd name="connsiteX455" fmla="*/ 11335 w 1029843"/>
                <a:gd name="connsiteY455" fmla="*/ 322517 h 845819"/>
                <a:gd name="connsiteX456" fmla="*/ 18860 w 1029843"/>
                <a:gd name="connsiteY456" fmla="*/ 331184 h 845819"/>
                <a:gd name="connsiteX457" fmla="*/ 19431 w 1029843"/>
                <a:gd name="connsiteY457" fmla="*/ 335947 h 845819"/>
                <a:gd name="connsiteX458" fmla="*/ 18288 w 1029843"/>
                <a:gd name="connsiteY458" fmla="*/ 339280 h 845819"/>
                <a:gd name="connsiteX459" fmla="*/ 16954 w 1029843"/>
                <a:gd name="connsiteY459" fmla="*/ 341090 h 845819"/>
                <a:gd name="connsiteX460" fmla="*/ 20288 w 1029843"/>
                <a:gd name="connsiteY460" fmla="*/ 342233 h 845819"/>
                <a:gd name="connsiteX461" fmla="*/ 25622 w 1029843"/>
                <a:gd name="connsiteY461" fmla="*/ 346329 h 845819"/>
                <a:gd name="connsiteX462" fmla="*/ 24194 w 1029843"/>
                <a:gd name="connsiteY462" fmla="*/ 348139 h 845819"/>
                <a:gd name="connsiteX463" fmla="*/ 24670 w 1029843"/>
                <a:gd name="connsiteY463" fmla="*/ 351282 h 845819"/>
                <a:gd name="connsiteX464" fmla="*/ 21241 w 1029843"/>
                <a:gd name="connsiteY464" fmla="*/ 350139 h 845819"/>
                <a:gd name="connsiteX465" fmla="*/ 19907 w 1029843"/>
                <a:gd name="connsiteY465" fmla="*/ 351949 h 845819"/>
                <a:gd name="connsiteX466" fmla="*/ 21431 w 1029843"/>
                <a:gd name="connsiteY466" fmla="*/ 351663 h 845819"/>
                <a:gd name="connsiteX467" fmla="*/ 21908 w 1029843"/>
                <a:gd name="connsiteY467" fmla="*/ 354902 h 845819"/>
                <a:gd name="connsiteX468" fmla="*/ 20669 w 1029843"/>
                <a:gd name="connsiteY468" fmla="*/ 358235 h 845819"/>
                <a:gd name="connsiteX469" fmla="*/ 22289 w 1029843"/>
                <a:gd name="connsiteY469" fmla="*/ 358045 h 845819"/>
                <a:gd name="connsiteX470" fmla="*/ 21527 w 1029843"/>
                <a:gd name="connsiteY470" fmla="*/ 364522 h 845819"/>
                <a:gd name="connsiteX471" fmla="*/ 19907 w 1029843"/>
                <a:gd name="connsiteY471" fmla="*/ 364712 h 845819"/>
                <a:gd name="connsiteX472" fmla="*/ 20574 w 1029843"/>
                <a:gd name="connsiteY472" fmla="*/ 369475 h 845819"/>
                <a:gd name="connsiteX473" fmla="*/ 16193 w 1029843"/>
                <a:gd name="connsiteY473" fmla="*/ 373190 h 845819"/>
                <a:gd name="connsiteX474" fmla="*/ 18574 w 1029843"/>
                <a:gd name="connsiteY474" fmla="*/ 379381 h 845819"/>
                <a:gd name="connsiteX475" fmla="*/ 23146 w 1029843"/>
                <a:gd name="connsiteY475" fmla="*/ 377190 h 845819"/>
                <a:gd name="connsiteX476" fmla="*/ 23527 w 1029843"/>
                <a:gd name="connsiteY476" fmla="*/ 380333 h 845819"/>
                <a:gd name="connsiteX477" fmla="*/ 26479 w 1029843"/>
                <a:gd name="connsiteY477" fmla="*/ 378333 h 845819"/>
                <a:gd name="connsiteX478" fmla="*/ 28289 w 1029843"/>
                <a:gd name="connsiteY478" fmla="*/ 379667 h 845819"/>
                <a:gd name="connsiteX479" fmla="*/ 34195 w 1029843"/>
                <a:gd name="connsiteY479" fmla="*/ 388620 h 845819"/>
                <a:gd name="connsiteX480" fmla="*/ 34576 w 1029843"/>
                <a:gd name="connsiteY480" fmla="*/ 391763 h 845819"/>
                <a:gd name="connsiteX481" fmla="*/ 29813 w 1029843"/>
                <a:gd name="connsiteY481" fmla="*/ 392335 h 845819"/>
                <a:gd name="connsiteX482" fmla="*/ 30480 w 1029843"/>
                <a:gd name="connsiteY482" fmla="*/ 397097 h 845819"/>
                <a:gd name="connsiteX483" fmla="*/ 33814 w 1029843"/>
                <a:gd name="connsiteY483" fmla="*/ 398240 h 845819"/>
                <a:gd name="connsiteX484" fmla="*/ 32671 w 1029843"/>
                <a:gd name="connsiteY484" fmla="*/ 401574 h 845819"/>
                <a:gd name="connsiteX485" fmla="*/ 39338 w 1029843"/>
                <a:gd name="connsiteY485" fmla="*/ 403955 h 845819"/>
                <a:gd name="connsiteX486" fmla="*/ 34100 w 1029843"/>
                <a:gd name="connsiteY486" fmla="*/ 425482 h 845819"/>
                <a:gd name="connsiteX487" fmla="*/ 32290 w 1029843"/>
                <a:gd name="connsiteY487" fmla="*/ 424053 h 845819"/>
                <a:gd name="connsiteX488" fmla="*/ 31147 w 1029843"/>
                <a:gd name="connsiteY488" fmla="*/ 427482 h 845819"/>
                <a:gd name="connsiteX489" fmla="*/ 29147 w 1029843"/>
                <a:gd name="connsiteY489" fmla="*/ 424529 h 845819"/>
                <a:gd name="connsiteX490" fmla="*/ 28004 w 1029843"/>
                <a:gd name="connsiteY490" fmla="*/ 427863 h 845819"/>
                <a:gd name="connsiteX491" fmla="*/ 21622 w 1029843"/>
                <a:gd name="connsiteY491" fmla="*/ 428625 h 845819"/>
                <a:gd name="connsiteX492" fmla="*/ 22479 w 1029843"/>
                <a:gd name="connsiteY492" fmla="*/ 435007 h 845819"/>
                <a:gd name="connsiteX493" fmla="*/ 24003 w 1029843"/>
                <a:gd name="connsiteY493" fmla="*/ 434816 h 845819"/>
                <a:gd name="connsiteX494" fmla="*/ 24479 w 1029843"/>
                <a:gd name="connsiteY494" fmla="*/ 437959 h 845819"/>
                <a:gd name="connsiteX495" fmla="*/ 21527 w 1029843"/>
                <a:gd name="connsiteY495" fmla="*/ 439865 h 845819"/>
                <a:gd name="connsiteX496" fmla="*/ 26861 w 1029843"/>
                <a:gd name="connsiteY496" fmla="*/ 444055 h 845819"/>
                <a:gd name="connsiteX497" fmla="*/ 25622 w 1029843"/>
                <a:gd name="connsiteY497" fmla="*/ 447389 h 845819"/>
                <a:gd name="connsiteX498" fmla="*/ 22479 w 1029843"/>
                <a:gd name="connsiteY498" fmla="*/ 447770 h 845819"/>
                <a:gd name="connsiteX499" fmla="*/ 21146 w 1029843"/>
                <a:gd name="connsiteY499" fmla="*/ 449580 h 845819"/>
                <a:gd name="connsiteX500" fmla="*/ 19526 w 1029843"/>
                <a:gd name="connsiteY500" fmla="*/ 449771 h 845819"/>
                <a:gd name="connsiteX501" fmla="*/ 20955 w 1029843"/>
                <a:gd name="connsiteY501" fmla="*/ 447961 h 845819"/>
                <a:gd name="connsiteX502" fmla="*/ 19145 w 1029843"/>
                <a:gd name="connsiteY502" fmla="*/ 446627 h 845819"/>
                <a:gd name="connsiteX503" fmla="*/ 17717 w 1029843"/>
                <a:gd name="connsiteY503" fmla="*/ 448437 h 845819"/>
                <a:gd name="connsiteX504" fmla="*/ 14383 w 1029843"/>
                <a:gd name="connsiteY504" fmla="*/ 447199 h 845819"/>
                <a:gd name="connsiteX505" fmla="*/ 13049 w 1029843"/>
                <a:gd name="connsiteY505" fmla="*/ 449009 h 845819"/>
                <a:gd name="connsiteX506" fmla="*/ 9430 w 1029843"/>
                <a:gd name="connsiteY506" fmla="*/ 446246 h 845819"/>
                <a:gd name="connsiteX507" fmla="*/ 6953 w 1029843"/>
                <a:gd name="connsiteY507" fmla="*/ 451390 h 845819"/>
                <a:gd name="connsiteX508" fmla="*/ 0 w 1029843"/>
                <a:gd name="connsiteY508" fmla="*/ 460248 h 845819"/>
                <a:gd name="connsiteX509" fmla="*/ 5525 w 1029843"/>
                <a:gd name="connsiteY509" fmla="*/ 465963 h 845819"/>
                <a:gd name="connsiteX510" fmla="*/ 9525 w 1029843"/>
                <a:gd name="connsiteY510" fmla="*/ 471869 h 845819"/>
                <a:gd name="connsiteX511" fmla="*/ 12668 w 1029843"/>
                <a:gd name="connsiteY511" fmla="*/ 471488 h 845819"/>
                <a:gd name="connsiteX512" fmla="*/ 18002 w 1029843"/>
                <a:gd name="connsiteY512" fmla="*/ 475679 h 845819"/>
                <a:gd name="connsiteX513" fmla="*/ 16478 w 1029843"/>
                <a:gd name="connsiteY513" fmla="*/ 475869 h 845819"/>
                <a:gd name="connsiteX514" fmla="*/ 12287 w 1029843"/>
                <a:gd name="connsiteY514" fmla="*/ 481203 h 845819"/>
                <a:gd name="connsiteX515" fmla="*/ 15050 w 1029843"/>
                <a:gd name="connsiteY515" fmla="*/ 490442 h 845819"/>
                <a:gd name="connsiteX516" fmla="*/ 17240 w 1029843"/>
                <a:gd name="connsiteY516" fmla="*/ 495014 h 845819"/>
                <a:gd name="connsiteX517" fmla="*/ 20860 w 1029843"/>
                <a:gd name="connsiteY517" fmla="*/ 497681 h 845819"/>
                <a:gd name="connsiteX518" fmla="*/ 27718 w 1029843"/>
                <a:gd name="connsiteY518" fmla="*/ 501682 h 845819"/>
                <a:gd name="connsiteX519" fmla="*/ 34481 w 1029843"/>
                <a:gd name="connsiteY519" fmla="*/ 503968 h 845819"/>
                <a:gd name="connsiteX520" fmla="*/ 37433 w 1029843"/>
                <a:gd name="connsiteY520" fmla="*/ 502063 h 845819"/>
                <a:gd name="connsiteX521" fmla="*/ 42767 w 1029843"/>
                <a:gd name="connsiteY521" fmla="*/ 493300 h 845819"/>
                <a:gd name="connsiteX522" fmla="*/ 46673 w 1029843"/>
                <a:gd name="connsiteY522" fmla="*/ 499205 h 845819"/>
                <a:gd name="connsiteX523" fmla="*/ 55150 w 1029843"/>
                <a:gd name="connsiteY523" fmla="*/ 502920 h 845819"/>
                <a:gd name="connsiteX524" fmla="*/ 58579 w 1029843"/>
                <a:gd name="connsiteY524" fmla="*/ 504158 h 845819"/>
                <a:gd name="connsiteX525" fmla="*/ 57150 w 1029843"/>
                <a:gd name="connsiteY525" fmla="*/ 505968 h 845819"/>
                <a:gd name="connsiteX526" fmla="*/ 55817 w 1029843"/>
                <a:gd name="connsiteY526" fmla="*/ 507682 h 845819"/>
                <a:gd name="connsiteX527" fmla="*/ 54197 w 1029843"/>
                <a:gd name="connsiteY527" fmla="*/ 507873 h 845819"/>
                <a:gd name="connsiteX528" fmla="*/ 53626 w 1029843"/>
                <a:gd name="connsiteY528" fmla="*/ 515969 h 845819"/>
                <a:gd name="connsiteX529" fmla="*/ 56960 w 1029843"/>
                <a:gd name="connsiteY529" fmla="*/ 517207 h 845819"/>
                <a:gd name="connsiteX530" fmla="*/ 61150 w 1029843"/>
                <a:gd name="connsiteY530" fmla="*/ 511873 h 845819"/>
                <a:gd name="connsiteX531" fmla="*/ 62865 w 1029843"/>
                <a:gd name="connsiteY531" fmla="*/ 513207 h 845819"/>
                <a:gd name="connsiteX532" fmla="*/ 63056 w 1029843"/>
                <a:gd name="connsiteY532" fmla="*/ 514826 h 845819"/>
                <a:gd name="connsiteX533" fmla="*/ 67056 w 1029843"/>
                <a:gd name="connsiteY533" fmla="*/ 520732 h 845819"/>
                <a:gd name="connsiteX534" fmla="*/ 68675 w 1029843"/>
                <a:gd name="connsiteY534" fmla="*/ 520541 h 845819"/>
                <a:gd name="connsiteX535" fmla="*/ 70580 w 1029843"/>
                <a:gd name="connsiteY535" fmla="*/ 523494 h 845819"/>
                <a:gd name="connsiteX536" fmla="*/ 73819 w 1029843"/>
                <a:gd name="connsiteY536" fmla="*/ 523018 h 845819"/>
                <a:gd name="connsiteX537" fmla="*/ 77533 w 1029843"/>
                <a:gd name="connsiteY537" fmla="*/ 527399 h 845819"/>
                <a:gd name="connsiteX538" fmla="*/ 78105 w 1029843"/>
                <a:gd name="connsiteY538" fmla="*/ 532162 h 845819"/>
                <a:gd name="connsiteX539" fmla="*/ 74771 w 1029843"/>
                <a:gd name="connsiteY539" fmla="*/ 530924 h 845819"/>
                <a:gd name="connsiteX540" fmla="*/ 68866 w 1029843"/>
                <a:gd name="connsiteY540" fmla="*/ 534924 h 845819"/>
                <a:gd name="connsiteX541" fmla="*/ 69247 w 1029843"/>
                <a:gd name="connsiteY541" fmla="*/ 538067 h 845819"/>
                <a:gd name="connsiteX542" fmla="*/ 72866 w 1029843"/>
                <a:gd name="connsiteY542" fmla="*/ 540830 h 845819"/>
                <a:gd name="connsiteX543" fmla="*/ 73438 w 1029843"/>
                <a:gd name="connsiteY543" fmla="*/ 545592 h 845819"/>
                <a:gd name="connsiteX544" fmla="*/ 70866 w 1029843"/>
                <a:gd name="connsiteY544" fmla="*/ 550640 h 845819"/>
                <a:gd name="connsiteX545" fmla="*/ 74486 w 1029843"/>
                <a:gd name="connsiteY545" fmla="*/ 553403 h 845819"/>
                <a:gd name="connsiteX546" fmla="*/ 84677 w 1029843"/>
                <a:gd name="connsiteY546" fmla="*/ 558546 h 845819"/>
                <a:gd name="connsiteX547" fmla="*/ 85154 w 1029843"/>
                <a:gd name="connsiteY547" fmla="*/ 561689 h 845819"/>
                <a:gd name="connsiteX548" fmla="*/ 86868 w 1029843"/>
                <a:gd name="connsiteY548" fmla="*/ 563118 h 845819"/>
                <a:gd name="connsiteX549" fmla="*/ 88106 w 1029843"/>
                <a:gd name="connsiteY549" fmla="*/ 559689 h 845819"/>
                <a:gd name="connsiteX550" fmla="*/ 89630 w 1029843"/>
                <a:gd name="connsiteY550" fmla="*/ 559499 h 845819"/>
                <a:gd name="connsiteX551" fmla="*/ 90011 w 1029843"/>
                <a:gd name="connsiteY551" fmla="*/ 562642 h 845819"/>
                <a:gd name="connsiteX552" fmla="*/ 91821 w 1029843"/>
                <a:gd name="connsiteY552" fmla="*/ 564071 h 845819"/>
                <a:gd name="connsiteX553" fmla="*/ 93250 w 1029843"/>
                <a:gd name="connsiteY553" fmla="*/ 562261 h 845819"/>
                <a:gd name="connsiteX554" fmla="*/ 94774 w 1029843"/>
                <a:gd name="connsiteY554" fmla="*/ 562070 h 845819"/>
                <a:gd name="connsiteX555" fmla="*/ 94393 w 1029843"/>
                <a:gd name="connsiteY555" fmla="*/ 558927 h 845819"/>
                <a:gd name="connsiteX556" fmla="*/ 104013 w 1029843"/>
                <a:gd name="connsiteY556" fmla="*/ 559308 h 845819"/>
                <a:gd name="connsiteX557" fmla="*/ 108204 w 1029843"/>
                <a:gd name="connsiteY557" fmla="*/ 553974 h 845819"/>
                <a:gd name="connsiteX558" fmla="*/ 111347 w 1029843"/>
                <a:gd name="connsiteY558" fmla="*/ 553593 h 845819"/>
                <a:gd name="connsiteX559" fmla="*/ 113157 w 1029843"/>
                <a:gd name="connsiteY559" fmla="*/ 554927 h 845819"/>
                <a:gd name="connsiteX560" fmla="*/ 113348 w 1029843"/>
                <a:gd name="connsiteY560" fmla="*/ 556546 h 845819"/>
                <a:gd name="connsiteX561" fmla="*/ 116872 w 1029843"/>
                <a:gd name="connsiteY561" fmla="*/ 559308 h 845819"/>
                <a:gd name="connsiteX562" fmla="*/ 117062 w 1029843"/>
                <a:gd name="connsiteY562" fmla="*/ 560832 h 845819"/>
                <a:gd name="connsiteX563" fmla="*/ 120015 w 1029843"/>
                <a:gd name="connsiteY563" fmla="*/ 558832 h 845819"/>
                <a:gd name="connsiteX564" fmla="*/ 123635 w 1029843"/>
                <a:gd name="connsiteY564" fmla="*/ 561594 h 845819"/>
                <a:gd name="connsiteX565" fmla="*/ 124968 w 1029843"/>
                <a:gd name="connsiteY565" fmla="*/ 559880 h 845819"/>
                <a:gd name="connsiteX566" fmla="*/ 131731 w 1029843"/>
                <a:gd name="connsiteY566" fmla="*/ 562165 h 845819"/>
                <a:gd name="connsiteX567" fmla="*/ 138589 w 1029843"/>
                <a:gd name="connsiteY567" fmla="*/ 566071 h 845819"/>
                <a:gd name="connsiteX568" fmla="*/ 137255 w 1029843"/>
                <a:gd name="connsiteY568" fmla="*/ 567880 h 845819"/>
                <a:gd name="connsiteX569" fmla="*/ 140779 w 1029843"/>
                <a:gd name="connsiteY569" fmla="*/ 570643 h 845819"/>
                <a:gd name="connsiteX570" fmla="*/ 142113 w 1029843"/>
                <a:gd name="connsiteY570" fmla="*/ 568833 h 845819"/>
                <a:gd name="connsiteX571" fmla="*/ 146495 w 1029843"/>
                <a:gd name="connsiteY571" fmla="*/ 565118 h 845819"/>
                <a:gd name="connsiteX572" fmla="*/ 148876 w 1029843"/>
                <a:gd name="connsiteY572" fmla="*/ 558355 h 845819"/>
                <a:gd name="connsiteX573" fmla="*/ 155353 w 1029843"/>
                <a:gd name="connsiteY573" fmla="*/ 559213 h 845819"/>
                <a:gd name="connsiteX574" fmla="*/ 159734 w 1029843"/>
                <a:gd name="connsiteY574" fmla="*/ 555403 h 845819"/>
                <a:gd name="connsiteX575" fmla="*/ 164402 w 1029843"/>
                <a:gd name="connsiteY575" fmla="*/ 554831 h 845819"/>
                <a:gd name="connsiteX576" fmla="*/ 165830 w 1029843"/>
                <a:gd name="connsiteY576" fmla="*/ 553022 h 845819"/>
                <a:gd name="connsiteX577" fmla="*/ 170498 w 1029843"/>
                <a:gd name="connsiteY577" fmla="*/ 552450 h 845819"/>
                <a:gd name="connsiteX578" fmla="*/ 171736 w 1029843"/>
                <a:gd name="connsiteY578" fmla="*/ 549116 h 845819"/>
                <a:gd name="connsiteX579" fmla="*/ 172117 w 1029843"/>
                <a:gd name="connsiteY579" fmla="*/ 552259 h 845819"/>
                <a:gd name="connsiteX580" fmla="*/ 173736 w 1029843"/>
                <a:gd name="connsiteY580" fmla="*/ 552069 h 845819"/>
                <a:gd name="connsiteX581" fmla="*/ 174689 w 1029843"/>
                <a:gd name="connsiteY581" fmla="*/ 559880 h 845819"/>
                <a:gd name="connsiteX582" fmla="*/ 176308 w 1029843"/>
                <a:gd name="connsiteY582" fmla="*/ 559689 h 845819"/>
                <a:gd name="connsiteX583" fmla="*/ 176498 w 1029843"/>
                <a:gd name="connsiteY583" fmla="*/ 561308 h 845819"/>
                <a:gd name="connsiteX584" fmla="*/ 181166 w 1029843"/>
                <a:gd name="connsiteY584" fmla="*/ 560642 h 845819"/>
                <a:gd name="connsiteX585" fmla="*/ 184785 w 1029843"/>
                <a:gd name="connsiteY585" fmla="*/ 563404 h 845819"/>
                <a:gd name="connsiteX586" fmla="*/ 184975 w 1029843"/>
                <a:gd name="connsiteY586" fmla="*/ 565023 h 845819"/>
                <a:gd name="connsiteX587" fmla="*/ 189738 w 1029843"/>
                <a:gd name="connsiteY587" fmla="*/ 564452 h 845819"/>
                <a:gd name="connsiteX588" fmla="*/ 191929 w 1029843"/>
                <a:gd name="connsiteY588" fmla="*/ 568928 h 845819"/>
                <a:gd name="connsiteX589" fmla="*/ 187547 w 1029843"/>
                <a:gd name="connsiteY589" fmla="*/ 572738 h 845819"/>
                <a:gd name="connsiteX590" fmla="*/ 189738 w 1029843"/>
                <a:gd name="connsiteY590" fmla="*/ 577215 h 845819"/>
                <a:gd name="connsiteX591" fmla="*/ 189929 w 1029843"/>
                <a:gd name="connsiteY591" fmla="*/ 578834 h 845819"/>
                <a:gd name="connsiteX592" fmla="*/ 188404 w 1029843"/>
                <a:gd name="connsiteY592" fmla="*/ 579025 h 845819"/>
                <a:gd name="connsiteX593" fmla="*/ 191167 w 1029843"/>
                <a:gd name="connsiteY593" fmla="*/ 588264 h 845819"/>
                <a:gd name="connsiteX594" fmla="*/ 190214 w 1029843"/>
                <a:gd name="connsiteY594" fmla="*/ 593217 h 845819"/>
                <a:gd name="connsiteX595" fmla="*/ 191929 w 1029843"/>
                <a:gd name="connsiteY595" fmla="*/ 594551 h 845819"/>
                <a:gd name="connsiteX596" fmla="*/ 195929 w 1029843"/>
                <a:gd name="connsiteY596" fmla="*/ 600551 h 845819"/>
                <a:gd name="connsiteX597" fmla="*/ 191548 w 1029843"/>
                <a:gd name="connsiteY597" fmla="*/ 604266 h 845819"/>
                <a:gd name="connsiteX598" fmla="*/ 186881 w 1029843"/>
                <a:gd name="connsiteY598" fmla="*/ 604838 h 845819"/>
                <a:gd name="connsiteX599" fmla="*/ 184118 w 1029843"/>
                <a:gd name="connsiteY599" fmla="*/ 608457 h 845819"/>
                <a:gd name="connsiteX600" fmla="*/ 187452 w 1029843"/>
                <a:gd name="connsiteY600" fmla="*/ 609600 h 845819"/>
                <a:gd name="connsiteX601" fmla="*/ 189262 w 1029843"/>
                <a:gd name="connsiteY601" fmla="*/ 623792 h 845819"/>
                <a:gd name="connsiteX602" fmla="*/ 185547 w 1029843"/>
                <a:gd name="connsiteY602" fmla="*/ 632270 h 845819"/>
                <a:gd name="connsiteX603" fmla="*/ 192024 w 1029843"/>
                <a:gd name="connsiteY603" fmla="*/ 633032 h 845819"/>
                <a:gd name="connsiteX604" fmla="*/ 192881 w 1029843"/>
                <a:gd name="connsiteY604" fmla="*/ 639413 h 845819"/>
                <a:gd name="connsiteX605" fmla="*/ 194405 w 1029843"/>
                <a:gd name="connsiteY605" fmla="*/ 639223 h 845819"/>
                <a:gd name="connsiteX606" fmla="*/ 201168 w 1029843"/>
                <a:gd name="connsiteY606" fmla="*/ 641509 h 845819"/>
                <a:gd name="connsiteX607" fmla="*/ 199168 w 1029843"/>
                <a:gd name="connsiteY607" fmla="*/ 651415 h 845819"/>
                <a:gd name="connsiteX608" fmla="*/ 201930 w 1029843"/>
                <a:gd name="connsiteY608" fmla="*/ 647890 h 845819"/>
                <a:gd name="connsiteX609" fmla="*/ 202311 w 1029843"/>
                <a:gd name="connsiteY609" fmla="*/ 651034 h 845819"/>
                <a:gd name="connsiteX610" fmla="*/ 204121 w 1029843"/>
                <a:gd name="connsiteY610" fmla="*/ 652367 h 845819"/>
                <a:gd name="connsiteX611" fmla="*/ 201549 w 1029843"/>
                <a:gd name="connsiteY611" fmla="*/ 657511 h 845819"/>
                <a:gd name="connsiteX612" fmla="*/ 207454 w 1029843"/>
                <a:gd name="connsiteY612" fmla="*/ 653510 h 845819"/>
                <a:gd name="connsiteX613" fmla="*/ 203549 w 1029843"/>
                <a:gd name="connsiteY613" fmla="*/ 660463 h 845819"/>
                <a:gd name="connsiteX614" fmla="*/ 204311 w 1029843"/>
                <a:gd name="connsiteY614" fmla="*/ 666750 h 845819"/>
                <a:gd name="connsiteX615" fmla="*/ 201835 w 1029843"/>
                <a:gd name="connsiteY615" fmla="*/ 671894 h 845819"/>
                <a:gd name="connsiteX616" fmla="*/ 200025 w 1029843"/>
                <a:gd name="connsiteY616" fmla="*/ 670560 h 845819"/>
                <a:gd name="connsiteX617" fmla="*/ 197263 w 1029843"/>
                <a:gd name="connsiteY617" fmla="*/ 674084 h 845819"/>
                <a:gd name="connsiteX618" fmla="*/ 199073 w 1029843"/>
                <a:gd name="connsiteY618" fmla="*/ 675513 h 845819"/>
                <a:gd name="connsiteX619" fmla="*/ 201073 w 1029843"/>
                <a:gd name="connsiteY619" fmla="*/ 678466 h 845819"/>
                <a:gd name="connsiteX620" fmla="*/ 199454 w 1029843"/>
                <a:gd name="connsiteY620" fmla="*/ 678656 h 845819"/>
                <a:gd name="connsiteX621" fmla="*/ 198501 w 1029843"/>
                <a:gd name="connsiteY621" fmla="*/ 683609 h 845819"/>
                <a:gd name="connsiteX622" fmla="*/ 196691 w 1029843"/>
                <a:gd name="connsiteY622" fmla="*/ 682180 h 845819"/>
                <a:gd name="connsiteX623" fmla="*/ 197072 w 1029843"/>
                <a:gd name="connsiteY623" fmla="*/ 685324 h 845819"/>
                <a:gd name="connsiteX624" fmla="*/ 192596 w 1029843"/>
                <a:gd name="connsiteY624" fmla="*/ 687515 h 845819"/>
                <a:gd name="connsiteX625" fmla="*/ 191548 w 1029843"/>
                <a:gd name="connsiteY625" fmla="*/ 692468 h 845819"/>
                <a:gd name="connsiteX626" fmla="*/ 186690 w 1029843"/>
                <a:gd name="connsiteY626" fmla="*/ 691515 h 845819"/>
                <a:gd name="connsiteX627" fmla="*/ 185833 w 1029843"/>
                <a:gd name="connsiteY627" fmla="*/ 697992 h 845819"/>
                <a:gd name="connsiteX628" fmla="*/ 183928 w 1029843"/>
                <a:gd name="connsiteY628" fmla="*/ 695039 h 845819"/>
                <a:gd name="connsiteX629" fmla="*/ 182499 w 1029843"/>
                <a:gd name="connsiteY629" fmla="*/ 696849 h 845819"/>
                <a:gd name="connsiteX630" fmla="*/ 183166 w 1029843"/>
                <a:gd name="connsiteY630" fmla="*/ 701611 h 845819"/>
                <a:gd name="connsiteX631" fmla="*/ 179927 w 1029843"/>
                <a:gd name="connsiteY631" fmla="*/ 701993 h 845819"/>
                <a:gd name="connsiteX632" fmla="*/ 178213 w 1029843"/>
                <a:gd name="connsiteY632" fmla="*/ 700564 h 845819"/>
                <a:gd name="connsiteX633" fmla="*/ 176594 w 1029843"/>
                <a:gd name="connsiteY633" fmla="*/ 700754 h 845819"/>
                <a:gd name="connsiteX634" fmla="*/ 175641 w 1029843"/>
                <a:gd name="connsiteY634" fmla="*/ 705707 h 845819"/>
                <a:gd name="connsiteX635" fmla="*/ 180404 w 1029843"/>
                <a:gd name="connsiteY635" fmla="*/ 705136 h 845819"/>
                <a:gd name="connsiteX636" fmla="*/ 189071 w 1029843"/>
                <a:gd name="connsiteY636" fmla="*/ 710470 h 845819"/>
                <a:gd name="connsiteX637" fmla="*/ 189262 w 1029843"/>
                <a:gd name="connsiteY637" fmla="*/ 711994 h 845819"/>
                <a:gd name="connsiteX638" fmla="*/ 179261 w 1029843"/>
                <a:gd name="connsiteY638" fmla="*/ 721328 h 845819"/>
                <a:gd name="connsiteX639" fmla="*/ 171545 w 1029843"/>
                <a:gd name="connsiteY639" fmla="*/ 723900 h 845819"/>
                <a:gd name="connsiteX640" fmla="*/ 171736 w 1029843"/>
                <a:gd name="connsiteY640" fmla="*/ 725519 h 845819"/>
                <a:gd name="connsiteX641" fmla="*/ 183166 w 1029843"/>
                <a:gd name="connsiteY641" fmla="*/ 727234 h 845819"/>
                <a:gd name="connsiteX642" fmla="*/ 192405 w 1029843"/>
                <a:gd name="connsiteY642" fmla="*/ 724472 h 845819"/>
                <a:gd name="connsiteX643" fmla="*/ 199739 w 1029843"/>
                <a:gd name="connsiteY643" fmla="*/ 731520 h 845819"/>
                <a:gd name="connsiteX644" fmla="*/ 201740 w 1029843"/>
                <a:gd name="connsiteY644" fmla="*/ 734473 h 845819"/>
                <a:gd name="connsiteX645" fmla="*/ 208502 w 1029843"/>
                <a:gd name="connsiteY645" fmla="*/ 736854 h 845819"/>
                <a:gd name="connsiteX646" fmla="*/ 209645 w 1029843"/>
                <a:gd name="connsiteY646" fmla="*/ 733520 h 845819"/>
                <a:gd name="connsiteX647" fmla="*/ 209264 w 1029843"/>
                <a:gd name="connsiteY647" fmla="*/ 730282 h 845819"/>
                <a:gd name="connsiteX648" fmla="*/ 212789 w 1029843"/>
                <a:gd name="connsiteY648" fmla="*/ 733044 h 845819"/>
                <a:gd name="connsiteX649" fmla="*/ 215932 w 1029843"/>
                <a:gd name="connsiteY649" fmla="*/ 732663 h 845819"/>
                <a:gd name="connsiteX650" fmla="*/ 214789 w 1029843"/>
                <a:gd name="connsiteY650" fmla="*/ 735997 h 845819"/>
                <a:gd name="connsiteX651" fmla="*/ 225457 w 1029843"/>
                <a:gd name="connsiteY651" fmla="*/ 744284 h 845819"/>
                <a:gd name="connsiteX652" fmla="*/ 232124 w 1029843"/>
                <a:gd name="connsiteY652" fmla="*/ 746665 h 845819"/>
                <a:gd name="connsiteX653" fmla="*/ 233553 w 1029843"/>
                <a:gd name="connsiteY653" fmla="*/ 744855 h 845819"/>
                <a:gd name="connsiteX654" fmla="*/ 235363 w 1029843"/>
                <a:gd name="connsiteY654" fmla="*/ 746188 h 845819"/>
                <a:gd name="connsiteX655" fmla="*/ 233744 w 1029843"/>
                <a:gd name="connsiteY655" fmla="*/ 746474 h 845819"/>
                <a:gd name="connsiteX656" fmla="*/ 240506 w 1029843"/>
                <a:gd name="connsiteY656" fmla="*/ 748760 h 845819"/>
                <a:gd name="connsiteX657" fmla="*/ 232220 w 1029843"/>
                <a:gd name="connsiteY657" fmla="*/ 759428 h 845819"/>
                <a:gd name="connsiteX658" fmla="*/ 232982 w 1029843"/>
                <a:gd name="connsiteY658" fmla="*/ 765810 h 845819"/>
                <a:gd name="connsiteX659" fmla="*/ 243078 w 1029843"/>
                <a:gd name="connsiteY659" fmla="*/ 782098 h 845819"/>
                <a:gd name="connsiteX660" fmla="*/ 255365 w 1029843"/>
                <a:gd name="connsiteY660" fmla="*/ 777335 h 845819"/>
                <a:gd name="connsiteX661" fmla="*/ 259461 w 1029843"/>
                <a:gd name="connsiteY661" fmla="*/ 772001 h 845819"/>
                <a:gd name="connsiteX662" fmla="*/ 261080 w 1029843"/>
                <a:gd name="connsiteY662" fmla="*/ 771811 h 845819"/>
                <a:gd name="connsiteX663" fmla="*/ 265367 w 1029843"/>
                <a:gd name="connsiteY663" fmla="*/ 768096 h 845819"/>
                <a:gd name="connsiteX664" fmla="*/ 265176 w 1029843"/>
                <a:gd name="connsiteY664" fmla="*/ 766477 h 845819"/>
                <a:gd name="connsiteX665" fmla="*/ 270129 w 1029843"/>
                <a:gd name="connsiteY665" fmla="*/ 767429 h 845819"/>
                <a:gd name="connsiteX666" fmla="*/ 273082 w 1029843"/>
                <a:gd name="connsiteY666" fmla="*/ 765524 h 845819"/>
                <a:gd name="connsiteX667" fmla="*/ 268319 w 1029843"/>
                <a:gd name="connsiteY667" fmla="*/ 766096 h 845819"/>
                <a:gd name="connsiteX668" fmla="*/ 267748 w 1029843"/>
                <a:gd name="connsiteY668" fmla="*/ 761333 h 845819"/>
                <a:gd name="connsiteX669" fmla="*/ 278987 w 1029843"/>
                <a:gd name="connsiteY669" fmla="*/ 761524 h 845819"/>
                <a:gd name="connsiteX670" fmla="*/ 280702 w 1029843"/>
                <a:gd name="connsiteY670" fmla="*/ 762857 h 845819"/>
                <a:gd name="connsiteX671" fmla="*/ 280511 w 1029843"/>
                <a:gd name="connsiteY671" fmla="*/ 761333 h 845819"/>
                <a:gd name="connsiteX672" fmla="*/ 285083 w 1029843"/>
                <a:gd name="connsiteY672" fmla="*/ 759143 h 845819"/>
                <a:gd name="connsiteX673" fmla="*/ 287846 w 1029843"/>
                <a:gd name="connsiteY673" fmla="*/ 755618 h 845819"/>
                <a:gd name="connsiteX674" fmla="*/ 291370 w 1029843"/>
                <a:gd name="connsiteY674" fmla="*/ 758380 h 845819"/>
                <a:gd name="connsiteX675" fmla="*/ 292799 w 1029843"/>
                <a:gd name="connsiteY675" fmla="*/ 756571 h 845819"/>
                <a:gd name="connsiteX676" fmla="*/ 290608 w 1029843"/>
                <a:gd name="connsiteY676" fmla="*/ 751999 h 845819"/>
                <a:gd name="connsiteX677" fmla="*/ 288798 w 1029843"/>
                <a:gd name="connsiteY677" fmla="*/ 750665 h 845819"/>
                <a:gd name="connsiteX678" fmla="*/ 289941 w 1029843"/>
                <a:gd name="connsiteY678" fmla="*/ 747332 h 845819"/>
                <a:gd name="connsiteX679" fmla="*/ 290513 w 1029843"/>
                <a:gd name="connsiteY679" fmla="*/ 739235 h 845819"/>
                <a:gd name="connsiteX680" fmla="*/ 291941 w 1029843"/>
                <a:gd name="connsiteY680" fmla="*/ 737426 h 845819"/>
                <a:gd name="connsiteX681" fmla="*/ 302419 w 1029843"/>
                <a:gd name="connsiteY681" fmla="*/ 731234 h 845819"/>
                <a:gd name="connsiteX682" fmla="*/ 305562 w 1029843"/>
                <a:gd name="connsiteY682" fmla="*/ 730853 h 845819"/>
                <a:gd name="connsiteX683" fmla="*/ 307467 w 1029843"/>
                <a:gd name="connsiteY683" fmla="*/ 733806 h 845819"/>
                <a:gd name="connsiteX684" fmla="*/ 308896 w 1029843"/>
                <a:gd name="connsiteY684" fmla="*/ 732092 h 845819"/>
                <a:gd name="connsiteX685" fmla="*/ 309467 w 1029843"/>
                <a:gd name="connsiteY685" fmla="*/ 736759 h 845819"/>
                <a:gd name="connsiteX686" fmla="*/ 312801 w 1029843"/>
                <a:gd name="connsiteY686" fmla="*/ 737997 h 845819"/>
                <a:gd name="connsiteX687" fmla="*/ 317373 w 1029843"/>
                <a:gd name="connsiteY687" fmla="*/ 735806 h 845819"/>
                <a:gd name="connsiteX688" fmla="*/ 316802 w 1029843"/>
                <a:gd name="connsiteY688" fmla="*/ 731044 h 845819"/>
                <a:gd name="connsiteX689" fmla="*/ 318135 w 1029843"/>
                <a:gd name="connsiteY689" fmla="*/ 729234 h 845819"/>
                <a:gd name="connsiteX690" fmla="*/ 319945 w 1029843"/>
                <a:gd name="connsiteY690" fmla="*/ 730663 h 845819"/>
                <a:gd name="connsiteX691" fmla="*/ 326041 w 1029843"/>
                <a:gd name="connsiteY691" fmla="*/ 728282 h 845819"/>
                <a:gd name="connsiteX692" fmla="*/ 320897 w 1029843"/>
                <a:gd name="connsiteY692" fmla="*/ 725710 h 845819"/>
                <a:gd name="connsiteX693" fmla="*/ 321850 w 1029843"/>
                <a:gd name="connsiteY693" fmla="*/ 720757 h 845819"/>
                <a:gd name="connsiteX694" fmla="*/ 325088 w 1029843"/>
                <a:gd name="connsiteY694" fmla="*/ 720376 h 845819"/>
                <a:gd name="connsiteX695" fmla="*/ 331946 w 1029843"/>
                <a:gd name="connsiteY695" fmla="*/ 724281 h 845819"/>
                <a:gd name="connsiteX696" fmla="*/ 331756 w 1029843"/>
                <a:gd name="connsiteY696" fmla="*/ 735521 h 845819"/>
                <a:gd name="connsiteX697" fmla="*/ 334899 w 1029843"/>
                <a:gd name="connsiteY697" fmla="*/ 735140 h 845819"/>
                <a:gd name="connsiteX698" fmla="*/ 335566 w 1029843"/>
                <a:gd name="connsiteY698" fmla="*/ 739902 h 845819"/>
                <a:gd name="connsiteX699" fmla="*/ 337090 w 1029843"/>
                <a:gd name="connsiteY699" fmla="*/ 739711 h 845819"/>
                <a:gd name="connsiteX700" fmla="*/ 338709 w 1029843"/>
                <a:gd name="connsiteY700" fmla="*/ 739521 h 845819"/>
                <a:gd name="connsiteX701" fmla="*/ 338519 w 1029843"/>
                <a:gd name="connsiteY701" fmla="*/ 737902 h 845819"/>
                <a:gd name="connsiteX702" fmla="*/ 339852 w 1029843"/>
                <a:gd name="connsiteY702" fmla="*/ 736092 h 845819"/>
                <a:gd name="connsiteX703" fmla="*/ 343472 w 1029843"/>
                <a:gd name="connsiteY703" fmla="*/ 738854 h 845819"/>
                <a:gd name="connsiteX704" fmla="*/ 345186 w 1029843"/>
                <a:gd name="connsiteY704" fmla="*/ 740283 h 845819"/>
                <a:gd name="connsiteX705" fmla="*/ 346615 w 1029843"/>
                <a:gd name="connsiteY705" fmla="*/ 738473 h 845819"/>
                <a:gd name="connsiteX706" fmla="*/ 343472 w 1029843"/>
                <a:gd name="connsiteY706" fmla="*/ 738854 h 845819"/>
                <a:gd name="connsiteX707" fmla="*/ 342614 w 1029843"/>
                <a:gd name="connsiteY707" fmla="*/ 732568 h 845819"/>
                <a:gd name="connsiteX708" fmla="*/ 344234 w 1029843"/>
                <a:gd name="connsiteY708" fmla="*/ 732377 h 845819"/>
                <a:gd name="connsiteX709" fmla="*/ 344615 w 1029843"/>
                <a:gd name="connsiteY709" fmla="*/ 735521 h 845819"/>
                <a:gd name="connsiteX710" fmla="*/ 346043 w 1029843"/>
                <a:gd name="connsiteY710" fmla="*/ 733711 h 845819"/>
                <a:gd name="connsiteX711" fmla="*/ 347758 w 1029843"/>
                <a:gd name="connsiteY711" fmla="*/ 735140 h 845819"/>
                <a:gd name="connsiteX712" fmla="*/ 350901 w 1029843"/>
                <a:gd name="connsiteY712" fmla="*/ 734759 h 845819"/>
                <a:gd name="connsiteX713" fmla="*/ 352901 w 1029843"/>
                <a:gd name="connsiteY713" fmla="*/ 737711 h 845819"/>
                <a:gd name="connsiteX714" fmla="*/ 357473 w 1029843"/>
                <a:gd name="connsiteY714" fmla="*/ 735521 h 845819"/>
                <a:gd name="connsiteX715" fmla="*/ 355854 w 1029843"/>
                <a:gd name="connsiteY715" fmla="*/ 735711 h 845819"/>
                <a:gd name="connsiteX716" fmla="*/ 357188 w 1029843"/>
                <a:gd name="connsiteY716" fmla="*/ 733901 h 845819"/>
                <a:gd name="connsiteX717" fmla="*/ 362331 w 1029843"/>
                <a:gd name="connsiteY717" fmla="*/ 736473 h 845819"/>
                <a:gd name="connsiteX718" fmla="*/ 363760 w 1029843"/>
                <a:gd name="connsiteY718" fmla="*/ 734663 h 845819"/>
                <a:gd name="connsiteX719" fmla="*/ 365379 w 1029843"/>
                <a:gd name="connsiteY719" fmla="*/ 734473 h 845819"/>
                <a:gd name="connsiteX720" fmla="*/ 365570 w 1029843"/>
                <a:gd name="connsiteY720" fmla="*/ 736092 h 845819"/>
                <a:gd name="connsiteX721" fmla="*/ 363950 w 1029843"/>
                <a:gd name="connsiteY721" fmla="*/ 736282 h 845819"/>
                <a:gd name="connsiteX722" fmla="*/ 364141 w 1029843"/>
                <a:gd name="connsiteY722" fmla="*/ 737807 h 845819"/>
                <a:gd name="connsiteX723" fmla="*/ 368903 w 1029843"/>
                <a:gd name="connsiteY723" fmla="*/ 737235 h 845819"/>
                <a:gd name="connsiteX724" fmla="*/ 374047 w 1029843"/>
                <a:gd name="connsiteY724" fmla="*/ 739807 h 845819"/>
                <a:gd name="connsiteX725" fmla="*/ 373856 w 1029843"/>
                <a:gd name="connsiteY725" fmla="*/ 738188 h 845819"/>
                <a:gd name="connsiteX726" fmla="*/ 377381 w 1029843"/>
                <a:gd name="connsiteY726" fmla="*/ 740950 h 845819"/>
                <a:gd name="connsiteX727" fmla="*/ 377952 w 1029843"/>
                <a:gd name="connsiteY727" fmla="*/ 732854 h 845819"/>
                <a:gd name="connsiteX728" fmla="*/ 379762 w 1029843"/>
                <a:gd name="connsiteY728" fmla="*/ 734282 h 845819"/>
                <a:gd name="connsiteX729" fmla="*/ 381476 w 1029843"/>
                <a:gd name="connsiteY729" fmla="*/ 735616 h 845819"/>
                <a:gd name="connsiteX730" fmla="*/ 391763 w 1029843"/>
                <a:gd name="connsiteY730" fmla="*/ 740759 h 845819"/>
                <a:gd name="connsiteX731" fmla="*/ 391954 w 1029843"/>
                <a:gd name="connsiteY731" fmla="*/ 742283 h 845819"/>
                <a:gd name="connsiteX732" fmla="*/ 397097 w 1029843"/>
                <a:gd name="connsiteY732" fmla="*/ 744855 h 845819"/>
                <a:gd name="connsiteX733" fmla="*/ 397288 w 1029843"/>
                <a:gd name="connsiteY733" fmla="*/ 746474 h 845819"/>
                <a:gd name="connsiteX734" fmla="*/ 400907 w 1029843"/>
                <a:gd name="connsiteY734" fmla="*/ 749236 h 845819"/>
                <a:gd name="connsiteX735" fmla="*/ 402050 w 1029843"/>
                <a:gd name="connsiteY735" fmla="*/ 745807 h 845819"/>
                <a:gd name="connsiteX736" fmla="*/ 403670 w 1029843"/>
                <a:gd name="connsiteY736" fmla="*/ 745617 h 845819"/>
                <a:gd name="connsiteX737" fmla="*/ 407194 w 1029843"/>
                <a:gd name="connsiteY737" fmla="*/ 748379 h 845819"/>
                <a:gd name="connsiteX738" fmla="*/ 409956 w 1029843"/>
                <a:gd name="connsiteY738" fmla="*/ 744855 h 845819"/>
                <a:gd name="connsiteX739" fmla="*/ 409575 w 1029843"/>
                <a:gd name="connsiteY739" fmla="*/ 741712 h 845819"/>
                <a:gd name="connsiteX740" fmla="*/ 411099 w 1029843"/>
                <a:gd name="connsiteY740" fmla="*/ 741521 h 845819"/>
                <a:gd name="connsiteX741" fmla="*/ 413671 w 1029843"/>
                <a:gd name="connsiteY741" fmla="*/ 736378 h 845819"/>
                <a:gd name="connsiteX742" fmla="*/ 416814 w 1029843"/>
                <a:gd name="connsiteY742" fmla="*/ 735902 h 845819"/>
                <a:gd name="connsiteX743" fmla="*/ 418052 w 1029843"/>
                <a:gd name="connsiteY743" fmla="*/ 732568 h 845819"/>
                <a:gd name="connsiteX744" fmla="*/ 421386 w 1029843"/>
                <a:gd name="connsiteY744" fmla="*/ 733711 h 845819"/>
                <a:gd name="connsiteX745" fmla="*/ 421576 w 1029843"/>
                <a:gd name="connsiteY745" fmla="*/ 735330 h 845819"/>
                <a:gd name="connsiteX746" fmla="*/ 424529 w 1029843"/>
                <a:gd name="connsiteY746" fmla="*/ 733330 h 845819"/>
                <a:gd name="connsiteX747" fmla="*/ 429482 w 1029843"/>
                <a:gd name="connsiteY747" fmla="*/ 734282 h 845819"/>
                <a:gd name="connsiteX748" fmla="*/ 433197 w 1029843"/>
                <a:gd name="connsiteY748" fmla="*/ 738664 h 845819"/>
                <a:gd name="connsiteX749" fmla="*/ 436912 w 1029843"/>
                <a:gd name="connsiteY749" fmla="*/ 730186 h 845819"/>
                <a:gd name="connsiteX750" fmla="*/ 438912 w 1029843"/>
                <a:gd name="connsiteY750" fmla="*/ 733139 h 845819"/>
                <a:gd name="connsiteX751" fmla="*/ 438722 w 1029843"/>
                <a:gd name="connsiteY751" fmla="*/ 731520 h 845819"/>
                <a:gd name="connsiteX752" fmla="*/ 441865 w 1029843"/>
                <a:gd name="connsiteY752" fmla="*/ 731139 h 845819"/>
                <a:gd name="connsiteX753" fmla="*/ 443103 w 1029843"/>
                <a:gd name="connsiteY753" fmla="*/ 727805 h 845819"/>
                <a:gd name="connsiteX754" fmla="*/ 444817 w 1029843"/>
                <a:gd name="connsiteY754" fmla="*/ 716375 h 845819"/>
                <a:gd name="connsiteX755" fmla="*/ 443008 w 1029843"/>
                <a:gd name="connsiteY755" fmla="*/ 714947 h 845819"/>
                <a:gd name="connsiteX756" fmla="*/ 442246 w 1029843"/>
                <a:gd name="connsiteY756" fmla="*/ 708660 h 845819"/>
                <a:gd name="connsiteX757" fmla="*/ 446723 w 1029843"/>
                <a:gd name="connsiteY757" fmla="*/ 706469 h 845819"/>
                <a:gd name="connsiteX758" fmla="*/ 446532 w 1029843"/>
                <a:gd name="connsiteY758" fmla="*/ 704850 h 845819"/>
                <a:gd name="connsiteX759" fmla="*/ 451295 w 1029843"/>
                <a:gd name="connsiteY759" fmla="*/ 704279 h 845819"/>
                <a:gd name="connsiteX760" fmla="*/ 452247 w 1029843"/>
                <a:gd name="connsiteY760" fmla="*/ 699326 h 845819"/>
                <a:gd name="connsiteX761" fmla="*/ 460534 w 1029843"/>
                <a:gd name="connsiteY761" fmla="*/ 701516 h 845819"/>
                <a:gd name="connsiteX762" fmla="*/ 462915 w 1029843"/>
                <a:gd name="connsiteY762" fmla="*/ 694754 h 845819"/>
                <a:gd name="connsiteX763" fmla="*/ 467201 w 1029843"/>
                <a:gd name="connsiteY763" fmla="*/ 691039 h 845819"/>
                <a:gd name="connsiteX764" fmla="*/ 472631 w 1029843"/>
                <a:gd name="connsiteY764" fmla="*/ 695134 h 845819"/>
                <a:gd name="connsiteX765" fmla="*/ 476345 w 1029843"/>
                <a:gd name="connsiteY765" fmla="*/ 699516 h 845819"/>
                <a:gd name="connsiteX766" fmla="*/ 485966 w 1029843"/>
                <a:gd name="connsiteY766" fmla="*/ 699897 h 845819"/>
                <a:gd name="connsiteX767" fmla="*/ 486442 w 1029843"/>
                <a:gd name="connsiteY767" fmla="*/ 703040 h 845819"/>
                <a:gd name="connsiteX768" fmla="*/ 485204 w 1029843"/>
                <a:gd name="connsiteY768" fmla="*/ 706374 h 845819"/>
                <a:gd name="connsiteX769" fmla="*/ 490347 w 1029843"/>
                <a:gd name="connsiteY769" fmla="*/ 708946 h 845819"/>
                <a:gd name="connsiteX770" fmla="*/ 486632 w 1029843"/>
                <a:gd name="connsiteY770" fmla="*/ 717423 h 845819"/>
                <a:gd name="connsiteX771" fmla="*/ 486251 w 1029843"/>
                <a:gd name="connsiteY771" fmla="*/ 727043 h 845819"/>
                <a:gd name="connsiteX772" fmla="*/ 488442 w 1029843"/>
                <a:gd name="connsiteY772" fmla="*/ 731615 h 845819"/>
                <a:gd name="connsiteX773" fmla="*/ 495205 w 1029843"/>
                <a:gd name="connsiteY773" fmla="*/ 733997 h 845819"/>
                <a:gd name="connsiteX774" fmla="*/ 495586 w 1029843"/>
                <a:gd name="connsiteY774" fmla="*/ 737140 h 845819"/>
                <a:gd name="connsiteX775" fmla="*/ 497110 w 1029843"/>
                <a:gd name="connsiteY775" fmla="*/ 736949 h 845819"/>
                <a:gd name="connsiteX776" fmla="*/ 508349 w 1029843"/>
                <a:gd name="connsiteY776" fmla="*/ 737140 h 845819"/>
                <a:gd name="connsiteX777" fmla="*/ 509016 w 1029843"/>
                <a:gd name="connsiteY777" fmla="*/ 741807 h 845819"/>
                <a:gd name="connsiteX778" fmla="*/ 511969 w 1029843"/>
                <a:gd name="connsiteY778" fmla="*/ 739902 h 845819"/>
                <a:gd name="connsiteX779" fmla="*/ 511588 w 1029843"/>
                <a:gd name="connsiteY779" fmla="*/ 736663 h 845819"/>
                <a:gd name="connsiteX780" fmla="*/ 520446 w 1029843"/>
                <a:gd name="connsiteY780" fmla="*/ 730758 h 845819"/>
                <a:gd name="connsiteX781" fmla="*/ 521017 w 1029843"/>
                <a:gd name="connsiteY781" fmla="*/ 722662 h 845819"/>
                <a:gd name="connsiteX782" fmla="*/ 533781 w 1029843"/>
                <a:gd name="connsiteY782" fmla="*/ 722662 h 845819"/>
                <a:gd name="connsiteX783" fmla="*/ 545021 w 1029843"/>
                <a:gd name="connsiteY783" fmla="*/ 722852 h 845819"/>
                <a:gd name="connsiteX784" fmla="*/ 544449 w 1029843"/>
                <a:gd name="connsiteY784" fmla="*/ 705231 h 845819"/>
                <a:gd name="connsiteX785" fmla="*/ 565118 w 1029843"/>
                <a:gd name="connsiteY785" fmla="*/ 704183 h 845819"/>
                <a:gd name="connsiteX786" fmla="*/ 566547 w 1029843"/>
                <a:gd name="connsiteY786" fmla="*/ 702469 h 845819"/>
                <a:gd name="connsiteX787" fmla="*/ 565690 w 1029843"/>
                <a:gd name="connsiteY787" fmla="*/ 696087 h 845819"/>
                <a:gd name="connsiteX788" fmla="*/ 570643 w 1029843"/>
                <a:gd name="connsiteY788" fmla="*/ 697135 h 845819"/>
                <a:gd name="connsiteX789" fmla="*/ 583311 w 1029843"/>
                <a:gd name="connsiteY789" fmla="*/ 708279 h 845819"/>
                <a:gd name="connsiteX790" fmla="*/ 587407 w 1029843"/>
                <a:gd name="connsiteY790" fmla="*/ 702945 h 845819"/>
                <a:gd name="connsiteX791" fmla="*/ 588074 w 1029843"/>
                <a:gd name="connsiteY791" fmla="*/ 707707 h 845819"/>
                <a:gd name="connsiteX792" fmla="*/ 592741 w 1029843"/>
                <a:gd name="connsiteY792" fmla="*/ 707136 h 845819"/>
                <a:gd name="connsiteX793" fmla="*/ 598075 w 1029843"/>
                <a:gd name="connsiteY793" fmla="*/ 711232 h 845819"/>
                <a:gd name="connsiteX794" fmla="*/ 617220 w 1029843"/>
                <a:gd name="connsiteY794" fmla="*/ 710375 h 845819"/>
                <a:gd name="connsiteX795" fmla="*/ 617315 w 1029843"/>
                <a:gd name="connsiteY795" fmla="*/ 723233 h 845819"/>
                <a:gd name="connsiteX796" fmla="*/ 630555 w 1029843"/>
                <a:gd name="connsiteY796" fmla="*/ 726377 h 845819"/>
                <a:gd name="connsiteX797" fmla="*/ 631698 w 1029843"/>
                <a:gd name="connsiteY797" fmla="*/ 735806 h 845819"/>
                <a:gd name="connsiteX798" fmla="*/ 631793 w 1029843"/>
                <a:gd name="connsiteY798" fmla="*/ 761429 h 845819"/>
                <a:gd name="connsiteX799" fmla="*/ 662368 w 1029843"/>
                <a:gd name="connsiteY799" fmla="*/ 762381 h 845819"/>
                <a:gd name="connsiteX800" fmla="*/ 668846 w 1029843"/>
                <a:gd name="connsiteY800" fmla="*/ 763143 h 845819"/>
                <a:gd name="connsiteX801" fmla="*/ 674465 w 1029843"/>
                <a:gd name="connsiteY801" fmla="*/ 781717 h 845819"/>
                <a:gd name="connsiteX802" fmla="*/ 675418 w 1029843"/>
                <a:gd name="connsiteY802" fmla="*/ 789623 h 845819"/>
                <a:gd name="connsiteX803" fmla="*/ 677418 w 1029843"/>
                <a:gd name="connsiteY803" fmla="*/ 792575 h 845819"/>
                <a:gd name="connsiteX804" fmla="*/ 680561 w 1029843"/>
                <a:gd name="connsiteY804" fmla="*/ 792099 h 845819"/>
                <a:gd name="connsiteX805" fmla="*/ 687134 w 1029843"/>
                <a:gd name="connsiteY805" fmla="*/ 792956 h 845819"/>
                <a:gd name="connsiteX806" fmla="*/ 689039 w 1029843"/>
                <a:gd name="connsiteY806" fmla="*/ 795909 h 845819"/>
                <a:gd name="connsiteX807" fmla="*/ 693801 w 1029843"/>
                <a:gd name="connsiteY807" fmla="*/ 795242 h 845819"/>
                <a:gd name="connsiteX808" fmla="*/ 695611 w 1029843"/>
                <a:gd name="connsiteY808" fmla="*/ 796671 h 845819"/>
                <a:gd name="connsiteX809" fmla="*/ 701707 w 1029843"/>
                <a:gd name="connsiteY809" fmla="*/ 794290 h 845819"/>
                <a:gd name="connsiteX810" fmla="*/ 710565 w 1029843"/>
                <a:gd name="connsiteY810" fmla="*/ 801148 h 845819"/>
                <a:gd name="connsiteX811" fmla="*/ 713613 w 1029843"/>
                <a:gd name="connsiteY811" fmla="*/ 812006 h 845819"/>
                <a:gd name="connsiteX812" fmla="*/ 722471 w 1029843"/>
                <a:gd name="connsiteY812" fmla="*/ 818864 h 845819"/>
                <a:gd name="connsiteX813" fmla="*/ 724091 w 1029843"/>
                <a:gd name="connsiteY813" fmla="*/ 818674 h 845819"/>
                <a:gd name="connsiteX814" fmla="*/ 725234 w 1029843"/>
                <a:gd name="connsiteY814" fmla="*/ 815340 h 845819"/>
                <a:gd name="connsiteX815" fmla="*/ 728186 w 1029843"/>
                <a:gd name="connsiteY815" fmla="*/ 813340 h 845819"/>
                <a:gd name="connsiteX816" fmla="*/ 734092 w 1029843"/>
                <a:gd name="connsiteY816" fmla="*/ 822198 h 845819"/>
                <a:gd name="connsiteX817" fmla="*/ 735711 w 1029843"/>
                <a:gd name="connsiteY817" fmla="*/ 822007 h 845819"/>
                <a:gd name="connsiteX818" fmla="*/ 738854 w 1029843"/>
                <a:gd name="connsiteY818" fmla="*/ 821627 h 845819"/>
                <a:gd name="connsiteX819" fmla="*/ 740664 w 1029843"/>
                <a:gd name="connsiteY819" fmla="*/ 822960 h 845819"/>
                <a:gd name="connsiteX820" fmla="*/ 741998 w 1029843"/>
                <a:gd name="connsiteY820" fmla="*/ 821150 h 845819"/>
                <a:gd name="connsiteX821" fmla="*/ 743807 w 1029843"/>
                <a:gd name="connsiteY821" fmla="*/ 822579 h 845819"/>
                <a:gd name="connsiteX822" fmla="*/ 746951 w 1029843"/>
                <a:gd name="connsiteY822" fmla="*/ 822198 h 845819"/>
                <a:gd name="connsiteX823" fmla="*/ 751523 w 1029843"/>
                <a:gd name="connsiteY823" fmla="*/ 832866 h 845819"/>
                <a:gd name="connsiteX824" fmla="*/ 756666 w 1029843"/>
                <a:gd name="connsiteY824" fmla="*/ 835343 h 845819"/>
                <a:gd name="connsiteX825" fmla="*/ 758285 w 1029843"/>
                <a:gd name="connsiteY825" fmla="*/ 835152 h 845819"/>
                <a:gd name="connsiteX826" fmla="*/ 757047 w 1029843"/>
                <a:gd name="connsiteY826" fmla="*/ 838486 h 845819"/>
                <a:gd name="connsiteX827" fmla="*/ 759047 w 1029843"/>
                <a:gd name="connsiteY827" fmla="*/ 841438 h 845819"/>
                <a:gd name="connsiteX828" fmla="*/ 762762 w 1029843"/>
                <a:gd name="connsiteY828" fmla="*/ 845820 h 845819"/>
                <a:gd name="connsiteX829" fmla="*/ 764191 w 1029843"/>
                <a:gd name="connsiteY829" fmla="*/ 844010 h 845819"/>
                <a:gd name="connsiteX830" fmla="*/ 769144 w 1029843"/>
                <a:gd name="connsiteY830" fmla="*/ 844963 h 845819"/>
                <a:gd name="connsiteX831" fmla="*/ 771716 w 1029843"/>
                <a:gd name="connsiteY831" fmla="*/ 839915 h 845819"/>
                <a:gd name="connsiteX832" fmla="*/ 778193 w 1029843"/>
                <a:gd name="connsiteY832" fmla="*/ 840677 h 845819"/>
                <a:gd name="connsiteX833" fmla="*/ 780955 w 1029843"/>
                <a:gd name="connsiteY833" fmla="*/ 837057 h 845819"/>
                <a:gd name="connsiteX834" fmla="*/ 784670 w 1029843"/>
                <a:gd name="connsiteY834" fmla="*/ 841438 h 845819"/>
                <a:gd name="connsiteX835" fmla="*/ 793528 w 1029843"/>
                <a:gd name="connsiteY835" fmla="*/ 835438 h 845819"/>
                <a:gd name="connsiteX836" fmla="*/ 793337 w 1029843"/>
                <a:gd name="connsiteY836" fmla="*/ 833914 h 845819"/>
                <a:gd name="connsiteX837" fmla="*/ 794576 w 1029843"/>
                <a:gd name="connsiteY837" fmla="*/ 830580 h 845819"/>
                <a:gd name="connsiteX838" fmla="*/ 792575 w 1029843"/>
                <a:gd name="connsiteY838" fmla="*/ 827627 h 845819"/>
                <a:gd name="connsiteX839" fmla="*/ 794099 w 1029843"/>
                <a:gd name="connsiteY839" fmla="*/ 827437 h 845819"/>
                <a:gd name="connsiteX840" fmla="*/ 794385 w 1029843"/>
                <a:gd name="connsiteY840" fmla="*/ 828961 h 845819"/>
                <a:gd name="connsiteX841" fmla="*/ 799052 w 1029843"/>
                <a:gd name="connsiteY841" fmla="*/ 828389 h 845819"/>
                <a:gd name="connsiteX842" fmla="*/ 800862 w 1029843"/>
                <a:gd name="connsiteY842" fmla="*/ 829723 h 845819"/>
                <a:gd name="connsiteX843" fmla="*/ 796766 w 1029843"/>
                <a:gd name="connsiteY843" fmla="*/ 835057 h 845819"/>
                <a:gd name="connsiteX844" fmla="*/ 796957 w 1029843"/>
                <a:gd name="connsiteY844" fmla="*/ 836676 h 845819"/>
                <a:gd name="connsiteX845" fmla="*/ 797528 w 1029843"/>
                <a:gd name="connsiteY845" fmla="*/ 841438 h 845819"/>
                <a:gd name="connsiteX846" fmla="*/ 809911 w 1029843"/>
                <a:gd name="connsiteY846" fmla="*/ 838200 h 845819"/>
                <a:gd name="connsiteX847" fmla="*/ 813054 w 1029843"/>
                <a:gd name="connsiteY847" fmla="*/ 837819 h 845819"/>
                <a:gd name="connsiteX848" fmla="*/ 814673 w 1029843"/>
                <a:gd name="connsiteY848" fmla="*/ 837629 h 845819"/>
                <a:gd name="connsiteX849" fmla="*/ 816102 w 1029843"/>
                <a:gd name="connsiteY849" fmla="*/ 835819 h 845819"/>
                <a:gd name="connsiteX850" fmla="*/ 822770 w 1029843"/>
                <a:gd name="connsiteY850" fmla="*/ 838200 h 845819"/>
                <a:gd name="connsiteX851" fmla="*/ 820960 w 1029843"/>
                <a:gd name="connsiteY851" fmla="*/ 836771 h 845819"/>
                <a:gd name="connsiteX852" fmla="*/ 822198 w 1029843"/>
                <a:gd name="connsiteY852" fmla="*/ 833438 h 845819"/>
                <a:gd name="connsiteX853" fmla="*/ 820388 w 1029843"/>
                <a:gd name="connsiteY853" fmla="*/ 832104 h 845819"/>
                <a:gd name="connsiteX854" fmla="*/ 827151 w 1029843"/>
                <a:gd name="connsiteY854" fmla="*/ 834390 h 845819"/>
                <a:gd name="connsiteX855" fmla="*/ 828484 w 1029843"/>
                <a:gd name="connsiteY855" fmla="*/ 832676 h 845819"/>
                <a:gd name="connsiteX856" fmla="*/ 833818 w 1029843"/>
                <a:gd name="connsiteY856" fmla="*/ 836771 h 845819"/>
                <a:gd name="connsiteX857" fmla="*/ 837152 w 1029843"/>
                <a:gd name="connsiteY857" fmla="*/ 837914 h 845819"/>
                <a:gd name="connsiteX858" fmla="*/ 857345 w 1029843"/>
                <a:gd name="connsiteY858" fmla="*/ 844963 h 845819"/>
                <a:gd name="connsiteX859" fmla="*/ 855917 w 1029843"/>
                <a:gd name="connsiteY859" fmla="*/ 833914 h 845819"/>
                <a:gd name="connsiteX860" fmla="*/ 852583 w 1029843"/>
                <a:gd name="connsiteY860" fmla="*/ 832771 h 845819"/>
                <a:gd name="connsiteX861" fmla="*/ 850201 w 1029843"/>
                <a:gd name="connsiteY861" fmla="*/ 826675 h 845819"/>
                <a:gd name="connsiteX862" fmla="*/ 845058 w 1029843"/>
                <a:gd name="connsiteY862" fmla="*/ 824103 h 845819"/>
                <a:gd name="connsiteX863" fmla="*/ 844391 w 1029843"/>
                <a:gd name="connsiteY863" fmla="*/ 819340 h 845819"/>
                <a:gd name="connsiteX864" fmla="*/ 846201 w 1029843"/>
                <a:gd name="connsiteY864" fmla="*/ 820769 h 845819"/>
                <a:gd name="connsiteX865" fmla="*/ 847344 w 1029843"/>
                <a:gd name="connsiteY865" fmla="*/ 817436 h 845819"/>
                <a:gd name="connsiteX866" fmla="*/ 845153 w 1029843"/>
                <a:gd name="connsiteY866" fmla="*/ 812863 h 845819"/>
                <a:gd name="connsiteX867" fmla="*/ 849916 w 1029843"/>
                <a:gd name="connsiteY867" fmla="*/ 812292 h 845819"/>
                <a:gd name="connsiteX868" fmla="*/ 851345 w 1029843"/>
                <a:gd name="connsiteY868" fmla="*/ 810482 h 845819"/>
                <a:gd name="connsiteX869" fmla="*/ 856679 w 1029843"/>
                <a:gd name="connsiteY869" fmla="*/ 814578 h 845819"/>
                <a:gd name="connsiteX870" fmla="*/ 859250 w 1029843"/>
                <a:gd name="connsiteY870" fmla="*/ 809434 h 845819"/>
                <a:gd name="connsiteX871" fmla="*/ 865537 w 1029843"/>
                <a:gd name="connsiteY871" fmla="*/ 808673 h 845819"/>
                <a:gd name="connsiteX872" fmla="*/ 866680 w 1029843"/>
                <a:gd name="connsiteY872" fmla="*/ 805339 h 845819"/>
                <a:gd name="connsiteX873" fmla="*/ 872585 w 1029843"/>
                <a:gd name="connsiteY873" fmla="*/ 801338 h 845819"/>
                <a:gd name="connsiteX874" fmla="*/ 867251 w 1029843"/>
                <a:gd name="connsiteY874" fmla="*/ 797243 h 845819"/>
                <a:gd name="connsiteX875" fmla="*/ 863537 w 1029843"/>
                <a:gd name="connsiteY875" fmla="*/ 792861 h 845819"/>
                <a:gd name="connsiteX876" fmla="*/ 862108 w 1029843"/>
                <a:gd name="connsiteY876" fmla="*/ 794671 h 845819"/>
                <a:gd name="connsiteX877" fmla="*/ 859726 w 1029843"/>
                <a:gd name="connsiteY877" fmla="*/ 788575 h 845819"/>
                <a:gd name="connsiteX878" fmla="*/ 863632 w 1029843"/>
                <a:gd name="connsiteY878" fmla="*/ 781622 h 845819"/>
                <a:gd name="connsiteX879" fmla="*/ 869823 w 1029843"/>
                <a:gd name="connsiteY879" fmla="*/ 779240 h 845819"/>
                <a:gd name="connsiteX880" fmla="*/ 869156 w 1029843"/>
                <a:gd name="connsiteY880" fmla="*/ 774573 h 845819"/>
                <a:gd name="connsiteX881" fmla="*/ 873919 w 1029843"/>
                <a:gd name="connsiteY881" fmla="*/ 773906 h 845819"/>
                <a:gd name="connsiteX882" fmla="*/ 885158 w 1029843"/>
                <a:gd name="connsiteY882" fmla="*/ 774097 h 845819"/>
                <a:gd name="connsiteX883" fmla="*/ 897541 w 1029843"/>
                <a:gd name="connsiteY883" fmla="*/ 758095 h 845819"/>
                <a:gd name="connsiteX884" fmla="*/ 897350 w 1029843"/>
                <a:gd name="connsiteY884" fmla="*/ 756476 h 845819"/>
                <a:gd name="connsiteX885" fmla="*/ 902113 w 1029843"/>
                <a:gd name="connsiteY885" fmla="*/ 755904 h 845819"/>
                <a:gd name="connsiteX886" fmla="*/ 903923 w 1029843"/>
                <a:gd name="connsiteY886" fmla="*/ 757238 h 845819"/>
                <a:gd name="connsiteX887" fmla="*/ 907256 w 1029843"/>
                <a:gd name="connsiteY887" fmla="*/ 758476 h 845819"/>
                <a:gd name="connsiteX888" fmla="*/ 906875 w 1029843"/>
                <a:gd name="connsiteY888" fmla="*/ 755332 h 845819"/>
                <a:gd name="connsiteX889" fmla="*/ 910018 w 1029843"/>
                <a:gd name="connsiteY889" fmla="*/ 754856 h 845819"/>
                <a:gd name="connsiteX890" fmla="*/ 909542 w 1029843"/>
                <a:gd name="connsiteY890" fmla="*/ 751713 h 845819"/>
                <a:gd name="connsiteX891" fmla="*/ 912781 w 1029843"/>
                <a:gd name="connsiteY891" fmla="*/ 751332 h 845819"/>
                <a:gd name="connsiteX892" fmla="*/ 915734 w 1029843"/>
                <a:gd name="connsiteY892" fmla="*/ 749332 h 845819"/>
                <a:gd name="connsiteX893" fmla="*/ 919448 w 1029843"/>
                <a:gd name="connsiteY893" fmla="*/ 753713 h 845819"/>
                <a:gd name="connsiteX894" fmla="*/ 922210 w 1029843"/>
                <a:gd name="connsiteY894" fmla="*/ 750094 h 845819"/>
                <a:gd name="connsiteX895" fmla="*/ 921830 w 1029843"/>
                <a:gd name="connsiteY895" fmla="*/ 746951 h 845819"/>
                <a:gd name="connsiteX896" fmla="*/ 918496 w 1029843"/>
                <a:gd name="connsiteY896" fmla="*/ 745807 h 845819"/>
                <a:gd name="connsiteX897" fmla="*/ 926116 w 1029843"/>
                <a:gd name="connsiteY897" fmla="*/ 743236 h 845819"/>
                <a:gd name="connsiteX898" fmla="*/ 925735 w 1029843"/>
                <a:gd name="connsiteY898" fmla="*/ 740093 h 845819"/>
                <a:gd name="connsiteX899" fmla="*/ 927354 w 1029843"/>
                <a:gd name="connsiteY899" fmla="*/ 739807 h 845819"/>
                <a:gd name="connsiteX900" fmla="*/ 927735 w 1029843"/>
                <a:gd name="connsiteY900" fmla="*/ 743045 h 845819"/>
                <a:gd name="connsiteX901" fmla="*/ 937165 w 1029843"/>
                <a:gd name="connsiteY901" fmla="*/ 741807 h 845819"/>
                <a:gd name="connsiteX902" fmla="*/ 937355 w 1029843"/>
                <a:gd name="connsiteY902" fmla="*/ 743426 h 845819"/>
                <a:gd name="connsiteX903" fmla="*/ 939927 w 1029843"/>
                <a:gd name="connsiteY903" fmla="*/ 738283 h 845819"/>
                <a:gd name="connsiteX904" fmla="*/ 941546 w 1029843"/>
                <a:gd name="connsiteY904" fmla="*/ 737997 h 845819"/>
                <a:gd name="connsiteX905" fmla="*/ 944309 w 1029843"/>
                <a:gd name="connsiteY905" fmla="*/ 734473 h 845819"/>
                <a:gd name="connsiteX906" fmla="*/ 951929 w 1029843"/>
                <a:gd name="connsiteY906" fmla="*/ 731901 h 845819"/>
                <a:gd name="connsiteX907" fmla="*/ 954500 w 1029843"/>
                <a:gd name="connsiteY907" fmla="*/ 726757 h 845819"/>
                <a:gd name="connsiteX908" fmla="*/ 954881 w 1029843"/>
                <a:gd name="connsiteY908" fmla="*/ 704279 h 845819"/>
                <a:gd name="connsiteX909" fmla="*/ 960596 w 1029843"/>
                <a:gd name="connsiteY909" fmla="*/ 698754 h 845819"/>
                <a:gd name="connsiteX910" fmla="*/ 967073 w 1029843"/>
                <a:gd name="connsiteY910" fmla="*/ 699516 h 845819"/>
                <a:gd name="connsiteX911" fmla="*/ 968502 w 1029843"/>
                <a:gd name="connsiteY911" fmla="*/ 697706 h 845819"/>
                <a:gd name="connsiteX912" fmla="*/ 972217 w 1029843"/>
                <a:gd name="connsiteY912" fmla="*/ 702088 h 845819"/>
                <a:gd name="connsiteX913" fmla="*/ 975360 w 1029843"/>
                <a:gd name="connsiteY913" fmla="*/ 701707 h 845819"/>
                <a:gd name="connsiteX914" fmla="*/ 983837 w 1029843"/>
                <a:gd name="connsiteY914" fmla="*/ 705422 h 845819"/>
                <a:gd name="connsiteX915" fmla="*/ 986885 w 1029843"/>
                <a:gd name="connsiteY915" fmla="*/ 716185 h 845819"/>
                <a:gd name="connsiteX916" fmla="*/ 989838 w 1029843"/>
                <a:gd name="connsiteY916" fmla="*/ 714280 h 845819"/>
                <a:gd name="connsiteX917" fmla="*/ 993553 w 1029843"/>
                <a:gd name="connsiteY917" fmla="*/ 718566 h 845819"/>
                <a:gd name="connsiteX918" fmla="*/ 995363 w 1029843"/>
                <a:gd name="connsiteY918" fmla="*/ 719995 h 845819"/>
                <a:gd name="connsiteX919" fmla="*/ 998315 w 1029843"/>
                <a:gd name="connsiteY919" fmla="*/ 717995 h 845819"/>
                <a:gd name="connsiteX920" fmla="*/ 1019080 w 1029843"/>
                <a:gd name="connsiteY920" fmla="*/ 729805 h 845819"/>
                <a:gd name="connsiteX921" fmla="*/ 1020413 w 1029843"/>
                <a:gd name="connsiteY921" fmla="*/ 727996 h 845819"/>
                <a:gd name="connsiteX922" fmla="*/ 1022223 w 1029843"/>
                <a:gd name="connsiteY922" fmla="*/ 729329 h 845819"/>
                <a:gd name="connsiteX923" fmla="*/ 1026509 w 1029843"/>
                <a:gd name="connsiteY923" fmla="*/ 725615 h 845819"/>
                <a:gd name="connsiteX924" fmla="*/ 1029272 w 1029843"/>
                <a:gd name="connsiteY924" fmla="*/ 722090 h 845819"/>
                <a:gd name="connsiteX925" fmla="*/ 1027081 w 1029843"/>
                <a:gd name="connsiteY925" fmla="*/ 717518 h 845819"/>
                <a:gd name="connsiteX926" fmla="*/ 1029843 w 1029843"/>
                <a:gd name="connsiteY926" fmla="*/ 713994 h 845819"/>
                <a:gd name="connsiteX927" fmla="*/ 1029843 w 1029843"/>
                <a:gd name="connsiteY927" fmla="*/ 713994 h 845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</a:cxnLst>
              <a:rect l="l" t="t" r="r" b="b"/>
              <a:pathLst>
                <a:path w="1029843" h="845819">
                  <a:moveTo>
                    <a:pt x="1029843" y="713994"/>
                  </a:moveTo>
                  <a:lnTo>
                    <a:pt x="1026319" y="711232"/>
                  </a:lnTo>
                  <a:lnTo>
                    <a:pt x="1024128" y="706660"/>
                  </a:lnTo>
                  <a:lnTo>
                    <a:pt x="1013651" y="699992"/>
                  </a:lnTo>
                  <a:lnTo>
                    <a:pt x="1011079" y="692277"/>
                  </a:lnTo>
                  <a:lnTo>
                    <a:pt x="1010888" y="690753"/>
                  </a:lnTo>
                  <a:lnTo>
                    <a:pt x="1014603" y="682276"/>
                  </a:lnTo>
                  <a:lnTo>
                    <a:pt x="1012412" y="677704"/>
                  </a:lnTo>
                  <a:lnTo>
                    <a:pt x="1009079" y="676561"/>
                  </a:lnTo>
                  <a:lnTo>
                    <a:pt x="1010222" y="673132"/>
                  </a:lnTo>
                  <a:lnTo>
                    <a:pt x="1007650" y="665512"/>
                  </a:lnTo>
                  <a:lnTo>
                    <a:pt x="1008602" y="660559"/>
                  </a:lnTo>
                  <a:lnTo>
                    <a:pt x="1008031" y="655796"/>
                  </a:lnTo>
                  <a:lnTo>
                    <a:pt x="1010984" y="653796"/>
                  </a:lnTo>
                  <a:lnTo>
                    <a:pt x="1012126" y="650462"/>
                  </a:lnTo>
                  <a:lnTo>
                    <a:pt x="1009555" y="642747"/>
                  </a:lnTo>
                  <a:lnTo>
                    <a:pt x="1006412" y="643223"/>
                  </a:lnTo>
                  <a:lnTo>
                    <a:pt x="1008793" y="636461"/>
                  </a:lnTo>
                  <a:lnTo>
                    <a:pt x="1003649" y="633889"/>
                  </a:lnTo>
                  <a:lnTo>
                    <a:pt x="1002601" y="625983"/>
                  </a:lnTo>
                  <a:lnTo>
                    <a:pt x="995458" y="620554"/>
                  </a:lnTo>
                  <a:lnTo>
                    <a:pt x="994886" y="615791"/>
                  </a:lnTo>
                  <a:lnTo>
                    <a:pt x="988600" y="616553"/>
                  </a:lnTo>
                  <a:lnTo>
                    <a:pt x="983647" y="615601"/>
                  </a:lnTo>
                  <a:lnTo>
                    <a:pt x="977551" y="605123"/>
                  </a:lnTo>
                  <a:lnTo>
                    <a:pt x="978503" y="600265"/>
                  </a:lnTo>
                  <a:lnTo>
                    <a:pt x="973550" y="599218"/>
                  </a:lnTo>
                  <a:lnTo>
                    <a:pt x="972502" y="591407"/>
                  </a:lnTo>
                  <a:lnTo>
                    <a:pt x="969169" y="590169"/>
                  </a:lnTo>
                  <a:lnTo>
                    <a:pt x="964406" y="590836"/>
                  </a:lnTo>
                  <a:lnTo>
                    <a:pt x="962501" y="587788"/>
                  </a:lnTo>
                  <a:lnTo>
                    <a:pt x="960692" y="586454"/>
                  </a:lnTo>
                  <a:lnTo>
                    <a:pt x="960120" y="581692"/>
                  </a:lnTo>
                  <a:lnTo>
                    <a:pt x="953167" y="577786"/>
                  </a:lnTo>
                  <a:lnTo>
                    <a:pt x="952595" y="573024"/>
                  </a:lnTo>
                  <a:lnTo>
                    <a:pt x="943070" y="561404"/>
                  </a:lnTo>
                  <a:lnTo>
                    <a:pt x="944213" y="558070"/>
                  </a:lnTo>
                  <a:lnTo>
                    <a:pt x="942023" y="553593"/>
                  </a:lnTo>
                  <a:lnTo>
                    <a:pt x="941642" y="550355"/>
                  </a:lnTo>
                  <a:lnTo>
                    <a:pt x="930783" y="540544"/>
                  </a:lnTo>
                  <a:lnTo>
                    <a:pt x="926401" y="531495"/>
                  </a:lnTo>
                  <a:lnTo>
                    <a:pt x="922687" y="527113"/>
                  </a:lnTo>
                  <a:lnTo>
                    <a:pt x="922020" y="522446"/>
                  </a:lnTo>
                  <a:lnTo>
                    <a:pt x="918305" y="518065"/>
                  </a:lnTo>
                  <a:lnTo>
                    <a:pt x="907256" y="519494"/>
                  </a:lnTo>
                  <a:lnTo>
                    <a:pt x="903923" y="518350"/>
                  </a:lnTo>
                  <a:lnTo>
                    <a:pt x="900970" y="520255"/>
                  </a:lnTo>
                  <a:lnTo>
                    <a:pt x="899732" y="523684"/>
                  </a:lnTo>
                  <a:lnTo>
                    <a:pt x="896588" y="524065"/>
                  </a:lnTo>
                  <a:lnTo>
                    <a:pt x="885730" y="514255"/>
                  </a:lnTo>
                  <a:lnTo>
                    <a:pt x="878776" y="497491"/>
                  </a:lnTo>
                  <a:lnTo>
                    <a:pt x="869728" y="489013"/>
                  </a:lnTo>
                  <a:lnTo>
                    <a:pt x="869251" y="485870"/>
                  </a:lnTo>
                  <a:lnTo>
                    <a:pt x="873443" y="480536"/>
                  </a:lnTo>
                  <a:lnTo>
                    <a:pt x="871061" y="474440"/>
                  </a:lnTo>
                  <a:lnTo>
                    <a:pt x="873824" y="470821"/>
                  </a:lnTo>
                  <a:lnTo>
                    <a:pt x="869823" y="464915"/>
                  </a:lnTo>
                  <a:lnTo>
                    <a:pt x="869061" y="458629"/>
                  </a:lnTo>
                  <a:lnTo>
                    <a:pt x="867061" y="455676"/>
                  </a:lnTo>
                  <a:lnTo>
                    <a:pt x="862489" y="457867"/>
                  </a:lnTo>
                  <a:lnTo>
                    <a:pt x="858965" y="455105"/>
                  </a:lnTo>
                  <a:lnTo>
                    <a:pt x="852868" y="457486"/>
                  </a:lnTo>
                  <a:lnTo>
                    <a:pt x="844391" y="453771"/>
                  </a:lnTo>
                  <a:lnTo>
                    <a:pt x="838200" y="456152"/>
                  </a:lnTo>
                  <a:lnTo>
                    <a:pt x="831342" y="452152"/>
                  </a:lnTo>
                  <a:lnTo>
                    <a:pt x="829723" y="452438"/>
                  </a:lnTo>
                  <a:lnTo>
                    <a:pt x="825246" y="454533"/>
                  </a:lnTo>
                  <a:lnTo>
                    <a:pt x="821531" y="463105"/>
                  </a:lnTo>
                  <a:lnTo>
                    <a:pt x="821912" y="466249"/>
                  </a:lnTo>
                  <a:lnTo>
                    <a:pt x="816007" y="470154"/>
                  </a:lnTo>
                  <a:lnTo>
                    <a:pt x="811244" y="470821"/>
                  </a:lnTo>
                  <a:lnTo>
                    <a:pt x="809816" y="459772"/>
                  </a:lnTo>
                  <a:lnTo>
                    <a:pt x="802672" y="454247"/>
                  </a:lnTo>
                  <a:lnTo>
                    <a:pt x="803720" y="449294"/>
                  </a:lnTo>
                  <a:lnTo>
                    <a:pt x="801148" y="441579"/>
                  </a:lnTo>
                  <a:lnTo>
                    <a:pt x="799148" y="438626"/>
                  </a:lnTo>
                  <a:lnTo>
                    <a:pt x="789623" y="439865"/>
                  </a:lnTo>
                  <a:lnTo>
                    <a:pt x="789242" y="436721"/>
                  </a:lnTo>
                  <a:lnTo>
                    <a:pt x="792956" y="428244"/>
                  </a:lnTo>
                  <a:lnTo>
                    <a:pt x="791242" y="426815"/>
                  </a:lnTo>
                  <a:lnTo>
                    <a:pt x="784289" y="422910"/>
                  </a:lnTo>
                  <a:lnTo>
                    <a:pt x="783717" y="418148"/>
                  </a:lnTo>
                  <a:lnTo>
                    <a:pt x="778764" y="417195"/>
                  </a:lnTo>
                  <a:lnTo>
                    <a:pt x="771620" y="424529"/>
                  </a:lnTo>
                  <a:lnTo>
                    <a:pt x="763143" y="420815"/>
                  </a:lnTo>
                  <a:lnTo>
                    <a:pt x="765715" y="415671"/>
                  </a:lnTo>
                  <a:lnTo>
                    <a:pt x="760762" y="401860"/>
                  </a:lnTo>
                  <a:lnTo>
                    <a:pt x="757238" y="399098"/>
                  </a:lnTo>
                  <a:lnTo>
                    <a:pt x="752475" y="399669"/>
                  </a:lnTo>
                  <a:lnTo>
                    <a:pt x="751904" y="395002"/>
                  </a:lnTo>
                  <a:lnTo>
                    <a:pt x="753237" y="393192"/>
                  </a:lnTo>
                  <a:lnTo>
                    <a:pt x="755618" y="386429"/>
                  </a:lnTo>
                  <a:lnTo>
                    <a:pt x="759524" y="379571"/>
                  </a:lnTo>
                  <a:lnTo>
                    <a:pt x="762286" y="375952"/>
                  </a:lnTo>
                  <a:lnTo>
                    <a:pt x="763619" y="374237"/>
                  </a:lnTo>
                  <a:lnTo>
                    <a:pt x="768382" y="373571"/>
                  </a:lnTo>
                  <a:lnTo>
                    <a:pt x="768953" y="378333"/>
                  </a:lnTo>
                  <a:lnTo>
                    <a:pt x="771334" y="384429"/>
                  </a:lnTo>
                  <a:lnTo>
                    <a:pt x="777716" y="383667"/>
                  </a:lnTo>
                  <a:lnTo>
                    <a:pt x="778478" y="377095"/>
                  </a:lnTo>
                  <a:lnTo>
                    <a:pt x="776097" y="370999"/>
                  </a:lnTo>
                  <a:lnTo>
                    <a:pt x="772477" y="368236"/>
                  </a:lnTo>
                  <a:lnTo>
                    <a:pt x="769144" y="367094"/>
                  </a:lnTo>
                  <a:lnTo>
                    <a:pt x="772097" y="365093"/>
                  </a:lnTo>
                  <a:lnTo>
                    <a:pt x="780002" y="364141"/>
                  </a:lnTo>
                  <a:lnTo>
                    <a:pt x="777621" y="358045"/>
                  </a:lnTo>
                  <a:lnTo>
                    <a:pt x="785908" y="360140"/>
                  </a:lnTo>
                  <a:lnTo>
                    <a:pt x="793433" y="355949"/>
                  </a:lnTo>
                  <a:lnTo>
                    <a:pt x="789242" y="348520"/>
                  </a:lnTo>
                  <a:lnTo>
                    <a:pt x="796576" y="342805"/>
                  </a:lnTo>
                  <a:lnTo>
                    <a:pt x="799719" y="342329"/>
                  </a:lnTo>
                  <a:lnTo>
                    <a:pt x="803243" y="345091"/>
                  </a:lnTo>
                  <a:lnTo>
                    <a:pt x="806387" y="344710"/>
                  </a:lnTo>
                  <a:lnTo>
                    <a:pt x="802481" y="338804"/>
                  </a:lnTo>
                  <a:lnTo>
                    <a:pt x="803815" y="336994"/>
                  </a:lnTo>
                  <a:lnTo>
                    <a:pt x="805815" y="339947"/>
                  </a:lnTo>
                  <a:lnTo>
                    <a:pt x="812483" y="342329"/>
                  </a:lnTo>
                  <a:lnTo>
                    <a:pt x="815435" y="340328"/>
                  </a:lnTo>
                  <a:lnTo>
                    <a:pt x="819055" y="343090"/>
                  </a:lnTo>
                  <a:lnTo>
                    <a:pt x="824293" y="334423"/>
                  </a:lnTo>
                  <a:lnTo>
                    <a:pt x="823722" y="329660"/>
                  </a:lnTo>
                  <a:lnTo>
                    <a:pt x="829818" y="327279"/>
                  </a:lnTo>
                  <a:lnTo>
                    <a:pt x="831247" y="325469"/>
                  </a:lnTo>
                  <a:lnTo>
                    <a:pt x="828389" y="316230"/>
                  </a:lnTo>
                  <a:lnTo>
                    <a:pt x="829627" y="312896"/>
                  </a:lnTo>
                  <a:lnTo>
                    <a:pt x="835724" y="310515"/>
                  </a:lnTo>
                  <a:lnTo>
                    <a:pt x="837343" y="310325"/>
                  </a:lnTo>
                  <a:lnTo>
                    <a:pt x="844201" y="314230"/>
                  </a:lnTo>
                  <a:lnTo>
                    <a:pt x="846201" y="317182"/>
                  </a:lnTo>
                  <a:lnTo>
                    <a:pt x="853345" y="322707"/>
                  </a:lnTo>
                  <a:lnTo>
                    <a:pt x="863727" y="316516"/>
                  </a:lnTo>
                  <a:lnTo>
                    <a:pt x="872776" y="299371"/>
                  </a:lnTo>
                  <a:lnTo>
                    <a:pt x="881825" y="294989"/>
                  </a:lnTo>
                  <a:lnTo>
                    <a:pt x="891921" y="285750"/>
                  </a:lnTo>
                  <a:lnTo>
                    <a:pt x="891540" y="282511"/>
                  </a:lnTo>
                  <a:lnTo>
                    <a:pt x="889540" y="279559"/>
                  </a:lnTo>
                  <a:lnTo>
                    <a:pt x="891064" y="279368"/>
                  </a:lnTo>
                  <a:lnTo>
                    <a:pt x="881825" y="269367"/>
                  </a:lnTo>
                  <a:lnTo>
                    <a:pt x="888111" y="268510"/>
                  </a:lnTo>
                  <a:lnTo>
                    <a:pt x="898589" y="262414"/>
                  </a:lnTo>
                  <a:lnTo>
                    <a:pt x="898970" y="252698"/>
                  </a:lnTo>
                  <a:lnTo>
                    <a:pt x="892778" y="242316"/>
                  </a:lnTo>
                  <a:lnTo>
                    <a:pt x="893921" y="238982"/>
                  </a:lnTo>
                  <a:lnTo>
                    <a:pt x="903637" y="239268"/>
                  </a:lnTo>
                  <a:lnTo>
                    <a:pt x="908209" y="237172"/>
                  </a:lnTo>
                  <a:lnTo>
                    <a:pt x="921163" y="225838"/>
                  </a:lnTo>
                  <a:lnTo>
                    <a:pt x="920401" y="219551"/>
                  </a:lnTo>
                  <a:lnTo>
                    <a:pt x="917734" y="211836"/>
                  </a:lnTo>
                  <a:lnTo>
                    <a:pt x="908685" y="203359"/>
                  </a:lnTo>
                  <a:lnTo>
                    <a:pt x="906113" y="195739"/>
                  </a:lnTo>
                  <a:lnTo>
                    <a:pt x="897446" y="190405"/>
                  </a:lnTo>
                  <a:lnTo>
                    <a:pt x="893445" y="184499"/>
                  </a:lnTo>
                  <a:lnTo>
                    <a:pt x="885158" y="182309"/>
                  </a:lnTo>
                  <a:lnTo>
                    <a:pt x="875252" y="167545"/>
                  </a:lnTo>
                  <a:lnTo>
                    <a:pt x="874395" y="161258"/>
                  </a:lnTo>
                  <a:lnTo>
                    <a:pt x="872871" y="161449"/>
                  </a:lnTo>
                  <a:lnTo>
                    <a:pt x="869728" y="161830"/>
                  </a:lnTo>
                  <a:lnTo>
                    <a:pt x="867727" y="158877"/>
                  </a:lnTo>
                  <a:lnTo>
                    <a:pt x="863156" y="148209"/>
                  </a:lnTo>
                  <a:lnTo>
                    <a:pt x="855250" y="149257"/>
                  </a:lnTo>
                  <a:lnTo>
                    <a:pt x="854678" y="144494"/>
                  </a:lnTo>
                  <a:lnTo>
                    <a:pt x="848297" y="132493"/>
                  </a:lnTo>
                  <a:lnTo>
                    <a:pt x="834866" y="127825"/>
                  </a:lnTo>
                  <a:lnTo>
                    <a:pt x="828580" y="128588"/>
                  </a:lnTo>
                  <a:lnTo>
                    <a:pt x="824675" y="135541"/>
                  </a:lnTo>
                  <a:lnTo>
                    <a:pt x="818102" y="134779"/>
                  </a:lnTo>
                  <a:lnTo>
                    <a:pt x="806863" y="134588"/>
                  </a:lnTo>
                  <a:lnTo>
                    <a:pt x="805720" y="125063"/>
                  </a:lnTo>
                  <a:lnTo>
                    <a:pt x="804101" y="125254"/>
                  </a:lnTo>
                  <a:lnTo>
                    <a:pt x="800957" y="125730"/>
                  </a:lnTo>
                  <a:lnTo>
                    <a:pt x="792861" y="125158"/>
                  </a:lnTo>
                  <a:lnTo>
                    <a:pt x="789908" y="127064"/>
                  </a:lnTo>
                  <a:lnTo>
                    <a:pt x="774859" y="122587"/>
                  </a:lnTo>
                  <a:lnTo>
                    <a:pt x="771716" y="122968"/>
                  </a:lnTo>
                  <a:lnTo>
                    <a:pt x="763524" y="146494"/>
                  </a:lnTo>
                  <a:lnTo>
                    <a:pt x="765143" y="159163"/>
                  </a:lnTo>
                  <a:lnTo>
                    <a:pt x="763524" y="159353"/>
                  </a:lnTo>
                  <a:lnTo>
                    <a:pt x="765524" y="162306"/>
                  </a:lnTo>
                  <a:lnTo>
                    <a:pt x="762952" y="167449"/>
                  </a:lnTo>
                  <a:lnTo>
                    <a:pt x="747141" y="169450"/>
                  </a:lnTo>
                  <a:lnTo>
                    <a:pt x="741235" y="173355"/>
                  </a:lnTo>
                  <a:lnTo>
                    <a:pt x="736092" y="170878"/>
                  </a:lnTo>
                  <a:lnTo>
                    <a:pt x="737711" y="170593"/>
                  </a:lnTo>
                  <a:lnTo>
                    <a:pt x="734759" y="159829"/>
                  </a:lnTo>
                  <a:lnTo>
                    <a:pt x="730568" y="152305"/>
                  </a:lnTo>
                  <a:lnTo>
                    <a:pt x="714947" y="143066"/>
                  </a:lnTo>
                  <a:lnTo>
                    <a:pt x="707231" y="145637"/>
                  </a:lnTo>
                  <a:lnTo>
                    <a:pt x="704850" y="139541"/>
                  </a:lnTo>
                  <a:lnTo>
                    <a:pt x="701516" y="138398"/>
                  </a:lnTo>
                  <a:lnTo>
                    <a:pt x="699516" y="135445"/>
                  </a:lnTo>
                  <a:lnTo>
                    <a:pt x="691706" y="136398"/>
                  </a:lnTo>
                  <a:lnTo>
                    <a:pt x="688086" y="133636"/>
                  </a:lnTo>
                  <a:lnTo>
                    <a:pt x="681800" y="134493"/>
                  </a:lnTo>
                  <a:lnTo>
                    <a:pt x="679609" y="142780"/>
                  </a:lnTo>
                  <a:lnTo>
                    <a:pt x="676656" y="144780"/>
                  </a:lnTo>
                  <a:lnTo>
                    <a:pt x="673513" y="145161"/>
                  </a:lnTo>
                  <a:lnTo>
                    <a:pt x="672560" y="150114"/>
                  </a:lnTo>
                  <a:lnTo>
                    <a:pt x="664083" y="159163"/>
                  </a:lnTo>
                  <a:lnTo>
                    <a:pt x="659321" y="159734"/>
                  </a:lnTo>
                  <a:lnTo>
                    <a:pt x="659797" y="162973"/>
                  </a:lnTo>
                  <a:lnTo>
                    <a:pt x="655606" y="168307"/>
                  </a:lnTo>
                  <a:lnTo>
                    <a:pt x="653129" y="186214"/>
                  </a:lnTo>
                  <a:lnTo>
                    <a:pt x="653510" y="189357"/>
                  </a:lnTo>
                  <a:lnTo>
                    <a:pt x="652367" y="192786"/>
                  </a:lnTo>
                  <a:lnTo>
                    <a:pt x="642271" y="189167"/>
                  </a:lnTo>
                  <a:lnTo>
                    <a:pt x="631603" y="206597"/>
                  </a:lnTo>
                  <a:lnTo>
                    <a:pt x="626269" y="202501"/>
                  </a:lnTo>
                  <a:lnTo>
                    <a:pt x="624364" y="199549"/>
                  </a:lnTo>
                  <a:lnTo>
                    <a:pt x="619411" y="198596"/>
                  </a:lnTo>
                  <a:lnTo>
                    <a:pt x="609124" y="193453"/>
                  </a:lnTo>
                  <a:lnTo>
                    <a:pt x="605600" y="190691"/>
                  </a:lnTo>
                  <a:lnTo>
                    <a:pt x="605123" y="187547"/>
                  </a:lnTo>
                  <a:lnTo>
                    <a:pt x="610648" y="180403"/>
                  </a:lnTo>
                  <a:lnTo>
                    <a:pt x="618363" y="177832"/>
                  </a:lnTo>
                  <a:lnTo>
                    <a:pt x="628555" y="170117"/>
                  </a:lnTo>
                  <a:lnTo>
                    <a:pt x="626650" y="167164"/>
                  </a:lnTo>
                  <a:lnTo>
                    <a:pt x="618363" y="164973"/>
                  </a:lnTo>
                  <a:lnTo>
                    <a:pt x="617125" y="155543"/>
                  </a:lnTo>
                  <a:lnTo>
                    <a:pt x="613791" y="154400"/>
                  </a:lnTo>
                  <a:lnTo>
                    <a:pt x="616268" y="149257"/>
                  </a:lnTo>
                  <a:lnTo>
                    <a:pt x="614743" y="136589"/>
                  </a:lnTo>
                  <a:lnTo>
                    <a:pt x="612076" y="128873"/>
                  </a:lnTo>
                  <a:lnTo>
                    <a:pt x="612934" y="122396"/>
                  </a:lnTo>
                  <a:lnTo>
                    <a:pt x="609505" y="121253"/>
                  </a:lnTo>
                  <a:lnTo>
                    <a:pt x="605600" y="115348"/>
                  </a:lnTo>
                  <a:lnTo>
                    <a:pt x="606552" y="110395"/>
                  </a:lnTo>
                  <a:lnTo>
                    <a:pt x="606171" y="107251"/>
                  </a:lnTo>
                  <a:lnTo>
                    <a:pt x="587597" y="99917"/>
                  </a:lnTo>
                  <a:lnTo>
                    <a:pt x="578072" y="101155"/>
                  </a:lnTo>
                  <a:lnTo>
                    <a:pt x="576739" y="102965"/>
                  </a:lnTo>
                  <a:lnTo>
                    <a:pt x="572452" y="106680"/>
                  </a:lnTo>
                  <a:lnTo>
                    <a:pt x="565880" y="105918"/>
                  </a:lnTo>
                  <a:lnTo>
                    <a:pt x="563309" y="111062"/>
                  </a:lnTo>
                  <a:lnTo>
                    <a:pt x="556641" y="108680"/>
                  </a:lnTo>
                  <a:lnTo>
                    <a:pt x="549116" y="112871"/>
                  </a:lnTo>
                  <a:lnTo>
                    <a:pt x="533972" y="119634"/>
                  </a:lnTo>
                  <a:lnTo>
                    <a:pt x="533019" y="124587"/>
                  </a:lnTo>
                  <a:lnTo>
                    <a:pt x="517970" y="120015"/>
                  </a:lnTo>
                  <a:lnTo>
                    <a:pt x="518732" y="113538"/>
                  </a:lnTo>
                  <a:lnTo>
                    <a:pt x="518160" y="108775"/>
                  </a:lnTo>
                  <a:lnTo>
                    <a:pt x="514731" y="94774"/>
                  </a:lnTo>
                  <a:lnTo>
                    <a:pt x="511016" y="90488"/>
                  </a:lnTo>
                  <a:lnTo>
                    <a:pt x="509778" y="80963"/>
                  </a:lnTo>
                  <a:lnTo>
                    <a:pt x="506444" y="79819"/>
                  </a:lnTo>
                  <a:lnTo>
                    <a:pt x="498539" y="68008"/>
                  </a:lnTo>
                  <a:lnTo>
                    <a:pt x="494538" y="62103"/>
                  </a:lnTo>
                  <a:lnTo>
                    <a:pt x="496634" y="40957"/>
                  </a:lnTo>
                  <a:lnTo>
                    <a:pt x="487966" y="35623"/>
                  </a:lnTo>
                  <a:lnTo>
                    <a:pt x="485394" y="28003"/>
                  </a:lnTo>
                  <a:lnTo>
                    <a:pt x="466630" y="32004"/>
                  </a:lnTo>
                  <a:lnTo>
                    <a:pt x="465677" y="36862"/>
                  </a:lnTo>
                  <a:lnTo>
                    <a:pt x="459962" y="42481"/>
                  </a:lnTo>
                  <a:lnTo>
                    <a:pt x="446913" y="40862"/>
                  </a:lnTo>
                  <a:lnTo>
                    <a:pt x="436340" y="45434"/>
                  </a:lnTo>
                  <a:lnTo>
                    <a:pt x="431959" y="49244"/>
                  </a:lnTo>
                  <a:lnTo>
                    <a:pt x="430435" y="49435"/>
                  </a:lnTo>
                  <a:lnTo>
                    <a:pt x="420148" y="44291"/>
                  </a:lnTo>
                  <a:lnTo>
                    <a:pt x="409289" y="47339"/>
                  </a:lnTo>
                  <a:lnTo>
                    <a:pt x="404336" y="46292"/>
                  </a:lnTo>
                  <a:lnTo>
                    <a:pt x="397383" y="42386"/>
                  </a:lnTo>
                  <a:lnTo>
                    <a:pt x="394621" y="33147"/>
                  </a:lnTo>
                  <a:lnTo>
                    <a:pt x="390906" y="28766"/>
                  </a:lnTo>
                  <a:lnTo>
                    <a:pt x="382619" y="26670"/>
                  </a:lnTo>
                  <a:lnTo>
                    <a:pt x="377285" y="22479"/>
                  </a:lnTo>
                  <a:lnTo>
                    <a:pt x="369189" y="21907"/>
                  </a:lnTo>
                  <a:lnTo>
                    <a:pt x="350996" y="17812"/>
                  </a:lnTo>
                  <a:lnTo>
                    <a:pt x="348043" y="6953"/>
                  </a:lnTo>
                  <a:lnTo>
                    <a:pt x="337947" y="3429"/>
                  </a:lnTo>
                  <a:lnTo>
                    <a:pt x="321564" y="762"/>
                  </a:lnTo>
                  <a:lnTo>
                    <a:pt x="309372" y="5524"/>
                  </a:lnTo>
                  <a:lnTo>
                    <a:pt x="302228" y="0"/>
                  </a:lnTo>
                  <a:lnTo>
                    <a:pt x="292703" y="1238"/>
                  </a:lnTo>
                  <a:lnTo>
                    <a:pt x="292989" y="15621"/>
                  </a:lnTo>
                  <a:lnTo>
                    <a:pt x="293942" y="23527"/>
                  </a:lnTo>
                  <a:lnTo>
                    <a:pt x="297942" y="29432"/>
                  </a:lnTo>
                  <a:lnTo>
                    <a:pt x="313754" y="40195"/>
                  </a:lnTo>
                  <a:lnTo>
                    <a:pt x="318325" y="50864"/>
                  </a:lnTo>
                  <a:lnTo>
                    <a:pt x="316135" y="59150"/>
                  </a:lnTo>
                  <a:lnTo>
                    <a:pt x="308324" y="72962"/>
                  </a:lnTo>
                  <a:lnTo>
                    <a:pt x="307086" y="76391"/>
                  </a:lnTo>
                  <a:lnTo>
                    <a:pt x="314230" y="81820"/>
                  </a:lnTo>
                  <a:lnTo>
                    <a:pt x="312706" y="94869"/>
                  </a:lnTo>
                  <a:lnTo>
                    <a:pt x="314706" y="97822"/>
                  </a:lnTo>
                  <a:lnTo>
                    <a:pt x="311182" y="107918"/>
                  </a:lnTo>
                  <a:lnTo>
                    <a:pt x="311753" y="112681"/>
                  </a:lnTo>
                  <a:lnTo>
                    <a:pt x="313563" y="114014"/>
                  </a:lnTo>
                  <a:lnTo>
                    <a:pt x="319945" y="138874"/>
                  </a:lnTo>
                  <a:lnTo>
                    <a:pt x="326993" y="144399"/>
                  </a:lnTo>
                  <a:lnTo>
                    <a:pt x="319945" y="151733"/>
                  </a:lnTo>
                  <a:lnTo>
                    <a:pt x="314801" y="161925"/>
                  </a:lnTo>
                  <a:lnTo>
                    <a:pt x="314992" y="163544"/>
                  </a:lnTo>
                  <a:lnTo>
                    <a:pt x="325469" y="170212"/>
                  </a:lnTo>
                  <a:lnTo>
                    <a:pt x="329660" y="177737"/>
                  </a:lnTo>
                  <a:lnTo>
                    <a:pt x="330518" y="184023"/>
                  </a:lnTo>
                  <a:lnTo>
                    <a:pt x="339185" y="189357"/>
                  </a:lnTo>
                  <a:lnTo>
                    <a:pt x="333470" y="194881"/>
                  </a:lnTo>
                  <a:lnTo>
                    <a:pt x="326803" y="205359"/>
                  </a:lnTo>
                  <a:lnTo>
                    <a:pt x="328994" y="209931"/>
                  </a:lnTo>
                  <a:lnTo>
                    <a:pt x="318516" y="228886"/>
                  </a:lnTo>
                  <a:lnTo>
                    <a:pt x="325660" y="234315"/>
                  </a:lnTo>
                  <a:lnTo>
                    <a:pt x="335375" y="234696"/>
                  </a:lnTo>
                  <a:lnTo>
                    <a:pt x="332804" y="239840"/>
                  </a:lnTo>
                  <a:lnTo>
                    <a:pt x="328232" y="242030"/>
                  </a:lnTo>
                  <a:lnTo>
                    <a:pt x="339281" y="253460"/>
                  </a:lnTo>
                  <a:lnTo>
                    <a:pt x="334423" y="252508"/>
                  </a:lnTo>
                  <a:lnTo>
                    <a:pt x="334613" y="254032"/>
                  </a:lnTo>
                  <a:lnTo>
                    <a:pt x="341090" y="254889"/>
                  </a:lnTo>
                  <a:lnTo>
                    <a:pt x="343472" y="260985"/>
                  </a:lnTo>
                  <a:lnTo>
                    <a:pt x="348806" y="265081"/>
                  </a:lnTo>
                  <a:lnTo>
                    <a:pt x="349187" y="268224"/>
                  </a:lnTo>
                  <a:lnTo>
                    <a:pt x="352806" y="270986"/>
                  </a:lnTo>
                  <a:lnTo>
                    <a:pt x="356997" y="278511"/>
                  </a:lnTo>
                  <a:lnTo>
                    <a:pt x="358521" y="278320"/>
                  </a:lnTo>
                  <a:lnTo>
                    <a:pt x="359283" y="284607"/>
                  </a:lnTo>
                  <a:lnTo>
                    <a:pt x="363284" y="290513"/>
                  </a:lnTo>
                  <a:lnTo>
                    <a:pt x="362141" y="293846"/>
                  </a:lnTo>
                  <a:lnTo>
                    <a:pt x="340043" y="296704"/>
                  </a:lnTo>
                  <a:lnTo>
                    <a:pt x="335471" y="298894"/>
                  </a:lnTo>
                  <a:lnTo>
                    <a:pt x="334137" y="300609"/>
                  </a:lnTo>
                  <a:lnTo>
                    <a:pt x="331946" y="296132"/>
                  </a:lnTo>
                  <a:lnTo>
                    <a:pt x="329184" y="299657"/>
                  </a:lnTo>
                  <a:lnTo>
                    <a:pt x="331184" y="302609"/>
                  </a:lnTo>
                  <a:lnTo>
                    <a:pt x="328041" y="302990"/>
                  </a:lnTo>
                  <a:lnTo>
                    <a:pt x="326803" y="293561"/>
                  </a:lnTo>
                  <a:lnTo>
                    <a:pt x="323660" y="293942"/>
                  </a:lnTo>
                  <a:lnTo>
                    <a:pt x="323850" y="295561"/>
                  </a:lnTo>
                  <a:lnTo>
                    <a:pt x="320516" y="294323"/>
                  </a:lnTo>
                  <a:lnTo>
                    <a:pt x="320040" y="291179"/>
                  </a:lnTo>
                  <a:lnTo>
                    <a:pt x="318707" y="292989"/>
                  </a:lnTo>
                  <a:lnTo>
                    <a:pt x="318325" y="289846"/>
                  </a:lnTo>
                  <a:lnTo>
                    <a:pt x="316706" y="290036"/>
                  </a:lnTo>
                  <a:lnTo>
                    <a:pt x="310801" y="293942"/>
                  </a:lnTo>
                  <a:lnTo>
                    <a:pt x="309277" y="294227"/>
                  </a:lnTo>
                  <a:lnTo>
                    <a:pt x="304705" y="296323"/>
                  </a:lnTo>
                  <a:lnTo>
                    <a:pt x="301371" y="295180"/>
                  </a:lnTo>
                  <a:lnTo>
                    <a:pt x="302324" y="303086"/>
                  </a:lnTo>
                  <a:lnTo>
                    <a:pt x="294418" y="304133"/>
                  </a:lnTo>
                  <a:lnTo>
                    <a:pt x="292227" y="299561"/>
                  </a:lnTo>
                  <a:lnTo>
                    <a:pt x="287750" y="301752"/>
                  </a:lnTo>
                  <a:lnTo>
                    <a:pt x="285750" y="298799"/>
                  </a:lnTo>
                  <a:lnTo>
                    <a:pt x="279464" y="299561"/>
                  </a:lnTo>
                  <a:lnTo>
                    <a:pt x="278606" y="293275"/>
                  </a:lnTo>
                  <a:lnTo>
                    <a:pt x="267557" y="281845"/>
                  </a:lnTo>
                  <a:lnTo>
                    <a:pt x="268319" y="275368"/>
                  </a:lnTo>
                  <a:lnTo>
                    <a:pt x="270129" y="276701"/>
                  </a:lnTo>
                  <a:lnTo>
                    <a:pt x="269748" y="273558"/>
                  </a:lnTo>
                  <a:lnTo>
                    <a:pt x="267748" y="270605"/>
                  </a:lnTo>
                  <a:lnTo>
                    <a:pt x="254318" y="265938"/>
                  </a:lnTo>
                  <a:lnTo>
                    <a:pt x="254889" y="270605"/>
                  </a:lnTo>
                  <a:lnTo>
                    <a:pt x="256508" y="270415"/>
                  </a:lnTo>
                  <a:lnTo>
                    <a:pt x="253746" y="274034"/>
                  </a:lnTo>
                  <a:lnTo>
                    <a:pt x="257461" y="278320"/>
                  </a:lnTo>
                  <a:lnTo>
                    <a:pt x="256508" y="283273"/>
                  </a:lnTo>
                  <a:lnTo>
                    <a:pt x="254699" y="281845"/>
                  </a:lnTo>
                  <a:lnTo>
                    <a:pt x="253365" y="283655"/>
                  </a:lnTo>
                  <a:lnTo>
                    <a:pt x="248031" y="279559"/>
                  </a:lnTo>
                  <a:lnTo>
                    <a:pt x="247841" y="290798"/>
                  </a:lnTo>
                  <a:lnTo>
                    <a:pt x="240125" y="293370"/>
                  </a:lnTo>
                  <a:lnTo>
                    <a:pt x="238411" y="292036"/>
                  </a:lnTo>
                  <a:lnTo>
                    <a:pt x="229076" y="294799"/>
                  </a:lnTo>
                  <a:lnTo>
                    <a:pt x="228124" y="299752"/>
                  </a:lnTo>
                  <a:lnTo>
                    <a:pt x="226790" y="301466"/>
                  </a:lnTo>
                  <a:lnTo>
                    <a:pt x="230505" y="305848"/>
                  </a:lnTo>
                  <a:lnTo>
                    <a:pt x="231743" y="315278"/>
                  </a:lnTo>
                  <a:lnTo>
                    <a:pt x="238697" y="319183"/>
                  </a:lnTo>
                  <a:lnTo>
                    <a:pt x="237649" y="324136"/>
                  </a:lnTo>
                  <a:lnTo>
                    <a:pt x="232982" y="324803"/>
                  </a:lnTo>
                  <a:lnTo>
                    <a:pt x="234887" y="327755"/>
                  </a:lnTo>
                  <a:lnTo>
                    <a:pt x="232124" y="331280"/>
                  </a:lnTo>
                  <a:lnTo>
                    <a:pt x="231172" y="336232"/>
                  </a:lnTo>
                  <a:lnTo>
                    <a:pt x="226219" y="335280"/>
                  </a:lnTo>
                  <a:lnTo>
                    <a:pt x="223838" y="329089"/>
                  </a:lnTo>
                  <a:lnTo>
                    <a:pt x="220885" y="331089"/>
                  </a:lnTo>
                  <a:lnTo>
                    <a:pt x="218123" y="334709"/>
                  </a:lnTo>
                  <a:lnTo>
                    <a:pt x="221933" y="338995"/>
                  </a:lnTo>
                  <a:lnTo>
                    <a:pt x="222123" y="340614"/>
                  </a:lnTo>
                  <a:lnTo>
                    <a:pt x="218789" y="339376"/>
                  </a:lnTo>
                  <a:lnTo>
                    <a:pt x="218980" y="340995"/>
                  </a:lnTo>
                  <a:lnTo>
                    <a:pt x="213836" y="338423"/>
                  </a:lnTo>
                  <a:lnTo>
                    <a:pt x="212693" y="341757"/>
                  </a:lnTo>
                  <a:lnTo>
                    <a:pt x="207740" y="340805"/>
                  </a:lnTo>
                  <a:lnTo>
                    <a:pt x="203168" y="342995"/>
                  </a:lnTo>
                  <a:lnTo>
                    <a:pt x="196691" y="342233"/>
                  </a:lnTo>
                  <a:lnTo>
                    <a:pt x="196025" y="337471"/>
                  </a:lnTo>
                  <a:lnTo>
                    <a:pt x="192691" y="336328"/>
                  </a:lnTo>
                  <a:lnTo>
                    <a:pt x="195834" y="335947"/>
                  </a:lnTo>
                  <a:lnTo>
                    <a:pt x="195453" y="332708"/>
                  </a:lnTo>
                  <a:lnTo>
                    <a:pt x="190691" y="333375"/>
                  </a:lnTo>
                  <a:lnTo>
                    <a:pt x="188786" y="330422"/>
                  </a:lnTo>
                  <a:lnTo>
                    <a:pt x="196882" y="330994"/>
                  </a:lnTo>
                  <a:lnTo>
                    <a:pt x="196596" y="329375"/>
                  </a:lnTo>
                  <a:lnTo>
                    <a:pt x="193262" y="328232"/>
                  </a:lnTo>
                  <a:lnTo>
                    <a:pt x="191072" y="323659"/>
                  </a:lnTo>
                  <a:lnTo>
                    <a:pt x="194215" y="323279"/>
                  </a:lnTo>
                  <a:lnTo>
                    <a:pt x="190119" y="315754"/>
                  </a:lnTo>
                  <a:lnTo>
                    <a:pt x="191262" y="312420"/>
                  </a:lnTo>
                  <a:lnTo>
                    <a:pt x="187928" y="311277"/>
                  </a:lnTo>
                  <a:lnTo>
                    <a:pt x="182023" y="315182"/>
                  </a:lnTo>
                  <a:lnTo>
                    <a:pt x="181832" y="326422"/>
                  </a:lnTo>
                  <a:lnTo>
                    <a:pt x="174879" y="322517"/>
                  </a:lnTo>
                  <a:lnTo>
                    <a:pt x="172784" y="318040"/>
                  </a:lnTo>
                  <a:lnTo>
                    <a:pt x="166021" y="315659"/>
                  </a:lnTo>
                  <a:lnTo>
                    <a:pt x="164402" y="315849"/>
                  </a:lnTo>
                  <a:lnTo>
                    <a:pt x="160306" y="308324"/>
                  </a:lnTo>
                  <a:lnTo>
                    <a:pt x="161449" y="304990"/>
                  </a:lnTo>
                  <a:lnTo>
                    <a:pt x="153162" y="302895"/>
                  </a:lnTo>
                  <a:lnTo>
                    <a:pt x="152019" y="306229"/>
                  </a:lnTo>
                  <a:lnTo>
                    <a:pt x="150400" y="306419"/>
                  </a:lnTo>
                  <a:lnTo>
                    <a:pt x="148209" y="301847"/>
                  </a:lnTo>
                  <a:lnTo>
                    <a:pt x="144113" y="307181"/>
                  </a:lnTo>
                  <a:lnTo>
                    <a:pt x="142113" y="304229"/>
                  </a:lnTo>
                  <a:lnTo>
                    <a:pt x="133826" y="302133"/>
                  </a:lnTo>
                  <a:lnTo>
                    <a:pt x="134969" y="298704"/>
                  </a:lnTo>
                  <a:lnTo>
                    <a:pt x="126302" y="293465"/>
                  </a:lnTo>
                  <a:lnTo>
                    <a:pt x="124968" y="295180"/>
                  </a:lnTo>
                  <a:lnTo>
                    <a:pt x="121349" y="292513"/>
                  </a:lnTo>
                  <a:lnTo>
                    <a:pt x="116681" y="293084"/>
                  </a:lnTo>
                  <a:lnTo>
                    <a:pt x="115253" y="294894"/>
                  </a:lnTo>
                  <a:lnTo>
                    <a:pt x="111538" y="290513"/>
                  </a:lnTo>
                  <a:lnTo>
                    <a:pt x="110300" y="293846"/>
                  </a:lnTo>
                  <a:lnTo>
                    <a:pt x="107156" y="294323"/>
                  </a:lnTo>
                  <a:lnTo>
                    <a:pt x="106013" y="297656"/>
                  </a:lnTo>
                  <a:lnTo>
                    <a:pt x="104394" y="297847"/>
                  </a:lnTo>
                  <a:lnTo>
                    <a:pt x="101632" y="301371"/>
                  </a:lnTo>
                  <a:lnTo>
                    <a:pt x="103442" y="302800"/>
                  </a:lnTo>
                  <a:lnTo>
                    <a:pt x="95726" y="305371"/>
                  </a:lnTo>
                  <a:lnTo>
                    <a:pt x="96583" y="311658"/>
                  </a:lnTo>
                  <a:lnTo>
                    <a:pt x="91631" y="310705"/>
                  </a:lnTo>
                  <a:lnTo>
                    <a:pt x="93631" y="313658"/>
                  </a:lnTo>
                  <a:lnTo>
                    <a:pt x="92869" y="320135"/>
                  </a:lnTo>
                  <a:lnTo>
                    <a:pt x="93250" y="323279"/>
                  </a:lnTo>
                  <a:lnTo>
                    <a:pt x="88487" y="323945"/>
                  </a:lnTo>
                  <a:lnTo>
                    <a:pt x="85344" y="324326"/>
                  </a:lnTo>
                  <a:lnTo>
                    <a:pt x="80772" y="326517"/>
                  </a:lnTo>
                  <a:lnTo>
                    <a:pt x="71723" y="318040"/>
                  </a:lnTo>
                  <a:lnTo>
                    <a:pt x="63246" y="314325"/>
                  </a:lnTo>
                  <a:lnTo>
                    <a:pt x="54959" y="312134"/>
                  </a:lnTo>
                  <a:lnTo>
                    <a:pt x="51149" y="307848"/>
                  </a:lnTo>
                  <a:lnTo>
                    <a:pt x="47625" y="305086"/>
                  </a:lnTo>
                  <a:lnTo>
                    <a:pt x="35528" y="298609"/>
                  </a:lnTo>
                  <a:lnTo>
                    <a:pt x="34195" y="300419"/>
                  </a:lnTo>
                  <a:lnTo>
                    <a:pt x="29242" y="299371"/>
                  </a:lnTo>
                  <a:lnTo>
                    <a:pt x="28670" y="294704"/>
                  </a:lnTo>
                  <a:lnTo>
                    <a:pt x="26670" y="291751"/>
                  </a:lnTo>
                  <a:lnTo>
                    <a:pt x="25527" y="295084"/>
                  </a:lnTo>
                  <a:lnTo>
                    <a:pt x="23908" y="295275"/>
                  </a:lnTo>
                  <a:lnTo>
                    <a:pt x="24289" y="298418"/>
                  </a:lnTo>
                  <a:lnTo>
                    <a:pt x="22765" y="298609"/>
                  </a:lnTo>
                  <a:lnTo>
                    <a:pt x="23336" y="303371"/>
                  </a:lnTo>
                  <a:lnTo>
                    <a:pt x="16859" y="302609"/>
                  </a:lnTo>
                  <a:lnTo>
                    <a:pt x="17240" y="305753"/>
                  </a:lnTo>
                  <a:lnTo>
                    <a:pt x="9335" y="306705"/>
                  </a:lnTo>
                  <a:lnTo>
                    <a:pt x="4953" y="310515"/>
                  </a:lnTo>
                  <a:lnTo>
                    <a:pt x="6001" y="318421"/>
                  </a:lnTo>
                  <a:lnTo>
                    <a:pt x="8001" y="321373"/>
                  </a:lnTo>
                  <a:lnTo>
                    <a:pt x="11335" y="322517"/>
                  </a:lnTo>
                  <a:lnTo>
                    <a:pt x="18860" y="331184"/>
                  </a:lnTo>
                  <a:lnTo>
                    <a:pt x="19431" y="335947"/>
                  </a:lnTo>
                  <a:lnTo>
                    <a:pt x="18288" y="339280"/>
                  </a:lnTo>
                  <a:lnTo>
                    <a:pt x="16954" y="341090"/>
                  </a:lnTo>
                  <a:lnTo>
                    <a:pt x="20288" y="342233"/>
                  </a:lnTo>
                  <a:lnTo>
                    <a:pt x="25622" y="346329"/>
                  </a:lnTo>
                  <a:lnTo>
                    <a:pt x="24194" y="348139"/>
                  </a:lnTo>
                  <a:lnTo>
                    <a:pt x="24670" y="351282"/>
                  </a:lnTo>
                  <a:lnTo>
                    <a:pt x="21241" y="350139"/>
                  </a:lnTo>
                  <a:lnTo>
                    <a:pt x="19907" y="351949"/>
                  </a:lnTo>
                  <a:lnTo>
                    <a:pt x="21431" y="351663"/>
                  </a:lnTo>
                  <a:lnTo>
                    <a:pt x="21908" y="354902"/>
                  </a:lnTo>
                  <a:lnTo>
                    <a:pt x="20669" y="358235"/>
                  </a:lnTo>
                  <a:lnTo>
                    <a:pt x="22289" y="358045"/>
                  </a:lnTo>
                  <a:lnTo>
                    <a:pt x="21527" y="364522"/>
                  </a:lnTo>
                  <a:lnTo>
                    <a:pt x="19907" y="364712"/>
                  </a:lnTo>
                  <a:lnTo>
                    <a:pt x="20574" y="369475"/>
                  </a:lnTo>
                  <a:lnTo>
                    <a:pt x="16193" y="373190"/>
                  </a:lnTo>
                  <a:lnTo>
                    <a:pt x="18574" y="379381"/>
                  </a:lnTo>
                  <a:lnTo>
                    <a:pt x="23146" y="377190"/>
                  </a:lnTo>
                  <a:lnTo>
                    <a:pt x="23527" y="380333"/>
                  </a:lnTo>
                  <a:lnTo>
                    <a:pt x="26479" y="378333"/>
                  </a:lnTo>
                  <a:lnTo>
                    <a:pt x="28289" y="379667"/>
                  </a:lnTo>
                  <a:lnTo>
                    <a:pt x="34195" y="388620"/>
                  </a:lnTo>
                  <a:lnTo>
                    <a:pt x="34576" y="391763"/>
                  </a:lnTo>
                  <a:lnTo>
                    <a:pt x="29813" y="392335"/>
                  </a:lnTo>
                  <a:lnTo>
                    <a:pt x="30480" y="397097"/>
                  </a:lnTo>
                  <a:lnTo>
                    <a:pt x="33814" y="398240"/>
                  </a:lnTo>
                  <a:lnTo>
                    <a:pt x="32671" y="401574"/>
                  </a:lnTo>
                  <a:lnTo>
                    <a:pt x="39338" y="403955"/>
                  </a:lnTo>
                  <a:lnTo>
                    <a:pt x="34100" y="425482"/>
                  </a:lnTo>
                  <a:lnTo>
                    <a:pt x="32290" y="424053"/>
                  </a:lnTo>
                  <a:lnTo>
                    <a:pt x="31147" y="427482"/>
                  </a:lnTo>
                  <a:lnTo>
                    <a:pt x="29147" y="424529"/>
                  </a:lnTo>
                  <a:lnTo>
                    <a:pt x="28004" y="427863"/>
                  </a:lnTo>
                  <a:lnTo>
                    <a:pt x="21622" y="428625"/>
                  </a:lnTo>
                  <a:lnTo>
                    <a:pt x="22479" y="435007"/>
                  </a:lnTo>
                  <a:lnTo>
                    <a:pt x="24003" y="434816"/>
                  </a:lnTo>
                  <a:lnTo>
                    <a:pt x="24479" y="437959"/>
                  </a:lnTo>
                  <a:lnTo>
                    <a:pt x="21527" y="439865"/>
                  </a:lnTo>
                  <a:lnTo>
                    <a:pt x="26861" y="444055"/>
                  </a:lnTo>
                  <a:lnTo>
                    <a:pt x="25622" y="447389"/>
                  </a:lnTo>
                  <a:lnTo>
                    <a:pt x="22479" y="447770"/>
                  </a:lnTo>
                  <a:lnTo>
                    <a:pt x="21146" y="449580"/>
                  </a:lnTo>
                  <a:lnTo>
                    <a:pt x="19526" y="449771"/>
                  </a:lnTo>
                  <a:lnTo>
                    <a:pt x="20955" y="447961"/>
                  </a:lnTo>
                  <a:lnTo>
                    <a:pt x="19145" y="446627"/>
                  </a:lnTo>
                  <a:lnTo>
                    <a:pt x="17717" y="448437"/>
                  </a:lnTo>
                  <a:lnTo>
                    <a:pt x="14383" y="447199"/>
                  </a:lnTo>
                  <a:lnTo>
                    <a:pt x="13049" y="449009"/>
                  </a:lnTo>
                  <a:lnTo>
                    <a:pt x="9430" y="446246"/>
                  </a:lnTo>
                  <a:lnTo>
                    <a:pt x="6953" y="451390"/>
                  </a:lnTo>
                  <a:lnTo>
                    <a:pt x="0" y="460248"/>
                  </a:lnTo>
                  <a:lnTo>
                    <a:pt x="5525" y="465963"/>
                  </a:lnTo>
                  <a:lnTo>
                    <a:pt x="9525" y="471869"/>
                  </a:lnTo>
                  <a:lnTo>
                    <a:pt x="12668" y="471488"/>
                  </a:lnTo>
                  <a:lnTo>
                    <a:pt x="18002" y="475679"/>
                  </a:lnTo>
                  <a:lnTo>
                    <a:pt x="16478" y="475869"/>
                  </a:lnTo>
                  <a:lnTo>
                    <a:pt x="12287" y="481203"/>
                  </a:lnTo>
                  <a:lnTo>
                    <a:pt x="15050" y="490442"/>
                  </a:lnTo>
                  <a:lnTo>
                    <a:pt x="17240" y="495014"/>
                  </a:lnTo>
                  <a:lnTo>
                    <a:pt x="20860" y="497681"/>
                  </a:lnTo>
                  <a:lnTo>
                    <a:pt x="27718" y="501682"/>
                  </a:lnTo>
                  <a:lnTo>
                    <a:pt x="34481" y="503968"/>
                  </a:lnTo>
                  <a:lnTo>
                    <a:pt x="37433" y="502063"/>
                  </a:lnTo>
                  <a:lnTo>
                    <a:pt x="42767" y="493300"/>
                  </a:lnTo>
                  <a:lnTo>
                    <a:pt x="46673" y="499205"/>
                  </a:lnTo>
                  <a:lnTo>
                    <a:pt x="55150" y="502920"/>
                  </a:lnTo>
                  <a:lnTo>
                    <a:pt x="58579" y="504158"/>
                  </a:lnTo>
                  <a:lnTo>
                    <a:pt x="57150" y="505968"/>
                  </a:lnTo>
                  <a:lnTo>
                    <a:pt x="55817" y="507682"/>
                  </a:lnTo>
                  <a:lnTo>
                    <a:pt x="54197" y="507873"/>
                  </a:lnTo>
                  <a:lnTo>
                    <a:pt x="53626" y="515969"/>
                  </a:lnTo>
                  <a:lnTo>
                    <a:pt x="56960" y="517207"/>
                  </a:lnTo>
                  <a:lnTo>
                    <a:pt x="61150" y="511873"/>
                  </a:lnTo>
                  <a:lnTo>
                    <a:pt x="62865" y="513207"/>
                  </a:lnTo>
                  <a:lnTo>
                    <a:pt x="63056" y="514826"/>
                  </a:lnTo>
                  <a:lnTo>
                    <a:pt x="67056" y="520732"/>
                  </a:lnTo>
                  <a:lnTo>
                    <a:pt x="68675" y="520541"/>
                  </a:lnTo>
                  <a:lnTo>
                    <a:pt x="70580" y="523494"/>
                  </a:lnTo>
                  <a:lnTo>
                    <a:pt x="73819" y="523018"/>
                  </a:lnTo>
                  <a:lnTo>
                    <a:pt x="77533" y="527399"/>
                  </a:lnTo>
                  <a:lnTo>
                    <a:pt x="78105" y="532162"/>
                  </a:lnTo>
                  <a:lnTo>
                    <a:pt x="74771" y="530924"/>
                  </a:lnTo>
                  <a:lnTo>
                    <a:pt x="68866" y="534924"/>
                  </a:lnTo>
                  <a:lnTo>
                    <a:pt x="69247" y="538067"/>
                  </a:lnTo>
                  <a:lnTo>
                    <a:pt x="72866" y="540830"/>
                  </a:lnTo>
                  <a:lnTo>
                    <a:pt x="73438" y="545592"/>
                  </a:lnTo>
                  <a:lnTo>
                    <a:pt x="70866" y="550640"/>
                  </a:lnTo>
                  <a:lnTo>
                    <a:pt x="74486" y="553403"/>
                  </a:lnTo>
                  <a:lnTo>
                    <a:pt x="84677" y="558546"/>
                  </a:lnTo>
                  <a:lnTo>
                    <a:pt x="85154" y="561689"/>
                  </a:lnTo>
                  <a:lnTo>
                    <a:pt x="86868" y="563118"/>
                  </a:lnTo>
                  <a:lnTo>
                    <a:pt x="88106" y="559689"/>
                  </a:lnTo>
                  <a:lnTo>
                    <a:pt x="89630" y="559499"/>
                  </a:lnTo>
                  <a:lnTo>
                    <a:pt x="90011" y="562642"/>
                  </a:lnTo>
                  <a:lnTo>
                    <a:pt x="91821" y="564071"/>
                  </a:lnTo>
                  <a:lnTo>
                    <a:pt x="93250" y="562261"/>
                  </a:lnTo>
                  <a:lnTo>
                    <a:pt x="94774" y="562070"/>
                  </a:lnTo>
                  <a:lnTo>
                    <a:pt x="94393" y="558927"/>
                  </a:lnTo>
                  <a:lnTo>
                    <a:pt x="104013" y="559308"/>
                  </a:lnTo>
                  <a:lnTo>
                    <a:pt x="108204" y="553974"/>
                  </a:lnTo>
                  <a:lnTo>
                    <a:pt x="111347" y="553593"/>
                  </a:lnTo>
                  <a:lnTo>
                    <a:pt x="113157" y="554927"/>
                  </a:lnTo>
                  <a:lnTo>
                    <a:pt x="113348" y="556546"/>
                  </a:lnTo>
                  <a:lnTo>
                    <a:pt x="116872" y="559308"/>
                  </a:lnTo>
                  <a:lnTo>
                    <a:pt x="117062" y="560832"/>
                  </a:lnTo>
                  <a:lnTo>
                    <a:pt x="120015" y="558832"/>
                  </a:lnTo>
                  <a:lnTo>
                    <a:pt x="123635" y="561594"/>
                  </a:lnTo>
                  <a:lnTo>
                    <a:pt x="124968" y="559880"/>
                  </a:lnTo>
                  <a:lnTo>
                    <a:pt x="131731" y="562165"/>
                  </a:lnTo>
                  <a:lnTo>
                    <a:pt x="138589" y="566071"/>
                  </a:lnTo>
                  <a:lnTo>
                    <a:pt x="137255" y="567880"/>
                  </a:lnTo>
                  <a:lnTo>
                    <a:pt x="140779" y="570643"/>
                  </a:lnTo>
                  <a:lnTo>
                    <a:pt x="142113" y="568833"/>
                  </a:lnTo>
                  <a:lnTo>
                    <a:pt x="146495" y="565118"/>
                  </a:lnTo>
                  <a:lnTo>
                    <a:pt x="148876" y="558355"/>
                  </a:lnTo>
                  <a:lnTo>
                    <a:pt x="155353" y="559213"/>
                  </a:lnTo>
                  <a:lnTo>
                    <a:pt x="159734" y="555403"/>
                  </a:lnTo>
                  <a:lnTo>
                    <a:pt x="164402" y="554831"/>
                  </a:lnTo>
                  <a:lnTo>
                    <a:pt x="165830" y="553022"/>
                  </a:lnTo>
                  <a:lnTo>
                    <a:pt x="170498" y="552450"/>
                  </a:lnTo>
                  <a:lnTo>
                    <a:pt x="171736" y="549116"/>
                  </a:lnTo>
                  <a:lnTo>
                    <a:pt x="172117" y="552259"/>
                  </a:lnTo>
                  <a:lnTo>
                    <a:pt x="173736" y="552069"/>
                  </a:lnTo>
                  <a:lnTo>
                    <a:pt x="174689" y="559880"/>
                  </a:lnTo>
                  <a:lnTo>
                    <a:pt x="176308" y="559689"/>
                  </a:lnTo>
                  <a:lnTo>
                    <a:pt x="176498" y="561308"/>
                  </a:lnTo>
                  <a:lnTo>
                    <a:pt x="181166" y="560642"/>
                  </a:lnTo>
                  <a:lnTo>
                    <a:pt x="184785" y="563404"/>
                  </a:lnTo>
                  <a:lnTo>
                    <a:pt x="184975" y="565023"/>
                  </a:lnTo>
                  <a:lnTo>
                    <a:pt x="189738" y="564452"/>
                  </a:lnTo>
                  <a:lnTo>
                    <a:pt x="191929" y="568928"/>
                  </a:lnTo>
                  <a:lnTo>
                    <a:pt x="187547" y="572738"/>
                  </a:lnTo>
                  <a:lnTo>
                    <a:pt x="189738" y="577215"/>
                  </a:lnTo>
                  <a:lnTo>
                    <a:pt x="189929" y="578834"/>
                  </a:lnTo>
                  <a:lnTo>
                    <a:pt x="188404" y="579025"/>
                  </a:lnTo>
                  <a:lnTo>
                    <a:pt x="191167" y="588264"/>
                  </a:lnTo>
                  <a:lnTo>
                    <a:pt x="190214" y="593217"/>
                  </a:lnTo>
                  <a:lnTo>
                    <a:pt x="191929" y="594551"/>
                  </a:lnTo>
                  <a:lnTo>
                    <a:pt x="195929" y="600551"/>
                  </a:lnTo>
                  <a:lnTo>
                    <a:pt x="191548" y="604266"/>
                  </a:lnTo>
                  <a:lnTo>
                    <a:pt x="186881" y="604838"/>
                  </a:lnTo>
                  <a:lnTo>
                    <a:pt x="184118" y="608457"/>
                  </a:lnTo>
                  <a:lnTo>
                    <a:pt x="187452" y="609600"/>
                  </a:lnTo>
                  <a:lnTo>
                    <a:pt x="189262" y="623792"/>
                  </a:lnTo>
                  <a:lnTo>
                    <a:pt x="185547" y="632270"/>
                  </a:lnTo>
                  <a:lnTo>
                    <a:pt x="192024" y="633032"/>
                  </a:lnTo>
                  <a:lnTo>
                    <a:pt x="192881" y="639413"/>
                  </a:lnTo>
                  <a:lnTo>
                    <a:pt x="194405" y="639223"/>
                  </a:lnTo>
                  <a:lnTo>
                    <a:pt x="201168" y="641509"/>
                  </a:lnTo>
                  <a:lnTo>
                    <a:pt x="199168" y="651415"/>
                  </a:lnTo>
                  <a:lnTo>
                    <a:pt x="201930" y="647890"/>
                  </a:lnTo>
                  <a:lnTo>
                    <a:pt x="202311" y="651034"/>
                  </a:lnTo>
                  <a:lnTo>
                    <a:pt x="204121" y="652367"/>
                  </a:lnTo>
                  <a:lnTo>
                    <a:pt x="201549" y="657511"/>
                  </a:lnTo>
                  <a:lnTo>
                    <a:pt x="207454" y="653510"/>
                  </a:lnTo>
                  <a:lnTo>
                    <a:pt x="203549" y="660463"/>
                  </a:lnTo>
                  <a:lnTo>
                    <a:pt x="204311" y="666750"/>
                  </a:lnTo>
                  <a:lnTo>
                    <a:pt x="201835" y="671894"/>
                  </a:lnTo>
                  <a:lnTo>
                    <a:pt x="200025" y="670560"/>
                  </a:lnTo>
                  <a:lnTo>
                    <a:pt x="197263" y="674084"/>
                  </a:lnTo>
                  <a:lnTo>
                    <a:pt x="199073" y="675513"/>
                  </a:lnTo>
                  <a:lnTo>
                    <a:pt x="201073" y="678466"/>
                  </a:lnTo>
                  <a:lnTo>
                    <a:pt x="199454" y="678656"/>
                  </a:lnTo>
                  <a:lnTo>
                    <a:pt x="198501" y="683609"/>
                  </a:lnTo>
                  <a:lnTo>
                    <a:pt x="196691" y="682180"/>
                  </a:lnTo>
                  <a:lnTo>
                    <a:pt x="197072" y="685324"/>
                  </a:lnTo>
                  <a:lnTo>
                    <a:pt x="192596" y="687515"/>
                  </a:lnTo>
                  <a:lnTo>
                    <a:pt x="191548" y="692468"/>
                  </a:lnTo>
                  <a:lnTo>
                    <a:pt x="186690" y="691515"/>
                  </a:lnTo>
                  <a:lnTo>
                    <a:pt x="185833" y="697992"/>
                  </a:lnTo>
                  <a:lnTo>
                    <a:pt x="183928" y="695039"/>
                  </a:lnTo>
                  <a:lnTo>
                    <a:pt x="182499" y="696849"/>
                  </a:lnTo>
                  <a:lnTo>
                    <a:pt x="183166" y="701611"/>
                  </a:lnTo>
                  <a:lnTo>
                    <a:pt x="179927" y="701993"/>
                  </a:lnTo>
                  <a:lnTo>
                    <a:pt x="178213" y="700564"/>
                  </a:lnTo>
                  <a:lnTo>
                    <a:pt x="176594" y="700754"/>
                  </a:lnTo>
                  <a:lnTo>
                    <a:pt x="175641" y="705707"/>
                  </a:lnTo>
                  <a:lnTo>
                    <a:pt x="180404" y="705136"/>
                  </a:lnTo>
                  <a:lnTo>
                    <a:pt x="189071" y="710470"/>
                  </a:lnTo>
                  <a:lnTo>
                    <a:pt x="189262" y="711994"/>
                  </a:lnTo>
                  <a:lnTo>
                    <a:pt x="179261" y="721328"/>
                  </a:lnTo>
                  <a:lnTo>
                    <a:pt x="171545" y="723900"/>
                  </a:lnTo>
                  <a:lnTo>
                    <a:pt x="171736" y="725519"/>
                  </a:lnTo>
                  <a:lnTo>
                    <a:pt x="183166" y="727234"/>
                  </a:lnTo>
                  <a:lnTo>
                    <a:pt x="192405" y="724472"/>
                  </a:lnTo>
                  <a:lnTo>
                    <a:pt x="199739" y="731520"/>
                  </a:lnTo>
                  <a:lnTo>
                    <a:pt x="201740" y="734473"/>
                  </a:lnTo>
                  <a:lnTo>
                    <a:pt x="208502" y="736854"/>
                  </a:lnTo>
                  <a:lnTo>
                    <a:pt x="209645" y="733520"/>
                  </a:lnTo>
                  <a:lnTo>
                    <a:pt x="209264" y="730282"/>
                  </a:lnTo>
                  <a:lnTo>
                    <a:pt x="212789" y="733044"/>
                  </a:lnTo>
                  <a:lnTo>
                    <a:pt x="215932" y="732663"/>
                  </a:lnTo>
                  <a:lnTo>
                    <a:pt x="214789" y="735997"/>
                  </a:lnTo>
                  <a:lnTo>
                    <a:pt x="225457" y="744284"/>
                  </a:lnTo>
                  <a:lnTo>
                    <a:pt x="232124" y="746665"/>
                  </a:lnTo>
                  <a:lnTo>
                    <a:pt x="233553" y="744855"/>
                  </a:lnTo>
                  <a:lnTo>
                    <a:pt x="235363" y="746188"/>
                  </a:lnTo>
                  <a:lnTo>
                    <a:pt x="233744" y="746474"/>
                  </a:lnTo>
                  <a:lnTo>
                    <a:pt x="240506" y="748760"/>
                  </a:lnTo>
                  <a:lnTo>
                    <a:pt x="232220" y="759428"/>
                  </a:lnTo>
                  <a:lnTo>
                    <a:pt x="232982" y="765810"/>
                  </a:lnTo>
                  <a:lnTo>
                    <a:pt x="243078" y="782098"/>
                  </a:lnTo>
                  <a:lnTo>
                    <a:pt x="255365" y="777335"/>
                  </a:lnTo>
                  <a:lnTo>
                    <a:pt x="259461" y="772001"/>
                  </a:lnTo>
                  <a:lnTo>
                    <a:pt x="261080" y="771811"/>
                  </a:lnTo>
                  <a:lnTo>
                    <a:pt x="265367" y="768096"/>
                  </a:lnTo>
                  <a:lnTo>
                    <a:pt x="265176" y="766477"/>
                  </a:lnTo>
                  <a:lnTo>
                    <a:pt x="270129" y="767429"/>
                  </a:lnTo>
                  <a:lnTo>
                    <a:pt x="273082" y="765524"/>
                  </a:lnTo>
                  <a:lnTo>
                    <a:pt x="268319" y="766096"/>
                  </a:lnTo>
                  <a:lnTo>
                    <a:pt x="267748" y="761333"/>
                  </a:lnTo>
                  <a:lnTo>
                    <a:pt x="278987" y="761524"/>
                  </a:lnTo>
                  <a:lnTo>
                    <a:pt x="280702" y="762857"/>
                  </a:lnTo>
                  <a:lnTo>
                    <a:pt x="280511" y="761333"/>
                  </a:lnTo>
                  <a:lnTo>
                    <a:pt x="285083" y="759143"/>
                  </a:lnTo>
                  <a:lnTo>
                    <a:pt x="287846" y="755618"/>
                  </a:lnTo>
                  <a:lnTo>
                    <a:pt x="291370" y="758380"/>
                  </a:lnTo>
                  <a:lnTo>
                    <a:pt x="292799" y="756571"/>
                  </a:lnTo>
                  <a:lnTo>
                    <a:pt x="290608" y="751999"/>
                  </a:lnTo>
                  <a:lnTo>
                    <a:pt x="288798" y="750665"/>
                  </a:lnTo>
                  <a:lnTo>
                    <a:pt x="289941" y="747332"/>
                  </a:lnTo>
                  <a:lnTo>
                    <a:pt x="290513" y="739235"/>
                  </a:lnTo>
                  <a:lnTo>
                    <a:pt x="291941" y="737426"/>
                  </a:lnTo>
                  <a:lnTo>
                    <a:pt x="302419" y="731234"/>
                  </a:lnTo>
                  <a:lnTo>
                    <a:pt x="305562" y="730853"/>
                  </a:lnTo>
                  <a:lnTo>
                    <a:pt x="307467" y="733806"/>
                  </a:lnTo>
                  <a:lnTo>
                    <a:pt x="308896" y="732092"/>
                  </a:lnTo>
                  <a:lnTo>
                    <a:pt x="309467" y="736759"/>
                  </a:lnTo>
                  <a:lnTo>
                    <a:pt x="312801" y="737997"/>
                  </a:lnTo>
                  <a:lnTo>
                    <a:pt x="317373" y="735806"/>
                  </a:lnTo>
                  <a:lnTo>
                    <a:pt x="316802" y="731044"/>
                  </a:lnTo>
                  <a:lnTo>
                    <a:pt x="318135" y="729234"/>
                  </a:lnTo>
                  <a:lnTo>
                    <a:pt x="319945" y="730663"/>
                  </a:lnTo>
                  <a:lnTo>
                    <a:pt x="326041" y="728282"/>
                  </a:lnTo>
                  <a:lnTo>
                    <a:pt x="320897" y="725710"/>
                  </a:lnTo>
                  <a:lnTo>
                    <a:pt x="321850" y="720757"/>
                  </a:lnTo>
                  <a:lnTo>
                    <a:pt x="325088" y="720376"/>
                  </a:lnTo>
                  <a:lnTo>
                    <a:pt x="331946" y="724281"/>
                  </a:lnTo>
                  <a:lnTo>
                    <a:pt x="331756" y="735521"/>
                  </a:lnTo>
                  <a:lnTo>
                    <a:pt x="334899" y="735140"/>
                  </a:lnTo>
                  <a:lnTo>
                    <a:pt x="335566" y="739902"/>
                  </a:lnTo>
                  <a:lnTo>
                    <a:pt x="337090" y="739711"/>
                  </a:lnTo>
                  <a:lnTo>
                    <a:pt x="338709" y="739521"/>
                  </a:lnTo>
                  <a:lnTo>
                    <a:pt x="338519" y="737902"/>
                  </a:lnTo>
                  <a:lnTo>
                    <a:pt x="339852" y="736092"/>
                  </a:lnTo>
                  <a:lnTo>
                    <a:pt x="343472" y="738854"/>
                  </a:lnTo>
                  <a:lnTo>
                    <a:pt x="345186" y="740283"/>
                  </a:lnTo>
                  <a:lnTo>
                    <a:pt x="346615" y="738473"/>
                  </a:lnTo>
                  <a:lnTo>
                    <a:pt x="343472" y="738854"/>
                  </a:lnTo>
                  <a:lnTo>
                    <a:pt x="342614" y="732568"/>
                  </a:lnTo>
                  <a:lnTo>
                    <a:pt x="344234" y="732377"/>
                  </a:lnTo>
                  <a:lnTo>
                    <a:pt x="344615" y="735521"/>
                  </a:lnTo>
                  <a:lnTo>
                    <a:pt x="346043" y="733711"/>
                  </a:lnTo>
                  <a:lnTo>
                    <a:pt x="347758" y="735140"/>
                  </a:lnTo>
                  <a:lnTo>
                    <a:pt x="350901" y="734759"/>
                  </a:lnTo>
                  <a:lnTo>
                    <a:pt x="352901" y="737711"/>
                  </a:lnTo>
                  <a:lnTo>
                    <a:pt x="357473" y="735521"/>
                  </a:lnTo>
                  <a:lnTo>
                    <a:pt x="355854" y="735711"/>
                  </a:lnTo>
                  <a:lnTo>
                    <a:pt x="357188" y="733901"/>
                  </a:lnTo>
                  <a:lnTo>
                    <a:pt x="362331" y="736473"/>
                  </a:lnTo>
                  <a:lnTo>
                    <a:pt x="363760" y="734663"/>
                  </a:lnTo>
                  <a:lnTo>
                    <a:pt x="365379" y="734473"/>
                  </a:lnTo>
                  <a:lnTo>
                    <a:pt x="365570" y="736092"/>
                  </a:lnTo>
                  <a:lnTo>
                    <a:pt x="363950" y="736282"/>
                  </a:lnTo>
                  <a:lnTo>
                    <a:pt x="364141" y="737807"/>
                  </a:lnTo>
                  <a:lnTo>
                    <a:pt x="368903" y="737235"/>
                  </a:lnTo>
                  <a:lnTo>
                    <a:pt x="374047" y="739807"/>
                  </a:lnTo>
                  <a:lnTo>
                    <a:pt x="373856" y="738188"/>
                  </a:lnTo>
                  <a:lnTo>
                    <a:pt x="377381" y="740950"/>
                  </a:lnTo>
                  <a:lnTo>
                    <a:pt x="377952" y="732854"/>
                  </a:lnTo>
                  <a:lnTo>
                    <a:pt x="379762" y="734282"/>
                  </a:lnTo>
                  <a:lnTo>
                    <a:pt x="381476" y="735616"/>
                  </a:lnTo>
                  <a:lnTo>
                    <a:pt x="391763" y="740759"/>
                  </a:lnTo>
                  <a:lnTo>
                    <a:pt x="391954" y="742283"/>
                  </a:lnTo>
                  <a:lnTo>
                    <a:pt x="397097" y="744855"/>
                  </a:lnTo>
                  <a:lnTo>
                    <a:pt x="397288" y="746474"/>
                  </a:lnTo>
                  <a:lnTo>
                    <a:pt x="400907" y="749236"/>
                  </a:lnTo>
                  <a:lnTo>
                    <a:pt x="402050" y="745807"/>
                  </a:lnTo>
                  <a:lnTo>
                    <a:pt x="403670" y="745617"/>
                  </a:lnTo>
                  <a:lnTo>
                    <a:pt x="407194" y="748379"/>
                  </a:lnTo>
                  <a:lnTo>
                    <a:pt x="409956" y="744855"/>
                  </a:lnTo>
                  <a:lnTo>
                    <a:pt x="409575" y="741712"/>
                  </a:lnTo>
                  <a:lnTo>
                    <a:pt x="411099" y="741521"/>
                  </a:lnTo>
                  <a:lnTo>
                    <a:pt x="413671" y="736378"/>
                  </a:lnTo>
                  <a:lnTo>
                    <a:pt x="416814" y="735902"/>
                  </a:lnTo>
                  <a:lnTo>
                    <a:pt x="418052" y="732568"/>
                  </a:lnTo>
                  <a:lnTo>
                    <a:pt x="421386" y="733711"/>
                  </a:lnTo>
                  <a:lnTo>
                    <a:pt x="421576" y="735330"/>
                  </a:lnTo>
                  <a:lnTo>
                    <a:pt x="424529" y="733330"/>
                  </a:lnTo>
                  <a:lnTo>
                    <a:pt x="429482" y="734282"/>
                  </a:lnTo>
                  <a:lnTo>
                    <a:pt x="433197" y="738664"/>
                  </a:lnTo>
                  <a:lnTo>
                    <a:pt x="436912" y="730186"/>
                  </a:lnTo>
                  <a:lnTo>
                    <a:pt x="438912" y="733139"/>
                  </a:lnTo>
                  <a:lnTo>
                    <a:pt x="438722" y="731520"/>
                  </a:lnTo>
                  <a:lnTo>
                    <a:pt x="441865" y="731139"/>
                  </a:lnTo>
                  <a:lnTo>
                    <a:pt x="443103" y="727805"/>
                  </a:lnTo>
                  <a:lnTo>
                    <a:pt x="444817" y="716375"/>
                  </a:lnTo>
                  <a:lnTo>
                    <a:pt x="443008" y="714947"/>
                  </a:lnTo>
                  <a:lnTo>
                    <a:pt x="442246" y="708660"/>
                  </a:lnTo>
                  <a:lnTo>
                    <a:pt x="446723" y="706469"/>
                  </a:lnTo>
                  <a:lnTo>
                    <a:pt x="446532" y="704850"/>
                  </a:lnTo>
                  <a:lnTo>
                    <a:pt x="451295" y="704279"/>
                  </a:lnTo>
                  <a:lnTo>
                    <a:pt x="452247" y="699326"/>
                  </a:lnTo>
                  <a:lnTo>
                    <a:pt x="460534" y="701516"/>
                  </a:lnTo>
                  <a:lnTo>
                    <a:pt x="462915" y="694754"/>
                  </a:lnTo>
                  <a:lnTo>
                    <a:pt x="467201" y="691039"/>
                  </a:lnTo>
                  <a:lnTo>
                    <a:pt x="472631" y="695134"/>
                  </a:lnTo>
                  <a:lnTo>
                    <a:pt x="476345" y="699516"/>
                  </a:lnTo>
                  <a:lnTo>
                    <a:pt x="485966" y="699897"/>
                  </a:lnTo>
                  <a:lnTo>
                    <a:pt x="486442" y="703040"/>
                  </a:lnTo>
                  <a:lnTo>
                    <a:pt x="485204" y="706374"/>
                  </a:lnTo>
                  <a:lnTo>
                    <a:pt x="490347" y="708946"/>
                  </a:lnTo>
                  <a:lnTo>
                    <a:pt x="486632" y="717423"/>
                  </a:lnTo>
                  <a:lnTo>
                    <a:pt x="486251" y="727043"/>
                  </a:lnTo>
                  <a:lnTo>
                    <a:pt x="488442" y="731615"/>
                  </a:lnTo>
                  <a:lnTo>
                    <a:pt x="495205" y="733997"/>
                  </a:lnTo>
                  <a:lnTo>
                    <a:pt x="495586" y="737140"/>
                  </a:lnTo>
                  <a:lnTo>
                    <a:pt x="497110" y="736949"/>
                  </a:lnTo>
                  <a:lnTo>
                    <a:pt x="508349" y="737140"/>
                  </a:lnTo>
                  <a:lnTo>
                    <a:pt x="509016" y="741807"/>
                  </a:lnTo>
                  <a:lnTo>
                    <a:pt x="511969" y="739902"/>
                  </a:lnTo>
                  <a:lnTo>
                    <a:pt x="511588" y="736663"/>
                  </a:lnTo>
                  <a:lnTo>
                    <a:pt x="520446" y="730758"/>
                  </a:lnTo>
                  <a:lnTo>
                    <a:pt x="521017" y="722662"/>
                  </a:lnTo>
                  <a:lnTo>
                    <a:pt x="533781" y="722662"/>
                  </a:lnTo>
                  <a:lnTo>
                    <a:pt x="545021" y="722852"/>
                  </a:lnTo>
                  <a:lnTo>
                    <a:pt x="544449" y="705231"/>
                  </a:lnTo>
                  <a:lnTo>
                    <a:pt x="565118" y="704183"/>
                  </a:lnTo>
                  <a:lnTo>
                    <a:pt x="566547" y="702469"/>
                  </a:lnTo>
                  <a:lnTo>
                    <a:pt x="565690" y="696087"/>
                  </a:lnTo>
                  <a:lnTo>
                    <a:pt x="570643" y="697135"/>
                  </a:lnTo>
                  <a:lnTo>
                    <a:pt x="583311" y="708279"/>
                  </a:lnTo>
                  <a:lnTo>
                    <a:pt x="587407" y="702945"/>
                  </a:lnTo>
                  <a:lnTo>
                    <a:pt x="588074" y="707707"/>
                  </a:lnTo>
                  <a:lnTo>
                    <a:pt x="592741" y="707136"/>
                  </a:lnTo>
                  <a:lnTo>
                    <a:pt x="598075" y="711232"/>
                  </a:lnTo>
                  <a:lnTo>
                    <a:pt x="617220" y="710375"/>
                  </a:lnTo>
                  <a:lnTo>
                    <a:pt x="617315" y="723233"/>
                  </a:lnTo>
                  <a:lnTo>
                    <a:pt x="630555" y="726377"/>
                  </a:lnTo>
                  <a:lnTo>
                    <a:pt x="631698" y="735806"/>
                  </a:lnTo>
                  <a:lnTo>
                    <a:pt x="631793" y="761429"/>
                  </a:lnTo>
                  <a:lnTo>
                    <a:pt x="662368" y="762381"/>
                  </a:lnTo>
                  <a:lnTo>
                    <a:pt x="668846" y="763143"/>
                  </a:lnTo>
                  <a:lnTo>
                    <a:pt x="674465" y="781717"/>
                  </a:lnTo>
                  <a:lnTo>
                    <a:pt x="675418" y="789623"/>
                  </a:lnTo>
                  <a:lnTo>
                    <a:pt x="677418" y="792575"/>
                  </a:lnTo>
                  <a:lnTo>
                    <a:pt x="680561" y="792099"/>
                  </a:lnTo>
                  <a:lnTo>
                    <a:pt x="687134" y="792956"/>
                  </a:lnTo>
                  <a:lnTo>
                    <a:pt x="689039" y="795909"/>
                  </a:lnTo>
                  <a:lnTo>
                    <a:pt x="693801" y="795242"/>
                  </a:lnTo>
                  <a:lnTo>
                    <a:pt x="695611" y="796671"/>
                  </a:lnTo>
                  <a:lnTo>
                    <a:pt x="701707" y="794290"/>
                  </a:lnTo>
                  <a:lnTo>
                    <a:pt x="710565" y="801148"/>
                  </a:lnTo>
                  <a:lnTo>
                    <a:pt x="713613" y="812006"/>
                  </a:lnTo>
                  <a:lnTo>
                    <a:pt x="722471" y="818864"/>
                  </a:lnTo>
                  <a:lnTo>
                    <a:pt x="724091" y="818674"/>
                  </a:lnTo>
                  <a:lnTo>
                    <a:pt x="725234" y="815340"/>
                  </a:lnTo>
                  <a:lnTo>
                    <a:pt x="728186" y="813340"/>
                  </a:lnTo>
                  <a:lnTo>
                    <a:pt x="734092" y="822198"/>
                  </a:lnTo>
                  <a:lnTo>
                    <a:pt x="735711" y="822007"/>
                  </a:lnTo>
                  <a:lnTo>
                    <a:pt x="738854" y="821627"/>
                  </a:lnTo>
                  <a:lnTo>
                    <a:pt x="740664" y="822960"/>
                  </a:lnTo>
                  <a:lnTo>
                    <a:pt x="741998" y="821150"/>
                  </a:lnTo>
                  <a:lnTo>
                    <a:pt x="743807" y="822579"/>
                  </a:lnTo>
                  <a:lnTo>
                    <a:pt x="746951" y="822198"/>
                  </a:lnTo>
                  <a:lnTo>
                    <a:pt x="751523" y="832866"/>
                  </a:lnTo>
                  <a:lnTo>
                    <a:pt x="756666" y="835343"/>
                  </a:lnTo>
                  <a:lnTo>
                    <a:pt x="758285" y="835152"/>
                  </a:lnTo>
                  <a:lnTo>
                    <a:pt x="757047" y="838486"/>
                  </a:lnTo>
                  <a:lnTo>
                    <a:pt x="759047" y="841438"/>
                  </a:lnTo>
                  <a:lnTo>
                    <a:pt x="762762" y="845820"/>
                  </a:lnTo>
                  <a:lnTo>
                    <a:pt x="764191" y="844010"/>
                  </a:lnTo>
                  <a:lnTo>
                    <a:pt x="769144" y="844963"/>
                  </a:lnTo>
                  <a:lnTo>
                    <a:pt x="771716" y="839915"/>
                  </a:lnTo>
                  <a:lnTo>
                    <a:pt x="778193" y="840677"/>
                  </a:lnTo>
                  <a:lnTo>
                    <a:pt x="780955" y="837057"/>
                  </a:lnTo>
                  <a:lnTo>
                    <a:pt x="784670" y="841438"/>
                  </a:lnTo>
                  <a:lnTo>
                    <a:pt x="793528" y="835438"/>
                  </a:lnTo>
                  <a:lnTo>
                    <a:pt x="793337" y="833914"/>
                  </a:lnTo>
                  <a:lnTo>
                    <a:pt x="794576" y="830580"/>
                  </a:lnTo>
                  <a:lnTo>
                    <a:pt x="792575" y="827627"/>
                  </a:lnTo>
                  <a:lnTo>
                    <a:pt x="794099" y="827437"/>
                  </a:lnTo>
                  <a:lnTo>
                    <a:pt x="794385" y="828961"/>
                  </a:lnTo>
                  <a:lnTo>
                    <a:pt x="799052" y="828389"/>
                  </a:lnTo>
                  <a:lnTo>
                    <a:pt x="800862" y="829723"/>
                  </a:lnTo>
                  <a:lnTo>
                    <a:pt x="796766" y="835057"/>
                  </a:lnTo>
                  <a:lnTo>
                    <a:pt x="796957" y="836676"/>
                  </a:lnTo>
                  <a:lnTo>
                    <a:pt x="797528" y="841438"/>
                  </a:lnTo>
                  <a:lnTo>
                    <a:pt x="809911" y="838200"/>
                  </a:lnTo>
                  <a:lnTo>
                    <a:pt x="813054" y="837819"/>
                  </a:lnTo>
                  <a:lnTo>
                    <a:pt x="814673" y="837629"/>
                  </a:lnTo>
                  <a:lnTo>
                    <a:pt x="816102" y="835819"/>
                  </a:lnTo>
                  <a:lnTo>
                    <a:pt x="822770" y="838200"/>
                  </a:lnTo>
                  <a:lnTo>
                    <a:pt x="820960" y="836771"/>
                  </a:lnTo>
                  <a:lnTo>
                    <a:pt x="822198" y="833438"/>
                  </a:lnTo>
                  <a:lnTo>
                    <a:pt x="820388" y="832104"/>
                  </a:lnTo>
                  <a:lnTo>
                    <a:pt x="827151" y="834390"/>
                  </a:lnTo>
                  <a:lnTo>
                    <a:pt x="828484" y="832676"/>
                  </a:lnTo>
                  <a:lnTo>
                    <a:pt x="833818" y="836771"/>
                  </a:lnTo>
                  <a:lnTo>
                    <a:pt x="837152" y="837914"/>
                  </a:lnTo>
                  <a:lnTo>
                    <a:pt x="857345" y="844963"/>
                  </a:lnTo>
                  <a:lnTo>
                    <a:pt x="855917" y="833914"/>
                  </a:lnTo>
                  <a:lnTo>
                    <a:pt x="852583" y="832771"/>
                  </a:lnTo>
                  <a:lnTo>
                    <a:pt x="850201" y="826675"/>
                  </a:lnTo>
                  <a:lnTo>
                    <a:pt x="845058" y="824103"/>
                  </a:lnTo>
                  <a:lnTo>
                    <a:pt x="844391" y="819340"/>
                  </a:lnTo>
                  <a:lnTo>
                    <a:pt x="846201" y="820769"/>
                  </a:lnTo>
                  <a:lnTo>
                    <a:pt x="847344" y="817436"/>
                  </a:lnTo>
                  <a:lnTo>
                    <a:pt x="845153" y="812863"/>
                  </a:lnTo>
                  <a:lnTo>
                    <a:pt x="849916" y="812292"/>
                  </a:lnTo>
                  <a:lnTo>
                    <a:pt x="851345" y="810482"/>
                  </a:lnTo>
                  <a:lnTo>
                    <a:pt x="856679" y="814578"/>
                  </a:lnTo>
                  <a:lnTo>
                    <a:pt x="859250" y="809434"/>
                  </a:lnTo>
                  <a:lnTo>
                    <a:pt x="865537" y="808673"/>
                  </a:lnTo>
                  <a:lnTo>
                    <a:pt x="866680" y="805339"/>
                  </a:lnTo>
                  <a:lnTo>
                    <a:pt x="872585" y="801338"/>
                  </a:lnTo>
                  <a:lnTo>
                    <a:pt x="867251" y="797243"/>
                  </a:lnTo>
                  <a:lnTo>
                    <a:pt x="863537" y="792861"/>
                  </a:lnTo>
                  <a:lnTo>
                    <a:pt x="862108" y="794671"/>
                  </a:lnTo>
                  <a:lnTo>
                    <a:pt x="859726" y="788575"/>
                  </a:lnTo>
                  <a:lnTo>
                    <a:pt x="863632" y="781622"/>
                  </a:lnTo>
                  <a:lnTo>
                    <a:pt x="869823" y="779240"/>
                  </a:lnTo>
                  <a:lnTo>
                    <a:pt x="869156" y="774573"/>
                  </a:lnTo>
                  <a:lnTo>
                    <a:pt x="873919" y="773906"/>
                  </a:lnTo>
                  <a:lnTo>
                    <a:pt x="885158" y="774097"/>
                  </a:lnTo>
                  <a:lnTo>
                    <a:pt x="897541" y="758095"/>
                  </a:lnTo>
                  <a:lnTo>
                    <a:pt x="897350" y="756476"/>
                  </a:lnTo>
                  <a:lnTo>
                    <a:pt x="902113" y="755904"/>
                  </a:lnTo>
                  <a:lnTo>
                    <a:pt x="903923" y="757238"/>
                  </a:lnTo>
                  <a:lnTo>
                    <a:pt x="907256" y="758476"/>
                  </a:lnTo>
                  <a:lnTo>
                    <a:pt x="906875" y="755332"/>
                  </a:lnTo>
                  <a:lnTo>
                    <a:pt x="910018" y="754856"/>
                  </a:lnTo>
                  <a:lnTo>
                    <a:pt x="909542" y="751713"/>
                  </a:lnTo>
                  <a:lnTo>
                    <a:pt x="912781" y="751332"/>
                  </a:lnTo>
                  <a:lnTo>
                    <a:pt x="915734" y="749332"/>
                  </a:lnTo>
                  <a:lnTo>
                    <a:pt x="919448" y="753713"/>
                  </a:lnTo>
                  <a:lnTo>
                    <a:pt x="922210" y="750094"/>
                  </a:lnTo>
                  <a:lnTo>
                    <a:pt x="921830" y="746951"/>
                  </a:lnTo>
                  <a:lnTo>
                    <a:pt x="918496" y="745807"/>
                  </a:lnTo>
                  <a:lnTo>
                    <a:pt x="926116" y="743236"/>
                  </a:lnTo>
                  <a:lnTo>
                    <a:pt x="925735" y="740093"/>
                  </a:lnTo>
                  <a:lnTo>
                    <a:pt x="927354" y="739807"/>
                  </a:lnTo>
                  <a:lnTo>
                    <a:pt x="927735" y="743045"/>
                  </a:lnTo>
                  <a:lnTo>
                    <a:pt x="937165" y="741807"/>
                  </a:lnTo>
                  <a:lnTo>
                    <a:pt x="937355" y="743426"/>
                  </a:lnTo>
                  <a:lnTo>
                    <a:pt x="939927" y="738283"/>
                  </a:lnTo>
                  <a:lnTo>
                    <a:pt x="941546" y="737997"/>
                  </a:lnTo>
                  <a:lnTo>
                    <a:pt x="944309" y="734473"/>
                  </a:lnTo>
                  <a:lnTo>
                    <a:pt x="951929" y="731901"/>
                  </a:lnTo>
                  <a:lnTo>
                    <a:pt x="954500" y="726757"/>
                  </a:lnTo>
                  <a:lnTo>
                    <a:pt x="954881" y="704279"/>
                  </a:lnTo>
                  <a:lnTo>
                    <a:pt x="960596" y="698754"/>
                  </a:lnTo>
                  <a:lnTo>
                    <a:pt x="967073" y="699516"/>
                  </a:lnTo>
                  <a:lnTo>
                    <a:pt x="968502" y="697706"/>
                  </a:lnTo>
                  <a:lnTo>
                    <a:pt x="972217" y="702088"/>
                  </a:lnTo>
                  <a:lnTo>
                    <a:pt x="975360" y="701707"/>
                  </a:lnTo>
                  <a:lnTo>
                    <a:pt x="983837" y="705422"/>
                  </a:lnTo>
                  <a:lnTo>
                    <a:pt x="986885" y="716185"/>
                  </a:lnTo>
                  <a:lnTo>
                    <a:pt x="989838" y="714280"/>
                  </a:lnTo>
                  <a:lnTo>
                    <a:pt x="993553" y="718566"/>
                  </a:lnTo>
                  <a:lnTo>
                    <a:pt x="995363" y="719995"/>
                  </a:lnTo>
                  <a:lnTo>
                    <a:pt x="998315" y="717995"/>
                  </a:lnTo>
                  <a:lnTo>
                    <a:pt x="1019080" y="729805"/>
                  </a:lnTo>
                  <a:lnTo>
                    <a:pt x="1020413" y="727996"/>
                  </a:lnTo>
                  <a:lnTo>
                    <a:pt x="1022223" y="729329"/>
                  </a:lnTo>
                  <a:lnTo>
                    <a:pt x="1026509" y="725615"/>
                  </a:lnTo>
                  <a:lnTo>
                    <a:pt x="1029272" y="722090"/>
                  </a:lnTo>
                  <a:lnTo>
                    <a:pt x="1027081" y="717518"/>
                  </a:lnTo>
                  <a:lnTo>
                    <a:pt x="1029843" y="713994"/>
                  </a:lnTo>
                  <a:lnTo>
                    <a:pt x="1029843" y="713994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5" name="Volný tvar: obrazec 24">
              <a:extLst>
                <a:ext uri="{FF2B5EF4-FFF2-40B4-BE49-F238E27FC236}">
                  <a16:creationId xmlns:a16="http://schemas.microsoft.com/office/drawing/2014/main" id="{77CC468A-9F58-B24D-E1C0-94B35EEA98B6}"/>
                </a:ext>
              </a:extLst>
            </p:cNvPr>
            <p:cNvSpPr>
              <a:spLocks noChangeAspect="1"/>
            </p:cNvSpPr>
            <p:nvPr userDrawn="1">
              <p:custDataLst>
                <p:tags r:id="rId3"/>
              </p:custDataLst>
            </p:nvPr>
          </p:nvSpPr>
          <p:spPr>
            <a:xfrm>
              <a:off x="3926585" y="3069811"/>
              <a:ext cx="1004887" cy="1332642"/>
            </a:xfrm>
            <a:custGeom>
              <a:avLst/>
              <a:gdLst>
                <a:gd name="connsiteX0" fmla="*/ 999744 w 1004887"/>
                <a:gd name="connsiteY0" fmla="*/ 252508 h 1332642"/>
                <a:gd name="connsiteX1" fmla="*/ 997363 w 1004887"/>
                <a:gd name="connsiteY1" fmla="*/ 246412 h 1332642"/>
                <a:gd name="connsiteX2" fmla="*/ 998315 w 1004887"/>
                <a:gd name="connsiteY2" fmla="*/ 241459 h 1332642"/>
                <a:gd name="connsiteX3" fmla="*/ 997934 w 1004887"/>
                <a:gd name="connsiteY3" fmla="*/ 238315 h 1332642"/>
                <a:gd name="connsiteX4" fmla="*/ 996125 w 1004887"/>
                <a:gd name="connsiteY4" fmla="*/ 236982 h 1332642"/>
                <a:gd name="connsiteX5" fmla="*/ 994124 w 1004887"/>
                <a:gd name="connsiteY5" fmla="*/ 234029 h 1332642"/>
                <a:gd name="connsiteX6" fmla="*/ 995363 w 1004887"/>
                <a:gd name="connsiteY6" fmla="*/ 230600 h 1332642"/>
                <a:gd name="connsiteX7" fmla="*/ 996506 w 1004887"/>
                <a:gd name="connsiteY7" fmla="*/ 227266 h 1332642"/>
                <a:gd name="connsiteX8" fmla="*/ 995648 w 1004887"/>
                <a:gd name="connsiteY8" fmla="*/ 220980 h 1332642"/>
                <a:gd name="connsiteX9" fmla="*/ 993934 w 1004887"/>
                <a:gd name="connsiteY9" fmla="*/ 219551 h 1332642"/>
                <a:gd name="connsiteX10" fmla="*/ 996506 w 1004887"/>
                <a:gd name="connsiteY10" fmla="*/ 214408 h 1332642"/>
                <a:gd name="connsiteX11" fmla="*/ 1004126 w 1004887"/>
                <a:gd name="connsiteY11" fmla="*/ 211836 h 1332642"/>
                <a:gd name="connsiteX12" fmla="*/ 993077 w 1004887"/>
                <a:gd name="connsiteY12" fmla="*/ 213265 h 1332642"/>
                <a:gd name="connsiteX13" fmla="*/ 987933 w 1004887"/>
                <a:gd name="connsiteY13" fmla="*/ 210693 h 1332642"/>
                <a:gd name="connsiteX14" fmla="*/ 975741 w 1004887"/>
                <a:gd name="connsiteY14" fmla="*/ 202692 h 1332642"/>
                <a:gd name="connsiteX15" fmla="*/ 971741 w 1004887"/>
                <a:gd name="connsiteY15" fmla="*/ 196786 h 1332642"/>
                <a:gd name="connsiteX16" fmla="*/ 958691 w 1004887"/>
                <a:gd name="connsiteY16" fmla="*/ 195167 h 1332642"/>
                <a:gd name="connsiteX17" fmla="*/ 953548 w 1004887"/>
                <a:gd name="connsiteY17" fmla="*/ 192691 h 1332642"/>
                <a:gd name="connsiteX18" fmla="*/ 947642 w 1004887"/>
                <a:gd name="connsiteY18" fmla="*/ 196596 h 1332642"/>
                <a:gd name="connsiteX19" fmla="*/ 941165 w 1004887"/>
                <a:gd name="connsiteY19" fmla="*/ 195834 h 1332642"/>
                <a:gd name="connsiteX20" fmla="*/ 942499 w 1004887"/>
                <a:gd name="connsiteY20" fmla="*/ 194024 h 1332642"/>
                <a:gd name="connsiteX21" fmla="*/ 940784 w 1004887"/>
                <a:gd name="connsiteY21" fmla="*/ 192691 h 1332642"/>
                <a:gd name="connsiteX22" fmla="*/ 942118 w 1004887"/>
                <a:gd name="connsiteY22" fmla="*/ 190881 h 1332642"/>
                <a:gd name="connsiteX23" fmla="*/ 945737 w 1004887"/>
                <a:gd name="connsiteY23" fmla="*/ 193643 h 1332642"/>
                <a:gd name="connsiteX24" fmla="*/ 947261 w 1004887"/>
                <a:gd name="connsiteY24" fmla="*/ 193453 h 1332642"/>
                <a:gd name="connsiteX25" fmla="*/ 947452 w 1004887"/>
                <a:gd name="connsiteY25" fmla="*/ 182213 h 1332642"/>
                <a:gd name="connsiteX26" fmla="*/ 948214 w 1004887"/>
                <a:gd name="connsiteY26" fmla="*/ 175736 h 1332642"/>
                <a:gd name="connsiteX27" fmla="*/ 946404 w 1004887"/>
                <a:gd name="connsiteY27" fmla="*/ 174307 h 1332642"/>
                <a:gd name="connsiteX28" fmla="*/ 945452 w 1004887"/>
                <a:gd name="connsiteY28" fmla="*/ 166402 h 1332642"/>
                <a:gd name="connsiteX29" fmla="*/ 939356 w 1004887"/>
                <a:gd name="connsiteY29" fmla="*/ 168783 h 1332642"/>
                <a:gd name="connsiteX30" fmla="*/ 934212 w 1004887"/>
                <a:gd name="connsiteY30" fmla="*/ 166211 h 1332642"/>
                <a:gd name="connsiteX31" fmla="*/ 927449 w 1004887"/>
                <a:gd name="connsiteY31" fmla="*/ 163925 h 1332642"/>
                <a:gd name="connsiteX32" fmla="*/ 918210 w 1004887"/>
                <a:gd name="connsiteY32" fmla="*/ 166687 h 1332642"/>
                <a:gd name="connsiteX33" fmla="*/ 913638 w 1004887"/>
                <a:gd name="connsiteY33" fmla="*/ 168878 h 1332642"/>
                <a:gd name="connsiteX34" fmla="*/ 913638 w 1004887"/>
                <a:gd name="connsiteY34" fmla="*/ 168878 h 1332642"/>
                <a:gd name="connsiteX35" fmla="*/ 912114 w 1004887"/>
                <a:gd name="connsiteY35" fmla="*/ 169069 h 1332642"/>
                <a:gd name="connsiteX36" fmla="*/ 911066 w 1004887"/>
                <a:gd name="connsiteY36" fmla="*/ 161163 h 1332642"/>
                <a:gd name="connsiteX37" fmla="*/ 906685 w 1004887"/>
                <a:gd name="connsiteY37" fmla="*/ 152114 h 1332642"/>
                <a:gd name="connsiteX38" fmla="*/ 903351 w 1004887"/>
                <a:gd name="connsiteY38" fmla="*/ 150971 h 1332642"/>
                <a:gd name="connsiteX39" fmla="*/ 900398 w 1004887"/>
                <a:gd name="connsiteY39" fmla="*/ 152876 h 1332642"/>
                <a:gd name="connsiteX40" fmla="*/ 898684 w 1004887"/>
                <a:gd name="connsiteY40" fmla="*/ 151543 h 1332642"/>
                <a:gd name="connsiteX41" fmla="*/ 894683 w 1004887"/>
                <a:gd name="connsiteY41" fmla="*/ 145637 h 1332642"/>
                <a:gd name="connsiteX42" fmla="*/ 891540 w 1004887"/>
                <a:gd name="connsiteY42" fmla="*/ 146018 h 1332642"/>
                <a:gd name="connsiteX43" fmla="*/ 889540 w 1004887"/>
                <a:gd name="connsiteY43" fmla="*/ 130207 h 1332642"/>
                <a:gd name="connsiteX44" fmla="*/ 884587 w 1004887"/>
                <a:gd name="connsiteY44" fmla="*/ 129254 h 1332642"/>
                <a:gd name="connsiteX45" fmla="*/ 880586 w 1004887"/>
                <a:gd name="connsiteY45" fmla="*/ 123349 h 1332642"/>
                <a:gd name="connsiteX46" fmla="*/ 877443 w 1004887"/>
                <a:gd name="connsiteY46" fmla="*/ 123730 h 1332642"/>
                <a:gd name="connsiteX47" fmla="*/ 874109 w 1004887"/>
                <a:gd name="connsiteY47" fmla="*/ 122587 h 1332642"/>
                <a:gd name="connsiteX48" fmla="*/ 871347 w 1004887"/>
                <a:gd name="connsiteY48" fmla="*/ 126111 h 1332642"/>
                <a:gd name="connsiteX49" fmla="*/ 868204 w 1004887"/>
                <a:gd name="connsiteY49" fmla="*/ 126587 h 1332642"/>
                <a:gd name="connsiteX50" fmla="*/ 864870 w 1004887"/>
                <a:gd name="connsiteY50" fmla="*/ 125349 h 1332642"/>
                <a:gd name="connsiteX51" fmla="*/ 863441 w 1004887"/>
                <a:gd name="connsiteY51" fmla="*/ 127159 h 1332642"/>
                <a:gd name="connsiteX52" fmla="*/ 865632 w 1004887"/>
                <a:gd name="connsiteY52" fmla="*/ 131731 h 1332642"/>
                <a:gd name="connsiteX53" fmla="*/ 846677 w 1004887"/>
                <a:gd name="connsiteY53" fmla="*/ 134112 h 1332642"/>
                <a:gd name="connsiteX54" fmla="*/ 841534 w 1004887"/>
                <a:gd name="connsiteY54" fmla="*/ 131540 h 1332642"/>
                <a:gd name="connsiteX55" fmla="*/ 820484 w 1004887"/>
                <a:gd name="connsiteY55" fmla="*/ 129445 h 1332642"/>
                <a:gd name="connsiteX56" fmla="*/ 820007 w 1004887"/>
                <a:gd name="connsiteY56" fmla="*/ 126302 h 1332642"/>
                <a:gd name="connsiteX57" fmla="*/ 816674 w 1004887"/>
                <a:gd name="connsiteY57" fmla="*/ 125063 h 1332642"/>
                <a:gd name="connsiteX58" fmla="*/ 816293 w 1004887"/>
                <a:gd name="connsiteY58" fmla="*/ 121920 h 1332642"/>
                <a:gd name="connsiteX59" fmla="*/ 810959 w 1004887"/>
                <a:gd name="connsiteY59" fmla="*/ 117824 h 1332642"/>
                <a:gd name="connsiteX60" fmla="*/ 812292 w 1004887"/>
                <a:gd name="connsiteY60" fmla="*/ 116015 h 1332642"/>
                <a:gd name="connsiteX61" fmla="*/ 810387 w 1004887"/>
                <a:gd name="connsiteY61" fmla="*/ 113062 h 1332642"/>
                <a:gd name="connsiteX62" fmla="*/ 805244 w 1004887"/>
                <a:gd name="connsiteY62" fmla="*/ 110490 h 1332642"/>
                <a:gd name="connsiteX63" fmla="*/ 801624 w 1004887"/>
                <a:gd name="connsiteY63" fmla="*/ 107728 h 1332642"/>
                <a:gd name="connsiteX64" fmla="*/ 800100 w 1004887"/>
                <a:gd name="connsiteY64" fmla="*/ 107918 h 1332642"/>
                <a:gd name="connsiteX65" fmla="*/ 796481 w 1004887"/>
                <a:gd name="connsiteY65" fmla="*/ 105251 h 1332642"/>
                <a:gd name="connsiteX66" fmla="*/ 787241 w 1004887"/>
                <a:gd name="connsiteY66" fmla="*/ 108013 h 1332642"/>
                <a:gd name="connsiteX67" fmla="*/ 784479 w 1004887"/>
                <a:gd name="connsiteY67" fmla="*/ 98774 h 1332642"/>
                <a:gd name="connsiteX68" fmla="*/ 779717 w 1004887"/>
                <a:gd name="connsiteY68" fmla="*/ 99346 h 1332642"/>
                <a:gd name="connsiteX69" fmla="*/ 774573 w 1004887"/>
                <a:gd name="connsiteY69" fmla="*/ 96774 h 1332642"/>
                <a:gd name="connsiteX70" fmla="*/ 775145 w 1004887"/>
                <a:gd name="connsiteY70" fmla="*/ 88678 h 1332642"/>
                <a:gd name="connsiteX71" fmla="*/ 778478 w 1004887"/>
                <a:gd name="connsiteY71" fmla="*/ 89821 h 1332642"/>
                <a:gd name="connsiteX72" fmla="*/ 779717 w 1004887"/>
                <a:gd name="connsiteY72" fmla="*/ 86487 h 1332642"/>
                <a:gd name="connsiteX73" fmla="*/ 790956 w 1004887"/>
                <a:gd name="connsiteY73" fmla="*/ 86677 h 1332642"/>
                <a:gd name="connsiteX74" fmla="*/ 799433 w 1004887"/>
                <a:gd name="connsiteY74" fmla="*/ 90392 h 1332642"/>
                <a:gd name="connsiteX75" fmla="*/ 799052 w 1004887"/>
                <a:gd name="connsiteY75" fmla="*/ 87249 h 1332642"/>
                <a:gd name="connsiteX76" fmla="*/ 792290 w 1004887"/>
                <a:gd name="connsiteY76" fmla="*/ 84868 h 1332642"/>
                <a:gd name="connsiteX77" fmla="*/ 790766 w 1004887"/>
                <a:gd name="connsiteY77" fmla="*/ 85058 h 1332642"/>
                <a:gd name="connsiteX78" fmla="*/ 788003 w 1004887"/>
                <a:gd name="connsiteY78" fmla="*/ 75819 h 1332642"/>
                <a:gd name="connsiteX79" fmla="*/ 784574 w 1004887"/>
                <a:gd name="connsiteY79" fmla="*/ 74676 h 1332642"/>
                <a:gd name="connsiteX80" fmla="*/ 772001 w 1004887"/>
                <a:gd name="connsiteY80" fmla="*/ 76295 h 1332642"/>
                <a:gd name="connsiteX81" fmla="*/ 768001 w 1004887"/>
                <a:gd name="connsiteY81" fmla="*/ 83153 h 1332642"/>
                <a:gd name="connsiteX82" fmla="*/ 761714 w 1004887"/>
                <a:gd name="connsiteY82" fmla="*/ 84011 h 1332642"/>
                <a:gd name="connsiteX83" fmla="*/ 758190 w 1004887"/>
                <a:gd name="connsiteY83" fmla="*/ 81248 h 1332642"/>
                <a:gd name="connsiteX84" fmla="*/ 759333 w 1004887"/>
                <a:gd name="connsiteY84" fmla="*/ 77915 h 1332642"/>
                <a:gd name="connsiteX85" fmla="*/ 758952 w 1004887"/>
                <a:gd name="connsiteY85" fmla="*/ 74676 h 1332642"/>
                <a:gd name="connsiteX86" fmla="*/ 755999 w 1004887"/>
                <a:gd name="connsiteY86" fmla="*/ 76676 h 1332642"/>
                <a:gd name="connsiteX87" fmla="*/ 753809 w 1004887"/>
                <a:gd name="connsiteY87" fmla="*/ 72200 h 1332642"/>
                <a:gd name="connsiteX88" fmla="*/ 749522 w 1004887"/>
                <a:gd name="connsiteY88" fmla="*/ 75914 h 1332642"/>
                <a:gd name="connsiteX89" fmla="*/ 734663 w 1004887"/>
                <a:gd name="connsiteY89" fmla="*/ 72961 h 1332642"/>
                <a:gd name="connsiteX90" fmla="*/ 732568 w 1004887"/>
                <a:gd name="connsiteY90" fmla="*/ 81248 h 1332642"/>
                <a:gd name="connsiteX91" fmla="*/ 729329 w 1004887"/>
                <a:gd name="connsiteY91" fmla="*/ 81725 h 1332642"/>
                <a:gd name="connsiteX92" fmla="*/ 727043 w 1004887"/>
                <a:gd name="connsiteY92" fmla="*/ 88392 h 1332642"/>
                <a:gd name="connsiteX93" fmla="*/ 725424 w 1004887"/>
                <a:gd name="connsiteY93" fmla="*/ 88582 h 1332642"/>
                <a:gd name="connsiteX94" fmla="*/ 720471 w 1004887"/>
                <a:gd name="connsiteY94" fmla="*/ 87630 h 1332642"/>
                <a:gd name="connsiteX95" fmla="*/ 719519 w 1004887"/>
                <a:gd name="connsiteY95" fmla="*/ 79724 h 1332642"/>
                <a:gd name="connsiteX96" fmla="*/ 708470 w 1004887"/>
                <a:gd name="connsiteY96" fmla="*/ 81153 h 1332642"/>
                <a:gd name="connsiteX97" fmla="*/ 703898 w 1004887"/>
                <a:gd name="connsiteY97" fmla="*/ 83344 h 1332642"/>
                <a:gd name="connsiteX98" fmla="*/ 702374 w 1004887"/>
                <a:gd name="connsiteY98" fmla="*/ 83534 h 1332642"/>
                <a:gd name="connsiteX99" fmla="*/ 701707 w 1004887"/>
                <a:gd name="connsiteY99" fmla="*/ 78772 h 1332642"/>
                <a:gd name="connsiteX100" fmla="*/ 705898 w 1004887"/>
                <a:gd name="connsiteY100" fmla="*/ 73438 h 1332642"/>
                <a:gd name="connsiteX101" fmla="*/ 705231 w 1004887"/>
                <a:gd name="connsiteY101" fmla="*/ 68771 h 1332642"/>
                <a:gd name="connsiteX102" fmla="*/ 711137 w 1004887"/>
                <a:gd name="connsiteY102" fmla="*/ 64770 h 1332642"/>
                <a:gd name="connsiteX103" fmla="*/ 712565 w 1004887"/>
                <a:gd name="connsiteY103" fmla="*/ 62960 h 1332642"/>
                <a:gd name="connsiteX104" fmla="*/ 710565 w 1004887"/>
                <a:gd name="connsiteY104" fmla="*/ 60007 h 1332642"/>
                <a:gd name="connsiteX105" fmla="*/ 714661 w 1004887"/>
                <a:gd name="connsiteY105" fmla="*/ 54673 h 1332642"/>
                <a:gd name="connsiteX106" fmla="*/ 714089 w 1004887"/>
                <a:gd name="connsiteY106" fmla="*/ 50006 h 1332642"/>
                <a:gd name="connsiteX107" fmla="*/ 719042 w 1004887"/>
                <a:gd name="connsiteY107" fmla="*/ 50959 h 1332642"/>
                <a:gd name="connsiteX108" fmla="*/ 725329 w 1004887"/>
                <a:gd name="connsiteY108" fmla="*/ 50102 h 1332642"/>
                <a:gd name="connsiteX109" fmla="*/ 725710 w 1004887"/>
                <a:gd name="connsiteY109" fmla="*/ 40481 h 1332642"/>
                <a:gd name="connsiteX110" fmla="*/ 723329 w 1004887"/>
                <a:gd name="connsiteY110" fmla="*/ 34385 h 1332642"/>
                <a:gd name="connsiteX111" fmla="*/ 723138 w 1004887"/>
                <a:gd name="connsiteY111" fmla="*/ 32766 h 1332642"/>
                <a:gd name="connsiteX112" fmla="*/ 718185 w 1004887"/>
                <a:gd name="connsiteY112" fmla="*/ 31813 h 1332642"/>
                <a:gd name="connsiteX113" fmla="*/ 715613 w 1004887"/>
                <a:gd name="connsiteY113" fmla="*/ 24098 h 1332642"/>
                <a:gd name="connsiteX114" fmla="*/ 711518 w 1004887"/>
                <a:gd name="connsiteY114" fmla="*/ 29432 h 1332642"/>
                <a:gd name="connsiteX115" fmla="*/ 709517 w 1004887"/>
                <a:gd name="connsiteY115" fmla="*/ 26479 h 1332642"/>
                <a:gd name="connsiteX116" fmla="*/ 710089 w 1004887"/>
                <a:gd name="connsiteY116" fmla="*/ 18383 h 1332642"/>
                <a:gd name="connsiteX117" fmla="*/ 708279 w 1004887"/>
                <a:gd name="connsiteY117" fmla="*/ 17050 h 1332642"/>
                <a:gd name="connsiteX118" fmla="*/ 707517 w 1004887"/>
                <a:gd name="connsiteY118" fmla="*/ 23527 h 1332642"/>
                <a:gd name="connsiteX119" fmla="*/ 701421 w 1004887"/>
                <a:gd name="connsiteY119" fmla="*/ 25908 h 1332642"/>
                <a:gd name="connsiteX120" fmla="*/ 701612 w 1004887"/>
                <a:gd name="connsiteY120" fmla="*/ 27527 h 1332642"/>
                <a:gd name="connsiteX121" fmla="*/ 698278 w 1004887"/>
                <a:gd name="connsiteY121" fmla="*/ 26289 h 1332642"/>
                <a:gd name="connsiteX122" fmla="*/ 695135 w 1004887"/>
                <a:gd name="connsiteY122" fmla="*/ 26670 h 1332642"/>
                <a:gd name="connsiteX123" fmla="*/ 689229 w 1004887"/>
                <a:gd name="connsiteY123" fmla="*/ 30671 h 1332642"/>
                <a:gd name="connsiteX124" fmla="*/ 684086 w 1004887"/>
                <a:gd name="connsiteY124" fmla="*/ 28099 h 1332642"/>
                <a:gd name="connsiteX125" fmla="*/ 683990 w 1004887"/>
                <a:gd name="connsiteY125" fmla="*/ 15335 h 1332642"/>
                <a:gd name="connsiteX126" fmla="*/ 680847 w 1004887"/>
                <a:gd name="connsiteY126" fmla="*/ 15716 h 1332642"/>
                <a:gd name="connsiteX127" fmla="*/ 679133 w 1004887"/>
                <a:gd name="connsiteY127" fmla="*/ 14288 h 1332642"/>
                <a:gd name="connsiteX128" fmla="*/ 675894 w 1004887"/>
                <a:gd name="connsiteY128" fmla="*/ 14764 h 1332642"/>
                <a:gd name="connsiteX129" fmla="*/ 676656 w 1004887"/>
                <a:gd name="connsiteY129" fmla="*/ 8192 h 1332642"/>
                <a:gd name="connsiteX130" fmla="*/ 671608 w 1004887"/>
                <a:gd name="connsiteY130" fmla="*/ 5620 h 1332642"/>
                <a:gd name="connsiteX131" fmla="*/ 672941 w 1004887"/>
                <a:gd name="connsiteY131" fmla="*/ 3905 h 1332642"/>
                <a:gd name="connsiteX132" fmla="*/ 676085 w 1004887"/>
                <a:gd name="connsiteY132" fmla="*/ 3524 h 1332642"/>
                <a:gd name="connsiteX133" fmla="*/ 674084 w 1004887"/>
                <a:gd name="connsiteY133" fmla="*/ 571 h 1332642"/>
                <a:gd name="connsiteX134" fmla="*/ 669798 w 1004887"/>
                <a:gd name="connsiteY134" fmla="*/ 4286 h 1332642"/>
                <a:gd name="connsiteX135" fmla="*/ 666655 w 1004887"/>
                <a:gd name="connsiteY135" fmla="*/ 4667 h 1332642"/>
                <a:gd name="connsiteX136" fmla="*/ 665417 w 1004887"/>
                <a:gd name="connsiteY136" fmla="*/ 8001 h 1332642"/>
                <a:gd name="connsiteX137" fmla="*/ 664464 w 1004887"/>
                <a:gd name="connsiteY137" fmla="*/ 12954 h 1332642"/>
                <a:gd name="connsiteX138" fmla="*/ 661321 w 1004887"/>
                <a:gd name="connsiteY138" fmla="*/ 13335 h 1332642"/>
                <a:gd name="connsiteX139" fmla="*/ 658749 w 1004887"/>
                <a:gd name="connsiteY139" fmla="*/ 18479 h 1332642"/>
                <a:gd name="connsiteX140" fmla="*/ 652272 w 1004887"/>
                <a:gd name="connsiteY140" fmla="*/ 17717 h 1332642"/>
                <a:gd name="connsiteX141" fmla="*/ 654368 w 1004887"/>
                <a:gd name="connsiteY141" fmla="*/ 9430 h 1332642"/>
                <a:gd name="connsiteX142" fmla="*/ 653225 w 1004887"/>
                <a:gd name="connsiteY142" fmla="*/ 0 h 1332642"/>
                <a:gd name="connsiteX143" fmla="*/ 651605 w 1004887"/>
                <a:gd name="connsiteY143" fmla="*/ 190 h 1332642"/>
                <a:gd name="connsiteX144" fmla="*/ 651986 w 1004887"/>
                <a:gd name="connsiteY144" fmla="*/ 3334 h 1332642"/>
                <a:gd name="connsiteX145" fmla="*/ 639032 w 1004887"/>
                <a:gd name="connsiteY145" fmla="*/ 1810 h 1332642"/>
                <a:gd name="connsiteX146" fmla="*/ 636080 w 1004887"/>
                <a:gd name="connsiteY146" fmla="*/ 3810 h 1332642"/>
                <a:gd name="connsiteX147" fmla="*/ 636270 w 1004887"/>
                <a:gd name="connsiteY147" fmla="*/ 5334 h 1332642"/>
                <a:gd name="connsiteX148" fmla="*/ 633317 w 1004887"/>
                <a:gd name="connsiteY148" fmla="*/ 7334 h 1332642"/>
                <a:gd name="connsiteX149" fmla="*/ 629888 w 1004887"/>
                <a:gd name="connsiteY149" fmla="*/ 6191 h 1332642"/>
                <a:gd name="connsiteX150" fmla="*/ 627983 w 1004887"/>
                <a:gd name="connsiteY150" fmla="*/ 3238 h 1332642"/>
                <a:gd name="connsiteX151" fmla="*/ 623221 w 1004887"/>
                <a:gd name="connsiteY151" fmla="*/ 3810 h 1332642"/>
                <a:gd name="connsiteX152" fmla="*/ 623411 w 1004887"/>
                <a:gd name="connsiteY152" fmla="*/ 5429 h 1332642"/>
                <a:gd name="connsiteX153" fmla="*/ 626745 w 1004887"/>
                <a:gd name="connsiteY153" fmla="*/ 6572 h 1332642"/>
                <a:gd name="connsiteX154" fmla="*/ 628745 w 1004887"/>
                <a:gd name="connsiteY154" fmla="*/ 9525 h 1332642"/>
                <a:gd name="connsiteX155" fmla="*/ 619887 w 1004887"/>
                <a:gd name="connsiteY155" fmla="*/ 28289 h 1332642"/>
                <a:gd name="connsiteX156" fmla="*/ 623507 w 1004887"/>
                <a:gd name="connsiteY156" fmla="*/ 31052 h 1332642"/>
                <a:gd name="connsiteX157" fmla="*/ 631127 w 1004887"/>
                <a:gd name="connsiteY157" fmla="*/ 28480 h 1332642"/>
                <a:gd name="connsiteX158" fmla="*/ 631603 w 1004887"/>
                <a:gd name="connsiteY158" fmla="*/ 31623 h 1332642"/>
                <a:gd name="connsiteX159" fmla="*/ 633317 w 1004887"/>
                <a:gd name="connsiteY159" fmla="*/ 32956 h 1332642"/>
                <a:gd name="connsiteX160" fmla="*/ 633984 w 1004887"/>
                <a:gd name="connsiteY160" fmla="*/ 37719 h 1332642"/>
                <a:gd name="connsiteX161" fmla="*/ 631222 w 1004887"/>
                <a:gd name="connsiteY161" fmla="*/ 41243 h 1332642"/>
                <a:gd name="connsiteX162" fmla="*/ 630460 w 1004887"/>
                <a:gd name="connsiteY162" fmla="*/ 47815 h 1332642"/>
                <a:gd name="connsiteX163" fmla="*/ 624269 w 1004887"/>
                <a:gd name="connsiteY163" fmla="*/ 50197 h 1332642"/>
                <a:gd name="connsiteX164" fmla="*/ 622935 w 1004887"/>
                <a:gd name="connsiteY164" fmla="*/ 51911 h 1332642"/>
                <a:gd name="connsiteX165" fmla="*/ 619220 w 1004887"/>
                <a:gd name="connsiteY165" fmla="*/ 47625 h 1332642"/>
                <a:gd name="connsiteX166" fmla="*/ 617411 w 1004887"/>
                <a:gd name="connsiteY166" fmla="*/ 46292 h 1332642"/>
                <a:gd name="connsiteX167" fmla="*/ 621792 w 1004887"/>
                <a:gd name="connsiteY167" fmla="*/ 55340 h 1332642"/>
                <a:gd name="connsiteX168" fmla="*/ 620363 w 1004887"/>
                <a:gd name="connsiteY168" fmla="*/ 57055 h 1332642"/>
                <a:gd name="connsiteX169" fmla="*/ 615410 w 1004887"/>
                <a:gd name="connsiteY169" fmla="*/ 56102 h 1332642"/>
                <a:gd name="connsiteX170" fmla="*/ 610934 w 1004887"/>
                <a:gd name="connsiteY170" fmla="*/ 58293 h 1332642"/>
                <a:gd name="connsiteX171" fmla="*/ 604361 w 1004887"/>
                <a:gd name="connsiteY171" fmla="*/ 57531 h 1332642"/>
                <a:gd name="connsiteX172" fmla="*/ 602837 w 1004887"/>
                <a:gd name="connsiteY172" fmla="*/ 57721 h 1332642"/>
                <a:gd name="connsiteX173" fmla="*/ 603599 w 1004887"/>
                <a:gd name="connsiteY173" fmla="*/ 64008 h 1332642"/>
                <a:gd name="connsiteX174" fmla="*/ 598932 w 1004887"/>
                <a:gd name="connsiteY174" fmla="*/ 64675 h 1332642"/>
                <a:gd name="connsiteX175" fmla="*/ 598075 w 1004887"/>
                <a:gd name="connsiteY175" fmla="*/ 58293 h 1332642"/>
                <a:gd name="connsiteX176" fmla="*/ 597122 w 1004887"/>
                <a:gd name="connsiteY176" fmla="*/ 63246 h 1332642"/>
                <a:gd name="connsiteX177" fmla="*/ 593789 w 1004887"/>
                <a:gd name="connsiteY177" fmla="*/ 62103 h 1332642"/>
                <a:gd name="connsiteX178" fmla="*/ 591788 w 1004887"/>
                <a:gd name="connsiteY178" fmla="*/ 59150 h 1332642"/>
                <a:gd name="connsiteX179" fmla="*/ 585502 w 1004887"/>
                <a:gd name="connsiteY179" fmla="*/ 59912 h 1332642"/>
                <a:gd name="connsiteX180" fmla="*/ 589026 w 1004887"/>
                <a:gd name="connsiteY180" fmla="*/ 62675 h 1332642"/>
                <a:gd name="connsiteX181" fmla="*/ 586073 w 1004887"/>
                <a:gd name="connsiteY181" fmla="*/ 64675 h 1332642"/>
                <a:gd name="connsiteX182" fmla="*/ 584930 w 1004887"/>
                <a:gd name="connsiteY182" fmla="*/ 68008 h 1332642"/>
                <a:gd name="connsiteX183" fmla="*/ 588264 w 1004887"/>
                <a:gd name="connsiteY183" fmla="*/ 69247 h 1332642"/>
                <a:gd name="connsiteX184" fmla="*/ 591788 w 1004887"/>
                <a:gd name="connsiteY184" fmla="*/ 71914 h 1332642"/>
                <a:gd name="connsiteX185" fmla="*/ 588645 w 1004887"/>
                <a:gd name="connsiteY185" fmla="*/ 72390 h 1332642"/>
                <a:gd name="connsiteX186" fmla="*/ 593598 w 1004887"/>
                <a:gd name="connsiteY186" fmla="*/ 86201 h 1332642"/>
                <a:gd name="connsiteX187" fmla="*/ 593979 w 1004887"/>
                <a:gd name="connsiteY187" fmla="*/ 89344 h 1332642"/>
                <a:gd name="connsiteX188" fmla="*/ 589312 w 1004887"/>
                <a:gd name="connsiteY188" fmla="*/ 89916 h 1332642"/>
                <a:gd name="connsiteX189" fmla="*/ 584168 w 1004887"/>
                <a:gd name="connsiteY189" fmla="*/ 100203 h 1332642"/>
                <a:gd name="connsiteX190" fmla="*/ 585407 w 1004887"/>
                <a:gd name="connsiteY190" fmla="*/ 109633 h 1332642"/>
                <a:gd name="connsiteX191" fmla="*/ 589598 w 1004887"/>
                <a:gd name="connsiteY191" fmla="*/ 117157 h 1332642"/>
                <a:gd name="connsiteX192" fmla="*/ 586550 w 1004887"/>
                <a:gd name="connsiteY192" fmla="*/ 119158 h 1332642"/>
                <a:gd name="connsiteX193" fmla="*/ 582073 w 1004887"/>
                <a:gd name="connsiteY193" fmla="*/ 121348 h 1332642"/>
                <a:gd name="connsiteX194" fmla="*/ 570167 w 1004887"/>
                <a:gd name="connsiteY194" fmla="*/ 116396 h 1332642"/>
                <a:gd name="connsiteX195" fmla="*/ 560927 w 1004887"/>
                <a:gd name="connsiteY195" fmla="*/ 106394 h 1332642"/>
                <a:gd name="connsiteX196" fmla="*/ 555593 w 1004887"/>
                <a:gd name="connsiteY196" fmla="*/ 102203 h 1332642"/>
                <a:gd name="connsiteX197" fmla="*/ 553593 w 1004887"/>
                <a:gd name="connsiteY197" fmla="*/ 99250 h 1332642"/>
                <a:gd name="connsiteX198" fmla="*/ 554546 w 1004887"/>
                <a:gd name="connsiteY198" fmla="*/ 94298 h 1332642"/>
                <a:gd name="connsiteX199" fmla="*/ 553022 w 1004887"/>
                <a:gd name="connsiteY199" fmla="*/ 94583 h 1332642"/>
                <a:gd name="connsiteX200" fmla="*/ 552641 w 1004887"/>
                <a:gd name="connsiteY200" fmla="*/ 104204 h 1332642"/>
                <a:gd name="connsiteX201" fmla="*/ 550831 w 1004887"/>
                <a:gd name="connsiteY201" fmla="*/ 102870 h 1332642"/>
                <a:gd name="connsiteX202" fmla="*/ 550069 w 1004887"/>
                <a:gd name="connsiteY202" fmla="*/ 96488 h 1332642"/>
                <a:gd name="connsiteX203" fmla="*/ 548259 w 1004887"/>
                <a:gd name="connsiteY203" fmla="*/ 95155 h 1332642"/>
                <a:gd name="connsiteX204" fmla="*/ 546640 w 1004887"/>
                <a:gd name="connsiteY204" fmla="*/ 95345 h 1332642"/>
                <a:gd name="connsiteX205" fmla="*/ 544735 w 1004887"/>
                <a:gd name="connsiteY205" fmla="*/ 92392 h 1332642"/>
                <a:gd name="connsiteX206" fmla="*/ 543116 w 1004887"/>
                <a:gd name="connsiteY206" fmla="*/ 92583 h 1332642"/>
                <a:gd name="connsiteX207" fmla="*/ 539591 w 1004887"/>
                <a:gd name="connsiteY207" fmla="*/ 89821 h 1332642"/>
                <a:gd name="connsiteX208" fmla="*/ 539782 w 1004887"/>
                <a:gd name="connsiteY208" fmla="*/ 91440 h 1332642"/>
                <a:gd name="connsiteX209" fmla="*/ 538163 w 1004887"/>
                <a:gd name="connsiteY209" fmla="*/ 91631 h 1332642"/>
                <a:gd name="connsiteX210" fmla="*/ 537401 w 1004887"/>
                <a:gd name="connsiteY210" fmla="*/ 85344 h 1332642"/>
                <a:gd name="connsiteX211" fmla="*/ 535781 w 1004887"/>
                <a:gd name="connsiteY211" fmla="*/ 85534 h 1332642"/>
                <a:gd name="connsiteX212" fmla="*/ 534448 w 1004887"/>
                <a:gd name="connsiteY212" fmla="*/ 87249 h 1332642"/>
                <a:gd name="connsiteX213" fmla="*/ 527685 w 1004887"/>
                <a:gd name="connsiteY213" fmla="*/ 84963 h 1332642"/>
                <a:gd name="connsiteX214" fmla="*/ 529304 w 1004887"/>
                <a:gd name="connsiteY214" fmla="*/ 84773 h 1332642"/>
                <a:gd name="connsiteX215" fmla="*/ 528923 w 1004887"/>
                <a:gd name="connsiteY215" fmla="*/ 81534 h 1332642"/>
                <a:gd name="connsiteX216" fmla="*/ 521399 w 1004887"/>
                <a:gd name="connsiteY216" fmla="*/ 85725 h 1332642"/>
                <a:gd name="connsiteX217" fmla="*/ 516446 w 1004887"/>
                <a:gd name="connsiteY217" fmla="*/ 84773 h 1332642"/>
                <a:gd name="connsiteX218" fmla="*/ 516636 w 1004887"/>
                <a:gd name="connsiteY218" fmla="*/ 86296 h 1332642"/>
                <a:gd name="connsiteX219" fmla="*/ 512921 w 1004887"/>
                <a:gd name="connsiteY219" fmla="*/ 82010 h 1332642"/>
                <a:gd name="connsiteX220" fmla="*/ 508730 w 1004887"/>
                <a:gd name="connsiteY220" fmla="*/ 87344 h 1332642"/>
                <a:gd name="connsiteX221" fmla="*/ 503206 w 1004887"/>
                <a:gd name="connsiteY221" fmla="*/ 81629 h 1332642"/>
                <a:gd name="connsiteX222" fmla="*/ 500444 w 1004887"/>
                <a:gd name="connsiteY222" fmla="*/ 85154 h 1332642"/>
                <a:gd name="connsiteX223" fmla="*/ 496919 w 1004887"/>
                <a:gd name="connsiteY223" fmla="*/ 82486 h 1332642"/>
                <a:gd name="connsiteX224" fmla="*/ 496157 w 1004887"/>
                <a:gd name="connsiteY224" fmla="*/ 76105 h 1332642"/>
                <a:gd name="connsiteX225" fmla="*/ 494729 w 1004887"/>
                <a:gd name="connsiteY225" fmla="*/ 77915 h 1332642"/>
                <a:gd name="connsiteX226" fmla="*/ 493967 w 1004887"/>
                <a:gd name="connsiteY226" fmla="*/ 71628 h 1332642"/>
                <a:gd name="connsiteX227" fmla="*/ 488252 w 1004887"/>
                <a:gd name="connsiteY227" fmla="*/ 77152 h 1332642"/>
                <a:gd name="connsiteX228" fmla="*/ 486823 w 1004887"/>
                <a:gd name="connsiteY228" fmla="*/ 78962 h 1332642"/>
                <a:gd name="connsiteX229" fmla="*/ 483870 w 1004887"/>
                <a:gd name="connsiteY229" fmla="*/ 80867 h 1332642"/>
                <a:gd name="connsiteX230" fmla="*/ 483679 w 1004887"/>
                <a:gd name="connsiteY230" fmla="*/ 79343 h 1332642"/>
                <a:gd name="connsiteX231" fmla="*/ 482346 w 1004887"/>
                <a:gd name="connsiteY231" fmla="*/ 81058 h 1332642"/>
                <a:gd name="connsiteX232" fmla="*/ 483489 w 1004887"/>
                <a:gd name="connsiteY232" fmla="*/ 90583 h 1332642"/>
                <a:gd name="connsiteX233" fmla="*/ 478822 w 1004887"/>
                <a:gd name="connsiteY233" fmla="*/ 91154 h 1332642"/>
                <a:gd name="connsiteX234" fmla="*/ 473678 w 1004887"/>
                <a:gd name="connsiteY234" fmla="*/ 88582 h 1332642"/>
                <a:gd name="connsiteX235" fmla="*/ 471106 w 1004887"/>
                <a:gd name="connsiteY235" fmla="*/ 93726 h 1332642"/>
                <a:gd name="connsiteX236" fmla="*/ 472916 w 1004887"/>
                <a:gd name="connsiteY236" fmla="*/ 95155 h 1332642"/>
                <a:gd name="connsiteX237" fmla="*/ 476060 w 1004887"/>
                <a:gd name="connsiteY237" fmla="*/ 94679 h 1332642"/>
                <a:gd name="connsiteX238" fmla="*/ 476250 w 1004887"/>
                <a:gd name="connsiteY238" fmla="*/ 96298 h 1332642"/>
                <a:gd name="connsiteX239" fmla="*/ 472059 w 1004887"/>
                <a:gd name="connsiteY239" fmla="*/ 101632 h 1332642"/>
                <a:gd name="connsiteX240" fmla="*/ 463772 w 1004887"/>
                <a:gd name="connsiteY240" fmla="*/ 99536 h 1332642"/>
                <a:gd name="connsiteX241" fmla="*/ 460820 w 1004887"/>
                <a:gd name="connsiteY241" fmla="*/ 101441 h 1332642"/>
                <a:gd name="connsiteX242" fmla="*/ 459867 w 1004887"/>
                <a:gd name="connsiteY242" fmla="*/ 106394 h 1332642"/>
                <a:gd name="connsiteX243" fmla="*/ 456914 w 1004887"/>
                <a:gd name="connsiteY243" fmla="*/ 108394 h 1332642"/>
                <a:gd name="connsiteX244" fmla="*/ 450437 w 1004887"/>
                <a:gd name="connsiteY244" fmla="*/ 107632 h 1332642"/>
                <a:gd name="connsiteX245" fmla="*/ 451009 w 1004887"/>
                <a:gd name="connsiteY245" fmla="*/ 112300 h 1332642"/>
                <a:gd name="connsiteX246" fmla="*/ 448247 w 1004887"/>
                <a:gd name="connsiteY246" fmla="*/ 115919 h 1332642"/>
                <a:gd name="connsiteX247" fmla="*/ 443294 w 1004887"/>
                <a:gd name="connsiteY247" fmla="*/ 114967 h 1332642"/>
                <a:gd name="connsiteX248" fmla="*/ 443484 w 1004887"/>
                <a:gd name="connsiteY248" fmla="*/ 116491 h 1332642"/>
                <a:gd name="connsiteX249" fmla="*/ 439007 w 1004887"/>
                <a:gd name="connsiteY249" fmla="*/ 118681 h 1332642"/>
                <a:gd name="connsiteX250" fmla="*/ 439388 w 1004887"/>
                <a:gd name="connsiteY250" fmla="*/ 121825 h 1332642"/>
                <a:gd name="connsiteX251" fmla="*/ 436626 w 1004887"/>
                <a:gd name="connsiteY251" fmla="*/ 125444 h 1332642"/>
                <a:gd name="connsiteX252" fmla="*/ 432911 w 1004887"/>
                <a:gd name="connsiteY252" fmla="*/ 121063 h 1332642"/>
                <a:gd name="connsiteX253" fmla="*/ 423386 w 1004887"/>
                <a:gd name="connsiteY253" fmla="*/ 122301 h 1332642"/>
                <a:gd name="connsiteX254" fmla="*/ 425006 w 1004887"/>
                <a:gd name="connsiteY254" fmla="*/ 134874 h 1332642"/>
                <a:gd name="connsiteX255" fmla="*/ 421862 w 1004887"/>
                <a:gd name="connsiteY255" fmla="*/ 135350 h 1332642"/>
                <a:gd name="connsiteX256" fmla="*/ 423291 w 1004887"/>
                <a:gd name="connsiteY256" fmla="*/ 133540 h 1332642"/>
                <a:gd name="connsiteX257" fmla="*/ 418148 w 1004887"/>
                <a:gd name="connsiteY257" fmla="*/ 130969 h 1332642"/>
                <a:gd name="connsiteX258" fmla="*/ 415766 w 1004887"/>
                <a:gd name="connsiteY258" fmla="*/ 137731 h 1332642"/>
                <a:gd name="connsiteX259" fmla="*/ 405670 w 1004887"/>
                <a:gd name="connsiteY259" fmla="*/ 134207 h 1332642"/>
                <a:gd name="connsiteX260" fmla="*/ 397764 w 1004887"/>
                <a:gd name="connsiteY260" fmla="*/ 135160 h 1332642"/>
                <a:gd name="connsiteX261" fmla="*/ 393478 w 1004887"/>
                <a:gd name="connsiteY261" fmla="*/ 138970 h 1332642"/>
                <a:gd name="connsiteX262" fmla="*/ 392906 w 1004887"/>
                <a:gd name="connsiteY262" fmla="*/ 146971 h 1332642"/>
                <a:gd name="connsiteX263" fmla="*/ 400812 w 1004887"/>
                <a:gd name="connsiteY263" fmla="*/ 158877 h 1332642"/>
                <a:gd name="connsiteX264" fmla="*/ 400812 w 1004887"/>
                <a:gd name="connsiteY264" fmla="*/ 158877 h 1332642"/>
                <a:gd name="connsiteX265" fmla="*/ 401193 w 1004887"/>
                <a:gd name="connsiteY265" fmla="*/ 162020 h 1332642"/>
                <a:gd name="connsiteX266" fmla="*/ 397859 w 1004887"/>
                <a:gd name="connsiteY266" fmla="*/ 160782 h 1332642"/>
                <a:gd name="connsiteX267" fmla="*/ 394907 w 1004887"/>
                <a:gd name="connsiteY267" fmla="*/ 162782 h 1332642"/>
                <a:gd name="connsiteX268" fmla="*/ 398240 w 1004887"/>
                <a:gd name="connsiteY268" fmla="*/ 163925 h 1332642"/>
                <a:gd name="connsiteX269" fmla="*/ 393764 w 1004887"/>
                <a:gd name="connsiteY269" fmla="*/ 166116 h 1332642"/>
                <a:gd name="connsiteX270" fmla="*/ 398907 w 1004887"/>
                <a:gd name="connsiteY270" fmla="*/ 168688 h 1332642"/>
                <a:gd name="connsiteX271" fmla="*/ 399479 w 1004887"/>
                <a:gd name="connsiteY271" fmla="*/ 173450 h 1332642"/>
                <a:gd name="connsiteX272" fmla="*/ 395288 w 1004887"/>
                <a:gd name="connsiteY272" fmla="*/ 178784 h 1332642"/>
                <a:gd name="connsiteX273" fmla="*/ 393954 w 1004887"/>
                <a:gd name="connsiteY273" fmla="*/ 180594 h 1332642"/>
                <a:gd name="connsiteX274" fmla="*/ 390620 w 1004887"/>
                <a:gd name="connsiteY274" fmla="*/ 179356 h 1332642"/>
                <a:gd name="connsiteX275" fmla="*/ 387858 w 1004887"/>
                <a:gd name="connsiteY275" fmla="*/ 182975 h 1332642"/>
                <a:gd name="connsiteX276" fmla="*/ 384905 w 1004887"/>
                <a:gd name="connsiteY276" fmla="*/ 184880 h 1332642"/>
                <a:gd name="connsiteX277" fmla="*/ 380714 w 1004887"/>
                <a:gd name="connsiteY277" fmla="*/ 190310 h 1332642"/>
                <a:gd name="connsiteX278" fmla="*/ 377571 w 1004887"/>
                <a:gd name="connsiteY278" fmla="*/ 190690 h 1332642"/>
                <a:gd name="connsiteX279" fmla="*/ 377762 w 1004887"/>
                <a:gd name="connsiteY279" fmla="*/ 192215 h 1332642"/>
                <a:gd name="connsiteX280" fmla="*/ 378047 w 1004887"/>
                <a:gd name="connsiteY280" fmla="*/ 193834 h 1332642"/>
                <a:gd name="connsiteX281" fmla="*/ 371285 w 1004887"/>
                <a:gd name="connsiteY281" fmla="*/ 191452 h 1332642"/>
                <a:gd name="connsiteX282" fmla="*/ 372142 w 1004887"/>
                <a:gd name="connsiteY282" fmla="*/ 197739 h 1332642"/>
                <a:gd name="connsiteX283" fmla="*/ 372332 w 1004887"/>
                <a:gd name="connsiteY283" fmla="*/ 199358 h 1332642"/>
                <a:gd name="connsiteX284" fmla="*/ 368903 w 1004887"/>
                <a:gd name="connsiteY284" fmla="*/ 198215 h 1332642"/>
                <a:gd name="connsiteX285" fmla="*/ 360236 w 1004887"/>
                <a:gd name="connsiteY285" fmla="*/ 192881 h 1332642"/>
                <a:gd name="connsiteX286" fmla="*/ 356521 w 1004887"/>
                <a:gd name="connsiteY286" fmla="*/ 188500 h 1332642"/>
                <a:gd name="connsiteX287" fmla="*/ 356045 w 1004887"/>
                <a:gd name="connsiteY287" fmla="*/ 185356 h 1332642"/>
                <a:gd name="connsiteX288" fmla="*/ 350901 w 1004887"/>
                <a:gd name="connsiteY288" fmla="*/ 182785 h 1332642"/>
                <a:gd name="connsiteX289" fmla="*/ 344424 w 1004887"/>
                <a:gd name="connsiteY289" fmla="*/ 182023 h 1332642"/>
                <a:gd name="connsiteX290" fmla="*/ 337757 w 1004887"/>
                <a:gd name="connsiteY290" fmla="*/ 192500 h 1332642"/>
                <a:gd name="connsiteX291" fmla="*/ 327851 w 1004887"/>
                <a:gd name="connsiteY291" fmla="*/ 190595 h 1332642"/>
                <a:gd name="connsiteX292" fmla="*/ 321564 w 1004887"/>
                <a:gd name="connsiteY292" fmla="*/ 191357 h 1332642"/>
                <a:gd name="connsiteX293" fmla="*/ 318611 w 1004887"/>
                <a:gd name="connsiteY293" fmla="*/ 193357 h 1332642"/>
                <a:gd name="connsiteX294" fmla="*/ 317564 w 1004887"/>
                <a:gd name="connsiteY294" fmla="*/ 185452 h 1332642"/>
                <a:gd name="connsiteX295" fmla="*/ 310515 w 1004887"/>
                <a:gd name="connsiteY295" fmla="*/ 179927 h 1332642"/>
                <a:gd name="connsiteX296" fmla="*/ 304610 w 1004887"/>
                <a:gd name="connsiteY296" fmla="*/ 183928 h 1332642"/>
                <a:gd name="connsiteX297" fmla="*/ 299466 w 1004887"/>
                <a:gd name="connsiteY297" fmla="*/ 181356 h 1332642"/>
                <a:gd name="connsiteX298" fmla="*/ 299847 w 1004887"/>
                <a:gd name="connsiteY298" fmla="*/ 184499 h 1332642"/>
                <a:gd name="connsiteX299" fmla="*/ 296704 w 1004887"/>
                <a:gd name="connsiteY299" fmla="*/ 184976 h 1332642"/>
                <a:gd name="connsiteX300" fmla="*/ 294704 w 1004887"/>
                <a:gd name="connsiteY300" fmla="*/ 182023 h 1332642"/>
                <a:gd name="connsiteX301" fmla="*/ 295847 w 1004887"/>
                <a:gd name="connsiteY301" fmla="*/ 178594 h 1332642"/>
                <a:gd name="connsiteX302" fmla="*/ 292894 w 1004887"/>
                <a:gd name="connsiteY302" fmla="*/ 180594 h 1332642"/>
                <a:gd name="connsiteX303" fmla="*/ 293942 w 1004887"/>
                <a:gd name="connsiteY303" fmla="*/ 175641 h 1332642"/>
                <a:gd name="connsiteX304" fmla="*/ 290513 w 1004887"/>
                <a:gd name="connsiteY304" fmla="*/ 174498 h 1332642"/>
                <a:gd name="connsiteX305" fmla="*/ 284226 w 1004887"/>
                <a:gd name="connsiteY305" fmla="*/ 175260 h 1332642"/>
                <a:gd name="connsiteX306" fmla="*/ 280702 w 1004887"/>
                <a:gd name="connsiteY306" fmla="*/ 172498 h 1332642"/>
                <a:gd name="connsiteX307" fmla="*/ 275749 w 1004887"/>
                <a:gd name="connsiteY307" fmla="*/ 171545 h 1332642"/>
                <a:gd name="connsiteX308" fmla="*/ 274796 w 1004887"/>
                <a:gd name="connsiteY308" fmla="*/ 176498 h 1332642"/>
                <a:gd name="connsiteX309" fmla="*/ 270224 w 1004887"/>
                <a:gd name="connsiteY309" fmla="*/ 178689 h 1332642"/>
                <a:gd name="connsiteX310" fmla="*/ 264509 w 1004887"/>
                <a:gd name="connsiteY310" fmla="*/ 184214 h 1332642"/>
                <a:gd name="connsiteX311" fmla="*/ 260794 w 1004887"/>
                <a:gd name="connsiteY311" fmla="*/ 179927 h 1332642"/>
                <a:gd name="connsiteX312" fmla="*/ 258794 w 1004887"/>
                <a:gd name="connsiteY312" fmla="*/ 176974 h 1332642"/>
                <a:gd name="connsiteX313" fmla="*/ 257365 w 1004887"/>
                <a:gd name="connsiteY313" fmla="*/ 178689 h 1332642"/>
                <a:gd name="connsiteX314" fmla="*/ 256032 w 1004887"/>
                <a:gd name="connsiteY314" fmla="*/ 180499 h 1332642"/>
                <a:gd name="connsiteX315" fmla="*/ 249936 w 1004887"/>
                <a:gd name="connsiteY315" fmla="*/ 182880 h 1332642"/>
                <a:gd name="connsiteX316" fmla="*/ 244602 w 1004887"/>
                <a:gd name="connsiteY316" fmla="*/ 178784 h 1332642"/>
                <a:gd name="connsiteX317" fmla="*/ 243364 w 1004887"/>
                <a:gd name="connsiteY317" fmla="*/ 182118 h 1332642"/>
                <a:gd name="connsiteX318" fmla="*/ 234982 w 1004887"/>
                <a:gd name="connsiteY318" fmla="*/ 191167 h 1332642"/>
                <a:gd name="connsiteX319" fmla="*/ 230219 w 1004887"/>
                <a:gd name="connsiteY319" fmla="*/ 191833 h 1332642"/>
                <a:gd name="connsiteX320" fmla="*/ 223266 w 1004887"/>
                <a:gd name="connsiteY320" fmla="*/ 187833 h 1332642"/>
                <a:gd name="connsiteX321" fmla="*/ 216599 w 1004887"/>
                <a:gd name="connsiteY321" fmla="*/ 185547 h 1332642"/>
                <a:gd name="connsiteX322" fmla="*/ 215170 w 1004887"/>
                <a:gd name="connsiteY322" fmla="*/ 187261 h 1332642"/>
                <a:gd name="connsiteX323" fmla="*/ 220694 w 1004887"/>
                <a:gd name="connsiteY323" fmla="*/ 192977 h 1332642"/>
                <a:gd name="connsiteX324" fmla="*/ 221933 w 1004887"/>
                <a:gd name="connsiteY324" fmla="*/ 202502 h 1332642"/>
                <a:gd name="connsiteX325" fmla="*/ 207550 w 1004887"/>
                <a:gd name="connsiteY325" fmla="*/ 202692 h 1332642"/>
                <a:gd name="connsiteX326" fmla="*/ 195072 w 1004887"/>
                <a:gd name="connsiteY326" fmla="*/ 205931 h 1332642"/>
                <a:gd name="connsiteX327" fmla="*/ 195358 w 1004887"/>
                <a:gd name="connsiteY327" fmla="*/ 207455 h 1332642"/>
                <a:gd name="connsiteX328" fmla="*/ 198882 w 1004887"/>
                <a:gd name="connsiteY328" fmla="*/ 210217 h 1332642"/>
                <a:gd name="connsiteX329" fmla="*/ 200311 w 1004887"/>
                <a:gd name="connsiteY329" fmla="*/ 221266 h 1332642"/>
                <a:gd name="connsiteX330" fmla="*/ 200882 w 1004887"/>
                <a:gd name="connsiteY330" fmla="*/ 226028 h 1332642"/>
                <a:gd name="connsiteX331" fmla="*/ 192596 w 1004887"/>
                <a:gd name="connsiteY331" fmla="*/ 223837 h 1332642"/>
                <a:gd name="connsiteX332" fmla="*/ 193929 w 1004887"/>
                <a:gd name="connsiteY332" fmla="*/ 222123 h 1332642"/>
                <a:gd name="connsiteX333" fmla="*/ 192024 w 1004887"/>
                <a:gd name="connsiteY333" fmla="*/ 219170 h 1332642"/>
                <a:gd name="connsiteX334" fmla="*/ 190214 w 1004887"/>
                <a:gd name="connsiteY334" fmla="*/ 204883 h 1332642"/>
                <a:gd name="connsiteX335" fmla="*/ 184594 w 1004887"/>
                <a:gd name="connsiteY335" fmla="*/ 199168 h 1332642"/>
                <a:gd name="connsiteX336" fmla="*/ 174593 w 1004887"/>
                <a:gd name="connsiteY336" fmla="*/ 195644 h 1332642"/>
                <a:gd name="connsiteX337" fmla="*/ 160401 w 1004887"/>
                <a:gd name="connsiteY337" fmla="*/ 197453 h 1332642"/>
                <a:gd name="connsiteX338" fmla="*/ 160782 w 1004887"/>
                <a:gd name="connsiteY338" fmla="*/ 200692 h 1332642"/>
                <a:gd name="connsiteX339" fmla="*/ 157448 w 1004887"/>
                <a:gd name="connsiteY339" fmla="*/ 199453 h 1332642"/>
                <a:gd name="connsiteX340" fmla="*/ 157829 w 1004887"/>
                <a:gd name="connsiteY340" fmla="*/ 202597 h 1332642"/>
                <a:gd name="connsiteX341" fmla="*/ 153067 w 1004887"/>
                <a:gd name="connsiteY341" fmla="*/ 203264 h 1332642"/>
                <a:gd name="connsiteX342" fmla="*/ 150114 w 1004887"/>
                <a:gd name="connsiteY342" fmla="*/ 205169 h 1332642"/>
                <a:gd name="connsiteX343" fmla="*/ 149924 w 1004887"/>
                <a:gd name="connsiteY343" fmla="*/ 216408 h 1332642"/>
                <a:gd name="connsiteX344" fmla="*/ 143256 w 1004887"/>
                <a:gd name="connsiteY344" fmla="*/ 214122 h 1332642"/>
                <a:gd name="connsiteX345" fmla="*/ 139351 w 1004887"/>
                <a:gd name="connsiteY345" fmla="*/ 220980 h 1332642"/>
                <a:gd name="connsiteX346" fmla="*/ 136684 w 1004887"/>
                <a:gd name="connsiteY346" fmla="*/ 213360 h 1332642"/>
                <a:gd name="connsiteX347" fmla="*/ 129635 w 1004887"/>
                <a:gd name="connsiteY347" fmla="*/ 207836 h 1332642"/>
                <a:gd name="connsiteX348" fmla="*/ 118586 w 1004887"/>
                <a:gd name="connsiteY348" fmla="*/ 209264 h 1332642"/>
                <a:gd name="connsiteX349" fmla="*/ 108490 w 1004887"/>
                <a:gd name="connsiteY349" fmla="*/ 205740 h 1332642"/>
                <a:gd name="connsiteX350" fmla="*/ 106299 w 1004887"/>
                <a:gd name="connsiteY350" fmla="*/ 214027 h 1332642"/>
                <a:gd name="connsiteX351" fmla="*/ 100870 w 1004887"/>
                <a:gd name="connsiteY351" fmla="*/ 221075 h 1332642"/>
                <a:gd name="connsiteX352" fmla="*/ 97631 w 1004887"/>
                <a:gd name="connsiteY352" fmla="*/ 221552 h 1332642"/>
                <a:gd name="connsiteX353" fmla="*/ 87630 w 1004887"/>
                <a:gd name="connsiteY353" fmla="*/ 230791 h 1332642"/>
                <a:gd name="connsiteX354" fmla="*/ 85058 w 1004887"/>
                <a:gd name="connsiteY354" fmla="*/ 235934 h 1332642"/>
                <a:gd name="connsiteX355" fmla="*/ 86106 w 1004887"/>
                <a:gd name="connsiteY355" fmla="*/ 243840 h 1332642"/>
                <a:gd name="connsiteX356" fmla="*/ 82201 w 1004887"/>
                <a:gd name="connsiteY356" fmla="*/ 250793 h 1332642"/>
                <a:gd name="connsiteX357" fmla="*/ 79820 w 1004887"/>
                <a:gd name="connsiteY357" fmla="*/ 257461 h 1332642"/>
                <a:gd name="connsiteX358" fmla="*/ 70295 w 1004887"/>
                <a:gd name="connsiteY358" fmla="*/ 258699 h 1332642"/>
                <a:gd name="connsiteX359" fmla="*/ 70009 w 1004887"/>
                <a:gd name="connsiteY359" fmla="*/ 281178 h 1332642"/>
                <a:gd name="connsiteX360" fmla="*/ 68199 w 1004887"/>
                <a:gd name="connsiteY360" fmla="*/ 279749 h 1332642"/>
                <a:gd name="connsiteX361" fmla="*/ 64865 w 1004887"/>
                <a:gd name="connsiteY361" fmla="*/ 278606 h 1332642"/>
                <a:gd name="connsiteX362" fmla="*/ 62865 w 1004887"/>
                <a:gd name="connsiteY362" fmla="*/ 275653 h 1332642"/>
                <a:gd name="connsiteX363" fmla="*/ 59722 w 1004887"/>
                <a:gd name="connsiteY363" fmla="*/ 276035 h 1332642"/>
                <a:gd name="connsiteX364" fmla="*/ 55626 w 1004887"/>
                <a:gd name="connsiteY364" fmla="*/ 281369 h 1332642"/>
                <a:gd name="connsiteX365" fmla="*/ 51435 w 1004887"/>
                <a:gd name="connsiteY365" fmla="*/ 286703 h 1332642"/>
                <a:gd name="connsiteX366" fmla="*/ 54007 w 1004887"/>
                <a:gd name="connsiteY366" fmla="*/ 294418 h 1332642"/>
                <a:gd name="connsiteX367" fmla="*/ 53245 w 1004887"/>
                <a:gd name="connsiteY367" fmla="*/ 300990 h 1332642"/>
                <a:gd name="connsiteX368" fmla="*/ 50959 w 1004887"/>
                <a:gd name="connsiteY368" fmla="*/ 307657 h 1332642"/>
                <a:gd name="connsiteX369" fmla="*/ 46387 w 1004887"/>
                <a:gd name="connsiteY369" fmla="*/ 309848 h 1332642"/>
                <a:gd name="connsiteX370" fmla="*/ 45053 w 1004887"/>
                <a:gd name="connsiteY370" fmla="*/ 311658 h 1332642"/>
                <a:gd name="connsiteX371" fmla="*/ 49816 w 1004887"/>
                <a:gd name="connsiteY371" fmla="*/ 323850 h 1332642"/>
                <a:gd name="connsiteX372" fmla="*/ 45625 w 1004887"/>
                <a:gd name="connsiteY372" fmla="*/ 329184 h 1332642"/>
                <a:gd name="connsiteX373" fmla="*/ 52578 w 1004887"/>
                <a:gd name="connsiteY373" fmla="*/ 333089 h 1332642"/>
                <a:gd name="connsiteX374" fmla="*/ 51340 w 1004887"/>
                <a:gd name="connsiteY374" fmla="*/ 336423 h 1332642"/>
                <a:gd name="connsiteX375" fmla="*/ 50197 w 1004887"/>
                <a:gd name="connsiteY375" fmla="*/ 339852 h 1332642"/>
                <a:gd name="connsiteX376" fmla="*/ 48196 w 1004887"/>
                <a:gd name="connsiteY376" fmla="*/ 336899 h 1332642"/>
                <a:gd name="connsiteX377" fmla="*/ 3524 w 1004887"/>
                <a:gd name="connsiteY377" fmla="*/ 363379 h 1332642"/>
                <a:gd name="connsiteX378" fmla="*/ 0 w 1004887"/>
                <a:gd name="connsiteY378" fmla="*/ 373475 h 1332642"/>
                <a:gd name="connsiteX379" fmla="*/ 2381 w 1004887"/>
                <a:gd name="connsiteY379" fmla="*/ 379571 h 1332642"/>
                <a:gd name="connsiteX380" fmla="*/ 1333 w 1004887"/>
                <a:gd name="connsiteY380" fmla="*/ 384524 h 1332642"/>
                <a:gd name="connsiteX381" fmla="*/ 3715 w 1004887"/>
                <a:gd name="connsiteY381" fmla="*/ 390620 h 1332642"/>
                <a:gd name="connsiteX382" fmla="*/ 7525 w 1004887"/>
                <a:gd name="connsiteY382" fmla="*/ 395002 h 1332642"/>
                <a:gd name="connsiteX383" fmla="*/ 6382 w 1004887"/>
                <a:gd name="connsiteY383" fmla="*/ 398336 h 1332642"/>
                <a:gd name="connsiteX384" fmla="*/ 14669 w 1004887"/>
                <a:gd name="connsiteY384" fmla="*/ 400526 h 1332642"/>
                <a:gd name="connsiteX385" fmla="*/ 16573 w 1004887"/>
                <a:gd name="connsiteY385" fmla="*/ 403479 h 1332642"/>
                <a:gd name="connsiteX386" fmla="*/ 17621 w 1004887"/>
                <a:gd name="connsiteY386" fmla="*/ 411290 h 1332642"/>
                <a:gd name="connsiteX387" fmla="*/ 24765 w 1004887"/>
                <a:gd name="connsiteY387" fmla="*/ 429673 h 1332642"/>
                <a:gd name="connsiteX388" fmla="*/ 30099 w 1004887"/>
                <a:gd name="connsiteY388" fmla="*/ 433769 h 1332642"/>
                <a:gd name="connsiteX389" fmla="*/ 38195 w 1004887"/>
                <a:gd name="connsiteY389" fmla="*/ 434340 h 1332642"/>
                <a:gd name="connsiteX390" fmla="*/ 55626 w 1004887"/>
                <a:gd name="connsiteY390" fmla="*/ 445008 h 1332642"/>
                <a:gd name="connsiteX391" fmla="*/ 56388 w 1004887"/>
                <a:gd name="connsiteY391" fmla="*/ 451294 h 1332642"/>
                <a:gd name="connsiteX392" fmla="*/ 63341 w 1004887"/>
                <a:gd name="connsiteY392" fmla="*/ 455200 h 1332642"/>
                <a:gd name="connsiteX393" fmla="*/ 68008 w 1004887"/>
                <a:gd name="connsiteY393" fmla="*/ 454628 h 1332642"/>
                <a:gd name="connsiteX394" fmla="*/ 69818 w 1004887"/>
                <a:gd name="connsiteY394" fmla="*/ 455962 h 1332642"/>
                <a:gd name="connsiteX395" fmla="*/ 77533 w 1004887"/>
                <a:gd name="connsiteY395" fmla="*/ 453390 h 1332642"/>
                <a:gd name="connsiteX396" fmla="*/ 82487 w 1004887"/>
                <a:gd name="connsiteY396" fmla="*/ 454343 h 1332642"/>
                <a:gd name="connsiteX397" fmla="*/ 82106 w 1004887"/>
                <a:gd name="connsiteY397" fmla="*/ 464058 h 1332642"/>
                <a:gd name="connsiteX398" fmla="*/ 87058 w 1004887"/>
                <a:gd name="connsiteY398" fmla="*/ 477869 h 1332642"/>
                <a:gd name="connsiteX399" fmla="*/ 81534 w 1004887"/>
                <a:gd name="connsiteY399" fmla="*/ 485013 h 1332642"/>
                <a:gd name="connsiteX400" fmla="*/ 84106 w 1004887"/>
                <a:gd name="connsiteY400" fmla="*/ 492633 h 1332642"/>
                <a:gd name="connsiteX401" fmla="*/ 78391 w 1004887"/>
                <a:gd name="connsiteY401" fmla="*/ 498253 h 1332642"/>
                <a:gd name="connsiteX402" fmla="*/ 77248 w 1004887"/>
                <a:gd name="connsiteY402" fmla="*/ 501586 h 1332642"/>
                <a:gd name="connsiteX403" fmla="*/ 79248 w 1004887"/>
                <a:gd name="connsiteY403" fmla="*/ 504539 h 1332642"/>
                <a:gd name="connsiteX404" fmla="*/ 84106 w 1004887"/>
                <a:gd name="connsiteY404" fmla="*/ 505492 h 1332642"/>
                <a:gd name="connsiteX405" fmla="*/ 85916 w 1004887"/>
                <a:gd name="connsiteY405" fmla="*/ 506825 h 1332642"/>
                <a:gd name="connsiteX406" fmla="*/ 84773 w 1004887"/>
                <a:gd name="connsiteY406" fmla="*/ 510254 h 1332642"/>
                <a:gd name="connsiteX407" fmla="*/ 80582 w 1004887"/>
                <a:gd name="connsiteY407" fmla="*/ 515588 h 1332642"/>
                <a:gd name="connsiteX408" fmla="*/ 81439 w 1004887"/>
                <a:gd name="connsiteY408" fmla="*/ 521875 h 1332642"/>
                <a:gd name="connsiteX409" fmla="*/ 89726 w 1004887"/>
                <a:gd name="connsiteY409" fmla="*/ 524065 h 1332642"/>
                <a:gd name="connsiteX410" fmla="*/ 88297 w 1004887"/>
                <a:gd name="connsiteY410" fmla="*/ 525780 h 1332642"/>
                <a:gd name="connsiteX411" fmla="*/ 83820 w 1004887"/>
                <a:gd name="connsiteY411" fmla="*/ 527971 h 1332642"/>
                <a:gd name="connsiteX412" fmla="*/ 84392 w 1004887"/>
                <a:gd name="connsiteY412" fmla="*/ 532733 h 1332642"/>
                <a:gd name="connsiteX413" fmla="*/ 90964 w 1004887"/>
                <a:gd name="connsiteY413" fmla="*/ 533495 h 1332642"/>
                <a:gd name="connsiteX414" fmla="*/ 96869 w 1004887"/>
                <a:gd name="connsiteY414" fmla="*/ 529495 h 1332642"/>
                <a:gd name="connsiteX415" fmla="*/ 104965 w 1004887"/>
                <a:gd name="connsiteY415" fmla="*/ 530066 h 1332642"/>
                <a:gd name="connsiteX416" fmla="*/ 106870 w 1004887"/>
                <a:gd name="connsiteY416" fmla="*/ 533114 h 1332642"/>
                <a:gd name="connsiteX417" fmla="*/ 105537 w 1004887"/>
                <a:gd name="connsiteY417" fmla="*/ 534829 h 1332642"/>
                <a:gd name="connsiteX418" fmla="*/ 104108 w 1004887"/>
                <a:gd name="connsiteY418" fmla="*/ 536639 h 1332642"/>
                <a:gd name="connsiteX419" fmla="*/ 108299 w 1004887"/>
                <a:gd name="connsiteY419" fmla="*/ 544068 h 1332642"/>
                <a:gd name="connsiteX420" fmla="*/ 108585 w 1004887"/>
                <a:gd name="connsiteY420" fmla="*/ 558546 h 1332642"/>
                <a:gd name="connsiteX421" fmla="*/ 118205 w 1004887"/>
                <a:gd name="connsiteY421" fmla="*/ 571690 h 1332642"/>
                <a:gd name="connsiteX422" fmla="*/ 114110 w 1004887"/>
                <a:gd name="connsiteY422" fmla="*/ 589883 h 1332642"/>
                <a:gd name="connsiteX423" fmla="*/ 115729 w 1004887"/>
                <a:gd name="connsiteY423" fmla="*/ 602456 h 1332642"/>
                <a:gd name="connsiteX424" fmla="*/ 119348 w 1004887"/>
                <a:gd name="connsiteY424" fmla="*/ 605219 h 1332642"/>
                <a:gd name="connsiteX425" fmla="*/ 121920 w 1004887"/>
                <a:gd name="connsiteY425" fmla="*/ 612934 h 1332642"/>
                <a:gd name="connsiteX426" fmla="*/ 126016 w 1004887"/>
                <a:gd name="connsiteY426" fmla="*/ 620458 h 1332642"/>
                <a:gd name="connsiteX427" fmla="*/ 129445 w 1004887"/>
                <a:gd name="connsiteY427" fmla="*/ 621602 h 1332642"/>
                <a:gd name="connsiteX428" fmla="*/ 125254 w 1004887"/>
                <a:gd name="connsiteY428" fmla="*/ 626936 h 1332642"/>
                <a:gd name="connsiteX429" fmla="*/ 135922 w 1004887"/>
                <a:gd name="connsiteY429" fmla="*/ 635222 h 1332642"/>
                <a:gd name="connsiteX430" fmla="*/ 140875 w 1004887"/>
                <a:gd name="connsiteY430" fmla="*/ 636175 h 1332642"/>
                <a:gd name="connsiteX431" fmla="*/ 142875 w 1004887"/>
                <a:gd name="connsiteY431" fmla="*/ 639128 h 1332642"/>
                <a:gd name="connsiteX432" fmla="*/ 145828 w 1004887"/>
                <a:gd name="connsiteY432" fmla="*/ 637127 h 1332642"/>
                <a:gd name="connsiteX433" fmla="*/ 147828 w 1004887"/>
                <a:gd name="connsiteY433" fmla="*/ 640080 h 1332642"/>
                <a:gd name="connsiteX434" fmla="*/ 152495 w 1004887"/>
                <a:gd name="connsiteY434" fmla="*/ 639508 h 1332642"/>
                <a:gd name="connsiteX435" fmla="*/ 153734 w 1004887"/>
                <a:gd name="connsiteY435" fmla="*/ 636175 h 1332642"/>
                <a:gd name="connsiteX436" fmla="*/ 158210 w 1004887"/>
                <a:gd name="connsiteY436" fmla="*/ 633984 h 1332642"/>
                <a:gd name="connsiteX437" fmla="*/ 162973 w 1004887"/>
                <a:gd name="connsiteY437" fmla="*/ 646176 h 1332642"/>
                <a:gd name="connsiteX438" fmla="*/ 162020 w 1004887"/>
                <a:gd name="connsiteY438" fmla="*/ 651129 h 1332642"/>
                <a:gd name="connsiteX439" fmla="*/ 161639 w 1004887"/>
                <a:gd name="connsiteY439" fmla="*/ 660845 h 1332642"/>
                <a:gd name="connsiteX440" fmla="*/ 159544 w 1004887"/>
                <a:gd name="connsiteY440" fmla="*/ 669131 h 1332642"/>
                <a:gd name="connsiteX441" fmla="*/ 162306 w 1004887"/>
                <a:gd name="connsiteY441" fmla="*/ 678370 h 1332642"/>
                <a:gd name="connsiteX442" fmla="*/ 161735 w 1004887"/>
                <a:gd name="connsiteY442" fmla="*/ 686467 h 1332642"/>
                <a:gd name="connsiteX443" fmla="*/ 153638 w 1004887"/>
                <a:gd name="connsiteY443" fmla="*/ 698754 h 1332642"/>
                <a:gd name="connsiteX444" fmla="*/ 156782 w 1004887"/>
                <a:gd name="connsiteY444" fmla="*/ 698278 h 1332642"/>
                <a:gd name="connsiteX445" fmla="*/ 161163 w 1004887"/>
                <a:gd name="connsiteY445" fmla="*/ 707327 h 1332642"/>
                <a:gd name="connsiteX446" fmla="*/ 164497 w 1004887"/>
                <a:gd name="connsiteY446" fmla="*/ 708565 h 1332642"/>
                <a:gd name="connsiteX447" fmla="*/ 170116 w 1004887"/>
                <a:gd name="connsiteY447" fmla="*/ 727043 h 1332642"/>
                <a:gd name="connsiteX448" fmla="*/ 168974 w 1004887"/>
                <a:gd name="connsiteY448" fmla="*/ 730472 h 1332642"/>
                <a:gd name="connsiteX449" fmla="*/ 170307 w 1004887"/>
                <a:gd name="connsiteY449" fmla="*/ 741521 h 1332642"/>
                <a:gd name="connsiteX450" fmla="*/ 167831 w 1004887"/>
                <a:gd name="connsiteY450" fmla="*/ 746665 h 1332642"/>
                <a:gd name="connsiteX451" fmla="*/ 185166 w 1004887"/>
                <a:gd name="connsiteY451" fmla="*/ 757237 h 1332642"/>
                <a:gd name="connsiteX452" fmla="*/ 206312 w 1004887"/>
                <a:gd name="connsiteY452" fmla="*/ 759333 h 1332642"/>
                <a:gd name="connsiteX453" fmla="*/ 209455 w 1004887"/>
                <a:gd name="connsiteY453" fmla="*/ 771811 h 1332642"/>
                <a:gd name="connsiteX454" fmla="*/ 222885 w 1004887"/>
                <a:gd name="connsiteY454" fmla="*/ 776478 h 1332642"/>
                <a:gd name="connsiteX455" fmla="*/ 239744 w 1004887"/>
                <a:gd name="connsiteY455" fmla="*/ 795147 h 1332642"/>
                <a:gd name="connsiteX456" fmla="*/ 241554 w 1004887"/>
                <a:gd name="connsiteY456" fmla="*/ 809435 h 1332642"/>
                <a:gd name="connsiteX457" fmla="*/ 239363 w 1004887"/>
                <a:gd name="connsiteY457" fmla="*/ 817721 h 1332642"/>
                <a:gd name="connsiteX458" fmla="*/ 245745 w 1004887"/>
                <a:gd name="connsiteY458" fmla="*/ 829723 h 1332642"/>
                <a:gd name="connsiteX459" fmla="*/ 252413 w 1004887"/>
                <a:gd name="connsiteY459" fmla="*/ 832009 h 1332642"/>
                <a:gd name="connsiteX460" fmla="*/ 254603 w 1004887"/>
                <a:gd name="connsiteY460" fmla="*/ 836581 h 1332642"/>
                <a:gd name="connsiteX461" fmla="*/ 252698 w 1004887"/>
                <a:gd name="connsiteY461" fmla="*/ 846487 h 1332642"/>
                <a:gd name="connsiteX462" fmla="*/ 253079 w 1004887"/>
                <a:gd name="connsiteY462" fmla="*/ 849630 h 1332642"/>
                <a:gd name="connsiteX463" fmla="*/ 256413 w 1004887"/>
                <a:gd name="connsiteY463" fmla="*/ 850773 h 1332642"/>
                <a:gd name="connsiteX464" fmla="*/ 266700 w 1004887"/>
                <a:gd name="connsiteY464" fmla="*/ 855916 h 1332642"/>
                <a:gd name="connsiteX465" fmla="*/ 276797 w 1004887"/>
                <a:gd name="connsiteY465" fmla="*/ 859441 h 1332642"/>
                <a:gd name="connsiteX466" fmla="*/ 294323 w 1004887"/>
                <a:gd name="connsiteY466" fmla="*/ 858774 h 1332642"/>
                <a:gd name="connsiteX467" fmla="*/ 299085 w 1004887"/>
                <a:gd name="connsiteY467" fmla="*/ 858203 h 1332642"/>
                <a:gd name="connsiteX468" fmla="*/ 300419 w 1004887"/>
                <a:gd name="connsiteY468" fmla="*/ 856393 h 1332642"/>
                <a:gd name="connsiteX469" fmla="*/ 302038 w 1004887"/>
                <a:gd name="connsiteY469" fmla="*/ 856202 h 1332642"/>
                <a:gd name="connsiteX470" fmla="*/ 306229 w 1004887"/>
                <a:gd name="connsiteY470" fmla="*/ 863727 h 1332642"/>
                <a:gd name="connsiteX471" fmla="*/ 310706 w 1004887"/>
                <a:gd name="connsiteY471" fmla="*/ 861536 h 1332642"/>
                <a:gd name="connsiteX472" fmla="*/ 321374 w 1004887"/>
                <a:gd name="connsiteY472" fmla="*/ 869823 h 1332642"/>
                <a:gd name="connsiteX473" fmla="*/ 329660 w 1004887"/>
                <a:gd name="connsiteY473" fmla="*/ 871919 h 1332642"/>
                <a:gd name="connsiteX474" fmla="*/ 328517 w 1004887"/>
                <a:gd name="connsiteY474" fmla="*/ 862489 h 1332642"/>
                <a:gd name="connsiteX475" fmla="*/ 326136 w 1004887"/>
                <a:gd name="connsiteY475" fmla="*/ 856393 h 1332642"/>
                <a:gd name="connsiteX476" fmla="*/ 325279 w 1004887"/>
                <a:gd name="connsiteY476" fmla="*/ 850011 h 1332642"/>
                <a:gd name="connsiteX477" fmla="*/ 341662 w 1004887"/>
                <a:gd name="connsiteY477" fmla="*/ 852773 h 1332642"/>
                <a:gd name="connsiteX478" fmla="*/ 348615 w 1004887"/>
                <a:gd name="connsiteY478" fmla="*/ 856678 h 1332642"/>
                <a:gd name="connsiteX479" fmla="*/ 352139 w 1004887"/>
                <a:gd name="connsiteY479" fmla="*/ 859441 h 1332642"/>
                <a:gd name="connsiteX480" fmla="*/ 359855 w 1004887"/>
                <a:gd name="connsiteY480" fmla="*/ 856869 h 1332642"/>
                <a:gd name="connsiteX481" fmla="*/ 366808 w 1004887"/>
                <a:gd name="connsiteY481" fmla="*/ 860774 h 1332642"/>
                <a:gd name="connsiteX482" fmla="*/ 371475 w 1004887"/>
                <a:gd name="connsiteY482" fmla="*/ 860203 h 1332642"/>
                <a:gd name="connsiteX483" fmla="*/ 374809 w 1004887"/>
                <a:gd name="connsiteY483" fmla="*/ 861346 h 1332642"/>
                <a:gd name="connsiteX484" fmla="*/ 380429 w 1004887"/>
                <a:gd name="connsiteY484" fmla="*/ 867061 h 1332642"/>
                <a:gd name="connsiteX485" fmla="*/ 383572 w 1004887"/>
                <a:gd name="connsiteY485" fmla="*/ 866680 h 1332642"/>
                <a:gd name="connsiteX486" fmla="*/ 390430 w 1004887"/>
                <a:gd name="connsiteY486" fmla="*/ 870585 h 1332642"/>
                <a:gd name="connsiteX487" fmla="*/ 400145 w 1004887"/>
                <a:gd name="connsiteY487" fmla="*/ 883825 h 1332642"/>
                <a:gd name="connsiteX488" fmla="*/ 404336 w 1004887"/>
                <a:gd name="connsiteY488" fmla="*/ 891254 h 1332642"/>
                <a:gd name="connsiteX489" fmla="*/ 411671 w 1004887"/>
                <a:gd name="connsiteY489" fmla="*/ 898398 h 1332642"/>
                <a:gd name="connsiteX490" fmla="*/ 414052 w 1004887"/>
                <a:gd name="connsiteY490" fmla="*/ 904494 h 1332642"/>
                <a:gd name="connsiteX491" fmla="*/ 428816 w 1004887"/>
                <a:gd name="connsiteY491" fmla="*/ 907447 h 1332642"/>
                <a:gd name="connsiteX492" fmla="*/ 429673 w 1004887"/>
                <a:gd name="connsiteY492" fmla="*/ 926592 h 1332642"/>
                <a:gd name="connsiteX493" fmla="*/ 428339 w 1004887"/>
                <a:gd name="connsiteY493" fmla="*/ 928307 h 1332642"/>
                <a:gd name="connsiteX494" fmla="*/ 425958 w 1004887"/>
                <a:gd name="connsiteY494" fmla="*/ 935069 h 1332642"/>
                <a:gd name="connsiteX495" fmla="*/ 431292 w 1004887"/>
                <a:gd name="connsiteY495" fmla="*/ 952024 h 1332642"/>
                <a:gd name="connsiteX496" fmla="*/ 445960 w 1004887"/>
                <a:gd name="connsiteY496" fmla="*/ 953357 h 1332642"/>
                <a:gd name="connsiteX497" fmla="*/ 447866 w 1004887"/>
                <a:gd name="connsiteY497" fmla="*/ 956310 h 1332642"/>
                <a:gd name="connsiteX498" fmla="*/ 446913 w 1004887"/>
                <a:gd name="connsiteY498" fmla="*/ 961263 h 1332642"/>
                <a:gd name="connsiteX499" fmla="*/ 449294 w 1004887"/>
                <a:gd name="connsiteY499" fmla="*/ 967359 h 1332642"/>
                <a:gd name="connsiteX500" fmla="*/ 454438 w 1004887"/>
                <a:gd name="connsiteY500" fmla="*/ 969931 h 1332642"/>
                <a:gd name="connsiteX501" fmla="*/ 458152 w 1004887"/>
                <a:gd name="connsiteY501" fmla="*/ 974217 h 1332642"/>
                <a:gd name="connsiteX502" fmla="*/ 464534 w 1004887"/>
                <a:gd name="connsiteY502" fmla="*/ 973455 h 1332642"/>
                <a:gd name="connsiteX503" fmla="*/ 466725 w 1004887"/>
                <a:gd name="connsiteY503" fmla="*/ 977932 h 1332642"/>
                <a:gd name="connsiteX504" fmla="*/ 469106 w 1004887"/>
                <a:gd name="connsiteY504" fmla="*/ 984028 h 1332642"/>
                <a:gd name="connsiteX505" fmla="*/ 467106 w 1004887"/>
                <a:gd name="connsiteY505" fmla="*/ 993934 h 1332642"/>
                <a:gd name="connsiteX506" fmla="*/ 486537 w 1004887"/>
                <a:gd name="connsiteY506" fmla="*/ 1007555 h 1332642"/>
                <a:gd name="connsiteX507" fmla="*/ 485966 w 1004887"/>
                <a:gd name="connsiteY507" fmla="*/ 1015651 h 1332642"/>
                <a:gd name="connsiteX508" fmla="*/ 483394 w 1004887"/>
                <a:gd name="connsiteY508" fmla="*/ 1020699 h 1332642"/>
                <a:gd name="connsiteX509" fmla="*/ 483775 w 1004887"/>
                <a:gd name="connsiteY509" fmla="*/ 1023937 h 1332642"/>
                <a:gd name="connsiteX510" fmla="*/ 492824 w 1004887"/>
                <a:gd name="connsiteY510" fmla="*/ 1032320 h 1332642"/>
                <a:gd name="connsiteX511" fmla="*/ 497586 w 1004887"/>
                <a:gd name="connsiteY511" fmla="*/ 1031748 h 1332642"/>
                <a:gd name="connsiteX512" fmla="*/ 503301 w 1004887"/>
                <a:gd name="connsiteY512" fmla="*/ 1039082 h 1332642"/>
                <a:gd name="connsiteX513" fmla="*/ 505111 w 1004887"/>
                <a:gd name="connsiteY513" fmla="*/ 1040416 h 1332642"/>
                <a:gd name="connsiteX514" fmla="*/ 509302 w 1004887"/>
                <a:gd name="connsiteY514" fmla="*/ 1047940 h 1332642"/>
                <a:gd name="connsiteX515" fmla="*/ 520351 w 1004887"/>
                <a:gd name="connsiteY515" fmla="*/ 1059371 h 1332642"/>
                <a:gd name="connsiteX516" fmla="*/ 526828 w 1004887"/>
                <a:gd name="connsiteY516" fmla="*/ 1060133 h 1332642"/>
                <a:gd name="connsiteX517" fmla="*/ 528828 w 1004887"/>
                <a:gd name="connsiteY517" fmla="*/ 1063085 h 1332642"/>
                <a:gd name="connsiteX518" fmla="*/ 530066 w 1004887"/>
                <a:gd name="connsiteY518" fmla="*/ 1072515 h 1332642"/>
                <a:gd name="connsiteX519" fmla="*/ 524732 w 1004887"/>
                <a:gd name="connsiteY519" fmla="*/ 1094041 h 1332642"/>
                <a:gd name="connsiteX520" fmla="*/ 534257 w 1004887"/>
                <a:gd name="connsiteY520" fmla="*/ 1105662 h 1332642"/>
                <a:gd name="connsiteX521" fmla="*/ 550450 w 1004887"/>
                <a:gd name="connsiteY521" fmla="*/ 1119664 h 1332642"/>
                <a:gd name="connsiteX522" fmla="*/ 571024 w 1004887"/>
                <a:gd name="connsiteY522" fmla="*/ 1129856 h 1332642"/>
                <a:gd name="connsiteX523" fmla="*/ 587978 w 1004887"/>
                <a:gd name="connsiteY523" fmla="*/ 1124522 h 1332642"/>
                <a:gd name="connsiteX524" fmla="*/ 603790 w 1004887"/>
                <a:gd name="connsiteY524" fmla="*/ 1122426 h 1332642"/>
                <a:gd name="connsiteX525" fmla="*/ 608933 w 1004887"/>
                <a:gd name="connsiteY525" fmla="*/ 1124998 h 1332642"/>
                <a:gd name="connsiteX526" fmla="*/ 623792 w 1004887"/>
                <a:gd name="connsiteY526" fmla="*/ 1140809 h 1332642"/>
                <a:gd name="connsiteX527" fmla="*/ 628841 w 1004887"/>
                <a:gd name="connsiteY527" fmla="*/ 1143286 h 1332642"/>
                <a:gd name="connsiteX528" fmla="*/ 634270 w 1004887"/>
                <a:gd name="connsiteY528" fmla="*/ 1147477 h 1332642"/>
                <a:gd name="connsiteX529" fmla="*/ 634841 w 1004887"/>
                <a:gd name="connsiteY529" fmla="*/ 1152239 h 1332642"/>
                <a:gd name="connsiteX530" fmla="*/ 641509 w 1004887"/>
                <a:gd name="connsiteY530" fmla="*/ 1154525 h 1332642"/>
                <a:gd name="connsiteX531" fmla="*/ 647319 w 1004887"/>
                <a:gd name="connsiteY531" fmla="*/ 1161860 h 1332642"/>
                <a:gd name="connsiteX532" fmla="*/ 649891 w 1004887"/>
                <a:gd name="connsiteY532" fmla="*/ 1169480 h 1332642"/>
                <a:gd name="connsiteX533" fmla="*/ 655225 w 1004887"/>
                <a:gd name="connsiteY533" fmla="*/ 1173671 h 1332642"/>
                <a:gd name="connsiteX534" fmla="*/ 661130 w 1004887"/>
                <a:gd name="connsiteY534" fmla="*/ 1182529 h 1332642"/>
                <a:gd name="connsiteX535" fmla="*/ 662940 w 1004887"/>
                <a:gd name="connsiteY535" fmla="*/ 1183862 h 1332642"/>
                <a:gd name="connsiteX536" fmla="*/ 666464 w 1004887"/>
                <a:gd name="connsiteY536" fmla="*/ 1186625 h 1332642"/>
                <a:gd name="connsiteX537" fmla="*/ 671227 w 1004887"/>
                <a:gd name="connsiteY537" fmla="*/ 1198912 h 1332642"/>
                <a:gd name="connsiteX538" fmla="*/ 675989 w 1004887"/>
                <a:gd name="connsiteY538" fmla="*/ 1198245 h 1332642"/>
                <a:gd name="connsiteX539" fmla="*/ 676561 w 1004887"/>
                <a:gd name="connsiteY539" fmla="*/ 1203008 h 1332642"/>
                <a:gd name="connsiteX540" fmla="*/ 681323 w 1004887"/>
                <a:gd name="connsiteY540" fmla="*/ 1202436 h 1332642"/>
                <a:gd name="connsiteX541" fmla="*/ 684848 w 1004887"/>
                <a:gd name="connsiteY541" fmla="*/ 1205198 h 1332642"/>
                <a:gd name="connsiteX542" fmla="*/ 684086 w 1004887"/>
                <a:gd name="connsiteY542" fmla="*/ 1211675 h 1332642"/>
                <a:gd name="connsiteX543" fmla="*/ 681323 w 1004887"/>
                <a:gd name="connsiteY543" fmla="*/ 1215200 h 1332642"/>
                <a:gd name="connsiteX544" fmla="*/ 681323 w 1004887"/>
                <a:gd name="connsiteY544" fmla="*/ 1215200 h 1332642"/>
                <a:gd name="connsiteX545" fmla="*/ 685324 w 1004887"/>
                <a:gd name="connsiteY545" fmla="*/ 1221105 h 1332642"/>
                <a:gd name="connsiteX546" fmla="*/ 690467 w 1004887"/>
                <a:gd name="connsiteY546" fmla="*/ 1236536 h 1332642"/>
                <a:gd name="connsiteX547" fmla="*/ 687705 w 1004887"/>
                <a:gd name="connsiteY547" fmla="*/ 1240060 h 1332642"/>
                <a:gd name="connsiteX548" fmla="*/ 685610 w 1004887"/>
                <a:gd name="connsiteY548" fmla="*/ 1248347 h 1332642"/>
                <a:gd name="connsiteX549" fmla="*/ 691706 w 1004887"/>
                <a:gd name="connsiteY549" fmla="*/ 1258824 h 1332642"/>
                <a:gd name="connsiteX550" fmla="*/ 691896 w 1004887"/>
                <a:gd name="connsiteY550" fmla="*/ 1260348 h 1332642"/>
                <a:gd name="connsiteX551" fmla="*/ 688181 w 1004887"/>
                <a:gd name="connsiteY551" fmla="*/ 1268921 h 1332642"/>
                <a:gd name="connsiteX552" fmla="*/ 686276 w 1004887"/>
                <a:gd name="connsiteY552" fmla="*/ 1278731 h 1332642"/>
                <a:gd name="connsiteX553" fmla="*/ 703802 w 1004887"/>
                <a:gd name="connsiteY553" fmla="*/ 1290923 h 1332642"/>
                <a:gd name="connsiteX554" fmla="*/ 704469 w 1004887"/>
                <a:gd name="connsiteY554" fmla="*/ 1295686 h 1332642"/>
                <a:gd name="connsiteX555" fmla="*/ 709327 w 1004887"/>
                <a:gd name="connsiteY555" fmla="*/ 1296638 h 1332642"/>
                <a:gd name="connsiteX556" fmla="*/ 716661 w 1004887"/>
                <a:gd name="connsiteY556" fmla="*/ 1303687 h 1332642"/>
                <a:gd name="connsiteX557" fmla="*/ 728567 w 1004887"/>
                <a:gd name="connsiteY557" fmla="*/ 1308640 h 1332642"/>
                <a:gd name="connsiteX558" fmla="*/ 734282 w 1004887"/>
                <a:gd name="connsiteY558" fmla="*/ 1315974 h 1332642"/>
                <a:gd name="connsiteX559" fmla="*/ 744569 w 1004887"/>
                <a:gd name="connsiteY559" fmla="*/ 1321022 h 1332642"/>
                <a:gd name="connsiteX560" fmla="*/ 745141 w 1004887"/>
                <a:gd name="connsiteY560" fmla="*/ 1325785 h 1332642"/>
                <a:gd name="connsiteX561" fmla="*/ 753999 w 1004887"/>
                <a:gd name="connsiteY561" fmla="*/ 1332643 h 1332642"/>
                <a:gd name="connsiteX562" fmla="*/ 761905 w 1004887"/>
                <a:gd name="connsiteY562" fmla="*/ 1331690 h 1332642"/>
                <a:gd name="connsiteX563" fmla="*/ 760857 w 1004887"/>
                <a:gd name="connsiteY563" fmla="*/ 1310926 h 1332642"/>
                <a:gd name="connsiteX564" fmla="*/ 762857 w 1004887"/>
                <a:gd name="connsiteY564" fmla="*/ 1301020 h 1332642"/>
                <a:gd name="connsiteX565" fmla="*/ 767810 w 1004887"/>
                <a:gd name="connsiteY565" fmla="*/ 1302068 h 1332642"/>
                <a:gd name="connsiteX566" fmla="*/ 775049 w 1004887"/>
                <a:gd name="connsiteY566" fmla="*/ 1296257 h 1332642"/>
                <a:gd name="connsiteX567" fmla="*/ 779812 w 1004887"/>
                <a:gd name="connsiteY567" fmla="*/ 1295686 h 1332642"/>
                <a:gd name="connsiteX568" fmla="*/ 788861 w 1004887"/>
                <a:gd name="connsiteY568" fmla="*/ 1304163 h 1332642"/>
                <a:gd name="connsiteX569" fmla="*/ 793623 w 1004887"/>
                <a:gd name="connsiteY569" fmla="*/ 1303591 h 1332642"/>
                <a:gd name="connsiteX570" fmla="*/ 792671 w 1004887"/>
                <a:gd name="connsiteY570" fmla="*/ 1295686 h 1332642"/>
                <a:gd name="connsiteX571" fmla="*/ 793623 w 1004887"/>
                <a:gd name="connsiteY571" fmla="*/ 1290733 h 1332642"/>
                <a:gd name="connsiteX572" fmla="*/ 786860 w 1004887"/>
                <a:gd name="connsiteY572" fmla="*/ 1288352 h 1332642"/>
                <a:gd name="connsiteX573" fmla="*/ 782955 w 1004887"/>
                <a:gd name="connsiteY573" fmla="*/ 1282446 h 1332642"/>
                <a:gd name="connsiteX574" fmla="*/ 785051 w 1004887"/>
                <a:gd name="connsiteY574" fmla="*/ 1274159 h 1332642"/>
                <a:gd name="connsiteX575" fmla="*/ 784479 w 1004887"/>
                <a:gd name="connsiteY575" fmla="*/ 1269397 h 1332642"/>
                <a:gd name="connsiteX576" fmla="*/ 789813 w 1004887"/>
                <a:gd name="connsiteY576" fmla="*/ 1260729 h 1332642"/>
                <a:gd name="connsiteX577" fmla="*/ 789146 w 1004887"/>
                <a:gd name="connsiteY577" fmla="*/ 1255966 h 1332642"/>
                <a:gd name="connsiteX578" fmla="*/ 790004 w 1004887"/>
                <a:gd name="connsiteY578" fmla="*/ 1249490 h 1332642"/>
                <a:gd name="connsiteX579" fmla="*/ 788003 w 1004887"/>
                <a:gd name="connsiteY579" fmla="*/ 1246537 h 1332642"/>
                <a:gd name="connsiteX580" fmla="*/ 796195 w 1004887"/>
                <a:gd name="connsiteY580" fmla="*/ 1235869 h 1332642"/>
                <a:gd name="connsiteX581" fmla="*/ 798005 w 1004887"/>
                <a:gd name="connsiteY581" fmla="*/ 1224439 h 1332642"/>
                <a:gd name="connsiteX582" fmla="*/ 807625 w 1004887"/>
                <a:gd name="connsiteY582" fmla="*/ 1211961 h 1332642"/>
                <a:gd name="connsiteX583" fmla="*/ 807244 w 1004887"/>
                <a:gd name="connsiteY583" fmla="*/ 1208818 h 1332642"/>
                <a:gd name="connsiteX584" fmla="*/ 808768 w 1004887"/>
                <a:gd name="connsiteY584" fmla="*/ 1208627 h 1332642"/>
                <a:gd name="connsiteX585" fmla="*/ 810768 w 1004887"/>
                <a:gd name="connsiteY585" fmla="*/ 1211580 h 1332642"/>
                <a:gd name="connsiteX586" fmla="*/ 814102 w 1004887"/>
                <a:gd name="connsiteY586" fmla="*/ 1212723 h 1332642"/>
                <a:gd name="connsiteX587" fmla="*/ 817912 w 1004887"/>
                <a:gd name="connsiteY587" fmla="*/ 1217105 h 1332642"/>
                <a:gd name="connsiteX588" fmla="*/ 830675 w 1004887"/>
                <a:gd name="connsiteY588" fmla="*/ 1204246 h 1332642"/>
                <a:gd name="connsiteX589" fmla="*/ 832866 w 1004887"/>
                <a:gd name="connsiteY589" fmla="*/ 1195959 h 1332642"/>
                <a:gd name="connsiteX590" fmla="*/ 834009 w 1004887"/>
                <a:gd name="connsiteY590" fmla="*/ 1192530 h 1332642"/>
                <a:gd name="connsiteX591" fmla="*/ 833247 w 1004887"/>
                <a:gd name="connsiteY591" fmla="*/ 1186244 h 1332642"/>
                <a:gd name="connsiteX592" fmla="*/ 825341 w 1004887"/>
                <a:gd name="connsiteY592" fmla="*/ 1174433 h 1332642"/>
                <a:gd name="connsiteX593" fmla="*/ 827437 w 1004887"/>
                <a:gd name="connsiteY593" fmla="*/ 1166146 h 1332642"/>
                <a:gd name="connsiteX594" fmla="*/ 825437 w 1004887"/>
                <a:gd name="connsiteY594" fmla="*/ 1163193 h 1332642"/>
                <a:gd name="connsiteX595" fmla="*/ 818388 w 1004887"/>
                <a:gd name="connsiteY595" fmla="*/ 1157669 h 1332642"/>
                <a:gd name="connsiteX596" fmla="*/ 815531 w 1004887"/>
                <a:gd name="connsiteY596" fmla="*/ 1148429 h 1332642"/>
                <a:gd name="connsiteX597" fmla="*/ 815340 w 1004887"/>
                <a:gd name="connsiteY597" fmla="*/ 1146810 h 1332642"/>
                <a:gd name="connsiteX598" fmla="*/ 826199 w 1004887"/>
                <a:gd name="connsiteY598" fmla="*/ 1143857 h 1332642"/>
                <a:gd name="connsiteX599" fmla="*/ 827342 w 1004887"/>
                <a:gd name="connsiteY599" fmla="*/ 1140524 h 1332642"/>
                <a:gd name="connsiteX600" fmla="*/ 825818 w 1004887"/>
                <a:gd name="connsiteY600" fmla="*/ 1127855 h 1332642"/>
                <a:gd name="connsiteX601" fmla="*/ 822389 w 1004887"/>
                <a:gd name="connsiteY601" fmla="*/ 1126712 h 1332642"/>
                <a:gd name="connsiteX602" fmla="*/ 823436 w 1004887"/>
                <a:gd name="connsiteY602" fmla="*/ 1121759 h 1332642"/>
                <a:gd name="connsiteX603" fmla="*/ 824579 w 1004887"/>
                <a:gd name="connsiteY603" fmla="*/ 1118426 h 1332642"/>
                <a:gd name="connsiteX604" fmla="*/ 824389 w 1004887"/>
                <a:gd name="connsiteY604" fmla="*/ 1116806 h 1332642"/>
                <a:gd name="connsiteX605" fmla="*/ 826675 w 1004887"/>
                <a:gd name="connsiteY605" fmla="*/ 1110139 h 1332642"/>
                <a:gd name="connsiteX606" fmla="*/ 829723 w 1004887"/>
                <a:gd name="connsiteY606" fmla="*/ 1108139 h 1332642"/>
                <a:gd name="connsiteX607" fmla="*/ 831056 w 1004887"/>
                <a:gd name="connsiteY607" fmla="*/ 1106329 h 1332642"/>
                <a:gd name="connsiteX608" fmla="*/ 829056 w 1004887"/>
                <a:gd name="connsiteY608" fmla="*/ 1103376 h 1332642"/>
                <a:gd name="connsiteX609" fmla="*/ 822389 w 1004887"/>
                <a:gd name="connsiteY609" fmla="*/ 1100995 h 1332642"/>
                <a:gd name="connsiteX610" fmla="*/ 822198 w 1004887"/>
                <a:gd name="connsiteY610" fmla="*/ 1099471 h 1332642"/>
                <a:gd name="connsiteX611" fmla="*/ 823532 w 1004887"/>
                <a:gd name="connsiteY611" fmla="*/ 1097661 h 1332642"/>
                <a:gd name="connsiteX612" fmla="*/ 836581 w 1004887"/>
                <a:gd name="connsiteY612" fmla="*/ 1099185 h 1332642"/>
                <a:gd name="connsiteX613" fmla="*/ 836771 w 1004887"/>
                <a:gd name="connsiteY613" fmla="*/ 1100804 h 1332642"/>
                <a:gd name="connsiteX614" fmla="*/ 833819 w 1004887"/>
                <a:gd name="connsiteY614" fmla="*/ 1102805 h 1332642"/>
                <a:gd name="connsiteX615" fmla="*/ 842296 w 1004887"/>
                <a:gd name="connsiteY615" fmla="*/ 1106519 h 1332642"/>
                <a:gd name="connsiteX616" fmla="*/ 847058 w 1004887"/>
                <a:gd name="connsiteY616" fmla="*/ 1105948 h 1332642"/>
                <a:gd name="connsiteX617" fmla="*/ 849059 w 1004887"/>
                <a:gd name="connsiteY617" fmla="*/ 1108901 h 1332642"/>
                <a:gd name="connsiteX618" fmla="*/ 850964 w 1004887"/>
                <a:gd name="connsiteY618" fmla="*/ 1111853 h 1332642"/>
                <a:gd name="connsiteX619" fmla="*/ 861060 w 1004887"/>
                <a:gd name="connsiteY619" fmla="*/ 1102519 h 1332642"/>
                <a:gd name="connsiteX620" fmla="*/ 862013 w 1004887"/>
                <a:gd name="connsiteY620" fmla="*/ 1097566 h 1332642"/>
                <a:gd name="connsiteX621" fmla="*/ 866966 w 1004887"/>
                <a:gd name="connsiteY621" fmla="*/ 1098518 h 1332642"/>
                <a:gd name="connsiteX622" fmla="*/ 869918 w 1004887"/>
                <a:gd name="connsiteY622" fmla="*/ 1096613 h 1332642"/>
                <a:gd name="connsiteX623" fmla="*/ 869537 w 1004887"/>
                <a:gd name="connsiteY623" fmla="*/ 1093470 h 1332642"/>
                <a:gd name="connsiteX624" fmla="*/ 872490 w 1004887"/>
                <a:gd name="connsiteY624" fmla="*/ 1091470 h 1332642"/>
                <a:gd name="connsiteX625" fmla="*/ 871823 w 1004887"/>
                <a:gd name="connsiteY625" fmla="*/ 1086707 h 1332642"/>
                <a:gd name="connsiteX626" fmla="*/ 879920 w 1004887"/>
                <a:gd name="connsiteY626" fmla="*/ 1087279 h 1332642"/>
                <a:gd name="connsiteX627" fmla="*/ 884301 w 1004887"/>
                <a:gd name="connsiteY627" fmla="*/ 1083564 h 1332642"/>
                <a:gd name="connsiteX628" fmla="*/ 886016 w 1004887"/>
                <a:gd name="connsiteY628" fmla="*/ 1084898 h 1332642"/>
                <a:gd name="connsiteX629" fmla="*/ 888778 w 1004887"/>
                <a:gd name="connsiteY629" fmla="*/ 1081373 h 1332642"/>
                <a:gd name="connsiteX630" fmla="*/ 892397 w 1004887"/>
                <a:gd name="connsiteY630" fmla="*/ 1084136 h 1332642"/>
                <a:gd name="connsiteX631" fmla="*/ 893921 w 1004887"/>
                <a:gd name="connsiteY631" fmla="*/ 1083850 h 1332642"/>
                <a:gd name="connsiteX632" fmla="*/ 894588 w 1004887"/>
                <a:gd name="connsiteY632" fmla="*/ 1088612 h 1332642"/>
                <a:gd name="connsiteX633" fmla="*/ 895731 w 1004887"/>
                <a:gd name="connsiteY633" fmla="*/ 1085279 h 1332642"/>
                <a:gd name="connsiteX634" fmla="*/ 898493 w 1004887"/>
                <a:gd name="connsiteY634" fmla="*/ 1081754 h 1332642"/>
                <a:gd name="connsiteX635" fmla="*/ 898303 w 1004887"/>
                <a:gd name="connsiteY635" fmla="*/ 1080135 h 1332642"/>
                <a:gd name="connsiteX636" fmla="*/ 895350 w 1004887"/>
                <a:gd name="connsiteY636" fmla="*/ 1082135 h 1332642"/>
                <a:gd name="connsiteX637" fmla="*/ 895160 w 1004887"/>
                <a:gd name="connsiteY637" fmla="*/ 1080516 h 1332642"/>
                <a:gd name="connsiteX638" fmla="*/ 893731 w 1004887"/>
                <a:gd name="connsiteY638" fmla="*/ 1082326 h 1332642"/>
                <a:gd name="connsiteX639" fmla="*/ 891731 w 1004887"/>
                <a:gd name="connsiteY639" fmla="*/ 1079373 h 1332642"/>
                <a:gd name="connsiteX640" fmla="*/ 896302 w 1004887"/>
                <a:gd name="connsiteY640" fmla="*/ 1077182 h 1332642"/>
                <a:gd name="connsiteX641" fmla="*/ 896112 w 1004887"/>
                <a:gd name="connsiteY641" fmla="*/ 1075563 h 1332642"/>
                <a:gd name="connsiteX642" fmla="*/ 895445 w 1004887"/>
                <a:gd name="connsiteY642" fmla="*/ 1058037 h 1332642"/>
                <a:gd name="connsiteX643" fmla="*/ 902303 w 1004887"/>
                <a:gd name="connsiteY643" fmla="*/ 1049179 h 1332642"/>
                <a:gd name="connsiteX644" fmla="*/ 905542 w 1004887"/>
                <a:gd name="connsiteY644" fmla="*/ 1048703 h 1332642"/>
                <a:gd name="connsiteX645" fmla="*/ 910685 w 1004887"/>
                <a:gd name="connsiteY645" fmla="*/ 1051274 h 1332642"/>
                <a:gd name="connsiteX646" fmla="*/ 914972 w 1004887"/>
                <a:gd name="connsiteY646" fmla="*/ 1047560 h 1332642"/>
                <a:gd name="connsiteX647" fmla="*/ 912400 w 1004887"/>
                <a:gd name="connsiteY647" fmla="*/ 1039844 h 1332642"/>
                <a:gd name="connsiteX648" fmla="*/ 911352 w 1004887"/>
                <a:gd name="connsiteY648" fmla="*/ 1031939 h 1332642"/>
                <a:gd name="connsiteX649" fmla="*/ 908018 w 1004887"/>
                <a:gd name="connsiteY649" fmla="*/ 1030795 h 1332642"/>
                <a:gd name="connsiteX650" fmla="*/ 909161 w 1004887"/>
                <a:gd name="connsiteY650" fmla="*/ 1027462 h 1332642"/>
                <a:gd name="connsiteX651" fmla="*/ 907637 w 1004887"/>
                <a:gd name="connsiteY651" fmla="*/ 1027652 h 1332642"/>
                <a:gd name="connsiteX652" fmla="*/ 899351 w 1004887"/>
                <a:gd name="connsiteY652" fmla="*/ 1025461 h 1332642"/>
                <a:gd name="connsiteX653" fmla="*/ 899732 w 1004887"/>
                <a:gd name="connsiteY653" fmla="*/ 1015841 h 1332642"/>
                <a:gd name="connsiteX654" fmla="*/ 896969 w 1004887"/>
                <a:gd name="connsiteY654" fmla="*/ 1019365 h 1332642"/>
                <a:gd name="connsiteX655" fmla="*/ 896112 w 1004887"/>
                <a:gd name="connsiteY655" fmla="*/ 1013079 h 1332642"/>
                <a:gd name="connsiteX656" fmla="*/ 897731 w 1004887"/>
                <a:gd name="connsiteY656" fmla="*/ 1012889 h 1332642"/>
                <a:gd name="connsiteX657" fmla="*/ 894588 w 1004887"/>
                <a:gd name="connsiteY657" fmla="*/ 1013270 h 1332642"/>
                <a:gd name="connsiteX658" fmla="*/ 893921 w 1004887"/>
                <a:gd name="connsiteY658" fmla="*/ 1008507 h 1332642"/>
                <a:gd name="connsiteX659" fmla="*/ 895350 w 1004887"/>
                <a:gd name="connsiteY659" fmla="*/ 1006697 h 1332642"/>
                <a:gd name="connsiteX660" fmla="*/ 898684 w 1004887"/>
                <a:gd name="connsiteY660" fmla="*/ 1007936 h 1332642"/>
                <a:gd name="connsiteX661" fmla="*/ 898303 w 1004887"/>
                <a:gd name="connsiteY661" fmla="*/ 1004792 h 1332642"/>
                <a:gd name="connsiteX662" fmla="*/ 896493 w 1004887"/>
                <a:gd name="connsiteY662" fmla="*/ 1003364 h 1332642"/>
                <a:gd name="connsiteX663" fmla="*/ 902208 w 1004887"/>
                <a:gd name="connsiteY663" fmla="*/ 997839 h 1332642"/>
                <a:gd name="connsiteX664" fmla="*/ 908971 w 1004887"/>
                <a:gd name="connsiteY664" fmla="*/ 1000220 h 1332642"/>
                <a:gd name="connsiteX665" fmla="*/ 908114 w 1004887"/>
                <a:gd name="connsiteY665" fmla="*/ 993839 h 1332642"/>
                <a:gd name="connsiteX666" fmla="*/ 906399 w 1004887"/>
                <a:gd name="connsiteY666" fmla="*/ 992505 h 1332642"/>
                <a:gd name="connsiteX667" fmla="*/ 907352 w 1004887"/>
                <a:gd name="connsiteY667" fmla="*/ 987552 h 1332642"/>
                <a:gd name="connsiteX668" fmla="*/ 912495 w 1004887"/>
                <a:gd name="connsiteY668" fmla="*/ 990124 h 1332642"/>
                <a:gd name="connsiteX669" fmla="*/ 912686 w 1004887"/>
                <a:gd name="connsiteY669" fmla="*/ 991743 h 1332642"/>
                <a:gd name="connsiteX670" fmla="*/ 919163 w 1004887"/>
                <a:gd name="connsiteY670" fmla="*/ 992505 h 1332642"/>
                <a:gd name="connsiteX671" fmla="*/ 920782 w 1004887"/>
                <a:gd name="connsiteY671" fmla="*/ 992315 h 1332642"/>
                <a:gd name="connsiteX672" fmla="*/ 916781 w 1004887"/>
                <a:gd name="connsiteY672" fmla="*/ 986314 h 1332642"/>
                <a:gd name="connsiteX673" fmla="*/ 916591 w 1004887"/>
                <a:gd name="connsiteY673" fmla="*/ 984790 h 1332642"/>
                <a:gd name="connsiteX674" fmla="*/ 923639 w 1004887"/>
                <a:gd name="connsiteY674" fmla="*/ 977456 h 1332642"/>
                <a:gd name="connsiteX675" fmla="*/ 926878 w 1004887"/>
                <a:gd name="connsiteY675" fmla="*/ 977074 h 1332642"/>
                <a:gd name="connsiteX676" fmla="*/ 924877 w 1004887"/>
                <a:gd name="connsiteY676" fmla="*/ 974122 h 1332642"/>
                <a:gd name="connsiteX677" fmla="*/ 921925 w 1004887"/>
                <a:gd name="connsiteY677" fmla="*/ 976122 h 1332642"/>
                <a:gd name="connsiteX678" fmla="*/ 912209 w 1004887"/>
                <a:gd name="connsiteY678" fmla="*/ 975741 h 1332642"/>
                <a:gd name="connsiteX679" fmla="*/ 910495 w 1004887"/>
                <a:gd name="connsiteY679" fmla="*/ 974312 h 1332642"/>
                <a:gd name="connsiteX680" fmla="*/ 907256 w 1004887"/>
                <a:gd name="connsiteY680" fmla="*/ 974789 h 1332642"/>
                <a:gd name="connsiteX681" fmla="*/ 904304 w 1004887"/>
                <a:gd name="connsiteY681" fmla="*/ 963930 h 1332642"/>
                <a:gd name="connsiteX682" fmla="*/ 904685 w 1004887"/>
                <a:gd name="connsiteY682" fmla="*/ 954215 h 1332642"/>
                <a:gd name="connsiteX683" fmla="*/ 901160 w 1004887"/>
                <a:gd name="connsiteY683" fmla="*/ 951452 h 1332642"/>
                <a:gd name="connsiteX684" fmla="*/ 902494 w 1004887"/>
                <a:gd name="connsiteY684" fmla="*/ 949738 h 1332642"/>
                <a:gd name="connsiteX685" fmla="*/ 909066 w 1004887"/>
                <a:gd name="connsiteY685" fmla="*/ 950500 h 1332642"/>
                <a:gd name="connsiteX686" fmla="*/ 913543 w 1004887"/>
                <a:gd name="connsiteY686" fmla="*/ 948309 h 1332642"/>
                <a:gd name="connsiteX687" fmla="*/ 917353 w 1004887"/>
                <a:gd name="connsiteY687" fmla="*/ 952595 h 1332642"/>
                <a:gd name="connsiteX688" fmla="*/ 920496 w 1004887"/>
                <a:gd name="connsiteY688" fmla="*/ 952214 h 1332642"/>
                <a:gd name="connsiteX689" fmla="*/ 923639 w 1004887"/>
                <a:gd name="connsiteY689" fmla="*/ 951833 h 1332642"/>
                <a:gd name="connsiteX690" fmla="*/ 924401 w 1004887"/>
                <a:gd name="connsiteY690" fmla="*/ 945261 h 1332642"/>
                <a:gd name="connsiteX691" fmla="*/ 927354 w 1004887"/>
                <a:gd name="connsiteY691" fmla="*/ 943356 h 1332642"/>
                <a:gd name="connsiteX692" fmla="*/ 928116 w 1004887"/>
                <a:gd name="connsiteY692" fmla="*/ 936784 h 1332642"/>
                <a:gd name="connsiteX693" fmla="*/ 924782 w 1004887"/>
                <a:gd name="connsiteY693" fmla="*/ 935641 h 1332642"/>
                <a:gd name="connsiteX694" fmla="*/ 921639 w 1004887"/>
                <a:gd name="connsiteY694" fmla="*/ 936022 h 1332642"/>
                <a:gd name="connsiteX695" fmla="*/ 917448 w 1004887"/>
                <a:gd name="connsiteY695" fmla="*/ 928497 h 1332642"/>
                <a:gd name="connsiteX696" fmla="*/ 919067 w 1004887"/>
                <a:gd name="connsiteY696" fmla="*/ 928307 h 1332642"/>
                <a:gd name="connsiteX697" fmla="*/ 922020 w 1004887"/>
                <a:gd name="connsiteY697" fmla="*/ 926402 h 1332642"/>
                <a:gd name="connsiteX698" fmla="*/ 918972 w 1004887"/>
                <a:gd name="connsiteY698" fmla="*/ 915543 h 1332642"/>
                <a:gd name="connsiteX699" fmla="*/ 927449 w 1004887"/>
                <a:gd name="connsiteY699" fmla="*/ 919258 h 1332642"/>
                <a:gd name="connsiteX700" fmla="*/ 929450 w 1004887"/>
                <a:gd name="connsiteY700" fmla="*/ 909352 h 1332642"/>
                <a:gd name="connsiteX701" fmla="*/ 934022 w 1004887"/>
                <a:gd name="connsiteY701" fmla="*/ 907161 h 1332642"/>
                <a:gd name="connsiteX702" fmla="*/ 937165 w 1004887"/>
                <a:gd name="connsiteY702" fmla="*/ 906780 h 1332642"/>
                <a:gd name="connsiteX703" fmla="*/ 938117 w 1004887"/>
                <a:gd name="connsiteY703" fmla="*/ 901827 h 1332642"/>
                <a:gd name="connsiteX704" fmla="*/ 942594 w 1004887"/>
                <a:gd name="connsiteY704" fmla="*/ 899636 h 1332642"/>
                <a:gd name="connsiteX705" fmla="*/ 950976 w 1004887"/>
                <a:gd name="connsiteY705" fmla="*/ 901827 h 1332642"/>
                <a:gd name="connsiteX706" fmla="*/ 952310 w 1004887"/>
                <a:gd name="connsiteY706" fmla="*/ 900017 h 1332642"/>
                <a:gd name="connsiteX707" fmla="*/ 953452 w 1004887"/>
                <a:gd name="connsiteY707" fmla="*/ 896683 h 1332642"/>
                <a:gd name="connsiteX708" fmla="*/ 950881 w 1004887"/>
                <a:gd name="connsiteY708" fmla="*/ 888968 h 1332642"/>
                <a:gd name="connsiteX709" fmla="*/ 954024 w 1004887"/>
                <a:gd name="connsiteY709" fmla="*/ 888587 h 1332642"/>
                <a:gd name="connsiteX710" fmla="*/ 952119 w 1004887"/>
                <a:gd name="connsiteY710" fmla="*/ 885635 h 1332642"/>
                <a:gd name="connsiteX711" fmla="*/ 954405 w 1004887"/>
                <a:gd name="connsiteY711" fmla="*/ 878967 h 1332642"/>
                <a:gd name="connsiteX712" fmla="*/ 958120 w 1004887"/>
                <a:gd name="connsiteY712" fmla="*/ 870395 h 1332642"/>
                <a:gd name="connsiteX713" fmla="*/ 966026 w 1004887"/>
                <a:gd name="connsiteY713" fmla="*/ 869442 h 1332642"/>
                <a:gd name="connsiteX714" fmla="*/ 964311 w 1004887"/>
                <a:gd name="connsiteY714" fmla="*/ 868013 h 1332642"/>
                <a:gd name="connsiteX715" fmla="*/ 963263 w 1004887"/>
                <a:gd name="connsiteY715" fmla="*/ 860203 h 1332642"/>
                <a:gd name="connsiteX716" fmla="*/ 960692 w 1004887"/>
                <a:gd name="connsiteY716" fmla="*/ 865251 h 1332642"/>
                <a:gd name="connsiteX717" fmla="*/ 958977 w 1004887"/>
                <a:gd name="connsiteY717" fmla="*/ 863918 h 1332642"/>
                <a:gd name="connsiteX718" fmla="*/ 963073 w 1004887"/>
                <a:gd name="connsiteY718" fmla="*/ 858583 h 1332642"/>
                <a:gd name="connsiteX719" fmla="*/ 964597 w 1004887"/>
                <a:gd name="connsiteY719" fmla="*/ 858393 h 1332642"/>
                <a:gd name="connsiteX720" fmla="*/ 964216 w 1004887"/>
                <a:gd name="connsiteY720" fmla="*/ 855250 h 1332642"/>
                <a:gd name="connsiteX721" fmla="*/ 967550 w 1004887"/>
                <a:gd name="connsiteY721" fmla="*/ 856393 h 1332642"/>
                <a:gd name="connsiteX722" fmla="*/ 965645 w 1004887"/>
                <a:gd name="connsiteY722" fmla="*/ 853440 h 1332642"/>
                <a:gd name="connsiteX723" fmla="*/ 966407 w 1004887"/>
                <a:gd name="connsiteY723" fmla="*/ 846963 h 1332642"/>
                <a:gd name="connsiteX724" fmla="*/ 963073 w 1004887"/>
                <a:gd name="connsiteY724" fmla="*/ 845725 h 1332642"/>
                <a:gd name="connsiteX725" fmla="*/ 964216 w 1004887"/>
                <a:gd name="connsiteY725" fmla="*/ 842391 h 1332642"/>
                <a:gd name="connsiteX726" fmla="*/ 961263 w 1004887"/>
                <a:gd name="connsiteY726" fmla="*/ 844391 h 1332642"/>
                <a:gd name="connsiteX727" fmla="*/ 957453 w 1004887"/>
                <a:gd name="connsiteY727" fmla="*/ 840010 h 1332642"/>
                <a:gd name="connsiteX728" fmla="*/ 954310 w 1004887"/>
                <a:gd name="connsiteY728" fmla="*/ 840486 h 1332642"/>
                <a:gd name="connsiteX729" fmla="*/ 954119 w 1004887"/>
                <a:gd name="connsiteY729" fmla="*/ 838867 h 1332642"/>
                <a:gd name="connsiteX730" fmla="*/ 957263 w 1004887"/>
                <a:gd name="connsiteY730" fmla="*/ 838486 h 1332642"/>
                <a:gd name="connsiteX731" fmla="*/ 953929 w 1004887"/>
                <a:gd name="connsiteY731" fmla="*/ 837343 h 1332642"/>
                <a:gd name="connsiteX732" fmla="*/ 956882 w 1004887"/>
                <a:gd name="connsiteY732" fmla="*/ 835343 h 1332642"/>
                <a:gd name="connsiteX733" fmla="*/ 954881 w 1004887"/>
                <a:gd name="connsiteY733" fmla="*/ 832390 h 1332642"/>
                <a:gd name="connsiteX734" fmla="*/ 949357 w 1004887"/>
                <a:gd name="connsiteY734" fmla="*/ 826675 h 1332642"/>
                <a:gd name="connsiteX735" fmla="*/ 950309 w 1004887"/>
                <a:gd name="connsiteY735" fmla="*/ 821722 h 1332642"/>
                <a:gd name="connsiteX736" fmla="*/ 946404 w 1004887"/>
                <a:gd name="connsiteY736" fmla="*/ 815816 h 1332642"/>
                <a:gd name="connsiteX737" fmla="*/ 947738 w 1004887"/>
                <a:gd name="connsiteY737" fmla="*/ 814007 h 1332642"/>
                <a:gd name="connsiteX738" fmla="*/ 946214 w 1004887"/>
                <a:gd name="connsiteY738" fmla="*/ 814197 h 1332642"/>
                <a:gd name="connsiteX739" fmla="*/ 947547 w 1004887"/>
                <a:gd name="connsiteY739" fmla="*/ 812482 h 1332642"/>
                <a:gd name="connsiteX740" fmla="*/ 946023 w 1004887"/>
                <a:gd name="connsiteY740" fmla="*/ 812673 h 1332642"/>
                <a:gd name="connsiteX741" fmla="*/ 945547 w 1004887"/>
                <a:gd name="connsiteY741" fmla="*/ 809530 h 1332642"/>
                <a:gd name="connsiteX742" fmla="*/ 947166 w 1004887"/>
                <a:gd name="connsiteY742" fmla="*/ 809244 h 1332642"/>
                <a:gd name="connsiteX743" fmla="*/ 951071 w 1004887"/>
                <a:gd name="connsiteY743" fmla="*/ 802386 h 1332642"/>
                <a:gd name="connsiteX744" fmla="*/ 949357 w 1004887"/>
                <a:gd name="connsiteY744" fmla="*/ 800957 h 1332642"/>
                <a:gd name="connsiteX745" fmla="*/ 948500 w 1004887"/>
                <a:gd name="connsiteY745" fmla="*/ 794671 h 1332642"/>
                <a:gd name="connsiteX746" fmla="*/ 951071 w 1004887"/>
                <a:gd name="connsiteY746" fmla="*/ 789527 h 1332642"/>
                <a:gd name="connsiteX747" fmla="*/ 949262 w 1004887"/>
                <a:gd name="connsiteY747" fmla="*/ 788194 h 1332642"/>
                <a:gd name="connsiteX748" fmla="*/ 952405 w 1004887"/>
                <a:gd name="connsiteY748" fmla="*/ 787813 h 1332642"/>
                <a:gd name="connsiteX749" fmla="*/ 956405 w 1004887"/>
                <a:gd name="connsiteY749" fmla="*/ 780860 h 1332642"/>
                <a:gd name="connsiteX750" fmla="*/ 957929 w 1004887"/>
                <a:gd name="connsiteY750" fmla="*/ 780669 h 1332642"/>
                <a:gd name="connsiteX751" fmla="*/ 956120 w 1004887"/>
                <a:gd name="connsiteY751" fmla="*/ 779240 h 1332642"/>
                <a:gd name="connsiteX752" fmla="*/ 958691 w 1004887"/>
                <a:gd name="connsiteY752" fmla="*/ 774097 h 1332642"/>
                <a:gd name="connsiteX753" fmla="*/ 965264 w 1004887"/>
                <a:gd name="connsiteY753" fmla="*/ 774954 h 1332642"/>
                <a:gd name="connsiteX754" fmla="*/ 968407 w 1004887"/>
                <a:gd name="connsiteY754" fmla="*/ 774478 h 1332642"/>
                <a:gd name="connsiteX755" fmla="*/ 968216 w 1004887"/>
                <a:gd name="connsiteY755" fmla="*/ 772954 h 1332642"/>
                <a:gd name="connsiteX756" fmla="*/ 960120 w 1004887"/>
                <a:gd name="connsiteY756" fmla="*/ 772382 h 1332642"/>
                <a:gd name="connsiteX757" fmla="*/ 958120 w 1004887"/>
                <a:gd name="connsiteY757" fmla="*/ 769430 h 1332642"/>
                <a:gd name="connsiteX758" fmla="*/ 961263 w 1004887"/>
                <a:gd name="connsiteY758" fmla="*/ 769049 h 1332642"/>
                <a:gd name="connsiteX759" fmla="*/ 961073 w 1004887"/>
                <a:gd name="connsiteY759" fmla="*/ 767429 h 1332642"/>
                <a:gd name="connsiteX760" fmla="*/ 957929 w 1004887"/>
                <a:gd name="connsiteY760" fmla="*/ 767810 h 1332642"/>
                <a:gd name="connsiteX761" fmla="*/ 957548 w 1004887"/>
                <a:gd name="connsiteY761" fmla="*/ 764667 h 1332642"/>
                <a:gd name="connsiteX762" fmla="*/ 955739 w 1004887"/>
                <a:gd name="connsiteY762" fmla="*/ 763333 h 1332642"/>
                <a:gd name="connsiteX763" fmla="*/ 955358 w 1004887"/>
                <a:gd name="connsiteY763" fmla="*/ 760190 h 1332642"/>
                <a:gd name="connsiteX764" fmla="*/ 953738 w 1004887"/>
                <a:gd name="connsiteY764" fmla="*/ 760381 h 1332642"/>
                <a:gd name="connsiteX765" fmla="*/ 951548 w 1004887"/>
                <a:gd name="connsiteY765" fmla="*/ 755809 h 1332642"/>
                <a:gd name="connsiteX766" fmla="*/ 949833 w 1004887"/>
                <a:gd name="connsiteY766" fmla="*/ 754380 h 1332642"/>
                <a:gd name="connsiteX767" fmla="*/ 950976 w 1004887"/>
                <a:gd name="connsiteY767" fmla="*/ 751046 h 1332642"/>
                <a:gd name="connsiteX768" fmla="*/ 950595 w 1004887"/>
                <a:gd name="connsiteY768" fmla="*/ 747903 h 1332642"/>
                <a:gd name="connsiteX769" fmla="*/ 951929 w 1004887"/>
                <a:gd name="connsiteY769" fmla="*/ 746093 h 1332642"/>
                <a:gd name="connsiteX770" fmla="*/ 948595 w 1004887"/>
                <a:gd name="connsiteY770" fmla="*/ 744950 h 1332642"/>
                <a:gd name="connsiteX771" fmla="*/ 949547 w 1004887"/>
                <a:gd name="connsiteY771" fmla="*/ 739997 h 1332642"/>
                <a:gd name="connsiteX772" fmla="*/ 952500 w 1004887"/>
                <a:gd name="connsiteY772" fmla="*/ 738092 h 1332642"/>
                <a:gd name="connsiteX773" fmla="*/ 950119 w 1004887"/>
                <a:gd name="connsiteY773" fmla="*/ 731901 h 1332642"/>
                <a:gd name="connsiteX774" fmla="*/ 951357 w 1004887"/>
                <a:gd name="connsiteY774" fmla="*/ 728567 h 1332642"/>
                <a:gd name="connsiteX775" fmla="*/ 948119 w 1004887"/>
                <a:gd name="connsiteY775" fmla="*/ 728948 h 1332642"/>
                <a:gd name="connsiteX776" fmla="*/ 950881 w 1004887"/>
                <a:gd name="connsiteY776" fmla="*/ 725424 h 1332642"/>
                <a:gd name="connsiteX777" fmla="*/ 950500 w 1004887"/>
                <a:gd name="connsiteY777" fmla="*/ 722281 h 1332642"/>
                <a:gd name="connsiteX778" fmla="*/ 948881 w 1004887"/>
                <a:gd name="connsiteY778" fmla="*/ 722471 h 1332642"/>
                <a:gd name="connsiteX779" fmla="*/ 947738 w 1004887"/>
                <a:gd name="connsiteY779" fmla="*/ 725805 h 1332642"/>
                <a:gd name="connsiteX780" fmla="*/ 948881 w 1004887"/>
                <a:gd name="connsiteY780" fmla="*/ 722471 h 1332642"/>
                <a:gd name="connsiteX781" fmla="*/ 946976 w 1004887"/>
                <a:gd name="connsiteY781" fmla="*/ 719519 h 1332642"/>
                <a:gd name="connsiteX782" fmla="*/ 953452 w 1004887"/>
                <a:gd name="connsiteY782" fmla="*/ 720281 h 1332642"/>
                <a:gd name="connsiteX783" fmla="*/ 953262 w 1004887"/>
                <a:gd name="connsiteY783" fmla="*/ 718757 h 1332642"/>
                <a:gd name="connsiteX784" fmla="*/ 946785 w 1004887"/>
                <a:gd name="connsiteY784" fmla="*/ 717899 h 1332642"/>
                <a:gd name="connsiteX785" fmla="*/ 946976 w 1004887"/>
                <a:gd name="connsiteY785" fmla="*/ 719519 h 1332642"/>
                <a:gd name="connsiteX786" fmla="*/ 946785 w 1004887"/>
                <a:gd name="connsiteY786" fmla="*/ 717899 h 1332642"/>
                <a:gd name="connsiteX787" fmla="*/ 943547 w 1004887"/>
                <a:gd name="connsiteY787" fmla="*/ 718376 h 1332642"/>
                <a:gd name="connsiteX788" fmla="*/ 940213 w 1004887"/>
                <a:gd name="connsiteY788" fmla="*/ 717137 h 1332642"/>
                <a:gd name="connsiteX789" fmla="*/ 939451 w 1004887"/>
                <a:gd name="connsiteY789" fmla="*/ 710851 h 1332642"/>
                <a:gd name="connsiteX790" fmla="*/ 940784 w 1004887"/>
                <a:gd name="connsiteY790" fmla="*/ 709041 h 1332642"/>
                <a:gd name="connsiteX791" fmla="*/ 938784 w 1004887"/>
                <a:gd name="connsiteY791" fmla="*/ 706088 h 1332642"/>
                <a:gd name="connsiteX792" fmla="*/ 942023 w 1004887"/>
                <a:gd name="connsiteY792" fmla="*/ 705707 h 1332642"/>
                <a:gd name="connsiteX793" fmla="*/ 943166 w 1004887"/>
                <a:gd name="connsiteY793" fmla="*/ 702374 h 1332642"/>
                <a:gd name="connsiteX794" fmla="*/ 946499 w 1004887"/>
                <a:gd name="connsiteY794" fmla="*/ 703516 h 1332642"/>
                <a:gd name="connsiteX795" fmla="*/ 947738 w 1004887"/>
                <a:gd name="connsiteY795" fmla="*/ 700183 h 1332642"/>
                <a:gd name="connsiteX796" fmla="*/ 947261 w 1004887"/>
                <a:gd name="connsiteY796" fmla="*/ 697040 h 1332642"/>
                <a:gd name="connsiteX797" fmla="*/ 942118 w 1004887"/>
                <a:gd name="connsiteY797" fmla="*/ 694468 h 1332642"/>
                <a:gd name="connsiteX798" fmla="*/ 943356 w 1004887"/>
                <a:gd name="connsiteY798" fmla="*/ 691134 h 1332642"/>
                <a:gd name="connsiteX799" fmla="*/ 947642 w 1004887"/>
                <a:gd name="connsiteY799" fmla="*/ 687324 h 1332642"/>
                <a:gd name="connsiteX800" fmla="*/ 948881 w 1004887"/>
                <a:gd name="connsiteY800" fmla="*/ 683990 h 1332642"/>
                <a:gd name="connsiteX801" fmla="*/ 952214 w 1004887"/>
                <a:gd name="connsiteY801" fmla="*/ 685133 h 1332642"/>
                <a:gd name="connsiteX802" fmla="*/ 952976 w 1004887"/>
                <a:gd name="connsiteY802" fmla="*/ 678656 h 1332642"/>
                <a:gd name="connsiteX803" fmla="*/ 954310 w 1004887"/>
                <a:gd name="connsiteY803" fmla="*/ 676847 h 1332642"/>
                <a:gd name="connsiteX804" fmla="*/ 956120 w 1004887"/>
                <a:gd name="connsiteY804" fmla="*/ 665416 h 1332642"/>
                <a:gd name="connsiteX805" fmla="*/ 956691 w 1004887"/>
                <a:gd name="connsiteY805" fmla="*/ 657320 h 1332642"/>
                <a:gd name="connsiteX806" fmla="*/ 951548 w 1004887"/>
                <a:gd name="connsiteY806" fmla="*/ 654749 h 1332642"/>
                <a:gd name="connsiteX807" fmla="*/ 952119 w 1004887"/>
                <a:gd name="connsiteY807" fmla="*/ 646652 h 1332642"/>
                <a:gd name="connsiteX808" fmla="*/ 941642 w 1004887"/>
                <a:gd name="connsiteY808" fmla="*/ 639985 h 1332642"/>
                <a:gd name="connsiteX809" fmla="*/ 938498 w 1004887"/>
                <a:gd name="connsiteY809" fmla="*/ 640366 h 1332642"/>
                <a:gd name="connsiteX810" fmla="*/ 933164 w 1004887"/>
                <a:gd name="connsiteY810" fmla="*/ 649129 h 1332642"/>
                <a:gd name="connsiteX811" fmla="*/ 931355 w 1004887"/>
                <a:gd name="connsiteY811" fmla="*/ 647700 h 1332642"/>
                <a:gd name="connsiteX812" fmla="*/ 935736 w 1004887"/>
                <a:gd name="connsiteY812" fmla="*/ 643985 h 1332642"/>
                <a:gd name="connsiteX813" fmla="*/ 937451 w 1004887"/>
                <a:gd name="connsiteY813" fmla="*/ 632555 h 1332642"/>
                <a:gd name="connsiteX814" fmla="*/ 935450 w 1004887"/>
                <a:gd name="connsiteY814" fmla="*/ 629603 h 1332642"/>
                <a:gd name="connsiteX815" fmla="*/ 933736 w 1004887"/>
                <a:gd name="connsiteY815" fmla="*/ 628174 h 1332642"/>
                <a:gd name="connsiteX816" fmla="*/ 936403 w 1004887"/>
                <a:gd name="connsiteY816" fmla="*/ 611791 h 1332642"/>
                <a:gd name="connsiteX817" fmla="*/ 933641 w 1004887"/>
                <a:gd name="connsiteY817" fmla="*/ 602552 h 1332642"/>
                <a:gd name="connsiteX818" fmla="*/ 937736 w 1004887"/>
                <a:gd name="connsiteY818" fmla="*/ 597218 h 1332642"/>
                <a:gd name="connsiteX819" fmla="*/ 941737 w 1004887"/>
                <a:gd name="connsiteY819" fmla="*/ 590264 h 1332642"/>
                <a:gd name="connsiteX820" fmla="*/ 941261 w 1004887"/>
                <a:gd name="connsiteY820" fmla="*/ 574262 h 1332642"/>
                <a:gd name="connsiteX821" fmla="*/ 943832 w 1004887"/>
                <a:gd name="connsiteY821" fmla="*/ 569119 h 1332642"/>
                <a:gd name="connsiteX822" fmla="*/ 944594 w 1004887"/>
                <a:gd name="connsiteY822" fmla="*/ 562642 h 1332642"/>
                <a:gd name="connsiteX823" fmla="*/ 940880 w 1004887"/>
                <a:gd name="connsiteY823" fmla="*/ 558356 h 1332642"/>
                <a:gd name="connsiteX824" fmla="*/ 936308 w 1004887"/>
                <a:gd name="connsiteY824" fmla="*/ 560451 h 1332642"/>
                <a:gd name="connsiteX825" fmla="*/ 929640 w 1004887"/>
                <a:gd name="connsiteY825" fmla="*/ 558165 h 1332642"/>
                <a:gd name="connsiteX826" fmla="*/ 928973 w 1004887"/>
                <a:gd name="connsiteY826" fmla="*/ 553403 h 1332642"/>
                <a:gd name="connsiteX827" fmla="*/ 925449 w 1004887"/>
                <a:gd name="connsiteY827" fmla="*/ 550640 h 1332642"/>
                <a:gd name="connsiteX828" fmla="*/ 921068 w 1004887"/>
                <a:gd name="connsiteY828" fmla="*/ 554450 h 1332642"/>
                <a:gd name="connsiteX829" fmla="*/ 919544 w 1004887"/>
                <a:gd name="connsiteY829" fmla="*/ 554641 h 1332642"/>
                <a:gd name="connsiteX830" fmla="*/ 912590 w 1004887"/>
                <a:gd name="connsiteY830" fmla="*/ 550640 h 1332642"/>
                <a:gd name="connsiteX831" fmla="*/ 912209 w 1004887"/>
                <a:gd name="connsiteY831" fmla="*/ 547497 h 1332642"/>
                <a:gd name="connsiteX832" fmla="*/ 915352 w 1004887"/>
                <a:gd name="connsiteY832" fmla="*/ 547116 h 1332642"/>
                <a:gd name="connsiteX833" fmla="*/ 916496 w 1004887"/>
                <a:gd name="connsiteY833" fmla="*/ 543782 h 1332642"/>
                <a:gd name="connsiteX834" fmla="*/ 906875 w 1004887"/>
                <a:gd name="connsiteY834" fmla="*/ 543401 h 1332642"/>
                <a:gd name="connsiteX835" fmla="*/ 906494 w 1004887"/>
                <a:gd name="connsiteY835" fmla="*/ 540258 h 1332642"/>
                <a:gd name="connsiteX836" fmla="*/ 901732 w 1004887"/>
                <a:gd name="connsiteY836" fmla="*/ 540830 h 1332642"/>
                <a:gd name="connsiteX837" fmla="*/ 898208 w 1004887"/>
                <a:gd name="connsiteY837" fmla="*/ 538067 h 1332642"/>
                <a:gd name="connsiteX838" fmla="*/ 895064 w 1004887"/>
                <a:gd name="connsiteY838" fmla="*/ 538544 h 1332642"/>
                <a:gd name="connsiteX839" fmla="*/ 892588 w 1004887"/>
                <a:gd name="connsiteY839" fmla="*/ 532352 h 1332642"/>
                <a:gd name="connsiteX840" fmla="*/ 889254 w 1004887"/>
                <a:gd name="connsiteY840" fmla="*/ 531209 h 1332642"/>
                <a:gd name="connsiteX841" fmla="*/ 897350 w 1004887"/>
                <a:gd name="connsiteY841" fmla="*/ 531781 h 1332642"/>
                <a:gd name="connsiteX842" fmla="*/ 904494 w 1004887"/>
                <a:gd name="connsiteY842" fmla="*/ 537305 h 1332642"/>
                <a:gd name="connsiteX843" fmla="*/ 912400 w 1004887"/>
                <a:gd name="connsiteY843" fmla="*/ 536257 h 1332642"/>
                <a:gd name="connsiteX844" fmla="*/ 913733 w 1004887"/>
                <a:gd name="connsiteY844" fmla="*/ 534543 h 1332642"/>
                <a:gd name="connsiteX845" fmla="*/ 918496 w 1004887"/>
                <a:gd name="connsiteY845" fmla="*/ 533876 h 1332642"/>
                <a:gd name="connsiteX846" fmla="*/ 921449 w 1004887"/>
                <a:gd name="connsiteY846" fmla="*/ 531876 h 1332642"/>
                <a:gd name="connsiteX847" fmla="*/ 918115 w 1004887"/>
                <a:gd name="connsiteY847" fmla="*/ 530733 h 1332642"/>
                <a:gd name="connsiteX848" fmla="*/ 911543 w 1004887"/>
                <a:gd name="connsiteY848" fmla="*/ 517112 h 1332642"/>
                <a:gd name="connsiteX849" fmla="*/ 901827 w 1004887"/>
                <a:gd name="connsiteY849" fmla="*/ 516731 h 1332642"/>
                <a:gd name="connsiteX850" fmla="*/ 898112 w 1004887"/>
                <a:gd name="connsiteY850" fmla="*/ 512445 h 1332642"/>
                <a:gd name="connsiteX851" fmla="*/ 900684 w 1004887"/>
                <a:gd name="connsiteY851" fmla="*/ 507302 h 1332642"/>
                <a:gd name="connsiteX852" fmla="*/ 898684 w 1004887"/>
                <a:gd name="connsiteY852" fmla="*/ 504349 h 1332642"/>
                <a:gd name="connsiteX853" fmla="*/ 899827 w 1004887"/>
                <a:gd name="connsiteY853" fmla="*/ 501015 h 1332642"/>
                <a:gd name="connsiteX854" fmla="*/ 901827 w 1004887"/>
                <a:gd name="connsiteY854" fmla="*/ 503968 h 1332642"/>
                <a:gd name="connsiteX855" fmla="*/ 902018 w 1004887"/>
                <a:gd name="connsiteY855" fmla="*/ 505492 h 1332642"/>
                <a:gd name="connsiteX856" fmla="*/ 903827 w 1004887"/>
                <a:gd name="connsiteY856" fmla="*/ 506920 h 1332642"/>
                <a:gd name="connsiteX857" fmla="*/ 906590 w 1004887"/>
                <a:gd name="connsiteY857" fmla="*/ 503301 h 1332642"/>
                <a:gd name="connsiteX858" fmla="*/ 906780 w 1004887"/>
                <a:gd name="connsiteY858" fmla="*/ 504920 h 1332642"/>
                <a:gd name="connsiteX859" fmla="*/ 908399 w 1004887"/>
                <a:gd name="connsiteY859" fmla="*/ 504730 h 1332642"/>
                <a:gd name="connsiteX860" fmla="*/ 908399 w 1004887"/>
                <a:gd name="connsiteY860" fmla="*/ 504730 h 1332642"/>
                <a:gd name="connsiteX861" fmla="*/ 909733 w 1004887"/>
                <a:gd name="connsiteY861" fmla="*/ 502920 h 1332642"/>
                <a:gd name="connsiteX862" fmla="*/ 917448 w 1004887"/>
                <a:gd name="connsiteY862" fmla="*/ 500348 h 1332642"/>
                <a:gd name="connsiteX863" fmla="*/ 920782 w 1004887"/>
                <a:gd name="connsiteY863" fmla="*/ 501491 h 1332642"/>
                <a:gd name="connsiteX864" fmla="*/ 927830 w 1004887"/>
                <a:gd name="connsiteY864" fmla="*/ 494252 h 1332642"/>
                <a:gd name="connsiteX865" fmla="*/ 923163 w 1004887"/>
                <a:gd name="connsiteY865" fmla="*/ 494824 h 1332642"/>
                <a:gd name="connsiteX866" fmla="*/ 922496 w 1004887"/>
                <a:gd name="connsiteY866" fmla="*/ 490061 h 1332642"/>
                <a:gd name="connsiteX867" fmla="*/ 917829 w 1004887"/>
                <a:gd name="connsiteY867" fmla="*/ 490728 h 1332642"/>
                <a:gd name="connsiteX868" fmla="*/ 917639 w 1004887"/>
                <a:gd name="connsiteY868" fmla="*/ 489109 h 1332642"/>
                <a:gd name="connsiteX869" fmla="*/ 914210 w 1004887"/>
                <a:gd name="connsiteY869" fmla="*/ 487966 h 1332642"/>
                <a:gd name="connsiteX870" fmla="*/ 909733 w 1004887"/>
                <a:gd name="connsiteY870" fmla="*/ 490157 h 1332642"/>
                <a:gd name="connsiteX871" fmla="*/ 912495 w 1004887"/>
                <a:gd name="connsiteY871" fmla="*/ 486537 h 1332642"/>
                <a:gd name="connsiteX872" fmla="*/ 909066 w 1004887"/>
                <a:gd name="connsiteY872" fmla="*/ 485394 h 1332642"/>
                <a:gd name="connsiteX873" fmla="*/ 904780 w 1004887"/>
                <a:gd name="connsiteY873" fmla="*/ 489109 h 1332642"/>
                <a:gd name="connsiteX874" fmla="*/ 902780 w 1004887"/>
                <a:gd name="connsiteY874" fmla="*/ 486156 h 1332642"/>
                <a:gd name="connsiteX875" fmla="*/ 899827 w 1004887"/>
                <a:gd name="connsiteY875" fmla="*/ 488156 h 1332642"/>
                <a:gd name="connsiteX876" fmla="*/ 898684 w 1004887"/>
                <a:gd name="connsiteY876" fmla="*/ 491490 h 1332642"/>
                <a:gd name="connsiteX877" fmla="*/ 895731 w 1004887"/>
                <a:gd name="connsiteY877" fmla="*/ 493490 h 1332642"/>
                <a:gd name="connsiteX878" fmla="*/ 896112 w 1004887"/>
                <a:gd name="connsiteY878" fmla="*/ 496633 h 1332642"/>
                <a:gd name="connsiteX879" fmla="*/ 891159 w 1004887"/>
                <a:gd name="connsiteY879" fmla="*/ 495681 h 1332642"/>
                <a:gd name="connsiteX880" fmla="*/ 888397 w 1004887"/>
                <a:gd name="connsiteY880" fmla="*/ 486442 h 1332642"/>
                <a:gd name="connsiteX881" fmla="*/ 891731 w 1004887"/>
                <a:gd name="connsiteY881" fmla="*/ 487585 h 1332642"/>
                <a:gd name="connsiteX882" fmla="*/ 891540 w 1004887"/>
                <a:gd name="connsiteY882" fmla="*/ 486061 h 1332642"/>
                <a:gd name="connsiteX883" fmla="*/ 888206 w 1004887"/>
                <a:gd name="connsiteY883" fmla="*/ 484823 h 1332642"/>
                <a:gd name="connsiteX884" fmla="*/ 892302 w 1004887"/>
                <a:gd name="connsiteY884" fmla="*/ 479489 h 1332642"/>
                <a:gd name="connsiteX885" fmla="*/ 888397 w 1004887"/>
                <a:gd name="connsiteY885" fmla="*/ 473583 h 1332642"/>
                <a:gd name="connsiteX886" fmla="*/ 890873 w 1004887"/>
                <a:gd name="connsiteY886" fmla="*/ 468440 h 1332642"/>
                <a:gd name="connsiteX887" fmla="*/ 900017 w 1004887"/>
                <a:gd name="connsiteY887" fmla="*/ 464058 h 1332642"/>
                <a:gd name="connsiteX888" fmla="*/ 907447 w 1004887"/>
                <a:gd name="connsiteY888" fmla="*/ 447103 h 1332642"/>
                <a:gd name="connsiteX889" fmla="*/ 930116 w 1004887"/>
                <a:gd name="connsiteY889" fmla="*/ 436245 h 1332642"/>
                <a:gd name="connsiteX890" fmla="*/ 934593 w 1004887"/>
                <a:gd name="connsiteY890" fmla="*/ 434054 h 1332642"/>
                <a:gd name="connsiteX891" fmla="*/ 940975 w 1004887"/>
                <a:gd name="connsiteY891" fmla="*/ 433197 h 1332642"/>
                <a:gd name="connsiteX892" fmla="*/ 937832 w 1004887"/>
                <a:gd name="connsiteY892" fmla="*/ 433578 h 1332642"/>
                <a:gd name="connsiteX893" fmla="*/ 938594 w 1004887"/>
                <a:gd name="connsiteY893" fmla="*/ 439960 h 1332642"/>
                <a:gd name="connsiteX894" fmla="*/ 940403 w 1004887"/>
                <a:gd name="connsiteY894" fmla="*/ 441293 h 1332642"/>
                <a:gd name="connsiteX895" fmla="*/ 945261 w 1004887"/>
                <a:gd name="connsiteY895" fmla="*/ 442246 h 1332642"/>
                <a:gd name="connsiteX896" fmla="*/ 947452 w 1004887"/>
                <a:gd name="connsiteY896" fmla="*/ 446818 h 1332642"/>
                <a:gd name="connsiteX897" fmla="*/ 949071 w 1004887"/>
                <a:gd name="connsiteY897" fmla="*/ 446627 h 1332642"/>
                <a:gd name="connsiteX898" fmla="*/ 949262 w 1004887"/>
                <a:gd name="connsiteY898" fmla="*/ 448151 h 1332642"/>
                <a:gd name="connsiteX899" fmla="*/ 954024 w 1004887"/>
                <a:gd name="connsiteY899" fmla="*/ 447580 h 1332642"/>
                <a:gd name="connsiteX900" fmla="*/ 955739 w 1004887"/>
                <a:gd name="connsiteY900" fmla="*/ 448913 h 1332642"/>
                <a:gd name="connsiteX901" fmla="*/ 956786 w 1004887"/>
                <a:gd name="connsiteY901" fmla="*/ 444056 h 1332642"/>
                <a:gd name="connsiteX902" fmla="*/ 958310 w 1004887"/>
                <a:gd name="connsiteY902" fmla="*/ 443865 h 1332642"/>
                <a:gd name="connsiteX903" fmla="*/ 957929 w 1004887"/>
                <a:gd name="connsiteY903" fmla="*/ 440627 h 1332642"/>
                <a:gd name="connsiteX904" fmla="*/ 959263 w 1004887"/>
                <a:gd name="connsiteY904" fmla="*/ 438912 h 1332642"/>
                <a:gd name="connsiteX905" fmla="*/ 960120 w 1004887"/>
                <a:gd name="connsiteY905" fmla="*/ 432340 h 1332642"/>
                <a:gd name="connsiteX906" fmla="*/ 963073 w 1004887"/>
                <a:gd name="connsiteY906" fmla="*/ 430435 h 1332642"/>
                <a:gd name="connsiteX907" fmla="*/ 965359 w 1004887"/>
                <a:gd name="connsiteY907" fmla="*/ 423672 h 1332642"/>
                <a:gd name="connsiteX908" fmla="*/ 968502 w 1004887"/>
                <a:gd name="connsiteY908" fmla="*/ 423291 h 1332642"/>
                <a:gd name="connsiteX909" fmla="*/ 974693 w 1004887"/>
                <a:gd name="connsiteY909" fmla="*/ 420910 h 1332642"/>
                <a:gd name="connsiteX910" fmla="*/ 974217 w 1004887"/>
                <a:gd name="connsiteY910" fmla="*/ 417766 h 1332642"/>
                <a:gd name="connsiteX911" fmla="*/ 976027 w 1004887"/>
                <a:gd name="connsiteY911" fmla="*/ 419100 h 1332642"/>
                <a:gd name="connsiteX912" fmla="*/ 977456 w 1004887"/>
                <a:gd name="connsiteY912" fmla="*/ 417386 h 1332642"/>
                <a:gd name="connsiteX913" fmla="*/ 980599 w 1004887"/>
                <a:gd name="connsiteY913" fmla="*/ 416909 h 1332642"/>
                <a:gd name="connsiteX914" fmla="*/ 984885 w 1004887"/>
                <a:gd name="connsiteY914" fmla="*/ 413194 h 1332642"/>
                <a:gd name="connsiteX915" fmla="*/ 986695 w 1004887"/>
                <a:gd name="connsiteY915" fmla="*/ 414528 h 1332642"/>
                <a:gd name="connsiteX916" fmla="*/ 990600 w 1004887"/>
                <a:gd name="connsiteY916" fmla="*/ 407670 h 1332642"/>
                <a:gd name="connsiteX917" fmla="*/ 988409 w 1004887"/>
                <a:gd name="connsiteY917" fmla="*/ 403098 h 1332642"/>
                <a:gd name="connsiteX918" fmla="*/ 983266 w 1004887"/>
                <a:gd name="connsiteY918" fmla="*/ 400526 h 1332642"/>
                <a:gd name="connsiteX919" fmla="*/ 981266 w 1004887"/>
                <a:gd name="connsiteY919" fmla="*/ 397573 h 1332642"/>
                <a:gd name="connsiteX920" fmla="*/ 977932 w 1004887"/>
                <a:gd name="connsiteY920" fmla="*/ 396431 h 1332642"/>
                <a:gd name="connsiteX921" fmla="*/ 974979 w 1004887"/>
                <a:gd name="connsiteY921" fmla="*/ 398431 h 1332642"/>
                <a:gd name="connsiteX922" fmla="*/ 973646 w 1004887"/>
                <a:gd name="connsiteY922" fmla="*/ 400145 h 1332642"/>
                <a:gd name="connsiteX923" fmla="*/ 967740 w 1004887"/>
                <a:gd name="connsiteY923" fmla="*/ 404146 h 1332642"/>
                <a:gd name="connsiteX924" fmla="*/ 965930 w 1004887"/>
                <a:gd name="connsiteY924" fmla="*/ 402717 h 1332642"/>
                <a:gd name="connsiteX925" fmla="*/ 966502 w 1004887"/>
                <a:gd name="connsiteY925" fmla="*/ 394716 h 1332642"/>
                <a:gd name="connsiteX926" fmla="*/ 975741 w 1004887"/>
                <a:gd name="connsiteY926" fmla="*/ 391858 h 1332642"/>
                <a:gd name="connsiteX927" fmla="*/ 978884 w 1004887"/>
                <a:gd name="connsiteY927" fmla="*/ 378619 h 1332642"/>
                <a:gd name="connsiteX928" fmla="*/ 978122 w 1004887"/>
                <a:gd name="connsiteY928" fmla="*/ 372332 h 1332642"/>
                <a:gd name="connsiteX929" fmla="*/ 974312 w 1004887"/>
                <a:gd name="connsiteY929" fmla="*/ 368046 h 1332642"/>
                <a:gd name="connsiteX930" fmla="*/ 973931 w 1004887"/>
                <a:gd name="connsiteY930" fmla="*/ 364903 h 1332642"/>
                <a:gd name="connsiteX931" fmla="*/ 971550 w 1004887"/>
                <a:gd name="connsiteY931" fmla="*/ 358711 h 1332642"/>
                <a:gd name="connsiteX932" fmla="*/ 972502 w 1004887"/>
                <a:gd name="connsiteY932" fmla="*/ 353854 h 1332642"/>
                <a:gd name="connsiteX933" fmla="*/ 982027 w 1004887"/>
                <a:gd name="connsiteY933" fmla="*/ 352615 h 1332642"/>
                <a:gd name="connsiteX934" fmla="*/ 981170 w 1004887"/>
                <a:gd name="connsiteY934" fmla="*/ 346329 h 1332642"/>
                <a:gd name="connsiteX935" fmla="*/ 987076 w 1004887"/>
                <a:gd name="connsiteY935" fmla="*/ 342328 h 1332642"/>
                <a:gd name="connsiteX936" fmla="*/ 983933 w 1004887"/>
                <a:gd name="connsiteY936" fmla="*/ 342710 h 1332642"/>
                <a:gd name="connsiteX937" fmla="*/ 986123 w 1004887"/>
                <a:gd name="connsiteY937" fmla="*/ 334423 h 1332642"/>
                <a:gd name="connsiteX938" fmla="*/ 979170 w 1004887"/>
                <a:gd name="connsiteY938" fmla="*/ 330518 h 1332642"/>
                <a:gd name="connsiteX939" fmla="*/ 978122 w 1004887"/>
                <a:gd name="connsiteY939" fmla="*/ 322612 h 1332642"/>
                <a:gd name="connsiteX940" fmla="*/ 985076 w 1004887"/>
                <a:gd name="connsiteY940" fmla="*/ 313753 h 1332642"/>
                <a:gd name="connsiteX941" fmla="*/ 983075 w 1004887"/>
                <a:gd name="connsiteY941" fmla="*/ 310801 h 1332642"/>
                <a:gd name="connsiteX942" fmla="*/ 979361 w 1004887"/>
                <a:gd name="connsiteY942" fmla="*/ 306419 h 1332642"/>
                <a:gd name="connsiteX943" fmla="*/ 982027 w 1004887"/>
                <a:gd name="connsiteY943" fmla="*/ 302895 h 1332642"/>
                <a:gd name="connsiteX944" fmla="*/ 985457 w 1004887"/>
                <a:gd name="connsiteY944" fmla="*/ 304038 h 1332642"/>
                <a:gd name="connsiteX945" fmla="*/ 989171 w 1004887"/>
                <a:gd name="connsiteY945" fmla="*/ 295561 h 1332642"/>
                <a:gd name="connsiteX946" fmla="*/ 985171 w 1004887"/>
                <a:gd name="connsiteY946" fmla="*/ 289655 h 1332642"/>
                <a:gd name="connsiteX947" fmla="*/ 988314 w 1004887"/>
                <a:gd name="connsiteY947" fmla="*/ 289274 h 1332642"/>
                <a:gd name="connsiteX948" fmla="*/ 987171 w 1004887"/>
                <a:gd name="connsiteY948" fmla="*/ 279749 h 1332642"/>
                <a:gd name="connsiteX949" fmla="*/ 988886 w 1004887"/>
                <a:gd name="connsiteY949" fmla="*/ 281178 h 1332642"/>
                <a:gd name="connsiteX950" fmla="*/ 992124 w 1004887"/>
                <a:gd name="connsiteY950" fmla="*/ 280797 h 1332642"/>
                <a:gd name="connsiteX951" fmla="*/ 991838 w 1004887"/>
                <a:gd name="connsiteY951" fmla="*/ 279178 h 1332642"/>
                <a:gd name="connsiteX952" fmla="*/ 992124 w 1004887"/>
                <a:gd name="connsiteY952" fmla="*/ 280797 h 1332642"/>
                <a:gd name="connsiteX953" fmla="*/ 993648 w 1004887"/>
                <a:gd name="connsiteY953" fmla="*/ 280511 h 1332642"/>
                <a:gd name="connsiteX954" fmla="*/ 995077 w 1004887"/>
                <a:gd name="connsiteY954" fmla="*/ 278797 h 1332642"/>
                <a:gd name="connsiteX955" fmla="*/ 998411 w 1004887"/>
                <a:gd name="connsiteY955" fmla="*/ 279940 h 1332642"/>
                <a:gd name="connsiteX956" fmla="*/ 1001363 w 1004887"/>
                <a:gd name="connsiteY956" fmla="*/ 277940 h 1332642"/>
                <a:gd name="connsiteX957" fmla="*/ 1001935 w 1004887"/>
                <a:gd name="connsiteY957" fmla="*/ 282702 h 1332642"/>
                <a:gd name="connsiteX958" fmla="*/ 1004888 w 1004887"/>
                <a:gd name="connsiteY958" fmla="*/ 280702 h 1332642"/>
                <a:gd name="connsiteX959" fmla="*/ 1001363 w 1004887"/>
                <a:gd name="connsiteY959" fmla="*/ 265176 h 1332642"/>
                <a:gd name="connsiteX960" fmla="*/ 999744 w 1004887"/>
                <a:gd name="connsiteY960" fmla="*/ 252508 h 1332642"/>
                <a:gd name="connsiteX961" fmla="*/ 999744 w 1004887"/>
                <a:gd name="connsiteY961" fmla="*/ 252508 h 1332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</a:cxnLst>
              <a:rect l="l" t="t" r="r" b="b"/>
              <a:pathLst>
                <a:path w="1004887" h="1332642">
                  <a:moveTo>
                    <a:pt x="999744" y="252508"/>
                  </a:moveTo>
                  <a:lnTo>
                    <a:pt x="997363" y="246412"/>
                  </a:lnTo>
                  <a:lnTo>
                    <a:pt x="998315" y="241459"/>
                  </a:lnTo>
                  <a:lnTo>
                    <a:pt x="997934" y="238315"/>
                  </a:lnTo>
                  <a:lnTo>
                    <a:pt x="996125" y="236982"/>
                  </a:lnTo>
                  <a:lnTo>
                    <a:pt x="994124" y="234029"/>
                  </a:lnTo>
                  <a:lnTo>
                    <a:pt x="995363" y="230600"/>
                  </a:lnTo>
                  <a:lnTo>
                    <a:pt x="996506" y="227266"/>
                  </a:lnTo>
                  <a:lnTo>
                    <a:pt x="995648" y="220980"/>
                  </a:lnTo>
                  <a:lnTo>
                    <a:pt x="993934" y="219551"/>
                  </a:lnTo>
                  <a:lnTo>
                    <a:pt x="996506" y="214408"/>
                  </a:lnTo>
                  <a:lnTo>
                    <a:pt x="1004126" y="211836"/>
                  </a:lnTo>
                  <a:lnTo>
                    <a:pt x="993077" y="213265"/>
                  </a:lnTo>
                  <a:lnTo>
                    <a:pt x="987933" y="210693"/>
                  </a:lnTo>
                  <a:lnTo>
                    <a:pt x="975741" y="202692"/>
                  </a:lnTo>
                  <a:lnTo>
                    <a:pt x="971741" y="196786"/>
                  </a:lnTo>
                  <a:lnTo>
                    <a:pt x="958691" y="195167"/>
                  </a:lnTo>
                  <a:lnTo>
                    <a:pt x="953548" y="192691"/>
                  </a:lnTo>
                  <a:lnTo>
                    <a:pt x="947642" y="196596"/>
                  </a:lnTo>
                  <a:lnTo>
                    <a:pt x="941165" y="195834"/>
                  </a:lnTo>
                  <a:lnTo>
                    <a:pt x="942499" y="194024"/>
                  </a:lnTo>
                  <a:lnTo>
                    <a:pt x="940784" y="192691"/>
                  </a:lnTo>
                  <a:lnTo>
                    <a:pt x="942118" y="190881"/>
                  </a:lnTo>
                  <a:lnTo>
                    <a:pt x="945737" y="193643"/>
                  </a:lnTo>
                  <a:lnTo>
                    <a:pt x="947261" y="193453"/>
                  </a:lnTo>
                  <a:lnTo>
                    <a:pt x="947452" y="182213"/>
                  </a:lnTo>
                  <a:lnTo>
                    <a:pt x="948214" y="175736"/>
                  </a:lnTo>
                  <a:lnTo>
                    <a:pt x="946404" y="174307"/>
                  </a:lnTo>
                  <a:lnTo>
                    <a:pt x="945452" y="166402"/>
                  </a:lnTo>
                  <a:lnTo>
                    <a:pt x="939356" y="168783"/>
                  </a:lnTo>
                  <a:lnTo>
                    <a:pt x="934212" y="166211"/>
                  </a:lnTo>
                  <a:lnTo>
                    <a:pt x="927449" y="163925"/>
                  </a:lnTo>
                  <a:lnTo>
                    <a:pt x="918210" y="166687"/>
                  </a:lnTo>
                  <a:lnTo>
                    <a:pt x="913638" y="168878"/>
                  </a:lnTo>
                  <a:lnTo>
                    <a:pt x="913638" y="168878"/>
                  </a:lnTo>
                  <a:lnTo>
                    <a:pt x="912114" y="169069"/>
                  </a:lnTo>
                  <a:lnTo>
                    <a:pt x="911066" y="161163"/>
                  </a:lnTo>
                  <a:lnTo>
                    <a:pt x="906685" y="152114"/>
                  </a:lnTo>
                  <a:lnTo>
                    <a:pt x="903351" y="150971"/>
                  </a:lnTo>
                  <a:lnTo>
                    <a:pt x="900398" y="152876"/>
                  </a:lnTo>
                  <a:lnTo>
                    <a:pt x="898684" y="151543"/>
                  </a:lnTo>
                  <a:lnTo>
                    <a:pt x="894683" y="145637"/>
                  </a:lnTo>
                  <a:lnTo>
                    <a:pt x="891540" y="146018"/>
                  </a:lnTo>
                  <a:lnTo>
                    <a:pt x="889540" y="130207"/>
                  </a:lnTo>
                  <a:lnTo>
                    <a:pt x="884587" y="129254"/>
                  </a:lnTo>
                  <a:lnTo>
                    <a:pt x="880586" y="123349"/>
                  </a:lnTo>
                  <a:lnTo>
                    <a:pt x="877443" y="123730"/>
                  </a:lnTo>
                  <a:lnTo>
                    <a:pt x="874109" y="122587"/>
                  </a:lnTo>
                  <a:lnTo>
                    <a:pt x="871347" y="126111"/>
                  </a:lnTo>
                  <a:lnTo>
                    <a:pt x="868204" y="126587"/>
                  </a:lnTo>
                  <a:lnTo>
                    <a:pt x="864870" y="125349"/>
                  </a:lnTo>
                  <a:lnTo>
                    <a:pt x="863441" y="127159"/>
                  </a:lnTo>
                  <a:lnTo>
                    <a:pt x="865632" y="131731"/>
                  </a:lnTo>
                  <a:lnTo>
                    <a:pt x="846677" y="134112"/>
                  </a:lnTo>
                  <a:lnTo>
                    <a:pt x="841534" y="131540"/>
                  </a:lnTo>
                  <a:lnTo>
                    <a:pt x="820484" y="129445"/>
                  </a:lnTo>
                  <a:lnTo>
                    <a:pt x="820007" y="126302"/>
                  </a:lnTo>
                  <a:lnTo>
                    <a:pt x="816674" y="125063"/>
                  </a:lnTo>
                  <a:lnTo>
                    <a:pt x="816293" y="121920"/>
                  </a:lnTo>
                  <a:lnTo>
                    <a:pt x="810959" y="117824"/>
                  </a:lnTo>
                  <a:lnTo>
                    <a:pt x="812292" y="116015"/>
                  </a:lnTo>
                  <a:lnTo>
                    <a:pt x="810387" y="113062"/>
                  </a:lnTo>
                  <a:lnTo>
                    <a:pt x="805244" y="110490"/>
                  </a:lnTo>
                  <a:lnTo>
                    <a:pt x="801624" y="107728"/>
                  </a:lnTo>
                  <a:lnTo>
                    <a:pt x="800100" y="107918"/>
                  </a:lnTo>
                  <a:lnTo>
                    <a:pt x="796481" y="105251"/>
                  </a:lnTo>
                  <a:lnTo>
                    <a:pt x="787241" y="108013"/>
                  </a:lnTo>
                  <a:lnTo>
                    <a:pt x="784479" y="98774"/>
                  </a:lnTo>
                  <a:lnTo>
                    <a:pt x="779717" y="99346"/>
                  </a:lnTo>
                  <a:lnTo>
                    <a:pt x="774573" y="96774"/>
                  </a:lnTo>
                  <a:lnTo>
                    <a:pt x="775145" y="88678"/>
                  </a:lnTo>
                  <a:lnTo>
                    <a:pt x="778478" y="89821"/>
                  </a:lnTo>
                  <a:lnTo>
                    <a:pt x="779717" y="86487"/>
                  </a:lnTo>
                  <a:lnTo>
                    <a:pt x="790956" y="86677"/>
                  </a:lnTo>
                  <a:lnTo>
                    <a:pt x="799433" y="90392"/>
                  </a:lnTo>
                  <a:lnTo>
                    <a:pt x="799052" y="87249"/>
                  </a:lnTo>
                  <a:lnTo>
                    <a:pt x="792290" y="84868"/>
                  </a:lnTo>
                  <a:lnTo>
                    <a:pt x="790766" y="85058"/>
                  </a:lnTo>
                  <a:lnTo>
                    <a:pt x="788003" y="75819"/>
                  </a:lnTo>
                  <a:lnTo>
                    <a:pt x="784574" y="74676"/>
                  </a:lnTo>
                  <a:lnTo>
                    <a:pt x="772001" y="76295"/>
                  </a:lnTo>
                  <a:lnTo>
                    <a:pt x="768001" y="83153"/>
                  </a:lnTo>
                  <a:lnTo>
                    <a:pt x="761714" y="84011"/>
                  </a:lnTo>
                  <a:lnTo>
                    <a:pt x="758190" y="81248"/>
                  </a:lnTo>
                  <a:lnTo>
                    <a:pt x="759333" y="77915"/>
                  </a:lnTo>
                  <a:lnTo>
                    <a:pt x="758952" y="74676"/>
                  </a:lnTo>
                  <a:lnTo>
                    <a:pt x="755999" y="76676"/>
                  </a:lnTo>
                  <a:lnTo>
                    <a:pt x="753809" y="72200"/>
                  </a:lnTo>
                  <a:lnTo>
                    <a:pt x="749522" y="75914"/>
                  </a:lnTo>
                  <a:lnTo>
                    <a:pt x="734663" y="72961"/>
                  </a:lnTo>
                  <a:lnTo>
                    <a:pt x="732568" y="81248"/>
                  </a:lnTo>
                  <a:lnTo>
                    <a:pt x="729329" y="81725"/>
                  </a:lnTo>
                  <a:lnTo>
                    <a:pt x="727043" y="88392"/>
                  </a:lnTo>
                  <a:lnTo>
                    <a:pt x="725424" y="88582"/>
                  </a:lnTo>
                  <a:lnTo>
                    <a:pt x="720471" y="87630"/>
                  </a:lnTo>
                  <a:lnTo>
                    <a:pt x="719519" y="79724"/>
                  </a:lnTo>
                  <a:lnTo>
                    <a:pt x="708470" y="81153"/>
                  </a:lnTo>
                  <a:lnTo>
                    <a:pt x="703898" y="83344"/>
                  </a:lnTo>
                  <a:lnTo>
                    <a:pt x="702374" y="83534"/>
                  </a:lnTo>
                  <a:lnTo>
                    <a:pt x="701707" y="78772"/>
                  </a:lnTo>
                  <a:lnTo>
                    <a:pt x="705898" y="73438"/>
                  </a:lnTo>
                  <a:lnTo>
                    <a:pt x="705231" y="68771"/>
                  </a:lnTo>
                  <a:lnTo>
                    <a:pt x="711137" y="64770"/>
                  </a:lnTo>
                  <a:lnTo>
                    <a:pt x="712565" y="62960"/>
                  </a:lnTo>
                  <a:lnTo>
                    <a:pt x="710565" y="60007"/>
                  </a:lnTo>
                  <a:lnTo>
                    <a:pt x="714661" y="54673"/>
                  </a:lnTo>
                  <a:lnTo>
                    <a:pt x="714089" y="50006"/>
                  </a:lnTo>
                  <a:lnTo>
                    <a:pt x="719042" y="50959"/>
                  </a:lnTo>
                  <a:lnTo>
                    <a:pt x="725329" y="50102"/>
                  </a:lnTo>
                  <a:lnTo>
                    <a:pt x="725710" y="40481"/>
                  </a:lnTo>
                  <a:lnTo>
                    <a:pt x="723329" y="34385"/>
                  </a:lnTo>
                  <a:lnTo>
                    <a:pt x="723138" y="32766"/>
                  </a:lnTo>
                  <a:lnTo>
                    <a:pt x="718185" y="31813"/>
                  </a:lnTo>
                  <a:lnTo>
                    <a:pt x="715613" y="24098"/>
                  </a:lnTo>
                  <a:lnTo>
                    <a:pt x="711518" y="29432"/>
                  </a:lnTo>
                  <a:lnTo>
                    <a:pt x="709517" y="26479"/>
                  </a:lnTo>
                  <a:lnTo>
                    <a:pt x="710089" y="18383"/>
                  </a:lnTo>
                  <a:lnTo>
                    <a:pt x="708279" y="17050"/>
                  </a:lnTo>
                  <a:lnTo>
                    <a:pt x="707517" y="23527"/>
                  </a:lnTo>
                  <a:lnTo>
                    <a:pt x="701421" y="25908"/>
                  </a:lnTo>
                  <a:lnTo>
                    <a:pt x="701612" y="27527"/>
                  </a:lnTo>
                  <a:lnTo>
                    <a:pt x="698278" y="26289"/>
                  </a:lnTo>
                  <a:lnTo>
                    <a:pt x="695135" y="26670"/>
                  </a:lnTo>
                  <a:lnTo>
                    <a:pt x="689229" y="30671"/>
                  </a:lnTo>
                  <a:lnTo>
                    <a:pt x="684086" y="28099"/>
                  </a:lnTo>
                  <a:lnTo>
                    <a:pt x="683990" y="15335"/>
                  </a:lnTo>
                  <a:lnTo>
                    <a:pt x="680847" y="15716"/>
                  </a:lnTo>
                  <a:lnTo>
                    <a:pt x="679133" y="14288"/>
                  </a:lnTo>
                  <a:lnTo>
                    <a:pt x="675894" y="14764"/>
                  </a:lnTo>
                  <a:lnTo>
                    <a:pt x="676656" y="8192"/>
                  </a:lnTo>
                  <a:lnTo>
                    <a:pt x="671608" y="5620"/>
                  </a:lnTo>
                  <a:lnTo>
                    <a:pt x="672941" y="3905"/>
                  </a:lnTo>
                  <a:lnTo>
                    <a:pt x="676085" y="3524"/>
                  </a:lnTo>
                  <a:lnTo>
                    <a:pt x="674084" y="571"/>
                  </a:lnTo>
                  <a:lnTo>
                    <a:pt x="669798" y="4286"/>
                  </a:lnTo>
                  <a:lnTo>
                    <a:pt x="666655" y="4667"/>
                  </a:lnTo>
                  <a:lnTo>
                    <a:pt x="665417" y="8001"/>
                  </a:lnTo>
                  <a:lnTo>
                    <a:pt x="664464" y="12954"/>
                  </a:lnTo>
                  <a:lnTo>
                    <a:pt x="661321" y="13335"/>
                  </a:lnTo>
                  <a:lnTo>
                    <a:pt x="658749" y="18479"/>
                  </a:lnTo>
                  <a:lnTo>
                    <a:pt x="652272" y="17717"/>
                  </a:lnTo>
                  <a:lnTo>
                    <a:pt x="654368" y="9430"/>
                  </a:lnTo>
                  <a:lnTo>
                    <a:pt x="653225" y="0"/>
                  </a:lnTo>
                  <a:lnTo>
                    <a:pt x="651605" y="190"/>
                  </a:lnTo>
                  <a:lnTo>
                    <a:pt x="651986" y="3334"/>
                  </a:lnTo>
                  <a:lnTo>
                    <a:pt x="639032" y="1810"/>
                  </a:lnTo>
                  <a:lnTo>
                    <a:pt x="636080" y="3810"/>
                  </a:lnTo>
                  <a:lnTo>
                    <a:pt x="636270" y="5334"/>
                  </a:lnTo>
                  <a:lnTo>
                    <a:pt x="633317" y="7334"/>
                  </a:lnTo>
                  <a:lnTo>
                    <a:pt x="629888" y="6191"/>
                  </a:lnTo>
                  <a:lnTo>
                    <a:pt x="627983" y="3238"/>
                  </a:lnTo>
                  <a:lnTo>
                    <a:pt x="623221" y="3810"/>
                  </a:lnTo>
                  <a:lnTo>
                    <a:pt x="623411" y="5429"/>
                  </a:lnTo>
                  <a:lnTo>
                    <a:pt x="626745" y="6572"/>
                  </a:lnTo>
                  <a:lnTo>
                    <a:pt x="628745" y="9525"/>
                  </a:lnTo>
                  <a:lnTo>
                    <a:pt x="619887" y="28289"/>
                  </a:lnTo>
                  <a:lnTo>
                    <a:pt x="623507" y="31052"/>
                  </a:lnTo>
                  <a:lnTo>
                    <a:pt x="631127" y="28480"/>
                  </a:lnTo>
                  <a:lnTo>
                    <a:pt x="631603" y="31623"/>
                  </a:lnTo>
                  <a:lnTo>
                    <a:pt x="633317" y="32956"/>
                  </a:lnTo>
                  <a:lnTo>
                    <a:pt x="633984" y="37719"/>
                  </a:lnTo>
                  <a:lnTo>
                    <a:pt x="631222" y="41243"/>
                  </a:lnTo>
                  <a:lnTo>
                    <a:pt x="630460" y="47815"/>
                  </a:lnTo>
                  <a:lnTo>
                    <a:pt x="624269" y="50197"/>
                  </a:lnTo>
                  <a:lnTo>
                    <a:pt x="622935" y="51911"/>
                  </a:lnTo>
                  <a:lnTo>
                    <a:pt x="619220" y="47625"/>
                  </a:lnTo>
                  <a:lnTo>
                    <a:pt x="617411" y="46292"/>
                  </a:lnTo>
                  <a:lnTo>
                    <a:pt x="621792" y="55340"/>
                  </a:lnTo>
                  <a:lnTo>
                    <a:pt x="620363" y="57055"/>
                  </a:lnTo>
                  <a:lnTo>
                    <a:pt x="615410" y="56102"/>
                  </a:lnTo>
                  <a:lnTo>
                    <a:pt x="610934" y="58293"/>
                  </a:lnTo>
                  <a:lnTo>
                    <a:pt x="604361" y="57531"/>
                  </a:lnTo>
                  <a:lnTo>
                    <a:pt x="602837" y="57721"/>
                  </a:lnTo>
                  <a:lnTo>
                    <a:pt x="603599" y="64008"/>
                  </a:lnTo>
                  <a:lnTo>
                    <a:pt x="598932" y="64675"/>
                  </a:lnTo>
                  <a:lnTo>
                    <a:pt x="598075" y="58293"/>
                  </a:lnTo>
                  <a:lnTo>
                    <a:pt x="597122" y="63246"/>
                  </a:lnTo>
                  <a:lnTo>
                    <a:pt x="593789" y="62103"/>
                  </a:lnTo>
                  <a:lnTo>
                    <a:pt x="591788" y="59150"/>
                  </a:lnTo>
                  <a:lnTo>
                    <a:pt x="585502" y="59912"/>
                  </a:lnTo>
                  <a:lnTo>
                    <a:pt x="589026" y="62675"/>
                  </a:lnTo>
                  <a:lnTo>
                    <a:pt x="586073" y="64675"/>
                  </a:lnTo>
                  <a:lnTo>
                    <a:pt x="584930" y="68008"/>
                  </a:lnTo>
                  <a:lnTo>
                    <a:pt x="588264" y="69247"/>
                  </a:lnTo>
                  <a:lnTo>
                    <a:pt x="591788" y="71914"/>
                  </a:lnTo>
                  <a:lnTo>
                    <a:pt x="588645" y="72390"/>
                  </a:lnTo>
                  <a:lnTo>
                    <a:pt x="593598" y="86201"/>
                  </a:lnTo>
                  <a:lnTo>
                    <a:pt x="593979" y="89344"/>
                  </a:lnTo>
                  <a:lnTo>
                    <a:pt x="589312" y="89916"/>
                  </a:lnTo>
                  <a:lnTo>
                    <a:pt x="584168" y="100203"/>
                  </a:lnTo>
                  <a:lnTo>
                    <a:pt x="585407" y="109633"/>
                  </a:lnTo>
                  <a:lnTo>
                    <a:pt x="589598" y="117157"/>
                  </a:lnTo>
                  <a:lnTo>
                    <a:pt x="586550" y="119158"/>
                  </a:lnTo>
                  <a:lnTo>
                    <a:pt x="582073" y="121348"/>
                  </a:lnTo>
                  <a:lnTo>
                    <a:pt x="570167" y="116396"/>
                  </a:lnTo>
                  <a:lnTo>
                    <a:pt x="560927" y="106394"/>
                  </a:lnTo>
                  <a:lnTo>
                    <a:pt x="555593" y="102203"/>
                  </a:lnTo>
                  <a:lnTo>
                    <a:pt x="553593" y="99250"/>
                  </a:lnTo>
                  <a:lnTo>
                    <a:pt x="554546" y="94298"/>
                  </a:lnTo>
                  <a:lnTo>
                    <a:pt x="553022" y="94583"/>
                  </a:lnTo>
                  <a:lnTo>
                    <a:pt x="552641" y="104204"/>
                  </a:lnTo>
                  <a:lnTo>
                    <a:pt x="550831" y="102870"/>
                  </a:lnTo>
                  <a:lnTo>
                    <a:pt x="550069" y="96488"/>
                  </a:lnTo>
                  <a:lnTo>
                    <a:pt x="548259" y="95155"/>
                  </a:lnTo>
                  <a:lnTo>
                    <a:pt x="546640" y="95345"/>
                  </a:lnTo>
                  <a:lnTo>
                    <a:pt x="544735" y="92392"/>
                  </a:lnTo>
                  <a:lnTo>
                    <a:pt x="543116" y="92583"/>
                  </a:lnTo>
                  <a:lnTo>
                    <a:pt x="539591" y="89821"/>
                  </a:lnTo>
                  <a:lnTo>
                    <a:pt x="539782" y="91440"/>
                  </a:lnTo>
                  <a:lnTo>
                    <a:pt x="538163" y="91631"/>
                  </a:lnTo>
                  <a:lnTo>
                    <a:pt x="537401" y="85344"/>
                  </a:lnTo>
                  <a:lnTo>
                    <a:pt x="535781" y="85534"/>
                  </a:lnTo>
                  <a:lnTo>
                    <a:pt x="534448" y="87249"/>
                  </a:lnTo>
                  <a:lnTo>
                    <a:pt x="527685" y="84963"/>
                  </a:lnTo>
                  <a:lnTo>
                    <a:pt x="529304" y="84773"/>
                  </a:lnTo>
                  <a:lnTo>
                    <a:pt x="528923" y="81534"/>
                  </a:lnTo>
                  <a:lnTo>
                    <a:pt x="521399" y="85725"/>
                  </a:lnTo>
                  <a:lnTo>
                    <a:pt x="516446" y="84773"/>
                  </a:lnTo>
                  <a:lnTo>
                    <a:pt x="516636" y="86296"/>
                  </a:lnTo>
                  <a:lnTo>
                    <a:pt x="512921" y="82010"/>
                  </a:lnTo>
                  <a:lnTo>
                    <a:pt x="508730" y="87344"/>
                  </a:lnTo>
                  <a:lnTo>
                    <a:pt x="503206" y="81629"/>
                  </a:lnTo>
                  <a:lnTo>
                    <a:pt x="500444" y="85154"/>
                  </a:lnTo>
                  <a:lnTo>
                    <a:pt x="496919" y="82486"/>
                  </a:lnTo>
                  <a:lnTo>
                    <a:pt x="496157" y="76105"/>
                  </a:lnTo>
                  <a:lnTo>
                    <a:pt x="494729" y="77915"/>
                  </a:lnTo>
                  <a:lnTo>
                    <a:pt x="493967" y="71628"/>
                  </a:lnTo>
                  <a:lnTo>
                    <a:pt x="488252" y="77152"/>
                  </a:lnTo>
                  <a:lnTo>
                    <a:pt x="486823" y="78962"/>
                  </a:lnTo>
                  <a:lnTo>
                    <a:pt x="483870" y="80867"/>
                  </a:lnTo>
                  <a:lnTo>
                    <a:pt x="483679" y="79343"/>
                  </a:lnTo>
                  <a:lnTo>
                    <a:pt x="482346" y="81058"/>
                  </a:lnTo>
                  <a:lnTo>
                    <a:pt x="483489" y="90583"/>
                  </a:lnTo>
                  <a:lnTo>
                    <a:pt x="478822" y="91154"/>
                  </a:lnTo>
                  <a:lnTo>
                    <a:pt x="473678" y="88582"/>
                  </a:lnTo>
                  <a:lnTo>
                    <a:pt x="471106" y="93726"/>
                  </a:lnTo>
                  <a:lnTo>
                    <a:pt x="472916" y="95155"/>
                  </a:lnTo>
                  <a:lnTo>
                    <a:pt x="476060" y="94679"/>
                  </a:lnTo>
                  <a:lnTo>
                    <a:pt x="476250" y="96298"/>
                  </a:lnTo>
                  <a:lnTo>
                    <a:pt x="472059" y="101632"/>
                  </a:lnTo>
                  <a:lnTo>
                    <a:pt x="463772" y="99536"/>
                  </a:lnTo>
                  <a:lnTo>
                    <a:pt x="460820" y="101441"/>
                  </a:lnTo>
                  <a:lnTo>
                    <a:pt x="459867" y="106394"/>
                  </a:lnTo>
                  <a:lnTo>
                    <a:pt x="456914" y="108394"/>
                  </a:lnTo>
                  <a:lnTo>
                    <a:pt x="450437" y="107632"/>
                  </a:lnTo>
                  <a:lnTo>
                    <a:pt x="451009" y="112300"/>
                  </a:lnTo>
                  <a:lnTo>
                    <a:pt x="448247" y="115919"/>
                  </a:lnTo>
                  <a:lnTo>
                    <a:pt x="443294" y="114967"/>
                  </a:lnTo>
                  <a:lnTo>
                    <a:pt x="443484" y="116491"/>
                  </a:lnTo>
                  <a:lnTo>
                    <a:pt x="439007" y="118681"/>
                  </a:lnTo>
                  <a:lnTo>
                    <a:pt x="439388" y="121825"/>
                  </a:lnTo>
                  <a:lnTo>
                    <a:pt x="436626" y="125444"/>
                  </a:lnTo>
                  <a:lnTo>
                    <a:pt x="432911" y="121063"/>
                  </a:lnTo>
                  <a:lnTo>
                    <a:pt x="423386" y="122301"/>
                  </a:lnTo>
                  <a:lnTo>
                    <a:pt x="425006" y="134874"/>
                  </a:lnTo>
                  <a:lnTo>
                    <a:pt x="421862" y="135350"/>
                  </a:lnTo>
                  <a:lnTo>
                    <a:pt x="423291" y="133540"/>
                  </a:lnTo>
                  <a:lnTo>
                    <a:pt x="418148" y="130969"/>
                  </a:lnTo>
                  <a:lnTo>
                    <a:pt x="415766" y="137731"/>
                  </a:lnTo>
                  <a:lnTo>
                    <a:pt x="405670" y="134207"/>
                  </a:lnTo>
                  <a:lnTo>
                    <a:pt x="397764" y="135160"/>
                  </a:lnTo>
                  <a:lnTo>
                    <a:pt x="393478" y="138970"/>
                  </a:lnTo>
                  <a:lnTo>
                    <a:pt x="392906" y="146971"/>
                  </a:lnTo>
                  <a:lnTo>
                    <a:pt x="400812" y="158877"/>
                  </a:lnTo>
                  <a:lnTo>
                    <a:pt x="400812" y="158877"/>
                  </a:lnTo>
                  <a:lnTo>
                    <a:pt x="401193" y="162020"/>
                  </a:lnTo>
                  <a:lnTo>
                    <a:pt x="397859" y="160782"/>
                  </a:lnTo>
                  <a:lnTo>
                    <a:pt x="394907" y="162782"/>
                  </a:lnTo>
                  <a:lnTo>
                    <a:pt x="398240" y="163925"/>
                  </a:lnTo>
                  <a:lnTo>
                    <a:pt x="393764" y="166116"/>
                  </a:lnTo>
                  <a:lnTo>
                    <a:pt x="398907" y="168688"/>
                  </a:lnTo>
                  <a:lnTo>
                    <a:pt x="399479" y="173450"/>
                  </a:lnTo>
                  <a:lnTo>
                    <a:pt x="395288" y="178784"/>
                  </a:lnTo>
                  <a:lnTo>
                    <a:pt x="393954" y="180594"/>
                  </a:lnTo>
                  <a:lnTo>
                    <a:pt x="390620" y="179356"/>
                  </a:lnTo>
                  <a:lnTo>
                    <a:pt x="387858" y="182975"/>
                  </a:lnTo>
                  <a:lnTo>
                    <a:pt x="384905" y="184880"/>
                  </a:lnTo>
                  <a:lnTo>
                    <a:pt x="380714" y="190310"/>
                  </a:lnTo>
                  <a:lnTo>
                    <a:pt x="377571" y="190690"/>
                  </a:lnTo>
                  <a:lnTo>
                    <a:pt x="377762" y="192215"/>
                  </a:lnTo>
                  <a:lnTo>
                    <a:pt x="378047" y="193834"/>
                  </a:lnTo>
                  <a:lnTo>
                    <a:pt x="371285" y="191452"/>
                  </a:lnTo>
                  <a:lnTo>
                    <a:pt x="372142" y="197739"/>
                  </a:lnTo>
                  <a:lnTo>
                    <a:pt x="372332" y="199358"/>
                  </a:lnTo>
                  <a:lnTo>
                    <a:pt x="368903" y="198215"/>
                  </a:lnTo>
                  <a:lnTo>
                    <a:pt x="360236" y="192881"/>
                  </a:lnTo>
                  <a:lnTo>
                    <a:pt x="356521" y="188500"/>
                  </a:lnTo>
                  <a:lnTo>
                    <a:pt x="356045" y="185356"/>
                  </a:lnTo>
                  <a:lnTo>
                    <a:pt x="350901" y="182785"/>
                  </a:lnTo>
                  <a:lnTo>
                    <a:pt x="344424" y="182023"/>
                  </a:lnTo>
                  <a:lnTo>
                    <a:pt x="337757" y="192500"/>
                  </a:lnTo>
                  <a:lnTo>
                    <a:pt x="327851" y="190595"/>
                  </a:lnTo>
                  <a:lnTo>
                    <a:pt x="321564" y="191357"/>
                  </a:lnTo>
                  <a:lnTo>
                    <a:pt x="318611" y="193357"/>
                  </a:lnTo>
                  <a:lnTo>
                    <a:pt x="317564" y="185452"/>
                  </a:lnTo>
                  <a:lnTo>
                    <a:pt x="310515" y="179927"/>
                  </a:lnTo>
                  <a:lnTo>
                    <a:pt x="304610" y="183928"/>
                  </a:lnTo>
                  <a:lnTo>
                    <a:pt x="299466" y="181356"/>
                  </a:lnTo>
                  <a:lnTo>
                    <a:pt x="299847" y="184499"/>
                  </a:lnTo>
                  <a:lnTo>
                    <a:pt x="296704" y="184976"/>
                  </a:lnTo>
                  <a:lnTo>
                    <a:pt x="294704" y="182023"/>
                  </a:lnTo>
                  <a:lnTo>
                    <a:pt x="295847" y="178594"/>
                  </a:lnTo>
                  <a:lnTo>
                    <a:pt x="292894" y="180594"/>
                  </a:lnTo>
                  <a:lnTo>
                    <a:pt x="293942" y="175641"/>
                  </a:lnTo>
                  <a:lnTo>
                    <a:pt x="290513" y="174498"/>
                  </a:lnTo>
                  <a:lnTo>
                    <a:pt x="284226" y="175260"/>
                  </a:lnTo>
                  <a:lnTo>
                    <a:pt x="280702" y="172498"/>
                  </a:lnTo>
                  <a:lnTo>
                    <a:pt x="275749" y="171545"/>
                  </a:lnTo>
                  <a:lnTo>
                    <a:pt x="274796" y="176498"/>
                  </a:lnTo>
                  <a:lnTo>
                    <a:pt x="270224" y="178689"/>
                  </a:lnTo>
                  <a:lnTo>
                    <a:pt x="264509" y="184214"/>
                  </a:lnTo>
                  <a:lnTo>
                    <a:pt x="260794" y="179927"/>
                  </a:lnTo>
                  <a:lnTo>
                    <a:pt x="258794" y="176974"/>
                  </a:lnTo>
                  <a:lnTo>
                    <a:pt x="257365" y="178689"/>
                  </a:lnTo>
                  <a:lnTo>
                    <a:pt x="256032" y="180499"/>
                  </a:lnTo>
                  <a:lnTo>
                    <a:pt x="249936" y="182880"/>
                  </a:lnTo>
                  <a:lnTo>
                    <a:pt x="244602" y="178784"/>
                  </a:lnTo>
                  <a:lnTo>
                    <a:pt x="243364" y="182118"/>
                  </a:lnTo>
                  <a:lnTo>
                    <a:pt x="234982" y="191167"/>
                  </a:lnTo>
                  <a:lnTo>
                    <a:pt x="230219" y="191833"/>
                  </a:lnTo>
                  <a:lnTo>
                    <a:pt x="223266" y="187833"/>
                  </a:lnTo>
                  <a:lnTo>
                    <a:pt x="216599" y="185547"/>
                  </a:lnTo>
                  <a:lnTo>
                    <a:pt x="215170" y="187261"/>
                  </a:lnTo>
                  <a:lnTo>
                    <a:pt x="220694" y="192977"/>
                  </a:lnTo>
                  <a:lnTo>
                    <a:pt x="221933" y="202502"/>
                  </a:lnTo>
                  <a:lnTo>
                    <a:pt x="207550" y="202692"/>
                  </a:lnTo>
                  <a:lnTo>
                    <a:pt x="195072" y="205931"/>
                  </a:lnTo>
                  <a:lnTo>
                    <a:pt x="195358" y="207455"/>
                  </a:lnTo>
                  <a:lnTo>
                    <a:pt x="198882" y="210217"/>
                  </a:lnTo>
                  <a:lnTo>
                    <a:pt x="200311" y="221266"/>
                  </a:lnTo>
                  <a:lnTo>
                    <a:pt x="200882" y="226028"/>
                  </a:lnTo>
                  <a:lnTo>
                    <a:pt x="192596" y="223837"/>
                  </a:lnTo>
                  <a:lnTo>
                    <a:pt x="193929" y="222123"/>
                  </a:lnTo>
                  <a:lnTo>
                    <a:pt x="192024" y="219170"/>
                  </a:lnTo>
                  <a:lnTo>
                    <a:pt x="190214" y="204883"/>
                  </a:lnTo>
                  <a:lnTo>
                    <a:pt x="184594" y="199168"/>
                  </a:lnTo>
                  <a:lnTo>
                    <a:pt x="174593" y="195644"/>
                  </a:lnTo>
                  <a:lnTo>
                    <a:pt x="160401" y="197453"/>
                  </a:lnTo>
                  <a:lnTo>
                    <a:pt x="160782" y="200692"/>
                  </a:lnTo>
                  <a:lnTo>
                    <a:pt x="157448" y="199453"/>
                  </a:lnTo>
                  <a:lnTo>
                    <a:pt x="157829" y="202597"/>
                  </a:lnTo>
                  <a:lnTo>
                    <a:pt x="153067" y="203264"/>
                  </a:lnTo>
                  <a:lnTo>
                    <a:pt x="150114" y="205169"/>
                  </a:lnTo>
                  <a:lnTo>
                    <a:pt x="149924" y="216408"/>
                  </a:lnTo>
                  <a:lnTo>
                    <a:pt x="143256" y="214122"/>
                  </a:lnTo>
                  <a:lnTo>
                    <a:pt x="139351" y="220980"/>
                  </a:lnTo>
                  <a:lnTo>
                    <a:pt x="136684" y="213360"/>
                  </a:lnTo>
                  <a:lnTo>
                    <a:pt x="129635" y="207836"/>
                  </a:lnTo>
                  <a:lnTo>
                    <a:pt x="118586" y="209264"/>
                  </a:lnTo>
                  <a:lnTo>
                    <a:pt x="108490" y="205740"/>
                  </a:lnTo>
                  <a:lnTo>
                    <a:pt x="106299" y="214027"/>
                  </a:lnTo>
                  <a:lnTo>
                    <a:pt x="100870" y="221075"/>
                  </a:lnTo>
                  <a:lnTo>
                    <a:pt x="97631" y="221552"/>
                  </a:lnTo>
                  <a:lnTo>
                    <a:pt x="87630" y="230791"/>
                  </a:lnTo>
                  <a:lnTo>
                    <a:pt x="85058" y="235934"/>
                  </a:lnTo>
                  <a:lnTo>
                    <a:pt x="86106" y="243840"/>
                  </a:lnTo>
                  <a:lnTo>
                    <a:pt x="82201" y="250793"/>
                  </a:lnTo>
                  <a:lnTo>
                    <a:pt x="79820" y="257461"/>
                  </a:lnTo>
                  <a:lnTo>
                    <a:pt x="70295" y="258699"/>
                  </a:lnTo>
                  <a:lnTo>
                    <a:pt x="70009" y="281178"/>
                  </a:lnTo>
                  <a:lnTo>
                    <a:pt x="68199" y="279749"/>
                  </a:lnTo>
                  <a:lnTo>
                    <a:pt x="64865" y="278606"/>
                  </a:lnTo>
                  <a:lnTo>
                    <a:pt x="62865" y="275653"/>
                  </a:lnTo>
                  <a:lnTo>
                    <a:pt x="59722" y="276035"/>
                  </a:lnTo>
                  <a:lnTo>
                    <a:pt x="55626" y="281369"/>
                  </a:lnTo>
                  <a:lnTo>
                    <a:pt x="51435" y="286703"/>
                  </a:lnTo>
                  <a:lnTo>
                    <a:pt x="54007" y="294418"/>
                  </a:lnTo>
                  <a:lnTo>
                    <a:pt x="53245" y="300990"/>
                  </a:lnTo>
                  <a:lnTo>
                    <a:pt x="50959" y="307657"/>
                  </a:lnTo>
                  <a:lnTo>
                    <a:pt x="46387" y="309848"/>
                  </a:lnTo>
                  <a:lnTo>
                    <a:pt x="45053" y="311658"/>
                  </a:lnTo>
                  <a:lnTo>
                    <a:pt x="49816" y="323850"/>
                  </a:lnTo>
                  <a:lnTo>
                    <a:pt x="45625" y="329184"/>
                  </a:lnTo>
                  <a:lnTo>
                    <a:pt x="52578" y="333089"/>
                  </a:lnTo>
                  <a:lnTo>
                    <a:pt x="51340" y="336423"/>
                  </a:lnTo>
                  <a:lnTo>
                    <a:pt x="50197" y="339852"/>
                  </a:lnTo>
                  <a:lnTo>
                    <a:pt x="48196" y="336899"/>
                  </a:lnTo>
                  <a:lnTo>
                    <a:pt x="3524" y="363379"/>
                  </a:lnTo>
                  <a:lnTo>
                    <a:pt x="0" y="373475"/>
                  </a:lnTo>
                  <a:lnTo>
                    <a:pt x="2381" y="379571"/>
                  </a:lnTo>
                  <a:lnTo>
                    <a:pt x="1333" y="384524"/>
                  </a:lnTo>
                  <a:lnTo>
                    <a:pt x="3715" y="390620"/>
                  </a:lnTo>
                  <a:lnTo>
                    <a:pt x="7525" y="395002"/>
                  </a:lnTo>
                  <a:lnTo>
                    <a:pt x="6382" y="398336"/>
                  </a:lnTo>
                  <a:lnTo>
                    <a:pt x="14669" y="400526"/>
                  </a:lnTo>
                  <a:lnTo>
                    <a:pt x="16573" y="403479"/>
                  </a:lnTo>
                  <a:lnTo>
                    <a:pt x="17621" y="411290"/>
                  </a:lnTo>
                  <a:lnTo>
                    <a:pt x="24765" y="429673"/>
                  </a:lnTo>
                  <a:lnTo>
                    <a:pt x="30099" y="433769"/>
                  </a:lnTo>
                  <a:lnTo>
                    <a:pt x="38195" y="434340"/>
                  </a:lnTo>
                  <a:lnTo>
                    <a:pt x="55626" y="445008"/>
                  </a:lnTo>
                  <a:lnTo>
                    <a:pt x="56388" y="451294"/>
                  </a:lnTo>
                  <a:lnTo>
                    <a:pt x="63341" y="455200"/>
                  </a:lnTo>
                  <a:lnTo>
                    <a:pt x="68008" y="454628"/>
                  </a:lnTo>
                  <a:lnTo>
                    <a:pt x="69818" y="455962"/>
                  </a:lnTo>
                  <a:lnTo>
                    <a:pt x="77533" y="453390"/>
                  </a:lnTo>
                  <a:lnTo>
                    <a:pt x="82487" y="454343"/>
                  </a:lnTo>
                  <a:lnTo>
                    <a:pt x="82106" y="464058"/>
                  </a:lnTo>
                  <a:lnTo>
                    <a:pt x="87058" y="477869"/>
                  </a:lnTo>
                  <a:lnTo>
                    <a:pt x="81534" y="485013"/>
                  </a:lnTo>
                  <a:lnTo>
                    <a:pt x="84106" y="492633"/>
                  </a:lnTo>
                  <a:lnTo>
                    <a:pt x="78391" y="498253"/>
                  </a:lnTo>
                  <a:lnTo>
                    <a:pt x="77248" y="501586"/>
                  </a:lnTo>
                  <a:lnTo>
                    <a:pt x="79248" y="504539"/>
                  </a:lnTo>
                  <a:lnTo>
                    <a:pt x="84106" y="505492"/>
                  </a:lnTo>
                  <a:lnTo>
                    <a:pt x="85916" y="506825"/>
                  </a:lnTo>
                  <a:lnTo>
                    <a:pt x="84773" y="510254"/>
                  </a:lnTo>
                  <a:lnTo>
                    <a:pt x="80582" y="515588"/>
                  </a:lnTo>
                  <a:lnTo>
                    <a:pt x="81439" y="521875"/>
                  </a:lnTo>
                  <a:lnTo>
                    <a:pt x="89726" y="524065"/>
                  </a:lnTo>
                  <a:lnTo>
                    <a:pt x="88297" y="525780"/>
                  </a:lnTo>
                  <a:lnTo>
                    <a:pt x="83820" y="527971"/>
                  </a:lnTo>
                  <a:lnTo>
                    <a:pt x="84392" y="532733"/>
                  </a:lnTo>
                  <a:lnTo>
                    <a:pt x="90964" y="533495"/>
                  </a:lnTo>
                  <a:lnTo>
                    <a:pt x="96869" y="529495"/>
                  </a:lnTo>
                  <a:lnTo>
                    <a:pt x="104965" y="530066"/>
                  </a:lnTo>
                  <a:lnTo>
                    <a:pt x="106870" y="533114"/>
                  </a:lnTo>
                  <a:lnTo>
                    <a:pt x="105537" y="534829"/>
                  </a:lnTo>
                  <a:lnTo>
                    <a:pt x="104108" y="536639"/>
                  </a:lnTo>
                  <a:lnTo>
                    <a:pt x="108299" y="544068"/>
                  </a:lnTo>
                  <a:lnTo>
                    <a:pt x="108585" y="558546"/>
                  </a:lnTo>
                  <a:lnTo>
                    <a:pt x="118205" y="571690"/>
                  </a:lnTo>
                  <a:lnTo>
                    <a:pt x="114110" y="589883"/>
                  </a:lnTo>
                  <a:lnTo>
                    <a:pt x="115729" y="602456"/>
                  </a:lnTo>
                  <a:lnTo>
                    <a:pt x="119348" y="605219"/>
                  </a:lnTo>
                  <a:lnTo>
                    <a:pt x="121920" y="612934"/>
                  </a:lnTo>
                  <a:lnTo>
                    <a:pt x="126016" y="620458"/>
                  </a:lnTo>
                  <a:lnTo>
                    <a:pt x="129445" y="621602"/>
                  </a:lnTo>
                  <a:lnTo>
                    <a:pt x="125254" y="626936"/>
                  </a:lnTo>
                  <a:lnTo>
                    <a:pt x="135922" y="635222"/>
                  </a:lnTo>
                  <a:lnTo>
                    <a:pt x="140875" y="636175"/>
                  </a:lnTo>
                  <a:lnTo>
                    <a:pt x="142875" y="639128"/>
                  </a:lnTo>
                  <a:lnTo>
                    <a:pt x="145828" y="637127"/>
                  </a:lnTo>
                  <a:lnTo>
                    <a:pt x="147828" y="640080"/>
                  </a:lnTo>
                  <a:lnTo>
                    <a:pt x="152495" y="639508"/>
                  </a:lnTo>
                  <a:lnTo>
                    <a:pt x="153734" y="636175"/>
                  </a:lnTo>
                  <a:lnTo>
                    <a:pt x="158210" y="633984"/>
                  </a:lnTo>
                  <a:lnTo>
                    <a:pt x="162973" y="646176"/>
                  </a:lnTo>
                  <a:lnTo>
                    <a:pt x="162020" y="651129"/>
                  </a:lnTo>
                  <a:lnTo>
                    <a:pt x="161639" y="660845"/>
                  </a:lnTo>
                  <a:lnTo>
                    <a:pt x="159544" y="669131"/>
                  </a:lnTo>
                  <a:lnTo>
                    <a:pt x="162306" y="678370"/>
                  </a:lnTo>
                  <a:lnTo>
                    <a:pt x="161735" y="686467"/>
                  </a:lnTo>
                  <a:lnTo>
                    <a:pt x="153638" y="698754"/>
                  </a:lnTo>
                  <a:lnTo>
                    <a:pt x="156782" y="698278"/>
                  </a:lnTo>
                  <a:lnTo>
                    <a:pt x="161163" y="707327"/>
                  </a:lnTo>
                  <a:lnTo>
                    <a:pt x="164497" y="708565"/>
                  </a:lnTo>
                  <a:lnTo>
                    <a:pt x="170116" y="727043"/>
                  </a:lnTo>
                  <a:lnTo>
                    <a:pt x="168974" y="730472"/>
                  </a:lnTo>
                  <a:lnTo>
                    <a:pt x="170307" y="741521"/>
                  </a:lnTo>
                  <a:lnTo>
                    <a:pt x="167831" y="746665"/>
                  </a:lnTo>
                  <a:lnTo>
                    <a:pt x="185166" y="757237"/>
                  </a:lnTo>
                  <a:lnTo>
                    <a:pt x="206312" y="759333"/>
                  </a:lnTo>
                  <a:lnTo>
                    <a:pt x="209455" y="771811"/>
                  </a:lnTo>
                  <a:lnTo>
                    <a:pt x="222885" y="776478"/>
                  </a:lnTo>
                  <a:lnTo>
                    <a:pt x="239744" y="795147"/>
                  </a:lnTo>
                  <a:lnTo>
                    <a:pt x="241554" y="809435"/>
                  </a:lnTo>
                  <a:lnTo>
                    <a:pt x="239363" y="817721"/>
                  </a:lnTo>
                  <a:lnTo>
                    <a:pt x="245745" y="829723"/>
                  </a:lnTo>
                  <a:lnTo>
                    <a:pt x="252413" y="832009"/>
                  </a:lnTo>
                  <a:lnTo>
                    <a:pt x="254603" y="836581"/>
                  </a:lnTo>
                  <a:lnTo>
                    <a:pt x="252698" y="846487"/>
                  </a:lnTo>
                  <a:lnTo>
                    <a:pt x="253079" y="849630"/>
                  </a:lnTo>
                  <a:lnTo>
                    <a:pt x="256413" y="850773"/>
                  </a:lnTo>
                  <a:lnTo>
                    <a:pt x="266700" y="855916"/>
                  </a:lnTo>
                  <a:lnTo>
                    <a:pt x="276797" y="859441"/>
                  </a:lnTo>
                  <a:lnTo>
                    <a:pt x="294323" y="858774"/>
                  </a:lnTo>
                  <a:lnTo>
                    <a:pt x="299085" y="858203"/>
                  </a:lnTo>
                  <a:lnTo>
                    <a:pt x="300419" y="856393"/>
                  </a:lnTo>
                  <a:lnTo>
                    <a:pt x="302038" y="856202"/>
                  </a:lnTo>
                  <a:lnTo>
                    <a:pt x="306229" y="863727"/>
                  </a:lnTo>
                  <a:lnTo>
                    <a:pt x="310706" y="861536"/>
                  </a:lnTo>
                  <a:lnTo>
                    <a:pt x="321374" y="869823"/>
                  </a:lnTo>
                  <a:lnTo>
                    <a:pt x="329660" y="871919"/>
                  </a:lnTo>
                  <a:lnTo>
                    <a:pt x="328517" y="862489"/>
                  </a:lnTo>
                  <a:lnTo>
                    <a:pt x="326136" y="856393"/>
                  </a:lnTo>
                  <a:lnTo>
                    <a:pt x="325279" y="850011"/>
                  </a:lnTo>
                  <a:lnTo>
                    <a:pt x="341662" y="852773"/>
                  </a:lnTo>
                  <a:lnTo>
                    <a:pt x="348615" y="856678"/>
                  </a:lnTo>
                  <a:lnTo>
                    <a:pt x="352139" y="859441"/>
                  </a:lnTo>
                  <a:lnTo>
                    <a:pt x="359855" y="856869"/>
                  </a:lnTo>
                  <a:lnTo>
                    <a:pt x="366808" y="860774"/>
                  </a:lnTo>
                  <a:lnTo>
                    <a:pt x="371475" y="860203"/>
                  </a:lnTo>
                  <a:lnTo>
                    <a:pt x="374809" y="861346"/>
                  </a:lnTo>
                  <a:lnTo>
                    <a:pt x="380429" y="867061"/>
                  </a:lnTo>
                  <a:lnTo>
                    <a:pt x="383572" y="866680"/>
                  </a:lnTo>
                  <a:lnTo>
                    <a:pt x="390430" y="870585"/>
                  </a:lnTo>
                  <a:lnTo>
                    <a:pt x="400145" y="883825"/>
                  </a:lnTo>
                  <a:lnTo>
                    <a:pt x="404336" y="891254"/>
                  </a:lnTo>
                  <a:lnTo>
                    <a:pt x="411671" y="898398"/>
                  </a:lnTo>
                  <a:lnTo>
                    <a:pt x="414052" y="904494"/>
                  </a:lnTo>
                  <a:lnTo>
                    <a:pt x="428816" y="907447"/>
                  </a:lnTo>
                  <a:lnTo>
                    <a:pt x="429673" y="926592"/>
                  </a:lnTo>
                  <a:lnTo>
                    <a:pt x="428339" y="928307"/>
                  </a:lnTo>
                  <a:lnTo>
                    <a:pt x="425958" y="935069"/>
                  </a:lnTo>
                  <a:lnTo>
                    <a:pt x="431292" y="952024"/>
                  </a:lnTo>
                  <a:lnTo>
                    <a:pt x="445960" y="953357"/>
                  </a:lnTo>
                  <a:lnTo>
                    <a:pt x="447866" y="956310"/>
                  </a:lnTo>
                  <a:lnTo>
                    <a:pt x="446913" y="961263"/>
                  </a:lnTo>
                  <a:lnTo>
                    <a:pt x="449294" y="967359"/>
                  </a:lnTo>
                  <a:lnTo>
                    <a:pt x="454438" y="969931"/>
                  </a:lnTo>
                  <a:lnTo>
                    <a:pt x="458152" y="974217"/>
                  </a:lnTo>
                  <a:lnTo>
                    <a:pt x="464534" y="973455"/>
                  </a:lnTo>
                  <a:lnTo>
                    <a:pt x="466725" y="977932"/>
                  </a:lnTo>
                  <a:lnTo>
                    <a:pt x="469106" y="984028"/>
                  </a:lnTo>
                  <a:lnTo>
                    <a:pt x="467106" y="993934"/>
                  </a:lnTo>
                  <a:lnTo>
                    <a:pt x="486537" y="1007555"/>
                  </a:lnTo>
                  <a:lnTo>
                    <a:pt x="485966" y="1015651"/>
                  </a:lnTo>
                  <a:lnTo>
                    <a:pt x="483394" y="1020699"/>
                  </a:lnTo>
                  <a:lnTo>
                    <a:pt x="483775" y="1023937"/>
                  </a:lnTo>
                  <a:lnTo>
                    <a:pt x="492824" y="1032320"/>
                  </a:lnTo>
                  <a:lnTo>
                    <a:pt x="497586" y="1031748"/>
                  </a:lnTo>
                  <a:lnTo>
                    <a:pt x="503301" y="1039082"/>
                  </a:lnTo>
                  <a:lnTo>
                    <a:pt x="505111" y="1040416"/>
                  </a:lnTo>
                  <a:lnTo>
                    <a:pt x="509302" y="1047940"/>
                  </a:lnTo>
                  <a:lnTo>
                    <a:pt x="520351" y="1059371"/>
                  </a:lnTo>
                  <a:lnTo>
                    <a:pt x="526828" y="1060133"/>
                  </a:lnTo>
                  <a:lnTo>
                    <a:pt x="528828" y="1063085"/>
                  </a:lnTo>
                  <a:lnTo>
                    <a:pt x="530066" y="1072515"/>
                  </a:lnTo>
                  <a:lnTo>
                    <a:pt x="524732" y="1094041"/>
                  </a:lnTo>
                  <a:lnTo>
                    <a:pt x="534257" y="1105662"/>
                  </a:lnTo>
                  <a:lnTo>
                    <a:pt x="550450" y="1119664"/>
                  </a:lnTo>
                  <a:lnTo>
                    <a:pt x="571024" y="1129856"/>
                  </a:lnTo>
                  <a:lnTo>
                    <a:pt x="587978" y="1124522"/>
                  </a:lnTo>
                  <a:lnTo>
                    <a:pt x="603790" y="1122426"/>
                  </a:lnTo>
                  <a:lnTo>
                    <a:pt x="608933" y="1124998"/>
                  </a:lnTo>
                  <a:lnTo>
                    <a:pt x="623792" y="1140809"/>
                  </a:lnTo>
                  <a:lnTo>
                    <a:pt x="628841" y="1143286"/>
                  </a:lnTo>
                  <a:lnTo>
                    <a:pt x="634270" y="1147477"/>
                  </a:lnTo>
                  <a:lnTo>
                    <a:pt x="634841" y="1152239"/>
                  </a:lnTo>
                  <a:lnTo>
                    <a:pt x="641509" y="1154525"/>
                  </a:lnTo>
                  <a:lnTo>
                    <a:pt x="647319" y="1161860"/>
                  </a:lnTo>
                  <a:lnTo>
                    <a:pt x="649891" y="1169480"/>
                  </a:lnTo>
                  <a:lnTo>
                    <a:pt x="655225" y="1173671"/>
                  </a:lnTo>
                  <a:lnTo>
                    <a:pt x="661130" y="1182529"/>
                  </a:lnTo>
                  <a:lnTo>
                    <a:pt x="662940" y="1183862"/>
                  </a:lnTo>
                  <a:lnTo>
                    <a:pt x="666464" y="1186625"/>
                  </a:lnTo>
                  <a:lnTo>
                    <a:pt x="671227" y="1198912"/>
                  </a:lnTo>
                  <a:lnTo>
                    <a:pt x="675989" y="1198245"/>
                  </a:lnTo>
                  <a:lnTo>
                    <a:pt x="676561" y="1203008"/>
                  </a:lnTo>
                  <a:lnTo>
                    <a:pt x="681323" y="1202436"/>
                  </a:lnTo>
                  <a:lnTo>
                    <a:pt x="684848" y="1205198"/>
                  </a:lnTo>
                  <a:lnTo>
                    <a:pt x="684086" y="1211675"/>
                  </a:lnTo>
                  <a:lnTo>
                    <a:pt x="681323" y="1215200"/>
                  </a:lnTo>
                  <a:lnTo>
                    <a:pt x="681323" y="1215200"/>
                  </a:lnTo>
                  <a:lnTo>
                    <a:pt x="685324" y="1221105"/>
                  </a:lnTo>
                  <a:lnTo>
                    <a:pt x="690467" y="1236536"/>
                  </a:lnTo>
                  <a:lnTo>
                    <a:pt x="687705" y="1240060"/>
                  </a:lnTo>
                  <a:lnTo>
                    <a:pt x="685610" y="1248347"/>
                  </a:lnTo>
                  <a:lnTo>
                    <a:pt x="691706" y="1258824"/>
                  </a:lnTo>
                  <a:lnTo>
                    <a:pt x="691896" y="1260348"/>
                  </a:lnTo>
                  <a:lnTo>
                    <a:pt x="688181" y="1268921"/>
                  </a:lnTo>
                  <a:lnTo>
                    <a:pt x="686276" y="1278731"/>
                  </a:lnTo>
                  <a:lnTo>
                    <a:pt x="703802" y="1290923"/>
                  </a:lnTo>
                  <a:lnTo>
                    <a:pt x="704469" y="1295686"/>
                  </a:lnTo>
                  <a:lnTo>
                    <a:pt x="709327" y="1296638"/>
                  </a:lnTo>
                  <a:lnTo>
                    <a:pt x="716661" y="1303687"/>
                  </a:lnTo>
                  <a:lnTo>
                    <a:pt x="728567" y="1308640"/>
                  </a:lnTo>
                  <a:lnTo>
                    <a:pt x="734282" y="1315974"/>
                  </a:lnTo>
                  <a:lnTo>
                    <a:pt x="744569" y="1321022"/>
                  </a:lnTo>
                  <a:lnTo>
                    <a:pt x="745141" y="1325785"/>
                  </a:lnTo>
                  <a:lnTo>
                    <a:pt x="753999" y="1332643"/>
                  </a:lnTo>
                  <a:lnTo>
                    <a:pt x="761905" y="1331690"/>
                  </a:lnTo>
                  <a:lnTo>
                    <a:pt x="760857" y="1310926"/>
                  </a:lnTo>
                  <a:lnTo>
                    <a:pt x="762857" y="1301020"/>
                  </a:lnTo>
                  <a:lnTo>
                    <a:pt x="767810" y="1302068"/>
                  </a:lnTo>
                  <a:lnTo>
                    <a:pt x="775049" y="1296257"/>
                  </a:lnTo>
                  <a:lnTo>
                    <a:pt x="779812" y="1295686"/>
                  </a:lnTo>
                  <a:lnTo>
                    <a:pt x="788861" y="1304163"/>
                  </a:lnTo>
                  <a:lnTo>
                    <a:pt x="793623" y="1303591"/>
                  </a:lnTo>
                  <a:lnTo>
                    <a:pt x="792671" y="1295686"/>
                  </a:lnTo>
                  <a:lnTo>
                    <a:pt x="793623" y="1290733"/>
                  </a:lnTo>
                  <a:lnTo>
                    <a:pt x="786860" y="1288352"/>
                  </a:lnTo>
                  <a:lnTo>
                    <a:pt x="782955" y="1282446"/>
                  </a:lnTo>
                  <a:lnTo>
                    <a:pt x="785051" y="1274159"/>
                  </a:lnTo>
                  <a:lnTo>
                    <a:pt x="784479" y="1269397"/>
                  </a:lnTo>
                  <a:lnTo>
                    <a:pt x="789813" y="1260729"/>
                  </a:lnTo>
                  <a:lnTo>
                    <a:pt x="789146" y="1255966"/>
                  </a:lnTo>
                  <a:lnTo>
                    <a:pt x="790004" y="1249490"/>
                  </a:lnTo>
                  <a:lnTo>
                    <a:pt x="788003" y="1246537"/>
                  </a:lnTo>
                  <a:lnTo>
                    <a:pt x="796195" y="1235869"/>
                  </a:lnTo>
                  <a:lnTo>
                    <a:pt x="798005" y="1224439"/>
                  </a:lnTo>
                  <a:lnTo>
                    <a:pt x="807625" y="1211961"/>
                  </a:lnTo>
                  <a:lnTo>
                    <a:pt x="807244" y="1208818"/>
                  </a:lnTo>
                  <a:lnTo>
                    <a:pt x="808768" y="1208627"/>
                  </a:lnTo>
                  <a:lnTo>
                    <a:pt x="810768" y="1211580"/>
                  </a:lnTo>
                  <a:lnTo>
                    <a:pt x="814102" y="1212723"/>
                  </a:lnTo>
                  <a:lnTo>
                    <a:pt x="817912" y="1217105"/>
                  </a:lnTo>
                  <a:lnTo>
                    <a:pt x="830675" y="1204246"/>
                  </a:lnTo>
                  <a:lnTo>
                    <a:pt x="832866" y="1195959"/>
                  </a:lnTo>
                  <a:lnTo>
                    <a:pt x="834009" y="1192530"/>
                  </a:lnTo>
                  <a:lnTo>
                    <a:pt x="833247" y="1186244"/>
                  </a:lnTo>
                  <a:lnTo>
                    <a:pt x="825341" y="1174433"/>
                  </a:lnTo>
                  <a:lnTo>
                    <a:pt x="827437" y="1166146"/>
                  </a:lnTo>
                  <a:lnTo>
                    <a:pt x="825437" y="1163193"/>
                  </a:lnTo>
                  <a:lnTo>
                    <a:pt x="818388" y="1157669"/>
                  </a:lnTo>
                  <a:lnTo>
                    <a:pt x="815531" y="1148429"/>
                  </a:lnTo>
                  <a:lnTo>
                    <a:pt x="815340" y="1146810"/>
                  </a:lnTo>
                  <a:lnTo>
                    <a:pt x="826199" y="1143857"/>
                  </a:lnTo>
                  <a:lnTo>
                    <a:pt x="827342" y="1140524"/>
                  </a:lnTo>
                  <a:lnTo>
                    <a:pt x="825818" y="1127855"/>
                  </a:lnTo>
                  <a:lnTo>
                    <a:pt x="822389" y="1126712"/>
                  </a:lnTo>
                  <a:lnTo>
                    <a:pt x="823436" y="1121759"/>
                  </a:lnTo>
                  <a:lnTo>
                    <a:pt x="824579" y="1118426"/>
                  </a:lnTo>
                  <a:lnTo>
                    <a:pt x="824389" y="1116806"/>
                  </a:lnTo>
                  <a:lnTo>
                    <a:pt x="826675" y="1110139"/>
                  </a:lnTo>
                  <a:lnTo>
                    <a:pt x="829723" y="1108139"/>
                  </a:lnTo>
                  <a:lnTo>
                    <a:pt x="831056" y="1106329"/>
                  </a:lnTo>
                  <a:lnTo>
                    <a:pt x="829056" y="1103376"/>
                  </a:lnTo>
                  <a:lnTo>
                    <a:pt x="822389" y="1100995"/>
                  </a:lnTo>
                  <a:lnTo>
                    <a:pt x="822198" y="1099471"/>
                  </a:lnTo>
                  <a:lnTo>
                    <a:pt x="823532" y="1097661"/>
                  </a:lnTo>
                  <a:lnTo>
                    <a:pt x="836581" y="1099185"/>
                  </a:lnTo>
                  <a:lnTo>
                    <a:pt x="836771" y="1100804"/>
                  </a:lnTo>
                  <a:lnTo>
                    <a:pt x="833819" y="1102805"/>
                  </a:lnTo>
                  <a:lnTo>
                    <a:pt x="842296" y="1106519"/>
                  </a:lnTo>
                  <a:lnTo>
                    <a:pt x="847058" y="1105948"/>
                  </a:lnTo>
                  <a:lnTo>
                    <a:pt x="849059" y="1108901"/>
                  </a:lnTo>
                  <a:lnTo>
                    <a:pt x="850964" y="1111853"/>
                  </a:lnTo>
                  <a:lnTo>
                    <a:pt x="861060" y="1102519"/>
                  </a:lnTo>
                  <a:lnTo>
                    <a:pt x="862013" y="1097566"/>
                  </a:lnTo>
                  <a:lnTo>
                    <a:pt x="866966" y="1098518"/>
                  </a:lnTo>
                  <a:lnTo>
                    <a:pt x="869918" y="1096613"/>
                  </a:lnTo>
                  <a:lnTo>
                    <a:pt x="869537" y="1093470"/>
                  </a:lnTo>
                  <a:lnTo>
                    <a:pt x="872490" y="1091470"/>
                  </a:lnTo>
                  <a:lnTo>
                    <a:pt x="871823" y="1086707"/>
                  </a:lnTo>
                  <a:lnTo>
                    <a:pt x="879920" y="1087279"/>
                  </a:lnTo>
                  <a:lnTo>
                    <a:pt x="884301" y="1083564"/>
                  </a:lnTo>
                  <a:lnTo>
                    <a:pt x="886016" y="1084898"/>
                  </a:lnTo>
                  <a:lnTo>
                    <a:pt x="888778" y="1081373"/>
                  </a:lnTo>
                  <a:lnTo>
                    <a:pt x="892397" y="1084136"/>
                  </a:lnTo>
                  <a:lnTo>
                    <a:pt x="893921" y="1083850"/>
                  </a:lnTo>
                  <a:lnTo>
                    <a:pt x="894588" y="1088612"/>
                  </a:lnTo>
                  <a:lnTo>
                    <a:pt x="895731" y="1085279"/>
                  </a:lnTo>
                  <a:lnTo>
                    <a:pt x="898493" y="1081754"/>
                  </a:lnTo>
                  <a:lnTo>
                    <a:pt x="898303" y="1080135"/>
                  </a:lnTo>
                  <a:lnTo>
                    <a:pt x="895350" y="1082135"/>
                  </a:lnTo>
                  <a:lnTo>
                    <a:pt x="895160" y="1080516"/>
                  </a:lnTo>
                  <a:lnTo>
                    <a:pt x="893731" y="1082326"/>
                  </a:lnTo>
                  <a:lnTo>
                    <a:pt x="891731" y="1079373"/>
                  </a:lnTo>
                  <a:lnTo>
                    <a:pt x="896302" y="1077182"/>
                  </a:lnTo>
                  <a:lnTo>
                    <a:pt x="896112" y="1075563"/>
                  </a:lnTo>
                  <a:lnTo>
                    <a:pt x="895445" y="1058037"/>
                  </a:lnTo>
                  <a:lnTo>
                    <a:pt x="902303" y="1049179"/>
                  </a:lnTo>
                  <a:lnTo>
                    <a:pt x="905542" y="1048703"/>
                  </a:lnTo>
                  <a:lnTo>
                    <a:pt x="910685" y="1051274"/>
                  </a:lnTo>
                  <a:lnTo>
                    <a:pt x="914972" y="1047560"/>
                  </a:lnTo>
                  <a:lnTo>
                    <a:pt x="912400" y="1039844"/>
                  </a:lnTo>
                  <a:lnTo>
                    <a:pt x="911352" y="1031939"/>
                  </a:lnTo>
                  <a:lnTo>
                    <a:pt x="908018" y="1030795"/>
                  </a:lnTo>
                  <a:lnTo>
                    <a:pt x="909161" y="1027462"/>
                  </a:lnTo>
                  <a:lnTo>
                    <a:pt x="907637" y="1027652"/>
                  </a:lnTo>
                  <a:lnTo>
                    <a:pt x="899351" y="1025461"/>
                  </a:lnTo>
                  <a:lnTo>
                    <a:pt x="899732" y="1015841"/>
                  </a:lnTo>
                  <a:lnTo>
                    <a:pt x="896969" y="1019365"/>
                  </a:lnTo>
                  <a:lnTo>
                    <a:pt x="896112" y="1013079"/>
                  </a:lnTo>
                  <a:lnTo>
                    <a:pt x="897731" y="1012889"/>
                  </a:lnTo>
                  <a:lnTo>
                    <a:pt x="894588" y="1013270"/>
                  </a:lnTo>
                  <a:lnTo>
                    <a:pt x="893921" y="1008507"/>
                  </a:lnTo>
                  <a:lnTo>
                    <a:pt x="895350" y="1006697"/>
                  </a:lnTo>
                  <a:lnTo>
                    <a:pt x="898684" y="1007936"/>
                  </a:lnTo>
                  <a:lnTo>
                    <a:pt x="898303" y="1004792"/>
                  </a:lnTo>
                  <a:lnTo>
                    <a:pt x="896493" y="1003364"/>
                  </a:lnTo>
                  <a:lnTo>
                    <a:pt x="902208" y="997839"/>
                  </a:lnTo>
                  <a:lnTo>
                    <a:pt x="908971" y="1000220"/>
                  </a:lnTo>
                  <a:lnTo>
                    <a:pt x="908114" y="993839"/>
                  </a:lnTo>
                  <a:lnTo>
                    <a:pt x="906399" y="992505"/>
                  </a:lnTo>
                  <a:lnTo>
                    <a:pt x="907352" y="987552"/>
                  </a:lnTo>
                  <a:lnTo>
                    <a:pt x="912495" y="990124"/>
                  </a:lnTo>
                  <a:lnTo>
                    <a:pt x="912686" y="991743"/>
                  </a:lnTo>
                  <a:lnTo>
                    <a:pt x="919163" y="992505"/>
                  </a:lnTo>
                  <a:lnTo>
                    <a:pt x="920782" y="992315"/>
                  </a:lnTo>
                  <a:lnTo>
                    <a:pt x="916781" y="986314"/>
                  </a:lnTo>
                  <a:lnTo>
                    <a:pt x="916591" y="984790"/>
                  </a:lnTo>
                  <a:lnTo>
                    <a:pt x="923639" y="977456"/>
                  </a:lnTo>
                  <a:lnTo>
                    <a:pt x="926878" y="977074"/>
                  </a:lnTo>
                  <a:lnTo>
                    <a:pt x="924877" y="974122"/>
                  </a:lnTo>
                  <a:lnTo>
                    <a:pt x="921925" y="976122"/>
                  </a:lnTo>
                  <a:lnTo>
                    <a:pt x="912209" y="975741"/>
                  </a:lnTo>
                  <a:lnTo>
                    <a:pt x="910495" y="974312"/>
                  </a:lnTo>
                  <a:lnTo>
                    <a:pt x="907256" y="974789"/>
                  </a:lnTo>
                  <a:lnTo>
                    <a:pt x="904304" y="963930"/>
                  </a:lnTo>
                  <a:lnTo>
                    <a:pt x="904685" y="954215"/>
                  </a:lnTo>
                  <a:lnTo>
                    <a:pt x="901160" y="951452"/>
                  </a:lnTo>
                  <a:lnTo>
                    <a:pt x="902494" y="949738"/>
                  </a:lnTo>
                  <a:lnTo>
                    <a:pt x="909066" y="950500"/>
                  </a:lnTo>
                  <a:lnTo>
                    <a:pt x="913543" y="948309"/>
                  </a:lnTo>
                  <a:lnTo>
                    <a:pt x="917353" y="952595"/>
                  </a:lnTo>
                  <a:lnTo>
                    <a:pt x="920496" y="952214"/>
                  </a:lnTo>
                  <a:lnTo>
                    <a:pt x="923639" y="951833"/>
                  </a:lnTo>
                  <a:lnTo>
                    <a:pt x="924401" y="945261"/>
                  </a:lnTo>
                  <a:lnTo>
                    <a:pt x="927354" y="943356"/>
                  </a:lnTo>
                  <a:lnTo>
                    <a:pt x="928116" y="936784"/>
                  </a:lnTo>
                  <a:lnTo>
                    <a:pt x="924782" y="935641"/>
                  </a:lnTo>
                  <a:lnTo>
                    <a:pt x="921639" y="936022"/>
                  </a:lnTo>
                  <a:lnTo>
                    <a:pt x="917448" y="928497"/>
                  </a:lnTo>
                  <a:lnTo>
                    <a:pt x="919067" y="928307"/>
                  </a:lnTo>
                  <a:lnTo>
                    <a:pt x="922020" y="926402"/>
                  </a:lnTo>
                  <a:lnTo>
                    <a:pt x="918972" y="915543"/>
                  </a:lnTo>
                  <a:lnTo>
                    <a:pt x="927449" y="919258"/>
                  </a:lnTo>
                  <a:lnTo>
                    <a:pt x="929450" y="909352"/>
                  </a:lnTo>
                  <a:lnTo>
                    <a:pt x="934022" y="907161"/>
                  </a:lnTo>
                  <a:lnTo>
                    <a:pt x="937165" y="906780"/>
                  </a:lnTo>
                  <a:lnTo>
                    <a:pt x="938117" y="901827"/>
                  </a:lnTo>
                  <a:lnTo>
                    <a:pt x="942594" y="899636"/>
                  </a:lnTo>
                  <a:lnTo>
                    <a:pt x="950976" y="901827"/>
                  </a:lnTo>
                  <a:lnTo>
                    <a:pt x="952310" y="900017"/>
                  </a:lnTo>
                  <a:lnTo>
                    <a:pt x="953452" y="896683"/>
                  </a:lnTo>
                  <a:lnTo>
                    <a:pt x="950881" y="888968"/>
                  </a:lnTo>
                  <a:lnTo>
                    <a:pt x="954024" y="888587"/>
                  </a:lnTo>
                  <a:lnTo>
                    <a:pt x="952119" y="885635"/>
                  </a:lnTo>
                  <a:lnTo>
                    <a:pt x="954405" y="878967"/>
                  </a:lnTo>
                  <a:lnTo>
                    <a:pt x="958120" y="870395"/>
                  </a:lnTo>
                  <a:lnTo>
                    <a:pt x="966026" y="869442"/>
                  </a:lnTo>
                  <a:lnTo>
                    <a:pt x="964311" y="868013"/>
                  </a:lnTo>
                  <a:lnTo>
                    <a:pt x="963263" y="860203"/>
                  </a:lnTo>
                  <a:lnTo>
                    <a:pt x="960692" y="865251"/>
                  </a:lnTo>
                  <a:lnTo>
                    <a:pt x="958977" y="863918"/>
                  </a:lnTo>
                  <a:lnTo>
                    <a:pt x="963073" y="858583"/>
                  </a:lnTo>
                  <a:lnTo>
                    <a:pt x="964597" y="858393"/>
                  </a:lnTo>
                  <a:lnTo>
                    <a:pt x="964216" y="855250"/>
                  </a:lnTo>
                  <a:lnTo>
                    <a:pt x="967550" y="856393"/>
                  </a:lnTo>
                  <a:lnTo>
                    <a:pt x="965645" y="853440"/>
                  </a:lnTo>
                  <a:lnTo>
                    <a:pt x="966407" y="846963"/>
                  </a:lnTo>
                  <a:lnTo>
                    <a:pt x="963073" y="845725"/>
                  </a:lnTo>
                  <a:lnTo>
                    <a:pt x="964216" y="842391"/>
                  </a:lnTo>
                  <a:lnTo>
                    <a:pt x="961263" y="844391"/>
                  </a:lnTo>
                  <a:lnTo>
                    <a:pt x="957453" y="840010"/>
                  </a:lnTo>
                  <a:lnTo>
                    <a:pt x="954310" y="840486"/>
                  </a:lnTo>
                  <a:lnTo>
                    <a:pt x="954119" y="838867"/>
                  </a:lnTo>
                  <a:lnTo>
                    <a:pt x="957263" y="838486"/>
                  </a:lnTo>
                  <a:lnTo>
                    <a:pt x="953929" y="837343"/>
                  </a:lnTo>
                  <a:lnTo>
                    <a:pt x="956882" y="835343"/>
                  </a:lnTo>
                  <a:lnTo>
                    <a:pt x="954881" y="832390"/>
                  </a:lnTo>
                  <a:lnTo>
                    <a:pt x="949357" y="826675"/>
                  </a:lnTo>
                  <a:lnTo>
                    <a:pt x="950309" y="821722"/>
                  </a:lnTo>
                  <a:lnTo>
                    <a:pt x="946404" y="815816"/>
                  </a:lnTo>
                  <a:lnTo>
                    <a:pt x="947738" y="814007"/>
                  </a:lnTo>
                  <a:lnTo>
                    <a:pt x="946214" y="814197"/>
                  </a:lnTo>
                  <a:lnTo>
                    <a:pt x="947547" y="812482"/>
                  </a:lnTo>
                  <a:lnTo>
                    <a:pt x="946023" y="812673"/>
                  </a:lnTo>
                  <a:lnTo>
                    <a:pt x="945547" y="809530"/>
                  </a:lnTo>
                  <a:lnTo>
                    <a:pt x="947166" y="809244"/>
                  </a:lnTo>
                  <a:lnTo>
                    <a:pt x="951071" y="802386"/>
                  </a:lnTo>
                  <a:lnTo>
                    <a:pt x="949357" y="800957"/>
                  </a:lnTo>
                  <a:lnTo>
                    <a:pt x="948500" y="794671"/>
                  </a:lnTo>
                  <a:lnTo>
                    <a:pt x="951071" y="789527"/>
                  </a:lnTo>
                  <a:lnTo>
                    <a:pt x="949262" y="788194"/>
                  </a:lnTo>
                  <a:lnTo>
                    <a:pt x="952405" y="787813"/>
                  </a:lnTo>
                  <a:lnTo>
                    <a:pt x="956405" y="780860"/>
                  </a:lnTo>
                  <a:lnTo>
                    <a:pt x="957929" y="780669"/>
                  </a:lnTo>
                  <a:lnTo>
                    <a:pt x="956120" y="779240"/>
                  </a:lnTo>
                  <a:lnTo>
                    <a:pt x="958691" y="774097"/>
                  </a:lnTo>
                  <a:lnTo>
                    <a:pt x="965264" y="774954"/>
                  </a:lnTo>
                  <a:lnTo>
                    <a:pt x="968407" y="774478"/>
                  </a:lnTo>
                  <a:lnTo>
                    <a:pt x="968216" y="772954"/>
                  </a:lnTo>
                  <a:lnTo>
                    <a:pt x="960120" y="772382"/>
                  </a:lnTo>
                  <a:lnTo>
                    <a:pt x="958120" y="769430"/>
                  </a:lnTo>
                  <a:lnTo>
                    <a:pt x="961263" y="769049"/>
                  </a:lnTo>
                  <a:lnTo>
                    <a:pt x="961073" y="767429"/>
                  </a:lnTo>
                  <a:lnTo>
                    <a:pt x="957929" y="767810"/>
                  </a:lnTo>
                  <a:lnTo>
                    <a:pt x="957548" y="764667"/>
                  </a:lnTo>
                  <a:lnTo>
                    <a:pt x="955739" y="763333"/>
                  </a:lnTo>
                  <a:lnTo>
                    <a:pt x="955358" y="760190"/>
                  </a:lnTo>
                  <a:lnTo>
                    <a:pt x="953738" y="760381"/>
                  </a:lnTo>
                  <a:lnTo>
                    <a:pt x="951548" y="755809"/>
                  </a:lnTo>
                  <a:lnTo>
                    <a:pt x="949833" y="754380"/>
                  </a:lnTo>
                  <a:lnTo>
                    <a:pt x="950976" y="751046"/>
                  </a:lnTo>
                  <a:lnTo>
                    <a:pt x="950595" y="747903"/>
                  </a:lnTo>
                  <a:lnTo>
                    <a:pt x="951929" y="746093"/>
                  </a:lnTo>
                  <a:lnTo>
                    <a:pt x="948595" y="744950"/>
                  </a:lnTo>
                  <a:lnTo>
                    <a:pt x="949547" y="739997"/>
                  </a:lnTo>
                  <a:lnTo>
                    <a:pt x="952500" y="738092"/>
                  </a:lnTo>
                  <a:lnTo>
                    <a:pt x="950119" y="731901"/>
                  </a:lnTo>
                  <a:lnTo>
                    <a:pt x="951357" y="728567"/>
                  </a:lnTo>
                  <a:lnTo>
                    <a:pt x="948119" y="728948"/>
                  </a:lnTo>
                  <a:lnTo>
                    <a:pt x="950881" y="725424"/>
                  </a:lnTo>
                  <a:lnTo>
                    <a:pt x="950500" y="722281"/>
                  </a:lnTo>
                  <a:lnTo>
                    <a:pt x="948881" y="722471"/>
                  </a:lnTo>
                  <a:lnTo>
                    <a:pt x="947738" y="725805"/>
                  </a:lnTo>
                  <a:lnTo>
                    <a:pt x="948881" y="722471"/>
                  </a:lnTo>
                  <a:lnTo>
                    <a:pt x="946976" y="719519"/>
                  </a:lnTo>
                  <a:lnTo>
                    <a:pt x="953452" y="720281"/>
                  </a:lnTo>
                  <a:lnTo>
                    <a:pt x="953262" y="718757"/>
                  </a:lnTo>
                  <a:lnTo>
                    <a:pt x="946785" y="717899"/>
                  </a:lnTo>
                  <a:lnTo>
                    <a:pt x="946976" y="719519"/>
                  </a:lnTo>
                  <a:lnTo>
                    <a:pt x="946785" y="717899"/>
                  </a:lnTo>
                  <a:lnTo>
                    <a:pt x="943547" y="718376"/>
                  </a:lnTo>
                  <a:lnTo>
                    <a:pt x="940213" y="717137"/>
                  </a:lnTo>
                  <a:lnTo>
                    <a:pt x="939451" y="710851"/>
                  </a:lnTo>
                  <a:lnTo>
                    <a:pt x="940784" y="709041"/>
                  </a:lnTo>
                  <a:lnTo>
                    <a:pt x="938784" y="706088"/>
                  </a:lnTo>
                  <a:lnTo>
                    <a:pt x="942023" y="705707"/>
                  </a:lnTo>
                  <a:lnTo>
                    <a:pt x="943166" y="702374"/>
                  </a:lnTo>
                  <a:lnTo>
                    <a:pt x="946499" y="703516"/>
                  </a:lnTo>
                  <a:lnTo>
                    <a:pt x="947738" y="700183"/>
                  </a:lnTo>
                  <a:lnTo>
                    <a:pt x="947261" y="697040"/>
                  </a:lnTo>
                  <a:lnTo>
                    <a:pt x="942118" y="694468"/>
                  </a:lnTo>
                  <a:lnTo>
                    <a:pt x="943356" y="691134"/>
                  </a:lnTo>
                  <a:lnTo>
                    <a:pt x="947642" y="687324"/>
                  </a:lnTo>
                  <a:lnTo>
                    <a:pt x="948881" y="683990"/>
                  </a:lnTo>
                  <a:lnTo>
                    <a:pt x="952214" y="685133"/>
                  </a:lnTo>
                  <a:lnTo>
                    <a:pt x="952976" y="678656"/>
                  </a:lnTo>
                  <a:lnTo>
                    <a:pt x="954310" y="676847"/>
                  </a:lnTo>
                  <a:lnTo>
                    <a:pt x="956120" y="665416"/>
                  </a:lnTo>
                  <a:lnTo>
                    <a:pt x="956691" y="657320"/>
                  </a:lnTo>
                  <a:lnTo>
                    <a:pt x="951548" y="654749"/>
                  </a:lnTo>
                  <a:lnTo>
                    <a:pt x="952119" y="646652"/>
                  </a:lnTo>
                  <a:lnTo>
                    <a:pt x="941642" y="639985"/>
                  </a:lnTo>
                  <a:lnTo>
                    <a:pt x="938498" y="640366"/>
                  </a:lnTo>
                  <a:lnTo>
                    <a:pt x="933164" y="649129"/>
                  </a:lnTo>
                  <a:lnTo>
                    <a:pt x="931355" y="647700"/>
                  </a:lnTo>
                  <a:lnTo>
                    <a:pt x="935736" y="643985"/>
                  </a:lnTo>
                  <a:lnTo>
                    <a:pt x="937451" y="632555"/>
                  </a:lnTo>
                  <a:lnTo>
                    <a:pt x="935450" y="629603"/>
                  </a:lnTo>
                  <a:lnTo>
                    <a:pt x="933736" y="628174"/>
                  </a:lnTo>
                  <a:lnTo>
                    <a:pt x="936403" y="611791"/>
                  </a:lnTo>
                  <a:lnTo>
                    <a:pt x="933641" y="602552"/>
                  </a:lnTo>
                  <a:lnTo>
                    <a:pt x="937736" y="597218"/>
                  </a:lnTo>
                  <a:lnTo>
                    <a:pt x="941737" y="590264"/>
                  </a:lnTo>
                  <a:lnTo>
                    <a:pt x="941261" y="574262"/>
                  </a:lnTo>
                  <a:lnTo>
                    <a:pt x="943832" y="569119"/>
                  </a:lnTo>
                  <a:lnTo>
                    <a:pt x="944594" y="562642"/>
                  </a:lnTo>
                  <a:lnTo>
                    <a:pt x="940880" y="558356"/>
                  </a:lnTo>
                  <a:lnTo>
                    <a:pt x="936308" y="560451"/>
                  </a:lnTo>
                  <a:lnTo>
                    <a:pt x="929640" y="558165"/>
                  </a:lnTo>
                  <a:lnTo>
                    <a:pt x="928973" y="553403"/>
                  </a:lnTo>
                  <a:lnTo>
                    <a:pt x="925449" y="550640"/>
                  </a:lnTo>
                  <a:lnTo>
                    <a:pt x="921068" y="554450"/>
                  </a:lnTo>
                  <a:lnTo>
                    <a:pt x="919544" y="554641"/>
                  </a:lnTo>
                  <a:lnTo>
                    <a:pt x="912590" y="550640"/>
                  </a:lnTo>
                  <a:lnTo>
                    <a:pt x="912209" y="547497"/>
                  </a:lnTo>
                  <a:lnTo>
                    <a:pt x="915352" y="547116"/>
                  </a:lnTo>
                  <a:lnTo>
                    <a:pt x="916496" y="543782"/>
                  </a:lnTo>
                  <a:lnTo>
                    <a:pt x="906875" y="543401"/>
                  </a:lnTo>
                  <a:lnTo>
                    <a:pt x="906494" y="540258"/>
                  </a:lnTo>
                  <a:lnTo>
                    <a:pt x="901732" y="540830"/>
                  </a:lnTo>
                  <a:lnTo>
                    <a:pt x="898208" y="538067"/>
                  </a:lnTo>
                  <a:lnTo>
                    <a:pt x="895064" y="538544"/>
                  </a:lnTo>
                  <a:lnTo>
                    <a:pt x="892588" y="532352"/>
                  </a:lnTo>
                  <a:lnTo>
                    <a:pt x="889254" y="531209"/>
                  </a:lnTo>
                  <a:lnTo>
                    <a:pt x="897350" y="531781"/>
                  </a:lnTo>
                  <a:lnTo>
                    <a:pt x="904494" y="537305"/>
                  </a:lnTo>
                  <a:lnTo>
                    <a:pt x="912400" y="536257"/>
                  </a:lnTo>
                  <a:lnTo>
                    <a:pt x="913733" y="534543"/>
                  </a:lnTo>
                  <a:lnTo>
                    <a:pt x="918496" y="533876"/>
                  </a:lnTo>
                  <a:lnTo>
                    <a:pt x="921449" y="531876"/>
                  </a:lnTo>
                  <a:lnTo>
                    <a:pt x="918115" y="530733"/>
                  </a:lnTo>
                  <a:lnTo>
                    <a:pt x="911543" y="517112"/>
                  </a:lnTo>
                  <a:lnTo>
                    <a:pt x="901827" y="516731"/>
                  </a:lnTo>
                  <a:lnTo>
                    <a:pt x="898112" y="512445"/>
                  </a:lnTo>
                  <a:lnTo>
                    <a:pt x="900684" y="507302"/>
                  </a:lnTo>
                  <a:lnTo>
                    <a:pt x="898684" y="504349"/>
                  </a:lnTo>
                  <a:lnTo>
                    <a:pt x="899827" y="501015"/>
                  </a:lnTo>
                  <a:lnTo>
                    <a:pt x="901827" y="503968"/>
                  </a:lnTo>
                  <a:lnTo>
                    <a:pt x="902018" y="505492"/>
                  </a:lnTo>
                  <a:lnTo>
                    <a:pt x="903827" y="506920"/>
                  </a:lnTo>
                  <a:lnTo>
                    <a:pt x="906590" y="503301"/>
                  </a:lnTo>
                  <a:lnTo>
                    <a:pt x="906780" y="504920"/>
                  </a:lnTo>
                  <a:lnTo>
                    <a:pt x="908399" y="504730"/>
                  </a:lnTo>
                  <a:lnTo>
                    <a:pt x="908399" y="504730"/>
                  </a:lnTo>
                  <a:lnTo>
                    <a:pt x="909733" y="502920"/>
                  </a:lnTo>
                  <a:lnTo>
                    <a:pt x="917448" y="500348"/>
                  </a:lnTo>
                  <a:lnTo>
                    <a:pt x="920782" y="501491"/>
                  </a:lnTo>
                  <a:lnTo>
                    <a:pt x="927830" y="494252"/>
                  </a:lnTo>
                  <a:lnTo>
                    <a:pt x="923163" y="494824"/>
                  </a:lnTo>
                  <a:lnTo>
                    <a:pt x="922496" y="490061"/>
                  </a:lnTo>
                  <a:lnTo>
                    <a:pt x="917829" y="490728"/>
                  </a:lnTo>
                  <a:lnTo>
                    <a:pt x="917639" y="489109"/>
                  </a:lnTo>
                  <a:lnTo>
                    <a:pt x="914210" y="487966"/>
                  </a:lnTo>
                  <a:lnTo>
                    <a:pt x="909733" y="490157"/>
                  </a:lnTo>
                  <a:lnTo>
                    <a:pt x="912495" y="486537"/>
                  </a:lnTo>
                  <a:lnTo>
                    <a:pt x="909066" y="485394"/>
                  </a:lnTo>
                  <a:lnTo>
                    <a:pt x="904780" y="489109"/>
                  </a:lnTo>
                  <a:lnTo>
                    <a:pt x="902780" y="486156"/>
                  </a:lnTo>
                  <a:lnTo>
                    <a:pt x="899827" y="488156"/>
                  </a:lnTo>
                  <a:lnTo>
                    <a:pt x="898684" y="491490"/>
                  </a:lnTo>
                  <a:lnTo>
                    <a:pt x="895731" y="493490"/>
                  </a:lnTo>
                  <a:lnTo>
                    <a:pt x="896112" y="496633"/>
                  </a:lnTo>
                  <a:lnTo>
                    <a:pt x="891159" y="495681"/>
                  </a:lnTo>
                  <a:lnTo>
                    <a:pt x="888397" y="486442"/>
                  </a:lnTo>
                  <a:lnTo>
                    <a:pt x="891731" y="487585"/>
                  </a:lnTo>
                  <a:lnTo>
                    <a:pt x="891540" y="486061"/>
                  </a:lnTo>
                  <a:lnTo>
                    <a:pt x="888206" y="484823"/>
                  </a:lnTo>
                  <a:lnTo>
                    <a:pt x="892302" y="479489"/>
                  </a:lnTo>
                  <a:lnTo>
                    <a:pt x="888397" y="473583"/>
                  </a:lnTo>
                  <a:lnTo>
                    <a:pt x="890873" y="468440"/>
                  </a:lnTo>
                  <a:lnTo>
                    <a:pt x="900017" y="464058"/>
                  </a:lnTo>
                  <a:lnTo>
                    <a:pt x="907447" y="447103"/>
                  </a:lnTo>
                  <a:lnTo>
                    <a:pt x="930116" y="436245"/>
                  </a:lnTo>
                  <a:lnTo>
                    <a:pt x="934593" y="434054"/>
                  </a:lnTo>
                  <a:lnTo>
                    <a:pt x="940975" y="433197"/>
                  </a:lnTo>
                  <a:lnTo>
                    <a:pt x="937832" y="433578"/>
                  </a:lnTo>
                  <a:lnTo>
                    <a:pt x="938594" y="439960"/>
                  </a:lnTo>
                  <a:lnTo>
                    <a:pt x="940403" y="441293"/>
                  </a:lnTo>
                  <a:lnTo>
                    <a:pt x="945261" y="442246"/>
                  </a:lnTo>
                  <a:lnTo>
                    <a:pt x="947452" y="446818"/>
                  </a:lnTo>
                  <a:lnTo>
                    <a:pt x="949071" y="446627"/>
                  </a:lnTo>
                  <a:lnTo>
                    <a:pt x="949262" y="448151"/>
                  </a:lnTo>
                  <a:lnTo>
                    <a:pt x="954024" y="447580"/>
                  </a:lnTo>
                  <a:lnTo>
                    <a:pt x="955739" y="448913"/>
                  </a:lnTo>
                  <a:lnTo>
                    <a:pt x="956786" y="444056"/>
                  </a:lnTo>
                  <a:lnTo>
                    <a:pt x="958310" y="443865"/>
                  </a:lnTo>
                  <a:lnTo>
                    <a:pt x="957929" y="440627"/>
                  </a:lnTo>
                  <a:lnTo>
                    <a:pt x="959263" y="438912"/>
                  </a:lnTo>
                  <a:lnTo>
                    <a:pt x="960120" y="432340"/>
                  </a:lnTo>
                  <a:lnTo>
                    <a:pt x="963073" y="430435"/>
                  </a:lnTo>
                  <a:lnTo>
                    <a:pt x="965359" y="423672"/>
                  </a:lnTo>
                  <a:lnTo>
                    <a:pt x="968502" y="423291"/>
                  </a:lnTo>
                  <a:lnTo>
                    <a:pt x="974693" y="420910"/>
                  </a:lnTo>
                  <a:lnTo>
                    <a:pt x="974217" y="417766"/>
                  </a:lnTo>
                  <a:lnTo>
                    <a:pt x="976027" y="419100"/>
                  </a:lnTo>
                  <a:lnTo>
                    <a:pt x="977456" y="417386"/>
                  </a:lnTo>
                  <a:lnTo>
                    <a:pt x="980599" y="416909"/>
                  </a:lnTo>
                  <a:lnTo>
                    <a:pt x="984885" y="413194"/>
                  </a:lnTo>
                  <a:lnTo>
                    <a:pt x="986695" y="414528"/>
                  </a:lnTo>
                  <a:lnTo>
                    <a:pt x="990600" y="407670"/>
                  </a:lnTo>
                  <a:lnTo>
                    <a:pt x="988409" y="403098"/>
                  </a:lnTo>
                  <a:lnTo>
                    <a:pt x="983266" y="400526"/>
                  </a:lnTo>
                  <a:lnTo>
                    <a:pt x="981266" y="397573"/>
                  </a:lnTo>
                  <a:lnTo>
                    <a:pt x="977932" y="396431"/>
                  </a:lnTo>
                  <a:lnTo>
                    <a:pt x="974979" y="398431"/>
                  </a:lnTo>
                  <a:lnTo>
                    <a:pt x="973646" y="400145"/>
                  </a:lnTo>
                  <a:lnTo>
                    <a:pt x="967740" y="404146"/>
                  </a:lnTo>
                  <a:lnTo>
                    <a:pt x="965930" y="402717"/>
                  </a:lnTo>
                  <a:lnTo>
                    <a:pt x="966502" y="394716"/>
                  </a:lnTo>
                  <a:lnTo>
                    <a:pt x="975741" y="391858"/>
                  </a:lnTo>
                  <a:lnTo>
                    <a:pt x="978884" y="378619"/>
                  </a:lnTo>
                  <a:lnTo>
                    <a:pt x="978122" y="372332"/>
                  </a:lnTo>
                  <a:lnTo>
                    <a:pt x="974312" y="368046"/>
                  </a:lnTo>
                  <a:lnTo>
                    <a:pt x="973931" y="364903"/>
                  </a:lnTo>
                  <a:lnTo>
                    <a:pt x="971550" y="358711"/>
                  </a:lnTo>
                  <a:lnTo>
                    <a:pt x="972502" y="353854"/>
                  </a:lnTo>
                  <a:lnTo>
                    <a:pt x="982027" y="352615"/>
                  </a:lnTo>
                  <a:lnTo>
                    <a:pt x="981170" y="346329"/>
                  </a:lnTo>
                  <a:lnTo>
                    <a:pt x="987076" y="342328"/>
                  </a:lnTo>
                  <a:lnTo>
                    <a:pt x="983933" y="342710"/>
                  </a:lnTo>
                  <a:lnTo>
                    <a:pt x="986123" y="334423"/>
                  </a:lnTo>
                  <a:lnTo>
                    <a:pt x="979170" y="330518"/>
                  </a:lnTo>
                  <a:lnTo>
                    <a:pt x="978122" y="322612"/>
                  </a:lnTo>
                  <a:lnTo>
                    <a:pt x="985076" y="313753"/>
                  </a:lnTo>
                  <a:lnTo>
                    <a:pt x="983075" y="310801"/>
                  </a:lnTo>
                  <a:lnTo>
                    <a:pt x="979361" y="306419"/>
                  </a:lnTo>
                  <a:lnTo>
                    <a:pt x="982027" y="302895"/>
                  </a:lnTo>
                  <a:lnTo>
                    <a:pt x="985457" y="304038"/>
                  </a:lnTo>
                  <a:lnTo>
                    <a:pt x="989171" y="295561"/>
                  </a:lnTo>
                  <a:lnTo>
                    <a:pt x="985171" y="289655"/>
                  </a:lnTo>
                  <a:lnTo>
                    <a:pt x="988314" y="289274"/>
                  </a:lnTo>
                  <a:lnTo>
                    <a:pt x="987171" y="279749"/>
                  </a:lnTo>
                  <a:lnTo>
                    <a:pt x="988886" y="281178"/>
                  </a:lnTo>
                  <a:lnTo>
                    <a:pt x="992124" y="280797"/>
                  </a:lnTo>
                  <a:lnTo>
                    <a:pt x="991838" y="279178"/>
                  </a:lnTo>
                  <a:lnTo>
                    <a:pt x="992124" y="280797"/>
                  </a:lnTo>
                  <a:lnTo>
                    <a:pt x="993648" y="280511"/>
                  </a:lnTo>
                  <a:lnTo>
                    <a:pt x="995077" y="278797"/>
                  </a:lnTo>
                  <a:lnTo>
                    <a:pt x="998411" y="279940"/>
                  </a:lnTo>
                  <a:lnTo>
                    <a:pt x="1001363" y="277940"/>
                  </a:lnTo>
                  <a:lnTo>
                    <a:pt x="1001935" y="282702"/>
                  </a:lnTo>
                  <a:lnTo>
                    <a:pt x="1004888" y="280702"/>
                  </a:lnTo>
                  <a:lnTo>
                    <a:pt x="1001363" y="265176"/>
                  </a:lnTo>
                  <a:lnTo>
                    <a:pt x="999744" y="252508"/>
                  </a:lnTo>
                  <a:lnTo>
                    <a:pt x="999744" y="252508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6" name="Volný tvar: obrazec 25">
              <a:extLst>
                <a:ext uri="{FF2B5EF4-FFF2-40B4-BE49-F238E27FC236}">
                  <a16:creationId xmlns:a16="http://schemas.microsoft.com/office/drawing/2014/main" id="{9C74F2E9-E40B-DD87-31CF-46D8407C727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997225" y="2971418"/>
              <a:ext cx="1044701" cy="731424"/>
            </a:xfrm>
            <a:custGeom>
              <a:avLst/>
              <a:gdLst>
                <a:gd name="connsiteX0" fmla="*/ 1038797 w 1044701"/>
                <a:gd name="connsiteY0" fmla="*/ 17907 h 731424"/>
                <a:gd name="connsiteX1" fmla="*/ 1039558 w 1044701"/>
                <a:gd name="connsiteY1" fmla="*/ 11430 h 731424"/>
                <a:gd name="connsiteX2" fmla="*/ 1037463 w 1044701"/>
                <a:gd name="connsiteY2" fmla="*/ 6953 h 731424"/>
                <a:gd name="connsiteX3" fmla="*/ 1028509 w 1044701"/>
                <a:gd name="connsiteY3" fmla="*/ 0 h 731424"/>
                <a:gd name="connsiteX4" fmla="*/ 1019651 w 1044701"/>
                <a:gd name="connsiteY4" fmla="*/ 6001 h 731424"/>
                <a:gd name="connsiteX5" fmla="*/ 1018889 w 1044701"/>
                <a:gd name="connsiteY5" fmla="*/ 12478 h 731424"/>
                <a:gd name="connsiteX6" fmla="*/ 1017270 w 1044701"/>
                <a:gd name="connsiteY6" fmla="*/ 12668 h 731424"/>
                <a:gd name="connsiteX7" fmla="*/ 1012984 w 1044701"/>
                <a:gd name="connsiteY7" fmla="*/ 16478 h 731424"/>
                <a:gd name="connsiteX8" fmla="*/ 1010412 w 1044701"/>
                <a:gd name="connsiteY8" fmla="*/ 21527 h 731424"/>
                <a:gd name="connsiteX9" fmla="*/ 1006888 w 1044701"/>
                <a:gd name="connsiteY9" fmla="*/ 18860 h 731424"/>
                <a:gd name="connsiteX10" fmla="*/ 1002316 w 1044701"/>
                <a:gd name="connsiteY10" fmla="*/ 20955 h 731424"/>
                <a:gd name="connsiteX11" fmla="*/ 995839 w 1044701"/>
                <a:gd name="connsiteY11" fmla="*/ 33052 h 731424"/>
                <a:gd name="connsiteX12" fmla="*/ 994696 w 1044701"/>
                <a:gd name="connsiteY12" fmla="*/ 49244 h 731424"/>
                <a:gd name="connsiteX13" fmla="*/ 989362 w 1044701"/>
                <a:gd name="connsiteY13" fmla="*/ 57912 h 731424"/>
                <a:gd name="connsiteX14" fmla="*/ 982313 w 1044701"/>
                <a:gd name="connsiteY14" fmla="*/ 65246 h 731424"/>
                <a:gd name="connsiteX15" fmla="*/ 984504 w 1044701"/>
                <a:gd name="connsiteY15" fmla="*/ 69818 h 731424"/>
                <a:gd name="connsiteX16" fmla="*/ 983361 w 1044701"/>
                <a:gd name="connsiteY16" fmla="*/ 73152 h 731424"/>
                <a:gd name="connsiteX17" fmla="*/ 972883 w 1044701"/>
                <a:gd name="connsiteY17" fmla="*/ 79248 h 731424"/>
                <a:gd name="connsiteX18" fmla="*/ 965549 w 1044701"/>
                <a:gd name="connsiteY18" fmla="*/ 85058 h 731424"/>
                <a:gd name="connsiteX19" fmla="*/ 962215 w 1044701"/>
                <a:gd name="connsiteY19" fmla="*/ 83820 h 731424"/>
                <a:gd name="connsiteX20" fmla="*/ 959263 w 1044701"/>
                <a:gd name="connsiteY20" fmla="*/ 85820 h 731424"/>
                <a:gd name="connsiteX21" fmla="*/ 947452 w 1044701"/>
                <a:gd name="connsiteY21" fmla="*/ 106585 h 731424"/>
                <a:gd name="connsiteX22" fmla="*/ 944308 w 1044701"/>
                <a:gd name="connsiteY22" fmla="*/ 119825 h 731424"/>
                <a:gd name="connsiteX23" fmla="*/ 941641 w 1044701"/>
                <a:gd name="connsiteY23" fmla="*/ 123349 h 731424"/>
                <a:gd name="connsiteX24" fmla="*/ 932783 w 1044701"/>
                <a:gd name="connsiteY24" fmla="*/ 129254 h 731424"/>
                <a:gd name="connsiteX25" fmla="*/ 924401 w 1044701"/>
                <a:gd name="connsiteY25" fmla="*/ 127159 h 731424"/>
                <a:gd name="connsiteX26" fmla="*/ 917734 w 1044701"/>
                <a:gd name="connsiteY26" fmla="*/ 124777 h 731424"/>
                <a:gd name="connsiteX27" fmla="*/ 914209 w 1044701"/>
                <a:gd name="connsiteY27" fmla="*/ 122015 h 731424"/>
                <a:gd name="connsiteX28" fmla="*/ 893826 w 1044701"/>
                <a:gd name="connsiteY28" fmla="*/ 113443 h 731424"/>
                <a:gd name="connsiteX29" fmla="*/ 887349 w 1044701"/>
                <a:gd name="connsiteY29" fmla="*/ 112586 h 731424"/>
                <a:gd name="connsiteX30" fmla="*/ 882396 w 1044701"/>
                <a:gd name="connsiteY30" fmla="*/ 111633 h 731424"/>
                <a:gd name="connsiteX31" fmla="*/ 878205 w 1044701"/>
                <a:gd name="connsiteY31" fmla="*/ 104204 h 731424"/>
                <a:gd name="connsiteX32" fmla="*/ 867537 w 1044701"/>
                <a:gd name="connsiteY32" fmla="*/ 95917 h 731424"/>
                <a:gd name="connsiteX33" fmla="*/ 866775 w 1044701"/>
                <a:gd name="connsiteY33" fmla="*/ 89630 h 731424"/>
                <a:gd name="connsiteX34" fmla="*/ 859822 w 1044701"/>
                <a:gd name="connsiteY34" fmla="*/ 85630 h 731424"/>
                <a:gd name="connsiteX35" fmla="*/ 855821 w 1044701"/>
                <a:gd name="connsiteY35" fmla="*/ 79724 h 731424"/>
                <a:gd name="connsiteX36" fmla="*/ 844391 w 1044701"/>
                <a:gd name="connsiteY36" fmla="*/ 78010 h 731424"/>
                <a:gd name="connsiteX37" fmla="*/ 840105 w 1044701"/>
                <a:gd name="connsiteY37" fmla="*/ 81725 h 731424"/>
                <a:gd name="connsiteX38" fmla="*/ 838295 w 1044701"/>
                <a:gd name="connsiteY38" fmla="*/ 80391 h 731424"/>
                <a:gd name="connsiteX39" fmla="*/ 836962 w 1044701"/>
                <a:gd name="connsiteY39" fmla="*/ 82201 h 731424"/>
                <a:gd name="connsiteX40" fmla="*/ 816197 w 1044701"/>
                <a:gd name="connsiteY40" fmla="*/ 70390 h 731424"/>
                <a:gd name="connsiteX41" fmla="*/ 813245 w 1044701"/>
                <a:gd name="connsiteY41" fmla="*/ 72390 h 731424"/>
                <a:gd name="connsiteX42" fmla="*/ 811435 w 1044701"/>
                <a:gd name="connsiteY42" fmla="*/ 70961 h 731424"/>
                <a:gd name="connsiteX43" fmla="*/ 807720 w 1044701"/>
                <a:gd name="connsiteY43" fmla="*/ 66675 h 731424"/>
                <a:gd name="connsiteX44" fmla="*/ 804767 w 1044701"/>
                <a:gd name="connsiteY44" fmla="*/ 68580 h 731424"/>
                <a:gd name="connsiteX45" fmla="*/ 801719 w 1044701"/>
                <a:gd name="connsiteY45" fmla="*/ 57817 h 731424"/>
                <a:gd name="connsiteX46" fmla="*/ 793242 w 1044701"/>
                <a:gd name="connsiteY46" fmla="*/ 54102 h 731424"/>
                <a:gd name="connsiteX47" fmla="*/ 790099 w 1044701"/>
                <a:gd name="connsiteY47" fmla="*/ 54483 h 731424"/>
                <a:gd name="connsiteX48" fmla="*/ 786384 w 1044701"/>
                <a:gd name="connsiteY48" fmla="*/ 50102 h 731424"/>
                <a:gd name="connsiteX49" fmla="*/ 784955 w 1044701"/>
                <a:gd name="connsiteY49" fmla="*/ 51911 h 731424"/>
                <a:gd name="connsiteX50" fmla="*/ 778478 w 1044701"/>
                <a:gd name="connsiteY50" fmla="*/ 51149 h 731424"/>
                <a:gd name="connsiteX51" fmla="*/ 772763 w 1044701"/>
                <a:gd name="connsiteY51" fmla="*/ 56674 h 731424"/>
                <a:gd name="connsiteX52" fmla="*/ 772382 w 1044701"/>
                <a:gd name="connsiteY52" fmla="*/ 79153 h 731424"/>
                <a:gd name="connsiteX53" fmla="*/ 769811 w 1044701"/>
                <a:gd name="connsiteY53" fmla="*/ 84296 h 731424"/>
                <a:gd name="connsiteX54" fmla="*/ 762190 w 1044701"/>
                <a:gd name="connsiteY54" fmla="*/ 86868 h 731424"/>
                <a:gd name="connsiteX55" fmla="*/ 759428 w 1044701"/>
                <a:gd name="connsiteY55" fmla="*/ 90392 h 731424"/>
                <a:gd name="connsiteX56" fmla="*/ 757809 w 1044701"/>
                <a:gd name="connsiteY56" fmla="*/ 90678 h 731424"/>
                <a:gd name="connsiteX57" fmla="*/ 755237 w 1044701"/>
                <a:gd name="connsiteY57" fmla="*/ 95821 h 731424"/>
                <a:gd name="connsiteX58" fmla="*/ 755047 w 1044701"/>
                <a:gd name="connsiteY58" fmla="*/ 94202 h 731424"/>
                <a:gd name="connsiteX59" fmla="*/ 745617 w 1044701"/>
                <a:gd name="connsiteY59" fmla="*/ 95441 h 731424"/>
                <a:gd name="connsiteX60" fmla="*/ 745236 w 1044701"/>
                <a:gd name="connsiteY60" fmla="*/ 92202 h 731424"/>
                <a:gd name="connsiteX61" fmla="*/ 743617 w 1044701"/>
                <a:gd name="connsiteY61" fmla="*/ 92488 h 731424"/>
                <a:gd name="connsiteX62" fmla="*/ 743998 w 1044701"/>
                <a:gd name="connsiteY62" fmla="*/ 95631 h 731424"/>
                <a:gd name="connsiteX63" fmla="*/ 736378 w 1044701"/>
                <a:gd name="connsiteY63" fmla="*/ 98203 h 731424"/>
                <a:gd name="connsiteX64" fmla="*/ 739712 w 1044701"/>
                <a:gd name="connsiteY64" fmla="*/ 99346 h 731424"/>
                <a:gd name="connsiteX65" fmla="*/ 740092 w 1044701"/>
                <a:gd name="connsiteY65" fmla="*/ 102489 h 731424"/>
                <a:gd name="connsiteX66" fmla="*/ 737330 w 1044701"/>
                <a:gd name="connsiteY66" fmla="*/ 106108 h 731424"/>
                <a:gd name="connsiteX67" fmla="*/ 733615 w 1044701"/>
                <a:gd name="connsiteY67" fmla="*/ 101727 h 731424"/>
                <a:gd name="connsiteX68" fmla="*/ 730663 w 1044701"/>
                <a:gd name="connsiteY68" fmla="*/ 103727 h 731424"/>
                <a:gd name="connsiteX69" fmla="*/ 727424 w 1044701"/>
                <a:gd name="connsiteY69" fmla="*/ 104108 h 731424"/>
                <a:gd name="connsiteX70" fmla="*/ 727900 w 1044701"/>
                <a:gd name="connsiteY70" fmla="*/ 107252 h 731424"/>
                <a:gd name="connsiteX71" fmla="*/ 724757 w 1044701"/>
                <a:gd name="connsiteY71" fmla="*/ 107728 h 731424"/>
                <a:gd name="connsiteX72" fmla="*/ 725138 w 1044701"/>
                <a:gd name="connsiteY72" fmla="*/ 110871 h 731424"/>
                <a:gd name="connsiteX73" fmla="*/ 721805 w 1044701"/>
                <a:gd name="connsiteY73" fmla="*/ 109633 h 731424"/>
                <a:gd name="connsiteX74" fmla="*/ 719995 w 1044701"/>
                <a:gd name="connsiteY74" fmla="*/ 108299 h 731424"/>
                <a:gd name="connsiteX75" fmla="*/ 715232 w 1044701"/>
                <a:gd name="connsiteY75" fmla="*/ 108871 h 731424"/>
                <a:gd name="connsiteX76" fmla="*/ 715423 w 1044701"/>
                <a:gd name="connsiteY76" fmla="*/ 110490 h 731424"/>
                <a:gd name="connsiteX77" fmla="*/ 703040 w 1044701"/>
                <a:gd name="connsiteY77" fmla="*/ 126492 h 731424"/>
                <a:gd name="connsiteX78" fmla="*/ 691801 w 1044701"/>
                <a:gd name="connsiteY78" fmla="*/ 126302 h 731424"/>
                <a:gd name="connsiteX79" fmla="*/ 687038 w 1044701"/>
                <a:gd name="connsiteY79" fmla="*/ 126968 h 731424"/>
                <a:gd name="connsiteX80" fmla="*/ 687705 w 1044701"/>
                <a:gd name="connsiteY80" fmla="*/ 131636 h 731424"/>
                <a:gd name="connsiteX81" fmla="*/ 681514 w 1044701"/>
                <a:gd name="connsiteY81" fmla="*/ 134017 h 731424"/>
                <a:gd name="connsiteX82" fmla="*/ 677608 w 1044701"/>
                <a:gd name="connsiteY82" fmla="*/ 140970 h 731424"/>
                <a:gd name="connsiteX83" fmla="*/ 679990 w 1044701"/>
                <a:gd name="connsiteY83" fmla="*/ 147066 h 731424"/>
                <a:gd name="connsiteX84" fmla="*/ 681419 w 1044701"/>
                <a:gd name="connsiteY84" fmla="*/ 145256 h 731424"/>
                <a:gd name="connsiteX85" fmla="*/ 685133 w 1044701"/>
                <a:gd name="connsiteY85" fmla="*/ 149638 h 731424"/>
                <a:gd name="connsiteX86" fmla="*/ 690467 w 1044701"/>
                <a:gd name="connsiteY86" fmla="*/ 153734 h 731424"/>
                <a:gd name="connsiteX87" fmla="*/ 684562 w 1044701"/>
                <a:gd name="connsiteY87" fmla="*/ 157734 h 731424"/>
                <a:gd name="connsiteX88" fmla="*/ 683419 w 1044701"/>
                <a:gd name="connsiteY88" fmla="*/ 161068 h 731424"/>
                <a:gd name="connsiteX89" fmla="*/ 677132 w 1044701"/>
                <a:gd name="connsiteY89" fmla="*/ 161830 h 731424"/>
                <a:gd name="connsiteX90" fmla="*/ 674561 w 1044701"/>
                <a:gd name="connsiteY90" fmla="*/ 166973 h 731424"/>
                <a:gd name="connsiteX91" fmla="*/ 669227 w 1044701"/>
                <a:gd name="connsiteY91" fmla="*/ 162877 h 731424"/>
                <a:gd name="connsiteX92" fmla="*/ 667798 w 1044701"/>
                <a:gd name="connsiteY92" fmla="*/ 164687 h 731424"/>
                <a:gd name="connsiteX93" fmla="*/ 663035 w 1044701"/>
                <a:gd name="connsiteY93" fmla="*/ 165259 h 731424"/>
                <a:gd name="connsiteX94" fmla="*/ 665226 w 1044701"/>
                <a:gd name="connsiteY94" fmla="*/ 169831 h 731424"/>
                <a:gd name="connsiteX95" fmla="*/ 664083 w 1044701"/>
                <a:gd name="connsiteY95" fmla="*/ 173165 h 731424"/>
                <a:gd name="connsiteX96" fmla="*/ 662273 w 1044701"/>
                <a:gd name="connsiteY96" fmla="*/ 171736 h 731424"/>
                <a:gd name="connsiteX97" fmla="*/ 662940 w 1044701"/>
                <a:gd name="connsiteY97" fmla="*/ 176498 h 731424"/>
                <a:gd name="connsiteX98" fmla="*/ 668083 w 1044701"/>
                <a:gd name="connsiteY98" fmla="*/ 179070 h 731424"/>
                <a:gd name="connsiteX99" fmla="*/ 670465 w 1044701"/>
                <a:gd name="connsiteY99" fmla="*/ 185166 h 731424"/>
                <a:gd name="connsiteX100" fmla="*/ 673798 w 1044701"/>
                <a:gd name="connsiteY100" fmla="*/ 186309 h 731424"/>
                <a:gd name="connsiteX101" fmla="*/ 675227 w 1044701"/>
                <a:gd name="connsiteY101" fmla="*/ 197358 h 731424"/>
                <a:gd name="connsiteX102" fmla="*/ 655034 w 1044701"/>
                <a:gd name="connsiteY102" fmla="*/ 190310 h 731424"/>
                <a:gd name="connsiteX103" fmla="*/ 651700 w 1044701"/>
                <a:gd name="connsiteY103" fmla="*/ 189167 h 731424"/>
                <a:gd name="connsiteX104" fmla="*/ 646366 w 1044701"/>
                <a:gd name="connsiteY104" fmla="*/ 185071 h 731424"/>
                <a:gd name="connsiteX105" fmla="*/ 645033 w 1044701"/>
                <a:gd name="connsiteY105" fmla="*/ 186785 h 731424"/>
                <a:gd name="connsiteX106" fmla="*/ 638270 w 1044701"/>
                <a:gd name="connsiteY106" fmla="*/ 184499 h 731424"/>
                <a:gd name="connsiteX107" fmla="*/ 640080 w 1044701"/>
                <a:gd name="connsiteY107" fmla="*/ 185833 h 731424"/>
                <a:gd name="connsiteX108" fmla="*/ 638842 w 1044701"/>
                <a:gd name="connsiteY108" fmla="*/ 189167 h 731424"/>
                <a:gd name="connsiteX109" fmla="*/ 640652 w 1044701"/>
                <a:gd name="connsiteY109" fmla="*/ 190595 h 731424"/>
                <a:gd name="connsiteX110" fmla="*/ 633984 w 1044701"/>
                <a:gd name="connsiteY110" fmla="*/ 188214 h 731424"/>
                <a:gd name="connsiteX111" fmla="*/ 632555 w 1044701"/>
                <a:gd name="connsiteY111" fmla="*/ 190024 h 731424"/>
                <a:gd name="connsiteX112" fmla="*/ 630936 w 1044701"/>
                <a:gd name="connsiteY112" fmla="*/ 190214 h 731424"/>
                <a:gd name="connsiteX113" fmla="*/ 627793 w 1044701"/>
                <a:gd name="connsiteY113" fmla="*/ 190595 h 731424"/>
                <a:gd name="connsiteX114" fmla="*/ 615410 w 1044701"/>
                <a:gd name="connsiteY114" fmla="*/ 193834 h 731424"/>
                <a:gd name="connsiteX115" fmla="*/ 614839 w 1044701"/>
                <a:gd name="connsiteY115" fmla="*/ 189071 h 731424"/>
                <a:gd name="connsiteX116" fmla="*/ 614648 w 1044701"/>
                <a:gd name="connsiteY116" fmla="*/ 187452 h 731424"/>
                <a:gd name="connsiteX117" fmla="*/ 618744 w 1044701"/>
                <a:gd name="connsiteY117" fmla="*/ 182118 h 731424"/>
                <a:gd name="connsiteX118" fmla="*/ 616934 w 1044701"/>
                <a:gd name="connsiteY118" fmla="*/ 180785 h 731424"/>
                <a:gd name="connsiteX119" fmla="*/ 612267 w 1044701"/>
                <a:gd name="connsiteY119" fmla="*/ 181356 h 731424"/>
                <a:gd name="connsiteX120" fmla="*/ 611981 w 1044701"/>
                <a:gd name="connsiteY120" fmla="*/ 179832 h 731424"/>
                <a:gd name="connsiteX121" fmla="*/ 610457 w 1044701"/>
                <a:gd name="connsiteY121" fmla="*/ 180023 h 731424"/>
                <a:gd name="connsiteX122" fmla="*/ 612457 w 1044701"/>
                <a:gd name="connsiteY122" fmla="*/ 182975 h 731424"/>
                <a:gd name="connsiteX123" fmla="*/ 611219 w 1044701"/>
                <a:gd name="connsiteY123" fmla="*/ 186309 h 731424"/>
                <a:gd name="connsiteX124" fmla="*/ 611410 w 1044701"/>
                <a:gd name="connsiteY124" fmla="*/ 187833 h 731424"/>
                <a:gd name="connsiteX125" fmla="*/ 602552 w 1044701"/>
                <a:gd name="connsiteY125" fmla="*/ 193834 h 731424"/>
                <a:gd name="connsiteX126" fmla="*/ 598837 w 1044701"/>
                <a:gd name="connsiteY126" fmla="*/ 189452 h 731424"/>
                <a:gd name="connsiteX127" fmla="*/ 596074 w 1044701"/>
                <a:gd name="connsiteY127" fmla="*/ 193072 h 731424"/>
                <a:gd name="connsiteX128" fmla="*/ 589597 w 1044701"/>
                <a:gd name="connsiteY128" fmla="*/ 192310 h 731424"/>
                <a:gd name="connsiteX129" fmla="*/ 587026 w 1044701"/>
                <a:gd name="connsiteY129" fmla="*/ 197358 h 731424"/>
                <a:gd name="connsiteX130" fmla="*/ 582073 w 1044701"/>
                <a:gd name="connsiteY130" fmla="*/ 196406 h 731424"/>
                <a:gd name="connsiteX131" fmla="*/ 580644 w 1044701"/>
                <a:gd name="connsiteY131" fmla="*/ 198215 h 731424"/>
                <a:gd name="connsiteX132" fmla="*/ 576929 w 1044701"/>
                <a:gd name="connsiteY132" fmla="*/ 193834 h 731424"/>
                <a:gd name="connsiteX133" fmla="*/ 574929 w 1044701"/>
                <a:gd name="connsiteY133" fmla="*/ 190881 h 731424"/>
                <a:gd name="connsiteX134" fmla="*/ 576167 w 1044701"/>
                <a:gd name="connsiteY134" fmla="*/ 187547 h 731424"/>
                <a:gd name="connsiteX135" fmla="*/ 574548 w 1044701"/>
                <a:gd name="connsiteY135" fmla="*/ 187738 h 731424"/>
                <a:gd name="connsiteX136" fmla="*/ 569405 w 1044701"/>
                <a:gd name="connsiteY136" fmla="*/ 185261 h 731424"/>
                <a:gd name="connsiteX137" fmla="*/ 564832 w 1044701"/>
                <a:gd name="connsiteY137" fmla="*/ 174593 h 731424"/>
                <a:gd name="connsiteX138" fmla="*/ 561689 w 1044701"/>
                <a:gd name="connsiteY138" fmla="*/ 174974 h 731424"/>
                <a:gd name="connsiteX139" fmla="*/ 559880 w 1044701"/>
                <a:gd name="connsiteY139" fmla="*/ 173546 h 731424"/>
                <a:gd name="connsiteX140" fmla="*/ 558546 w 1044701"/>
                <a:gd name="connsiteY140" fmla="*/ 175355 h 731424"/>
                <a:gd name="connsiteX141" fmla="*/ 556736 w 1044701"/>
                <a:gd name="connsiteY141" fmla="*/ 174022 h 731424"/>
                <a:gd name="connsiteX142" fmla="*/ 553593 w 1044701"/>
                <a:gd name="connsiteY142" fmla="*/ 174403 h 731424"/>
                <a:gd name="connsiteX143" fmla="*/ 551974 w 1044701"/>
                <a:gd name="connsiteY143" fmla="*/ 174593 h 731424"/>
                <a:gd name="connsiteX144" fmla="*/ 546068 w 1044701"/>
                <a:gd name="connsiteY144" fmla="*/ 165735 h 731424"/>
                <a:gd name="connsiteX145" fmla="*/ 543115 w 1044701"/>
                <a:gd name="connsiteY145" fmla="*/ 167735 h 731424"/>
                <a:gd name="connsiteX146" fmla="*/ 541972 w 1044701"/>
                <a:gd name="connsiteY146" fmla="*/ 171069 h 731424"/>
                <a:gd name="connsiteX147" fmla="*/ 540353 w 1044701"/>
                <a:gd name="connsiteY147" fmla="*/ 171260 h 731424"/>
                <a:gd name="connsiteX148" fmla="*/ 531495 w 1044701"/>
                <a:gd name="connsiteY148" fmla="*/ 164402 h 731424"/>
                <a:gd name="connsiteX149" fmla="*/ 528447 w 1044701"/>
                <a:gd name="connsiteY149" fmla="*/ 153543 h 731424"/>
                <a:gd name="connsiteX150" fmla="*/ 519589 w 1044701"/>
                <a:gd name="connsiteY150" fmla="*/ 146685 h 731424"/>
                <a:gd name="connsiteX151" fmla="*/ 513493 w 1044701"/>
                <a:gd name="connsiteY151" fmla="*/ 149066 h 731424"/>
                <a:gd name="connsiteX152" fmla="*/ 511683 w 1044701"/>
                <a:gd name="connsiteY152" fmla="*/ 147638 h 731424"/>
                <a:gd name="connsiteX153" fmla="*/ 506921 w 1044701"/>
                <a:gd name="connsiteY153" fmla="*/ 148304 h 731424"/>
                <a:gd name="connsiteX154" fmla="*/ 505015 w 1044701"/>
                <a:gd name="connsiteY154" fmla="*/ 145352 h 731424"/>
                <a:gd name="connsiteX155" fmla="*/ 498443 w 1044701"/>
                <a:gd name="connsiteY155" fmla="*/ 144494 h 731424"/>
                <a:gd name="connsiteX156" fmla="*/ 495300 w 1044701"/>
                <a:gd name="connsiteY156" fmla="*/ 144971 h 731424"/>
                <a:gd name="connsiteX157" fmla="*/ 493300 w 1044701"/>
                <a:gd name="connsiteY157" fmla="*/ 142018 h 731424"/>
                <a:gd name="connsiteX158" fmla="*/ 492347 w 1044701"/>
                <a:gd name="connsiteY158" fmla="*/ 134112 h 731424"/>
                <a:gd name="connsiteX159" fmla="*/ 486728 w 1044701"/>
                <a:gd name="connsiteY159" fmla="*/ 115538 h 731424"/>
                <a:gd name="connsiteX160" fmla="*/ 480250 w 1044701"/>
                <a:gd name="connsiteY160" fmla="*/ 114776 h 731424"/>
                <a:gd name="connsiteX161" fmla="*/ 449675 w 1044701"/>
                <a:gd name="connsiteY161" fmla="*/ 113824 h 731424"/>
                <a:gd name="connsiteX162" fmla="*/ 449580 w 1044701"/>
                <a:gd name="connsiteY162" fmla="*/ 88202 h 731424"/>
                <a:gd name="connsiteX163" fmla="*/ 448437 w 1044701"/>
                <a:gd name="connsiteY163" fmla="*/ 78772 h 731424"/>
                <a:gd name="connsiteX164" fmla="*/ 435197 w 1044701"/>
                <a:gd name="connsiteY164" fmla="*/ 75629 h 731424"/>
                <a:gd name="connsiteX165" fmla="*/ 435102 w 1044701"/>
                <a:gd name="connsiteY165" fmla="*/ 62770 h 731424"/>
                <a:gd name="connsiteX166" fmla="*/ 415957 w 1044701"/>
                <a:gd name="connsiteY166" fmla="*/ 63627 h 731424"/>
                <a:gd name="connsiteX167" fmla="*/ 410623 w 1044701"/>
                <a:gd name="connsiteY167" fmla="*/ 59531 h 731424"/>
                <a:gd name="connsiteX168" fmla="*/ 405955 w 1044701"/>
                <a:gd name="connsiteY168" fmla="*/ 60103 h 731424"/>
                <a:gd name="connsiteX169" fmla="*/ 405289 w 1044701"/>
                <a:gd name="connsiteY169" fmla="*/ 55340 h 731424"/>
                <a:gd name="connsiteX170" fmla="*/ 401193 w 1044701"/>
                <a:gd name="connsiteY170" fmla="*/ 60674 h 731424"/>
                <a:gd name="connsiteX171" fmla="*/ 388525 w 1044701"/>
                <a:gd name="connsiteY171" fmla="*/ 49530 h 731424"/>
                <a:gd name="connsiteX172" fmla="*/ 383572 w 1044701"/>
                <a:gd name="connsiteY172" fmla="*/ 48482 h 731424"/>
                <a:gd name="connsiteX173" fmla="*/ 384429 w 1044701"/>
                <a:gd name="connsiteY173" fmla="*/ 54864 h 731424"/>
                <a:gd name="connsiteX174" fmla="*/ 383000 w 1044701"/>
                <a:gd name="connsiteY174" fmla="*/ 56579 h 731424"/>
                <a:gd name="connsiteX175" fmla="*/ 362331 w 1044701"/>
                <a:gd name="connsiteY175" fmla="*/ 57626 h 731424"/>
                <a:gd name="connsiteX176" fmla="*/ 362903 w 1044701"/>
                <a:gd name="connsiteY176" fmla="*/ 75248 h 731424"/>
                <a:gd name="connsiteX177" fmla="*/ 351663 w 1044701"/>
                <a:gd name="connsiteY177" fmla="*/ 75057 h 731424"/>
                <a:gd name="connsiteX178" fmla="*/ 338899 w 1044701"/>
                <a:gd name="connsiteY178" fmla="*/ 75057 h 731424"/>
                <a:gd name="connsiteX179" fmla="*/ 338328 w 1044701"/>
                <a:gd name="connsiteY179" fmla="*/ 83153 h 731424"/>
                <a:gd name="connsiteX180" fmla="*/ 329470 w 1044701"/>
                <a:gd name="connsiteY180" fmla="*/ 89059 h 731424"/>
                <a:gd name="connsiteX181" fmla="*/ 329851 w 1044701"/>
                <a:gd name="connsiteY181" fmla="*/ 92297 h 731424"/>
                <a:gd name="connsiteX182" fmla="*/ 326898 w 1044701"/>
                <a:gd name="connsiteY182" fmla="*/ 94202 h 731424"/>
                <a:gd name="connsiteX183" fmla="*/ 326231 w 1044701"/>
                <a:gd name="connsiteY183" fmla="*/ 89535 h 731424"/>
                <a:gd name="connsiteX184" fmla="*/ 314992 w 1044701"/>
                <a:gd name="connsiteY184" fmla="*/ 89344 h 731424"/>
                <a:gd name="connsiteX185" fmla="*/ 313468 w 1044701"/>
                <a:gd name="connsiteY185" fmla="*/ 89535 h 731424"/>
                <a:gd name="connsiteX186" fmla="*/ 313087 w 1044701"/>
                <a:gd name="connsiteY186" fmla="*/ 86392 h 731424"/>
                <a:gd name="connsiteX187" fmla="*/ 306324 w 1044701"/>
                <a:gd name="connsiteY187" fmla="*/ 84011 h 731424"/>
                <a:gd name="connsiteX188" fmla="*/ 304133 w 1044701"/>
                <a:gd name="connsiteY188" fmla="*/ 79439 h 731424"/>
                <a:gd name="connsiteX189" fmla="*/ 304514 w 1044701"/>
                <a:gd name="connsiteY189" fmla="*/ 69818 h 731424"/>
                <a:gd name="connsiteX190" fmla="*/ 308229 w 1044701"/>
                <a:gd name="connsiteY190" fmla="*/ 61341 h 731424"/>
                <a:gd name="connsiteX191" fmla="*/ 303086 w 1044701"/>
                <a:gd name="connsiteY191" fmla="*/ 58769 h 731424"/>
                <a:gd name="connsiteX192" fmla="*/ 304324 w 1044701"/>
                <a:gd name="connsiteY192" fmla="*/ 55435 h 731424"/>
                <a:gd name="connsiteX193" fmla="*/ 303847 w 1044701"/>
                <a:gd name="connsiteY193" fmla="*/ 52292 h 731424"/>
                <a:gd name="connsiteX194" fmla="*/ 294227 w 1044701"/>
                <a:gd name="connsiteY194" fmla="*/ 51911 h 731424"/>
                <a:gd name="connsiteX195" fmla="*/ 290513 w 1044701"/>
                <a:gd name="connsiteY195" fmla="*/ 47530 h 731424"/>
                <a:gd name="connsiteX196" fmla="*/ 285083 w 1044701"/>
                <a:gd name="connsiteY196" fmla="*/ 43434 h 731424"/>
                <a:gd name="connsiteX197" fmla="*/ 280797 w 1044701"/>
                <a:gd name="connsiteY197" fmla="*/ 47149 h 731424"/>
                <a:gd name="connsiteX198" fmla="*/ 278416 w 1044701"/>
                <a:gd name="connsiteY198" fmla="*/ 53912 h 731424"/>
                <a:gd name="connsiteX199" fmla="*/ 270129 w 1044701"/>
                <a:gd name="connsiteY199" fmla="*/ 51721 h 731424"/>
                <a:gd name="connsiteX200" fmla="*/ 269177 w 1044701"/>
                <a:gd name="connsiteY200" fmla="*/ 56674 h 731424"/>
                <a:gd name="connsiteX201" fmla="*/ 264414 w 1044701"/>
                <a:gd name="connsiteY201" fmla="*/ 57245 h 731424"/>
                <a:gd name="connsiteX202" fmla="*/ 264605 w 1044701"/>
                <a:gd name="connsiteY202" fmla="*/ 58865 h 731424"/>
                <a:gd name="connsiteX203" fmla="*/ 260128 w 1044701"/>
                <a:gd name="connsiteY203" fmla="*/ 61055 h 731424"/>
                <a:gd name="connsiteX204" fmla="*/ 260890 w 1044701"/>
                <a:gd name="connsiteY204" fmla="*/ 67342 h 731424"/>
                <a:gd name="connsiteX205" fmla="*/ 262699 w 1044701"/>
                <a:gd name="connsiteY205" fmla="*/ 68771 h 731424"/>
                <a:gd name="connsiteX206" fmla="*/ 260985 w 1044701"/>
                <a:gd name="connsiteY206" fmla="*/ 80200 h 731424"/>
                <a:gd name="connsiteX207" fmla="*/ 259747 w 1044701"/>
                <a:gd name="connsiteY207" fmla="*/ 83534 h 731424"/>
                <a:gd name="connsiteX208" fmla="*/ 256604 w 1044701"/>
                <a:gd name="connsiteY208" fmla="*/ 83915 h 731424"/>
                <a:gd name="connsiteX209" fmla="*/ 256794 w 1044701"/>
                <a:gd name="connsiteY209" fmla="*/ 85535 h 731424"/>
                <a:gd name="connsiteX210" fmla="*/ 254794 w 1044701"/>
                <a:gd name="connsiteY210" fmla="*/ 82582 h 731424"/>
                <a:gd name="connsiteX211" fmla="*/ 251079 w 1044701"/>
                <a:gd name="connsiteY211" fmla="*/ 91059 h 731424"/>
                <a:gd name="connsiteX212" fmla="*/ 247364 w 1044701"/>
                <a:gd name="connsiteY212" fmla="*/ 86677 h 731424"/>
                <a:gd name="connsiteX213" fmla="*/ 242411 w 1044701"/>
                <a:gd name="connsiteY213" fmla="*/ 85725 h 731424"/>
                <a:gd name="connsiteX214" fmla="*/ 239458 w 1044701"/>
                <a:gd name="connsiteY214" fmla="*/ 87725 h 731424"/>
                <a:gd name="connsiteX215" fmla="*/ 239268 w 1044701"/>
                <a:gd name="connsiteY215" fmla="*/ 86106 h 731424"/>
                <a:gd name="connsiteX216" fmla="*/ 235934 w 1044701"/>
                <a:gd name="connsiteY216" fmla="*/ 84963 h 731424"/>
                <a:gd name="connsiteX217" fmla="*/ 234696 w 1044701"/>
                <a:gd name="connsiteY217" fmla="*/ 88297 h 731424"/>
                <a:gd name="connsiteX218" fmla="*/ 231553 w 1044701"/>
                <a:gd name="connsiteY218" fmla="*/ 88773 h 731424"/>
                <a:gd name="connsiteX219" fmla="*/ 228981 w 1044701"/>
                <a:gd name="connsiteY219" fmla="*/ 93917 h 731424"/>
                <a:gd name="connsiteX220" fmla="*/ 227457 w 1044701"/>
                <a:gd name="connsiteY220" fmla="*/ 94107 h 731424"/>
                <a:gd name="connsiteX221" fmla="*/ 227838 w 1044701"/>
                <a:gd name="connsiteY221" fmla="*/ 97250 h 731424"/>
                <a:gd name="connsiteX222" fmla="*/ 225076 w 1044701"/>
                <a:gd name="connsiteY222" fmla="*/ 100775 h 731424"/>
                <a:gd name="connsiteX223" fmla="*/ 221552 w 1044701"/>
                <a:gd name="connsiteY223" fmla="*/ 98012 h 731424"/>
                <a:gd name="connsiteX224" fmla="*/ 219932 w 1044701"/>
                <a:gd name="connsiteY224" fmla="*/ 98203 h 731424"/>
                <a:gd name="connsiteX225" fmla="*/ 218789 w 1044701"/>
                <a:gd name="connsiteY225" fmla="*/ 101632 h 731424"/>
                <a:gd name="connsiteX226" fmla="*/ 215170 w 1044701"/>
                <a:gd name="connsiteY226" fmla="*/ 98869 h 731424"/>
                <a:gd name="connsiteX227" fmla="*/ 214979 w 1044701"/>
                <a:gd name="connsiteY227" fmla="*/ 97250 h 731424"/>
                <a:gd name="connsiteX228" fmla="*/ 209836 w 1044701"/>
                <a:gd name="connsiteY228" fmla="*/ 94679 h 731424"/>
                <a:gd name="connsiteX229" fmla="*/ 209645 w 1044701"/>
                <a:gd name="connsiteY229" fmla="*/ 93154 h 731424"/>
                <a:gd name="connsiteX230" fmla="*/ 199358 w 1044701"/>
                <a:gd name="connsiteY230" fmla="*/ 88011 h 731424"/>
                <a:gd name="connsiteX231" fmla="*/ 197644 w 1044701"/>
                <a:gd name="connsiteY231" fmla="*/ 86677 h 731424"/>
                <a:gd name="connsiteX232" fmla="*/ 195834 w 1044701"/>
                <a:gd name="connsiteY232" fmla="*/ 85249 h 731424"/>
                <a:gd name="connsiteX233" fmla="*/ 195263 w 1044701"/>
                <a:gd name="connsiteY233" fmla="*/ 93345 h 731424"/>
                <a:gd name="connsiteX234" fmla="*/ 191738 w 1044701"/>
                <a:gd name="connsiteY234" fmla="*/ 90583 h 731424"/>
                <a:gd name="connsiteX235" fmla="*/ 191929 w 1044701"/>
                <a:gd name="connsiteY235" fmla="*/ 92202 h 731424"/>
                <a:gd name="connsiteX236" fmla="*/ 186785 w 1044701"/>
                <a:gd name="connsiteY236" fmla="*/ 89630 h 731424"/>
                <a:gd name="connsiteX237" fmla="*/ 182023 w 1044701"/>
                <a:gd name="connsiteY237" fmla="*/ 90202 h 731424"/>
                <a:gd name="connsiteX238" fmla="*/ 181832 w 1044701"/>
                <a:gd name="connsiteY238" fmla="*/ 88678 h 731424"/>
                <a:gd name="connsiteX239" fmla="*/ 183452 w 1044701"/>
                <a:gd name="connsiteY239" fmla="*/ 88487 h 731424"/>
                <a:gd name="connsiteX240" fmla="*/ 183261 w 1044701"/>
                <a:gd name="connsiteY240" fmla="*/ 86868 h 731424"/>
                <a:gd name="connsiteX241" fmla="*/ 181642 w 1044701"/>
                <a:gd name="connsiteY241" fmla="*/ 87058 h 731424"/>
                <a:gd name="connsiteX242" fmla="*/ 180213 w 1044701"/>
                <a:gd name="connsiteY242" fmla="*/ 88868 h 731424"/>
                <a:gd name="connsiteX243" fmla="*/ 175070 w 1044701"/>
                <a:gd name="connsiteY243" fmla="*/ 86296 h 731424"/>
                <a:gd name="connsiteX244" fmla="*/ 173736 w 1044701"/>
                <a:gd name="connsiteY244" fmla="*/ 88106 h 731424"/>
                <a:gd name="connsiteX245" fmla="*/ 175355 w 1044701"/>
                <a:gd name="connsiteY245" fmla="*/ 87916 h 731424"/>
                <a:gd name="connsiteX246" fmla="*/ 170783 w 1044701"/>
                <a:gd name="connsiteY246" fmla="*/ 90106 h 731424"/>
                <a:gd name="connsiteX247" fmla="*/ 168783 w 1044701"/>
                <a:gd name="connsiteY247" fmla="*/ 87154 h 731424"/>
                <a:gd name="connsiteX248" fmla="*/ 165640 w 1044701"/>
                <a:gd name="connsiteY248" fmla="*/ 87535 h 731424"/>
                <a:gd name="connsiteX249" fmla="*/ 163925 w 1044701"/>
                <a:gd name="connsiteY249" fmla="*/ 86106 h 731424"/>
                <a:gd name="connsiteX250" fmla="*/ 162496 w 1044701"/>
                <a:gd name="connsiteY250" fmla="*/ 87916 h 731424"/>
                <a:gd name="connsiteX251" fmla="*/ 162115 w 1044701"/>
                <a:gd name="connsiteY251" fmla="*/ 84773 h 731424"/>
                <a:gd name="connsiteX252" fmla="*/ 160496 w 1044701"/>
                <a:gd name="connsiteY252" fmla="*/ 84963 h 731424"/>
                <a:gd name="connsiteX253" fmla="*/ 161354 w 1044701"/>
                <a:gd name="connsiteY253" fmla="*/ 91250 h 731424"/>
                <a:gd name="connsiteX254" fmla="*/ 164497 w 1044701"/>
                <a:gd name="connsiteY254" fmla="*/ 90869 h 731424"/>
                <a:gd name="connsiteX255" fmla="*/ 163068 w 1044701"/>
                <a:gd name="connsiteY255" fmla="*/ 92678 h 731424"/>
                <a:gd name="connsiteX256" fmla="*/ 161354 w 1044701"/>
                <a:gd name="connsiteY256" fmla="*/ 91250 h 731424"/>
                <a:gd name="connsiteX257" fmla="*/ 157734 w 1044701"/>
                <a:gd name="connsiteY257" fmla="*/ 88487 h 731424"/>
                <a:gd name="connsiteX258" fmla="*/ 156400 w 1044701"/>
                <a:gd name="connsiteY258" fmla="*/ 90297 h 731424"/>
                <a:gd name="connsiteX259" fmla="*/ 156591 w 1044701"/>
                <a:gd name="connsiteY259" fmla="*/ 91916 h 731424"/>
                <a:gd name="connsiteX260" fmla="*/ 154972 w 1044701"/>
                <a:gd name="connsiteY260" fmla="*/ 92107 h 731424"/>
                <a:gd name="connsiteX261" fmla="*/ 153448 w 1044701"/>
                <a:gd name="connsiteY261" fmla="*/ 92297 h 731424"/>
                <a:gd name="connsiteX262" fmla="*/ 152781 w 1044701"/>
                <a:gd name="connsiteY262" fmla="*/ 87535 h 731424"/>
                <a:gd name="connsiteX263" fmla="*/ 149638 w 1044701"/>
                <a:gd name="connsiteY263" fmla="*/ 87916 h 731424"/>
                <a:gd name="connsiteX264" fmla="*/ 149828 w 1044701"/>
                <a:gd name="connsiteY264" fmla="*/ 76676 h 731424"/>
                <a:gd name="connsiteX265" fmla="*/ 142970 w 1044701"/>
                <a:gd name="connsiteY265" fmla="*/ 72771 h 731424"/>
                <a:gd name="connsiteX266" fmla="*/ 139732 w 1044701"/>
                <a:gd name="connsiteY266" fmla="*/ 73152 h 731424"/>
                <a:gd name="connsiteX267" fmla="*/ 138779 w 1044701"/>
                <a:gd name="connsiteY267" fmla="*/ 78105 h 731424"/>
                <a:gd name="connsiteX268" fmla="*/ 143923 w 1044701"/>
                <a:gd name="connsiteY268" fmla="*/ 80677 h 731424"/>
                <a:gd name="connsiteX269" fmla="*/ 137827 w 1044701"/>
                <a:gd name="connsiteY269" fmla="*/ 83058 h 731424"/>
                <a:gd name="connsiteX270" fmla="*/ 136017 w 1044701"/>
                <a:gd name="connsiteY270" fmla="*/ 81629 h 731424"/>
                <a:gd name="connsiteX271" fmla="*/ 134684 w 1044701"/>
                <a:gd name="connsiteY271" fmla="*/ 83439 h 731424"/>
                <a:gd name="connsiteX272" fmla="*/ 135255 w 1044701"/>
                <a:gd name="connsiteY272" fmla="*/ 88202 h 731424"/>
                <a:gd name="connsiteX273" fmla="*/ 130683 w 1044701"/>
                <a:gd name="connsiteY273" fmla="*/ 90392 h 731424"/>
                <a:gd name="connsiteX274" fmla="*/ 127349 w 1044701"/>
                <a:gd name="connsiteY274" fmla="*/ 89154 h 731424"/>
                <a:gd name="connsiteX275" fmla="*/ 126778 w 1044701"/>
                <a:gd name="connsiteY275" fmla="*/ 84487 h 731424"/>
                <a:gd name="connsiteX276" fmla="*/ 125349 w 1044701"/>
                <a:gd name="connsiteY276" fmla="*/ 86201 h 731424"/>
                <a:gd name="connsiteX277" fmla="*/ 123444 w 1044701"/>
                <a:gd name="connsiteY277" fmla="*/ 83248 h 731424"/>
                <a:gd name="connsiteX278" fmla="*/ 120301 w 1044701"/>
                <a:gd name="connsiteY278" fmla="*/ 83629 h 731424"/>
                <a:gd name="connsiteX279" fmla="*/ 109823 w 1044701"/>
                <a:gd name="connsiteY279" fmla="*/ 89821 h 731424"/>
                <a:gd name="connsiteX280" fmla="*/ 108394 w 1044701"/>
                <a:gd name="connsiteY280" fmla="*/ 91631 h 731424"/>
                <a:gd name="connsiteX281" fmla="*/ 107823 w 1044701"/>
                <a:gd name="connsiteY281" fmla="*/ 99727 h 731424"/>
                <a:gd name="connsiteX282" fmla="*/ 106680 w 1044701"/>
                <a:gd name="connsiteY282" fmla="*/ 103061 h 731424"/>
                <a:gd name="connsiteX283" fmla="*/ 108490 w 1044701"/>
                <a:gd name="connsiteY283" fmla="*/ 104394 h 731424"/>
                <a:gd name="connsiteX284" fmla="*/ 110680 w 1044701"/>
                <a:gd name="connsiteY284" fmla="*/ 108966 h 731424"/>
                <a:gd name="connsiteX285" fmla="*/ 109252 w 1044701"/>
                <a:gd name="connsiteY285" fmla="*/ 110776 h 731424"/>
                <a:gd name="connsiteX286" fmla="*/ 105727 w 1044701"/>
                <a:gd name="connsiteY286" fmla="*/ 108014 h 731424"/>
                <a:gd name="connsiteX287" fmla="*/ 102965 w 1044701"/>
                <a:gd name="connsiteY287" fmla="*/ 111538 h 731424"/>
                <a:gd name="connsiteX288" fmla="*/ 98393 w 1044701"/>
                <a:gd name="connsiteY288" fmla="*/ 113729 h 731424"/>
                <a:gd name="connsiteX289" fmla="*/ 98584 w 1044701"/>
                <a:gd name="connsiteY289" fmla="*/ 115252 h 731424"/>
                <a:gd name="connsiteX290" fmla="*/ 96869 w 1044701"/>
                <a:gd name="connsiteY290" fmla="*/ 113919 h 731424"/>
                <a:gd name="connsiteX291" fmla="*/ 85630 w 1044701"/>
                <a:gd name="connsiteY291" fmla="*/ 113729 h 731424"/>
                <a:gd name="connsiteX292" fmla="*/ 86201 w 1044701"/>
                <a:gd name="connsiteY292" fmla="*/ 118491 h 731424"/>
                <a:gd name="connsiteX293" fmla="*/ 90964 w 1044701"/>
                <a:gd name="connsiteY293" fmla="*/ 117919 h 731424"/>
                <a:gd name="connsiteX294" fmla="*/ 88011 w 1044701"/>
                <a:gd name="connsiteY294" fmla="*/ 119825 h 731424"/>
                <a:gd name="connsiteX295" fmla="*/ 83058 w 1044701"/>
                <a:gd name="connsiteY295" fmla="*/ 118872 h 731424"/>
                <a:gd name="connsiteX296" fmla="*/ 83248 w 1044701"/>
                <a:gd name="connsiteY296" fmla="*/ 120491 h 731424"/>
                <a:gd name="connsiteX297" fmla="*/ 78962 w 1044701"/>
                <a:gd name="connsiteY297" fmla="*/ 124206 h 731424"/>
                <a:gd name="connsiteX298" fmla="*/ 77343 w 1044701"/>
                <a:gd name="connsiteY298" fmla="*/ 124396 h 731424"/>
                <a:gd name="connsiteX299" fmla="*/ 73247 w 1044701"/>
                <a:gd name="connsiteY299" fmla="*/ 129731 h 731424"/>
                <a:gd name="connsiteX300" fmla="*/ 60960 w 1044701"/>
                <a:gd name="connsiteY300" fmla="*/ 134493 h 731424"/>
                <a:gd name="connsiteX301" fmla="*/ 50863 w 1044701"/>
                <a:gd name="connsiteY301" fmla="*/ 118205 h 731424"/>
                <a:gd name="connsiteX302" fmla="*/ 49054 w 1044701"/>
                <a:gd name="connsiteY302" fmla="*/ 116777 h 731424"/>
                <a:gd name="connsiteX303" fmla="*/ 47530 w 1044701"/>
                <a:gd name="connsiteY303" fmla="*/ 116967 h 731424"/>
                <a:gd name="connsiteX304" fmla="*/ 50292 w 1044701"/>
                <a:gd name="connsiteY304" fmla="*/ 126302 h 731424"/>
                <a:gd name="connsiteX305" fmla="*/ 44386 w 1044701"/>
                <a:gd name="connsiteY305" fmla="*/ 130207 h 731424"/>
                <a:gd name="connsiteX306" fmla="*/ 39243 w 1044701"/>
                <a:gd name="connsiteY306" fmla="*/ 127635 h 731424"/>
                <a:gd name="connsiteX307" fmla="*/ 38671 w 1044701"/>
                <a:gd name="connsiteY307" fmla="*/ 122968 h 731424"/>
                <a:gd name="connsiteX308" fmla="*/ 35147 w 1044701"/>
                <a:gd name="connsiteY308" fmla="*/ 120206 h 731424"/>
                <a:gd name="connsiteX309" fmla="*/ 29146 w 1044701"/>
                <a:gd name="connsiteY309" fmla="*/ 124111 h 731424"/>
                <a:gd name="connsiteX310" fmla="*/ 25622 w 1044701"/>
                <a:gd name="connsiteY310" fmla="*/ 134207 h 731424"/>
                <a:gd name="connsiteX311" fmla="*/ 32766 w 1044701"/>
                <a:gd name="connsiteY311" fmla="*/ 139732 h 731424"/>
                <a:gd name="connsiteX312" fmla="*/ 37147 w 1044701"/>
                <a:gd name="connsiteY312" fmla="*/ 135922 h 731424"/>
                <a:gd name="connsiteX313" fmla="*/ 41243 w 1044701"/>
                <a:gd name="connsiteY313" fmla="*/ 143446 h 731424"/>
                <a:gd name="connsiteX314" fmla="*/ 44386 w 1044701"/>
                <a:gd name="connsiteY314" fmla="*/ 143066 h 731424"/>
                <a:gd name="connsiteX315" fmla="*/ 39910 w 1044701"/>
                <a:gd name="connsiteY315" fmla="*/ 145256 h 731424"/>
                <a:gd name="connsiteX316" fmla="*/ 36100 w 1044701"/>
                <a:gd name="connsiteY316" fmla="*/ 140875 h 731424"/>
                <a:gd name="connsiteX317" fmla="*/ 33338 w 1044701"/>
                <a:gd name="connsiteY317" fmla="*/ 144494 h 731424"/>
                <a:gd name="connsiteX318" fmla="*/ 30194 w 1044701"/>
                <a:gd name="connsiteY318" fmla="*/ 144875 h 731424"/>
                <a:gd name="connsiteX319" fmla="*/ 28861 w 1044701"/>
                <a:gd name="connsiteY319" fmla="*/ 146685 h 731424"/>
                <a:gd name="connsiteX320" fmla="*/ 31432 w 1044701"/>
                <a:gd name="connsiteY320" fmla="*/ 154305 h 731424"/>
                <a:gd name="connsiteX321" fmla="*/ 33623 w 1044701"/>
                <a:gd name="connsiteY321" fmla="*/ 158877 h 731424"/>
                <a:gd name="connsiteX322" fmla="*/ 33814 w 1044701"/>
                <a:gd name="connsiteY322" fmla="*/ 173260 h 731424"/>
                <a:gd name="connsiteX323" fmla="*/ 27337 w 1044701"/>
                <a:gd name="connsiteY323" fmla="*/ 172498 h 731424"/>
                <a:gd name="connsiteX324" fmla="*/ 22765 w 1044701"/>
                <a:gd name="connsiteY324" fmla="*/ 174689 h 731424"/>
                <a:gd name="connsiteX325" fmla="*/ 21050 w 1044701"/>
                <a:gd name="connsiteY325" fmla="*/ 173260 h 731424"/>
                <a:gd name="connsiteX326" fmla="*/ 21431 w 1044701"/>
                <a:gd name="connsiteY326" fmla="*/ 176403 h 731424"/>
                <a:gd name="connsiteX327" fmla="*/ 18288 w 1044701"/>
                <a:gd name="connsiteY327" fmla="*/ 176879 h 731424"/>
                <a:gd name="connsiteX328" fmla="*/ 16478 w 1044701"/>
                <a:gd name="connsiteY328" fmla="*/ 175450 h 731424"/>
                <a:gd name="connsiteX329" fmla="*/ 13144 w 1044701"/>
                <a:gd name="connsiteY329" fmla="*/ 174308 h 731424"/>
                <a:gd name="connsiteX330" fmla="*/ 11906 w 1044701"/>
                <a:gd name="connsiteY330" fmla="*/ 177641 h 731424"/>
                <a:gd name="connsiteX331" fmla="*/ 8954 w 1044701"/>
                <a:gd name="connsiteY331" fmla="*/ 179642 h 731424"/>
                <a:gd name="connsiteX332" fmla="*/ 9239 w 1044701"/>
                <a:gd name="connsiteY332" fmla="*/ 181261 h 731424"/>
                <a:gd name="connsiteX333" fmla="*/ 12763 w 1044701"/>
                <a:gd name="connsiteY333" fmla="*/ 183928 h 731424"/>
                <a:gd name="connsiteX334" fmla="*/ 24003 w 1044701"/>
                <a:gd name="connsiteY334" fmla="*/ 184118 h 731424"/>
                <a:gd name="connsiteX335" fmla="*/ 22860 w 1044701"/>
                <a:gd name="connsiteY335" fmla="*/ 187547 h 731424"/>
                <a:gd name="connsiteX336" fmla="*/ 27337 w 1044701"/>
                <a:gd name="connsiteY336" fmla="*/ 185356 h 731424"/>
                <a:gd name="connsiteX337" fmla="*/ 28004 w 1044701"/>
                <a:gd name="connsiteY337" fmla="*/ 190024 h 731424"/>
                <a:gd name="connsiteX338" fmla="*/ 26575 w 1044701"/>
                <a:gd name="connsiteY338" fmla="*/ 191834 h 731424"/>
                <a:gd name="connsiteX339" fmla="*/ 24765 w 1044701"/>
                <a:gd name="connsiteY339" fmla="*/ 190500 h 731424"/>
                <a:gd name="connsiteX340" fmla="*/ 23431 w 1044701"/>
                <a:gd name="connsiteY340" fmla="*/ 192215 h 731424"/>
                <a:gd name="connsiteX341" fmla="*/ 18288 w 1044701"/>
                <a:gd name="connsiteY341" fmla="*/ 189643 h 731424"/>
                <a:gd name="connsiteX342" fmla="*/ 18479 w 1044701"/>
                <a:gd name="connsiteY342" fmla="*/ 191262 h 731424"/>
                <a:gd name="connsiteX343" fmla="*/ 21812 w 1044701"/>
                <a:gd name="connsiteY343" fmla="*/ 192405 h 731424"/>
                <a:gd name="connsiteX344" fmla="*/ 20288 w 1044701"/>
                <a:gd name="connsiteY344" fmla="*/ 192596 h 731424"/>
                <a:gd name="connsiteX345" fmla="*/ 15145 w 1044701"/>
                <a:gd name="connsiteY345" fmla="*/ 190119 h 731424"/>
                <a:gd name="connsiteX346" fmla="*/ 11811 w 1044701"/>
                <a:gd name="connsiteY346" fmla="*/ 188881 h 731424"/>
                <a:gd name="connsiteX347" fmla="*/ 6096 w 1044701"/>
                <a:gd name="connsiteY347" fmla="*/ 194405 h 731424"/>
                <a:gd name="connsiteX348" fmla="*/ 0 w 1044701"/>
                <a:gd name="connsiteY348" fmla="*/ 196787 h 731424"/>
                <a:gd name="connsiteX349" fmla="*/ 5334 w 1044701"/>
                <a:gd name="connsiteY349" fmla="*/ 200977 h 731424"/>
                <a:gd name="connsiteX350" fmla="*/ 5715 w 1044701"/>
                <a:gd name="connsiteY350" fmla="*/ 204121 h 731424"/>
                <a:gd name="connsiteX351" fmla="*/ 7239 w 1044701"/>
                <a:gd name="connsiteY351" fmla="*/ 203930 h 731424"/>
                <a:gd name="connsiteX352" fmla="*/ 8096 w 1044701"/>
                <a:gd name="connsiteY352" fmla="*/ 210217 h 731424"/>
                <a:gd name="connsiteX353" fmla="*/ 11621 w 1044701"/>
                <a:gd name="connsiteY353" fmla="*/ 212979 h 731424"/>
                <a:gd name="connsiteX354" fmla="*/ 13240 w 1044701"/>
                <a:gd name="connsiteY354" fmla="*/ 212789 h 731424"/>
                <a:gd name="connsiteX355" fmla="*/ 11811 w 1044701"/>
                <a:gd name="connsiteY355" fmla="*/ 214598 h 731424"/>
                <a:gd name="connsiteX356" fmla="*/ 14954 w 1044701"/>
                <a:gd name="connsiteY356" fmla="*/ 214122 h 731424"/>
                <a:gd name="connsiteX357" fmla="*/ 15430 w 1044701"/>
                <a:gd name="connsiteY357" fmla="*/ 217265 h 731424"/>
                <a:gd name="connsiteX358" fmla="*/ 20574 w 1044701"/>
                <a:gd name="connsiteY358" fmla="*/ 219837 h 731424"/>
                <a:gd name="connsiteX359" fmla="*/ 25717 w 1044701"/>
                <a:gd name="connsiteY359" fmla="*/ 222409 h 731424"/>
                <a:gd name="connsiteX360" fmla="*/ 27432 w 1044701"/>
                <a:gd name="connsiteY360" fmla="*/ 223838 h 731424"/>
                <a:gd name="connsiteX361" fmla="*/ 31623 w 1044701"/>
                <a:gd name="connsiteY361" fmla="*/ 218504 h 731424"/>
                <a:gd name="connsiteX362" fmla="*/ 39910 w 1044701"/>
                <a:gd name="connsiteY362" fmla="*/ 220599 h 731424"/>
                <a:gd name="connsiteX363" fmla="*/ 38481 w 1044701"/>
                <a:gd name="connsiteY363" fmla="*/ 222409 h 731424"/>
                <a:gd name="connsiteX364" fmla="*/ 36767 w 1044701"/>
                <a:gd name="connsiteY364" fmla="*/ 220980 h 731424"/>
                <a:gd name="connsiteX365" fmla="*/ 40481 w 1044701"/>
                <a:gd name="connsiteY365" fmla="*/ 225362 h 731424"/>
                <a:gd name="connsiteX366" fmla="*/ 43434 w 1044701"/>
                <a:gd name="connsiteY366" fmla="*/ 223361 h 731424"/>
                <a:gd name="connsiteX367" fmla="*/ 48577 w 1044701"/>
                <a:gd name="connsiteY367" fmla="*/ 225933 h 731424"/>
                <a:gd name="connsiteX368" fmla="*/ 44196 w 1044701"/>
                <a:gd name="connsiteY368" fmla="*/ 229648 h 731424"/>
                <a:gd name="connsiteX369" fmla="*/ 41053 w 1044701"/>
                <a:gd name="connsiteY369" fmla="*/ 230029 h 731424"/>
                <a:gd name="connsiteX370" fmla="*/ 43053 w 1044701"/>
                <a:gd name="connsiteY370" fmla="*/ 232981 h 731424"/>
                <a:gd name="connsiteX371" fmla="*/ 46387 w 1044701"/>
                <a:gd name="connsiteY371" fmla="*/ 234220 h 731424"/>
                <a:gd name="connsiteX372" fmla="*/ 49625 w 1044701"/>
                <a:gd name="connsiteY372" fmla="*/ 233839 h 731424"/>
                <a:gd name="connsiteX373" fmla="*/ 49816 w 1044701"/>
                <a:gd name="connsiteY373" fmla="*/ 235363 h 731424"/>
                <a:gd name="connsiteX374" fmla="*/ 51149 w 1044701"/>
                <a:gd name="connsiteY374" fmla="*/ 233648 h 731424"/>
                <a:gd name="connsiteX375" fmla="*/ 52959 w 1044701"/>
                <a:gd name="connsiteY375" fmla="*/ 234982 h 731424"/>
                <a:gd name="connsiteX376" fmla="*/ 58102 w 1044701"/>
                <a:gd name="connsiteY376" fmla="*/ 237554 h 731424"/>
                <a:gd name="connsiteX377" fmla="*/ 65342 w 1044701"/>
                <a:gd name="connsiteY377" fmla="*/ 231839 h 731424"/>
                <a:gd name="connsiteX378" fmla="*/ 67151 w 1044701"/>
                <a:gd name="connsiteY378" fmla="*/ 233172 h 731424"/>
                <a:gd name="connsiteX379" fmla="*/ 67532 w 1044701"/>
                <a:gd name="connsiteY379" fmla="*/ 236315 h 731424"/>
                <a:gd name="connsiteX380" fmla="*/ 69342 w 1044701"/>
                <a:gd name="connsiteY380" fmla="*/ 237744 h 731424"/>
                <a:gd name="connsiteX381" fmla="*/ 66389 w 1044701"/>
                <a:gd name="connsiteY381" fmla="*/ 239649 h 731424"/>
                <a:gd name="connsiteX382" fmla="*/ 67151 w 1044701"/>
                <a:gd name="connsiteY382" fmla="*/ 246031 h 731424"/>
                <a:gd name="connsiteX383" fmla="*/ 70294 w 1044701"/>
                <a:gd name="connsiteY383" fmla="*/ 245555 h 731424"/>
                <a:gd name="connsiteX384" fmla="*/ 73819 w 1044701"/>
                <a:gd name="connsiteY384" fmla="*/ 235553 h 731424"/>
                <a:gd name="connsiteX385" fmla="*/ 75819 w 1044701"/>
                <a:gd name="connsiteY385" fmla="*/ 238506 h 731424"/>
                <a:gd name="connsiteX386" fmla="*/ 74676 w 1044701"/>
                <a:gd name="connsiteY386" fmla="*/ 241840 h 731424"/>
                <a:gd name="connsiteX387" fmla="*/ 77819 w 1044701"/>
                <a:gd name="connsiteY387" fmla="*/ 241459 h 731424"/>
                <a:gd name="connsiteX388" fmla="*/ 76867 w 1044701"/>
                <a:gd name="connsiteY388" fmla="*/ 246412 h 731424"/>
                <a:gd name="connsiteX389" fmla="*/ 77438 w 1044701"/>
                <a:gd name="connsiteY389" fmla="*/ 251079 h 731424"/>
                <a:gd name="connsiteX390" fmla="*/ 76105 w 1044701"/>
                <a:gd name="connsiteY390" fmla="*/ 252889 h 731424"/>
                <a:gd name="connsiteX391" fmla="*/ 68580 w 1044701"/>
                <a:gd name="connsiteY391" fmla="*/ 257080 h 731424"/>
                <a:gd name="connsiteX392" fmla="*/ 68771 w 1044701"/>
                <a:gd name="connsiteY392" fmla="*/ 258604 h 731424"/>
                <a:gd name="connsiteX393" fmla="*/ 70771 w 1044701"/>
                <a:gd name="connsiteY393" fmla="*/ 261556 h 731424"/>
                <a:gd name="connsiteX394" fmla="*/ 79438 w 1044701"/>
                <a:gd name="connsiteY394" fmla="*/ 266890 h 731424"/>
                <a:gd name="connsiteX395" fmla="*/ 98774 w 1044701"/>
                <a:gd name="connsiteY395" fmla="*/ 280416 h 731424"/>
                <a:gd name="connsiteX396" fmla="*/ 100203 w 1044701"/>
                <a:gd name="connsiteY396" fmla="*/ 278702 h 731424"/>
                <a:gd name="connsiteX397" fmla="*/ 103346 w 1044701"/>
                <a:gd name="connsiteY397" fmla="*/ 278225 h 731424"/>
                <a:gd name="connsiteX398" fmla="*/ 105537 w 1044701"/>
                <a:gd name="connsiteY398" fmla="*/ 282797 h 731424"/>
                <a:gd name="connsiteX399" fmla="*/ 106871 w 1044701"/>
                <a:gd name="connsiteY399" fmla="*/ 280988 h 731424"/>
                <a:gd name="connsiteX400" fmla="*/ 108680 w 1044701"/>
                <a:gd name="connsiteY400" fmla="*/ 282416 h 731424"/>
                <a:gd name="connsiteX401" fmla="*/ 110490 w 1044701"/>
                <a:gd name="connsiteY401" fmla="*/ 283750 h 731424"/>
                <a:gd name="connsiteX402" fmla="*/ 109252 w 1044701"/>
                <a:gd name="connsiteY402" fmla="*/ 287179 h 731424"/>
                <a:gd name="connsiteX403" fmla="*/ 112681 w 1044701"/>
                <a:gd name="connsiteY403" fmla="*/ 288322 h 731424"/>
                <a:gd name="connsiteX404" fmla="*/ 115443 w 1044701"/>
                <a:gd name="connsiteY404" fmla="*/ 284798 h 731424"/>
                <a:gd name="connsiteX405" fmla="*/ 119348 w 1044701"/>
                <a:gd name="connsiteY405" fmla="*/ 290703 h 731424"/>
                <a:gd name="connsiteX406" fmla="*/ 116776 w 1044701"/>
                <a:gd name="connsiteY406" fmla="*/ 295847 h 731424"/>
                <a:gd name="connsiteX407" fmla="*/ 118586 w 1044701"/>
                <a:gd name="connsiteY407" fmla="*/ 297180 h 731424"/>
                <a:gd name="connsiteX408" fmla="*/ 117634 w 1044701"/>
                <a:gd name="connsiteY408" fmla="*/ 302133 h 731424"/>
                <a:gd name="connsiteX409" fmla="*/ 119634 w 1044701"/>
                <a:gd name="connsiteY409" fmla="*/ 305086 h 731424"/>
                <a:gd name="connsiteX410" fmla="*/ 116205 w 1044701"/>
                <a:gd name="connsiteY410" fmla="*/ 303943 h 731424"/>
                <a:gd name="connsiteX411" fmla="*/ 111728 w 1044701"/>
                <a:gd name="connsiteY411" fmla="*/ 306038 h 731424"/>
                <a:gd name="connsiteX412" fmla="*/ 107537 w 1044701"/>
                <a:gd name="connsiteY412" fmla="*/ 311372 h 731424"/>
                <a:gd name="connsiteX413" fmla="*/ 117062 w 1044701"/>
                <a:gd name="connsiteY413" fmla="*/ 322993 h 731424"/>
                <a:gd name="connsiteX414" fmla="*/ 118872 w 1044701"/>
                <a:gd name="connsiteY414" fmla="*/ 324422 h 731424"/>
                <a:gd name="connsiteX415" fmla="*/ 120682 w 1044701"/>
                <a:gd name="connsiteY415" fmla="*/ 325755 h 731424"/>
                <a:gd name="connsiteX416" fmla="*/ 121063 w 1044701"/>
                <a:gd name="connsiteY416" fmla="*/ 328898 h 731424"/>
                <a:gd name="connsiteX417" fmla="*/ 119825 w 1044701"/>
                <a:gd name="connsiteY417" fmla="*/ 332327 h 731424"/>
                <a:gd name="connsiteX418" fmla="*/ 118491 w 1044701"/>
                <a:gd name="connsiteY418" fmla="*/ 334042 h 731424"/>
                <a:gd name="connsiteX419" fmla="*/ 114967 w 1044701"/>
                <a:gd name="connsiteY419" fmla="*/ 331280 h 731424"/>
                <a:gd name="connsiteX420" fmla="*/ 115919 w 1044701"/>
                <a:gd name="connsiteY420" fmla="*/ 339185 h 731424"/>
                <a:gd name="connsiteX421" fmla="*/ 114395 w 1044701"/>
                <a:gd name="connsiteY421" fmla="*/ 339376 h 731424"/>
                <a:gd name="connsiteX422" fmla="*/ 113347 w 1044701"/>
                <a:gd name="connsiteY422" fmla="*/ 344329 h 731424"/>
                <a:gd name="connsiteX423" fmla="*/ 111823 w 1044701"/>
                <a:gd name="connsiteY423" fmla="*/ 344519 h 731424"/>
                <a:gd name="connsiteX424" fmla="*/ 112014 w 1044701"/>
                <a:gd name="connsiteY424" fmla="*/ 346139 h 731424"/>
                <a:gd name="connsiteX425" fmla="*/ 106680 w 1044701"/>
                <a:gd name="connsiteY425" fmla="*/ 354806 h 731424"/>
                <a:gd name="connsiteX426" fmla="*/ 110300 w 1044701"/>
                <a:gd name="connsiteY426" fmla="*/ 357569 h 731424"/>
                <a:gd name="connsiteX427" fmla="*/ 107251 w 1044701"/>
                <a:gd name="connsiteY427" fmla="*/ 359569 h 731424"/>
                <a:gd name="connsiteX428" fmla="*/ 98012 w 1044701"/>
                <a:gd name="connsiteY428" fmla="*/ 362331 h 731424"/>
                <a:gd name="connsiteX429" fmla="*/ 96488 w 1044701"/>
                <a:gd name="connsiteY429" fmla="*/ 362522 h 731424"/>
                <a:gd name="connsiteX430" fmla="*/ 96869 w 1044701"/>
                <a:gd name="connsiteY430" fmla="*/ 365665 h 731424"/>
                <a:gd name="connsiteX431" fmla="*/ 96869 w 1044701"/>
                <a:gd name="connsiteY431" fmla="*/ 365665 h 731424"/>
                <a:gd name="connsiteX432" fmla="*/ 95726 w 1044701"/>
                <a:gd name="connsiteY432" fmla="*/ 369094 h 731424"/>
                <a:gd name="connsiteX433" fmla="*/ 100775 w 1044701"/>
                <a:gd name="connsiteY433" fmla="*/ 371570 h 731424"/>
                <a:gd name="connsiteX434" fmla="*/ 100013 w 1044701"/>
                <a:gd name="connsiteY434" fmla="*/ 378143 h 731424"/>
                <a:gd name="connsiteX435" fmla="*/ 99060 w 1044701"/>
                <a:gd name="connsiteY435" fmla="*/ 383095 h 731424"/>
                <a:gd name="connsiteX436" fmla="*/ 100870 w 1044701"/>
                <a:gd name="connsiteY436" fmla="*/ 384429 h 731424"/>
                <a:gd name="connsiteX437" fmla="*/ 100108 w 1044701"/>
                <a:gd name="connsiteY437" fmla="*/ 390906 h 731424"/>
                <a:gd name="connsiteX438" fmla="*/ 98488 w 1044701"/>
                <a:gd name="connsiteY438" fmla="*/ 391192 h 731424"/>
                <a:gd name="connsiteX439" fmla="*/ 96488 w 1044701"/>
                <a:gd name="connsiteY439" fmla="*/ 388239 h 731424"/>
                <a:gd name="connsiteX440" fmla="*/ 93917 w 1044701"/>
                <a:gd name="connsiteY440" fmla="*/ 393287 h 731424"/>
                <a:gd name="connsiteX441" fmla="*/ 97536 w 1044701"/>
                <a:gd name="connsiteY441" fmla="*/ 396049 h 731424"/>
                <a:gd name="connsiteX442" fmla="*/ 98298 w 1044701"/>
                <a:gd name="connsiteY442" fmla="*/ 402431 h 731424"/>
                <a:gd name="connsiteX443" fmla="*/ 95155 w 1044701"/>
                <a:gd name="connsiteY443" fmla="*/ 402812 h 731424"/>
                <a:gd name="connsiteX444" fmla="*/ 105823 w 1044701"/>
                <a:gd name="connsiteY444" fmla="*/ 411099 h 731424"/>
                <a:gd name="connsiteX445" fmla="*/ 110966 w 1044701"/>
                <a:gd name="connsiteY445" fmla="*/ 413576 h 731424"/>
                <a:gd name="connsiteX446" fmla="*/ 114776 w 1044701"/>
                <a:gd name="connsiteY446" fmla="*/ 417957 h 731424"/>
                <a:gd name="connsiteX447" fmla="*/ 118491 w 1044701"/>
                <a:gd name="connsiteY447" fmla="*/ 422243 h 731424"/>
                <a:gd name="connsiteX448" fmla="*/ 122015 w 1044701"/>
                <a:gd name="connsiteY448" fmla="*/ 425006 h 731424"/>
                <a:gd name="connsiteX449" fmla="*/ 128588 w 1044701"/>
                <a:gd name="connsiteY449" fmla="*/ 425768 h 731424"/>
                <a:gd name="connsiteX450" fmla="*/ 137827 w 1044701"/>
                <a:gd name="connsiteY450" fmla="*/ 435864 h 731424"/>
                <a:gd name="connsiteX451" fmla="*/ 142589 w 1044701"/>
                <a:gd name="connsiteY451" fmla="*/ 435293 h 731424"/>
                <a:gd name="connsiteX452" fmla="*/ 142970 w 1044701"/>
                <a:gd name="connsiteY452" fmla="*/ 438436 h 731424"/>
                <a:gd name="connsiteX453" fmla="*/ 144971 w 1044701"/>
                <a:gd name="connsiteY453" fmla="*/ 441389 h 731424"/>
                <a:gd name="connsiteX454" fmla="*/ 151257 w 1044701"/>
                <a:gd name="connsiteY454" fmla="*/ 440531 h 731424"/>
                <a:gd name="connsiteX455" fmla="*/ 150304 w 1044701"/>
                <a:gd name="connsiteY455" fmla="*/ 445484 h 731424"/>
                <a:gd name="connsiteX456" fmla="*/ 150495 w 1044701"/>
                <a:gd name="connsiteY456" fmla="*/ 447103 h 731424"/>
                <a:gd name="connsiteX457" fmla="*/ 154305 w 1044701"/>
                <a:gd name="connsiteY457" fmla="*/ 451390 h 731424"/>
                <a:gd name="connsiteX458" fmla="*/ 157448 w 1044701"/>
                <a:gd name="connsiteY458" fmla="*/ 451009 h 731424"/>
                <a:gd name="connsiteX459" fmla="*/ 159258 w 1044701"/>
                <a:gd name="connsiteY459" fmla="*/ 452342 h 731424"/>
                <a:gd name="connsiteX460" fmla="*/ 162401 w 1044701"/>
                <a:gd name="connsiteY460" fmla="*/ 451961 h 731424"/>
                <a:gd name="connsiteX461" fmla="*/ 160972 w 1044701"/>
                <a:gd name="connsiteY461" fmla="*/ 453771 h 731424"/>
                <a:gd name="connsiteX462" fmla="*/ 163163 w 1044701"/>
                <a:gd name="connsiteY462" fmla="*/ 458248 h 731424"/>
                <a:gd name="connsiteX463" fmla="*/ 160401 w 1044701"/>
                <a:gd name="connsiteY463" fmla="*/ 461867 h 731424"/>
                <a:gd name="connsiteX464" fmla="*/ 162401 w 1044701"/>
                <a:gd name="connsiteY464" fmla="*/ 464820 h 731424"/>
                <a:gd name="connsiteX465" fmla="*/ 163354 w 1044701"/>
                <a:gd name="connsiteY465" fmla="*/ 459867 h 731424"/>
                <a:gd name="connsiteX466" fmla="*/ 163735 w 1044701"/>
                <a:gd name="connsiteY466" fmla="*/ 463010 h 731424"/>
                <a:gd name="connsiteX467" fmla="*/ 166497 w 1044701"/>
                <a:gd name="connsiteY467" fmla="*/ 459486 h 731424"/>
                <a:gd name="connsiteX468" fmla="*/ 168497 w 1044701"/>
                <a:gd name="connsiteY468" fmla="*/ 462439 h 731424"/>
                <a:gd name="connsiteX469" fmla="*/ 171450 w 1044701"/>
                <a:gd name="connsiteY469" fmla="*/ 460439 h 731424"/>
                <a:gd name="connsiteX470" fmla="*/ 174784 w 1044701"/>
                <a:gd name="connsiteY470" fmla="*/ 461582 h 731424"/>
                <a:gd name="connsiteX471" fmla="*/ 181165 w 1044701"/>
                <a:gd name="connsiteY471" fmla="*/ 460819 h 731424"/>
                <a:gd name="connsiteX472" fmla="*/ 181356 w 1044701"/>
                <a:gd name="connsiteY472" fmla="*/ 462344 h 731424"/>
                <a:gd name="connsiteX473" fmla="*/ 184499 w 1044701"/>
                <a:gd name="connsiteY473" fmla="*/ 461963 h 731424"/>
                <a:gd name="connsiteX474" fmla="*/ 184309 w 1044701"/>
                <a:gd name="connsiteY474" fmla="*/ 460439 h 731424"/>
                <a:gd name="connsiteX475" fmla="*/ 189071 w 1044701"/>
                <a:gd name="connsiteY475" fmla="*/ 459772 h 731424"/>
                <a:gd name="connsiteX476" fmla="*/ 188595 w 1044701"/>
                <a:gd name="connsiteY476" fmla="*/ 456628 h 731424"/>
                <a:gd name="connsiteX477" fmla="*/ 194977 w 1044701"/>
                <a:gd name="connsiteY477" fmla="*/ 455867 h 731424"/>
                <a:gd name="connsiteX478" fmla="*/ 193738 w 1044701"/>
                <a:gd name="connsiteY478" fmla="*/ 459200 h 731424"/>
                <a:gd name="connsiteX479" fmla="*/ 197929 w 1044701"/>
                <a:gd name="connsiteY479" fmla="*/ 466725 h 731424"/>
                <a:gd name="connsiteX480" fmla="*/ 199263 w 1044701"/>
                <a:gd name="connsiteY480" fmla="*/ 464915 h 731424"/>
                <a:gd name="connsiteX481" fmla="*/ 201073 w 1044701"/>
                <a:gd name="connsiteY481" fmla="*/ 466249 h 731424"/>
                <a:gd name="connsiteX482" fmla="*/ 207359 w 1044701"/>
                <a:gd name="connsiteY482" fmla="*/ 465487 h 731424"/>
                <a:gd name="connsiteX483" fmla="*/ 207931 w 1044701"/>
                <a:gd name="connsiteY483" fmla="*/ 457390 h 731424"/>
                <a:gd name="connsiteX484" fmla="*/ 210693 w 1044701"/>
                <a:gd name="connsiteY484" fmla="*/ 453866 h 731424"/>
                <a:gd name="connsiteX485" fmla="*/ 214694 w 1044701"/>
                <a:gd name="connsiteY485" fmla="*/ 459772 h 731424"/>
                <a:gd name="connsiteX486" fmla="*/ 216503 w 1044701"/>
                <a:gd name="connsiteY486" fmla="*/ 461105 h 731424"/>
                <a:gd name="connsiteX487" fmla="*/ 219646 w 1044701"/>
                <a:gd name="connsiteY487" fmla="*/ 460724 h 731424"/>
                <a:gd name="connsiteX488" fmla="*/ 219837 w 1044701"/>
                <a:gd name="connsiteY488" fmla="*/ 462344 h 731424"/>
                <a:gd name="connsiteX489" fmla="*/ 227743 w 1044701"/>
                <a:gd name="connsiteY489" fmla="*/ 461296 h 731424"/>
                <a:gd name="connsiteX490" fmla="*/ 229648 w 1044701"/>
                <a:gd name="connsiteY490" fmla="*/ 464248 h 731424"/>
                <a:gd name="connsiteX491" fmla="*/ 226504 w 1044701"/>
                <a:gd name="connsiteY491" fmla="*/ 464630 h 731424"/>
                <a:gd name="connsiteX492" fmla="*/ 226886 w 1044701"/>
                <a:gd name="connsiteY492" fmla="*/ 467773 h 731424"/>
                <a:gd name="connsiteX493" fmla="*/ 230696 w 1044701"/>
                <a:gd name="connsiteY493" fmla="*/ 472154 h 731424"/>
                <a:gd name="connsiteX494" fmla="*/ 235077 w 1044701"/>
                <a:gd name="connsiteY494" fmla="*/ 468344 h 731424"/>
                <a:gd name="connsiteX495" fmla="*/ 235648 w 1044701"/>
                <a:gd name="connsiteY495" fmla="*/ 473107 h 731424"/>
                <a:gd name="connsiteX496" fmla="*/ 240602 w 1044701"/>
                <a:gd name="connsiteY496" fmla="*/ 474059 h 731424"/>
                <a:gd name="connsiteX497" fmla="*/ 244697 w 1044701"/>
                <a:gd name="connsiteY497" fmla="*/ 468725 h 731424"/>
                <a:gd name="connsiteX498" fmla="*/ 243554 w 1044701"/>
                <a:gd name="connsiteY498" fmla="*/ 472059 h 731424"/>
                <a:gd name="connsiteX499" fmla="*/ 246888 w 1044701"/>
                <a:gd name="connsiteY499" fmla="*/ 473297 h 731424"/>
                <a:gd name="connsiteX500" fmla="*/ 247650 w 1044701"/>
                <a:gd name="connsiteY500" fmla="*/ 479584 h 731424"/>
                <a:gd name="connsiteX501" fmla="*/ 249269 w 1044701"/>
                <a:gd name="connsiteY501" fmla="*/ 479393 h 731424"/>
                <a:gd name="connsiteX502" fmla="*/ 251079 w 1044701"/>
                <a:gd name="connsiteY502" fmla="*/ 480727 h 731424"/>
                <a:gd name="connsiteX503" fmla="*/ 252603 w 1044701"/>
                <a:gd name="connsiteY503" fmla="*/ 480536 h 731424"/>
                <a:gd name="connsiteX504" fmla="*/ 251460 w 1044701"/>
                <a:gd name="connsiteY504" fmla="*/ 483965 h 731424"/>
                <a:gd name="connsiteX505" fmla="*/ 249841 w 1044701"/>
                <a:gd name="connsiteY505" fmla="*/ 484156 h 731424"/>
                <a:gd name="connsiteX506" fmla="*/ 251650 w 1044701"/>
                <a:gd name="connsiteY506" fmla="*/ 485489 h 731424"/>
                <a:gd name="connsiteX507" fmla="*/ 253174 w 1044701"/>
                <a:gd name="connsiteY507" fmla="*/ 485299 h 731424"/>
                <a:gd name="connsiteX508" fmla="*/ 253460 w 1044701"/>
                <a:gd name="connsiteY508" fmla="*/ 486918 h 731424"/>
                <a:gd name="connsiteX509" fmla="*/ 256413 w 1044701"/>
                <a:gd name="connsiteY509" fmla="*/ 484918 h 731424"/>
                <a:gd name="connsiteX510" fmla="*/ 258128 w 1044701"/>
                <a:gd name="connsiteY510" fmla="*/ 486251 h 731424"/>
                <a:gd name="connsiteX511" fmla="*/ 260318 w 1044701"/>
                <a:gd name="connsiteY511" fmla="*/ 490823 h 731424"/>
                <a:gd name="connsiteX512" fmla="*/ 258985 w 1044701"/>
                <a:gd name="connsiteY512" fmla="*/ 492633 h 731424"/>
                <a:gd name="connsiteX513" fmla="*/ 267462 w 1044701"/>
                <a:gd name="connsiteY513" fmla="*/ 496348 h 731424"/>
                <a:gd name="connsiteX514" fmla="*/ 267271 w 1044701"/>
                <a:gd name="connsiteY514" fmla="*/ 494728 h 731424"/>
                <a:gd name="connsiteX515" fmla="*/ 276701 w 1044701"/>
                <a:gd name="connsiteY515" fmla="*/ 493490 h 731424"/>
                <a:gd name="connsiteX516" fmla="*/ 282035 w 1044701"/>
                <a:gd name="connsiteY516" fmla="*/ 497681 h 731424"/>
                <a:gd name="connsiteX517" fmla="*/ 286798 w 1044701"/>
                <a:gd name="connsiteY517" fmla="*/ 497015 h 731424"/>
                <a:gd name="connsiteX518" fmla="*/ 291941 w 1044701"/>
                <a:gd name="connsiteY518" fmla="*/ 499586 h 731424"/>
                <a:gd name="connsiteX519" fmla="*/ 291560 w 1044701"/>
                <a:gd name="connsiteY519" fmla="*/ 496443 h 731424"/>
                <a:gd name="connsiteX520" fmla="*/ 296228 w 1044701"/>
                <a:gd name="connsiteY520" fmla="*/ 495872 h 731424"/>
                <a:gd name="connsiteX521" fmla="*/ 293941 w 1044701"/>
                <a:gd name="connsiteY521" fmla="*/ 502539 h 731424"/>
                <a:gd name="connsiteX522" fmla="*/ 290608 w 1044701"/>
                <a:gd name="connsiteY522" fmla="*/ 514255 h 731424"/>
                <a:gd name="connsiteX523" fmla="*/ 292132 w 1044701"/>
                <a:gd name="connsiteY523" fmla="*/ 514064 h 731424"/>
                <a:gd name="connsiteX524" fmla="*/ 291560 w 1044701"/>
                <a:gd name="connsiteY524" fmla="*/ 522065 h 731424"/>
                <a:gd name="connsiteX525" fmla="*/ 293561 w 1044701"/>
                <a:gd name="connsiteY525" fmla="*/ 525113 h 731424"/>
                <a:gd name="connsiteX526" fmla="*/ 296704 w 1044701"/>
                <a:gd name="connsiteY526" fmla="*/ 524637 h 731424"/>
                <a:gd name="connsiteX527" fmla="*/ 301085 w 1044701"/>
                <a:gd name="connsiteY527" fmla="*/ 520922 h 731424"/>
                <a:gd name="connsiteX528" fmla="*/ 302800 w 1044701"/>
                <a:gd name="connsiteY528" fmla="*/ 522256 h 731424"/>
                <a:gd name="connsiteX529" fmla="*/ 302609 w 1044701"/>
                <a:gd name="connsiteY529" fmla="*/ 520732 h 731424"/>
                <a:gd name="connsiteX530" fmla="*/ 305562 w 1044701"/>
                <a:gd name="connsiteY530" fmla="*/ 518732 h 731424"/>
                <a:gd name="connsiteX531" fmla="*/ 309372 w 1044701"/>
                <a:gd name="connsiteY531" fmla="*/ 523018 h 731424"/>
                <a:gd name="connsiteX532" fmla="*/ 313849 w 1044701"/>
                <a:gd name="connsiteY532" fmla="*/ 520827 h 731424"/>
                <a:gd name="connsiteX533" fmla="*/ 315849 w 1044701"/>
                <a:gd name="connsiteY533" fmla="*/ 523875 h 731424"/>
                <a:gd name="connsiteX534" fmla="*/ 320992 w 1044701"/>
                <a:gd name="connsiteY534" fmla="*/ 526352 h 731424"/>
                <a:gd name="connsiteX535" fmla="*/ 321183 w 1044701"/>
                <a:gd name="connsiteY535" fmla="*/ 527971 h 731424"/>
                <a:gd name="connsiteX536" fmla="*/ 324326 w 1044701"/>
                <a:gd name="connsiteY536" fmla="*/ 527590 h 731424"/>
                <a:gd name="connsiteX537" fmla="*/ 330708 w 1044701"/>
                <a:gd name="connsiteY537" fmla="*/ 539591 h 731424"/>
                <a:gd name="connsiteX538" fmla="*/ 342138 w 1044701"/>
                <a:gd name="connsiteY538" fmla="*/ 541306 h 731424"/>
                <a:gd name="connsiteX539" fmla="*/ 344329 w 1044701"/>
                <a:gd name="connsiteY539" fmla="*/ 545878 h 731424"/>
                <a:gd name="connsiteX540" fmla="*/ 350234 w 1044701"/>
                <a:gd name="connsiteY540" fmla="*/ 541877 h 731424"/>
                <a:gd name="connsiteX541" fmla="*/ 354521 w 1044701"/>
                <a:gd name="connsiteY541" fmla="*/ 538163 h 731424"/>
                <a:gd name="connsiteX542" fmla="*/ 354616 w 1044701"/>
                <a:gd name="connsiteY542" fmla="*/ 550926 h 731424"/>
                <a:gd name="connsiteX543" fmla="*/ 350044 w 1044701"/>
                <a:gd name="connsiteY543" fmla="*/ 553117 h 731424"/>
                <a:gd name="connsiteX544" fmla="*/ 343567 w 1044701"/>
                <a:gd name="connsiteY544" fmla="*/ 565214 h 731424"/>
                <a:gd name="connsiteX545" fmla="*/ 349282 w 1044701"/>
                <a:gd name="connsiteY545" fmla="*/ 572453 h 731424"/>
                <a:gd name="connsiteX546" fmla="*/ 348139 w 1044701"/>
                <a:gd name="connsiteY546" fmla="*/ 575882 h 731424"/>
                <a:gd name="connsiteX547" fmla="*/ 358807 w 1044701"/>
                <a:gd name="connsiteY547" fmla="*/ 584073 h 731424"/>
                <a:gd name="connsiteX548" fmla="*/ 366713 w 1044701"/>
                <a:gd name="connsiteY548" fmla="*/ 583120 h 731424"/>
                <a:gd name="connsiteX549" fmla="*/ 377190 w 1044701"/>
                <a:gd name="connsiteY549" fmla="*/ 589788 h 731424"/>
                <a:gd name="connsiteX550" fmla="*/ 382143 w 1044701"/>
                <a:gd name="connsiteY550" fmla="*/ 590740 h 731424"/>
                <a:gd name="connsiteX551" fmla="*/ 382333 w 1044701"/>
                <a:gd name="connsiteY551" fmla="*/ 592360 h 731424"/>
                <a:gd name="connsiteX552" fmla="*/ 384143 w 1044701"/>
                <a:gd name="connsiteY552" fmla="*/ 593693 h 731424"/>
                <a:gd name="connsiteX553" fmla="*/ 393382 w 1044701"/>
                <a:gd name="connsiteY553" fmla="*/ 603790 h 731424"/>
                <a:gd name="connsiteX554" fmla="*/ 396526 w 1044701"/>
                <a:gd name="connsiteY554" fmla="*/ 603314 h 731424"/>
                <a:gd name="connsiteX555" fmla="*/ 399479 w 1044701"/>
                <a:gd name="connsiteY555" fmla="*/ 601409 h 731424"/>
                <a:gd name="connsiteX556" fmla="*/ 404241 w 1044701"/>
                <a:gd name="connsiteY556" fmla="*/ 600742 h 731424"/>
                <a:gd name="connsiteX557" fmla="*/ 409384 w 1044701"/>
                <a:gd name="connsiteY557" fmla="*/ 603314 h 731424"/>
                <a:gd name="connsiteX558" fmla="*/ 414147 w 1044701"/>
                <a:gd name="connsiteY558" fmla="*/ 602742 h 731424"/>
                <a:gd name="connsiteX559" fmla="*/ 413956 w 1044701"/>
                <a:gd name="connsiteY559" fmla="*/ 601123 h 731424"/>
                <a:gd name="connsiteX560" fmla="*/ 421577 w 1044701"/>
                <a:gd name="connsiteY560" fmla="*/ 598551 h 731424"/>
                <a:gd name="connsiteX561" fmla="*/ 416623 w 1044701"/>
                <a:gd name="connsiteY561" fmla="*/ 584740 h 731424"/>
                <a:gd name="connsiteX562" fmla="*/ 428054 w 1044701"/>
                <a:gd name="connsiteY562" fmla="*/ 586549 h 731424"/>
                <a:gd name="connsiteX563" fmla="*/ 429482 w 1044701"/>
                <a:gd name="connsiteY563" fmla="*/ 584740 h 731424"/>
                <a:gd name="connsiteX564" fmla="*/ 431006 w 1044701"/>
                <a:gd name="connsiteY564" fmla="*/ 584549 h 731424"/>
                <a:gd name="connsiteX565" fmla="*/ 428244 w 1044701"/>
                <a:gd name="connsiteY565" fmla="*/ 575215 h 731424"/>
                <a:gd name="connsiteX566" fmla="*/ 430244 w 1044701"/>
                <a:gd name="connsiteY566" fmla="*/ 565404 h 731424"/>
                <a:gd name="connsiteX567" fmla="*/ 445961 w 1044701"/>
                <a:gd name="connsiteY567" fmla="*/ 550545 h 731424"/>
                <a:gd name="connsiteX568" fmla="*/ 446722 w 1044701"/>
                <a:gd name="connsiteY568" fmla="*/ 544068 h 731424"/>
                <a:gd name="connsiteX569" fmla="*/ 451485 w 1044701"/>
                <a:gd name="connsiteY569" fmla="*/ 543401 h 731424"/>
                <a:gd name="connsiteX570" fmla="*/ 453485 w 1044701"/>
                <a:gd name="connsiteY570" fmla="*/ 546354 h 731424"/>
                <a:gd name="connsiteX571" fmla="*/ 456438 w 1044701"/>
                <a:gd name="connsiteY571" fmla="*/ 544449 h 731424"/>
                <a:gd name="connsiteX572" fmla="*/ 455200 w 1044701"/>
                <a:gd name="connsiteY572" fmla="*/ 547783 h 731424"/>
                <a:gd name="connsiteX573" fmla="*/ 453866 w 1044701"/>
                <a:gd name="connsiteY573" fmla="*/ 549593 h 731424"/>
                <a:gd name="connsiteX574" fmla="*/ 456057 w 1044701"/>
                <a:gd name="connsiteY574" fmla="*/ 554069 h 731424"/>
                <a:gd name="connsiteX575" fmla="*/ 454438 w 1044701"/>
                <a:gd name="connsiteY575" fmla="*/ 554260 h 731424"/>
                <a:gd name="connsiteX576" fmla="*/ 455105 w 1044701"/>
                <a:gd name="connsiteY576" fmla="*/ 559022 h 731424"/>
                <a:gd name="connsiteX577" fmla="*/ 464153 w 1044701"/>
                <a:gd name="connsiteY577" fmla="*/ 567499 h 731424"/>
                <a:gd name="connsiteX578" fmla="*/ 469106 w 1044701"/>
                <a:gd name="connsiteY578" fmla="*/ 568452 h 731424"/>
                <a:gd name="connsiteX579" fmla="*/ 473773 w 1044701"/>
                <a:gd name="connsiteY579" fmla="*/ 567881 h 731424"/>
                <a:gd name="connsiteX580" fmla="*/ 475774 w 1044701"/>
                <a:gd name="connsiteY580" fmla="*/ 570833 h 731424"/>
                <a:gd name="connsiteX581" fmla="*/ 482537 w 1044701"/>
                <a:gd name="connsiteY581" fmla="*/ 573119 h 731424"/>
                <a:gd name="connsiteX582" fmla="*/ 484251 w 1044701"/>
                <a:gd name="connsiteY582" fmla="*/ 574548 h 731424"/>
                <a:gd name="connsiteX583" fmla="*/ 486823 w 1044701"/>
                <a:gd name="connsiteY583" fmla="*/ 569405 h 731424"/>
                <a:gd name="connsiteX584" fmla="*/ 490252 w 1044701"/>
                <a:gd name="connsiteY584" fmla="*/ 570548 h 731424"/>
                <a:gd name="connsiteX585" fmla="*/ 493395 w 1044701"/>
                <a:gd name="connsiteY585" fmla="*/ 570167 h 731424"/>
                <a:gd name="connsiteX586" fmla="*/ 498538 w 1044701"/>
                <a:gd name="connsiteY586" fmla="*/ 572738 h 731424"/>
                <a:gd name="connsiteX587" fmla="*/ 500063 w 1044701"/>
                <a:gd name="connsiteY587" fmla="*/ 572548 h 731424"/>
                <a:gd name="connsiteX588" fmla="*/ 503872 w 1044701"/>
                <a:gd name="connsiteY588" fmla="*/ 576834 h 731424"/>
                <a:gd name="connsiteX589" fmla="*/ 507397 w 1044701"/>
                <a:gd name="connsiteY589" fmla="*/ 579596 h 731424"/>
                <a:gd name="connsiteX590" fmla="*/ 507587 w 1044701"/>
                <a:gd name="connsiteY590" fmla="*/ 581215 h 731424"/>
                <a:gd name="connsiteX591" fmla="*/ 513112 w 1044701"/>
                <a:gd name="connsiteY591" fmla="*/ 586931 h 731424"/>
                <a:gd name="connsiteX592" fmla="*/ 516541 w 1044701"/>
                <a:gd name="connsiteY592" fmla="*/ 600932 h 731424"/>
                <a:gd name="connsiteX593" fmla="*/ 522065 w 1044701"/>
                <a:gd name="connsiteY593" fmla="*/ 606647 h 731424"/>
                <a:gd name="connsiteX594" fmla="*/ 526161 w 1044701"/>
                <a:gd name="connsiteY594" fmla="*/ 601313 h 731424"/>
                <a:gd name="connsiteX595" fmla="*/ 529590 w 1044701"/>
                <a:gd name="connsiteY595" fmla="*/ 602456 h 731424"/>
                <a:gd name="connsiteX596" fmla="*/ 529399 w 1044701"/>
                <a:gd name="connsiteY596" fmla="*/ 600837 h 731424"/>
                <a:gd name="connsiteX597" fmla="*/ 539210 w 1044701"/>
                <a:gd name="connsiteY597" fmla="*/ 602837 h 731424"/>
                <a:gd name="connsiteX598" fmla="*/ 548069 w 1044701"/>
                <a:gd name="connsiteY598" fmla="*/ 596836 h 731424"/>
                <a:gd name="connsiteX599" fmla="*/ 551879 w 1044701"/>
                <a:gd name="connsiteY599" fmla="*/ 601218 h 731424"/>
                <a:gd name="connsiteX600" fmla="*/ 555784 w 1044701"/>
                <a:gd name="connsiteY600" fmla="*/ 607124 h 731424"/>
                <a:gd name="connsiteX601" fmla="*/ 554641 w 1044701"/>
                <a:gd name="connsiteY601" fmla="*/ 610457 h 731424"/>
                <a:gd name="connsiteX602" fmla="*/ 557974 w 1044701"/>
                <a:gd name="connsiteY602" fmla="*/ 611695 h 731424"/>
                <a:gd name="connsiteX603" fmla="*/ 562356 w 1044701"/>
                <a:gd name="connsiteY603" fmla="*/ 607886 h 731424"/>
                <a:gd name="connsiteX604" fmla="*/ 568642 w 1044701"/>
                <a:gd name="connsiteY604" fmla="*/ 607124 h 731424"/>
                <a:gd name="connsiteX605" fmla="*/ 572357 w 1044701"/>
                <a:gd name="connsiteY605" fmla="*/ 611410 h 731424"/>
                <a:gd name="connsiteX606" fmla="*/ 579501 w 1044701"/>
                <a:gd name="connsiteY606" fmla="*/ 616934 h 731424"/>
                <a:gd name="connsiteX607" fmla="*/ 582644 w 1044701"/>
                <a:gd name="connsiteY607" fmla="*/ 616553 h 731424"/>
                <a:gd name="connsiteX608" fmla="*/ 583692 w 1044701"/>
                <a:gd name="connsiteY608" fmla="*/ 611600 h 731424"/>
                <a:gd name="connsiteX609" fmla="*/ 586835 w 1044701"/>
                <a:gd name="connsiteY609" fmla="*/ 611219 h 731424"/>
                <a:gd name="connsiteX610" fmla="*/ 589216 w 1044701"/>
                <a:gd name="connsiteY610" fmla="*/ 617315 h 731424"/>
                <a:gd name="connsiteX611" fmla="*/ 594550 w 1044701"/>
                <a:gd name="connsiteY611" fmla="*/ 621411 h 731424"/>
                <a:gd name="connsiteX612" fmla="*/ 594931 w 1044701"/>
                <a:gd name="connsiteY612" fmla="*/ 624554 h 731424"/>
                <a:gd name="connsiteX613" fmla="*/ 599694 w 1044701"/>
                <a:gd name="connsiteY613" fmla="*/ 623983 h 731424"/>
                <a:gd name="connsiteX614" fmla="*/ 601408 w 1044701"/>
                <a:gd name="connsiteY614" fmla="*/ 625316 h 731424"/>
                <a:gd name="connsiteX615" fmla="*/ 602837 w 1044701"/>
                <a:gd name="connsiteY615" fmla="*/ 623602 h 731424"/>
                <a:gd name="connsiteX616" fmla="*/ 609695 w 1044701"/>
                <a:gd name="connsiteY616" fmla="*/ 627507 h 731424"/>
                <a:gd name="connsiteX617" fmla="*/ 617982 w 1044701"/>
                <a:gd name="connsiteY617" fmla="*/ 629698 h 731424"/>
                <a:gd name="connsiteX618" fmla="*/ 621792 w 1044701"/>
                <a:gd name="connsiteY618" fmla="*/ 633984 h 731424"/>
                <a:gd name="connsiteX619" fmla="*/ 631507 w 1044701"/>
                <a:gd name="connsiteY619" fmla="*/ 647224 h 731424"/>
                <a:gd name="connsiteX620" fmla="*/ 637222 w 1044701"/>
                <a:gd name="connsiteY620" fmla="*/ 654463 h 731424"/>
                <a:gd name="connsiteX621" fmla="*/ 642366 w 1044701"/>
                <a:gd name="connsiteY621" fmla="*/ 657035 h 731424"/>
                <a:gd name="connsiteX622" fmla="*/ 640366 w 1044701"/>
                <a:gd name="connsiteY622" fmla="*/ 666940 h 731424"/>
                <a:gd name="connsiteX623" fmla="*/ 647129 w 1044701"/>
                <a:gd name="connsiteY623" fmla="*/ 669227 h 731424"/>
                <a:gd name="connsiteX624" fmla="*/ 650653 w 1044701"/>
                <a:gd name="connsiteY624" fmla="*/ 671989 h 731424"/>
                <a:gd name="connsiteX625" fmla="*/ 653034 w 1044701"/>
                <a:gd name="connsiteY625" fmla="*/ 678085 h 731424"/>
                <a:gd name="connsiteX626" fmla="*/ 657987 w 1044701"/>
                <a:gd name="connsiteY626" fmla="*/ 679132 h 731424"/>
                <a:gd name="connsiteX627" fmla="*/ 661130 w 1044701"/>
                <a:gd name="connsiteY627" fmla="*/ 678656 h 731424"/>
                <a:gd name="connsiteX628" fmla="*/ 663702 w 1044701"/>
                <a:gd name="connsiteY628" fmla="*/ 673513 h 731424"/>
                <a:gd name="connsiteX629" fmla="*/ 670846 w 1044701"/>
                <a:gd name="connsiteY629" fmla="*/ 679037 h 731424"/>
                <a:gd name="connsiteX630" fmla="*/ 673798 w 1044701"/>
                <a:gd name="connsiteY630" fmla="*/ 677037 h 731424"/>
                <a:gd name="connsiteX631" fmla="*/ 682657 w 1044701"/>
                <a:gd name="connsiteY631" fmla="*/ 683990 h 731424"/>
                <a:gd name="connsiteX632" fmla="*/ 688943 w 1044701"/>
                <a:gd name="connsiteY632" fmla="*/ 683133 h 731424"/>
                <a:gd name="connsiteX633" fmla="*/ 695706 w 1044701"/>
                <a:gd name="connsiteY633" fmla="*/ 685514 h 731424"/>
                <a:gd name="connsiteX634" fmla="*/ 698087 w 1044701"/>
                <a:gd name="connsiteY634" fmla="*/ 691610 h 731424"/>
                <a:gd name="connsiteX635" fmla="*/ 703802 w 1044701"/>
                <a:gd name="connsiteY635" fmla="*/ 698945 h 731424"/>
                <a:gd name="connsiteX636" fmla="*/ 710184 w 1044701"/>
                <a:gd name="connsiteY636" fmla="*/ 698087 h 731424"/>
                <a:gd name="connsiteX637" fmla="*/ 715708 w 1044701"/>
                <a:gd name="connsiteY637" fmla="*/ 703802 h 731424"/>
                <a:gd name="connsiteX638" fmla="*/ 716280 w 1044701"/>
                <a:gd name="connsiteY638" fmla="*/ 708565 h 731424"/>
                <a:gd name="connsiteX639" fmla="*/ 725996 w 1044701"/>
                <a:gd name="connsiteY639" fmla="*/ 721709 h 731424"/>
                <a:gd name="connsiteX640" fmla="*/ 729329 w 1044701"/>
                <a:gd name="connsiteY640" fmla="*/ 722948 h 731424"/>
                <a:gd name="connsiteX641" fmla="*/ 733330 w 1044701"/>
                <a:gd name="connsiteY641" fmla="*/ 728853 h 731424"/>
                <a:gd name="connsiteX642" fmla="*/ 738378 w 1044701"/>
                <a:gd name="connsiteY642" fmla="*/ 731425 h 731424"/>
                <a:gd name="connsiteX643" fmla="*/ 737616 w 1044701"/>
                <a:gd name="connsiteY643" fmla="*/ 725043 h 731424"/>
                <a:gd name="connsiteX644" fmla="*/ 746284 w 1044701"/>
                <a:gd name="connsiteY644" fmla="*/ 717518 h 731424"/>
                <a:gd name="connsiteX645" fmla="*/ 743712 w 1044701"/>
                <a:gd name="connsiteY645" fmla="*/ 709898 h 731424"/>
                <a:gd name="connsiteX646" fmla="*/ 744664 w 1044701"/>
                <a:gd name="connsiteY646" fmla="*/ 704945 h 731424"/>
                <a:gd name="connsiteX647" fmla="*/ 751427 w 1044701"/>
                <a:gd name="connsiteY647" fmla="*/ 707327 h 731424"/>
                <a:gd name="connsiteX648" fmla="*/ 755904 w 1044701"/>
                <a:gd name="connsiteY648" fmla="*/ 705136 h 731424"/>
                <a:gd name="connsiteX649" fmla="*/ 758476 w 1044701"/>
                <a:gd name="connsiteY649" fmla="*/ 699992 h 731424"/>
                <a:gd name="connsiteX650" fmla="*/ 760286 w 1044701"/>
                <a:gd name="connsiteY650" fmla="*/ 701326 h 731424"/>
                <a:gd name="connsiteX651" fmla="*/ 761809 w 1044701"/>
                <a:gd name="connsiteY651" fmla="*/ 701135 h 731424"/>
                <a:gd name="connsiteX652" fmla="*/ 766953 w 1044701"/>
                <a:gd name="connsiteY652" fmla="*/ 703707 h 731424"/>
                <a:gd name="connsiteX653" fmla="*/ 765048 w 1044701"/>
                <a:gd name="connsiteY653" fmla="*/ 713613 h 731424"/>
                <a:gd name="connsiteX654" fmla="*/ 768191 w 1044701"/>
                <a:gd name="connsiteY654" fmla="*/ 713137 h 731424"/>
                <a:gd name="connsiteX655" fmla="*/ 771144 w 1044701"/>
                <a:gd name="connsiteY655" fmla="*/ 711232 h 731424"/>
                <a:gd name="connsiteX656" fmla="*/ 774287 w 1044701"/>
                <a:gd name="connsiteY656" fmla="*/ 710756 h 731424"/>
                <a:gd name="connsiteX657" fmla="*/ 777240 w 1044701"/>
                <a:gd name="connsiteY657" fmla="*/ 708851 h 731424"/>
                <a:gd name="connsiteX658" fmla="*/ 783812 w 1044701"/>
                <a:gd name="connsiteY658" fmla="*/ 709613 h 731424"/>
                <a:gd name="connsiteX659" fmla="*/ 793813 w 1044701"/>
                <a:gd name="connsiteY659" fmla="*/ 700278 h 731424"/>
                <a:gd name="connsiteX660" fmla="*/ 796957 w 1044701"/>
                <a:gd name="connsiteY660" fmla="*/ 699897 h 731424"/>
                <a:gd name="connsiteX661" fmla="*/ 804481 w 1044701"/>
                <a:gd name="connsiteY661" fmla="*/ 708565 h 731424"/>
                <a:gd name="connsiteX662" fmla="*/ 806291 w 1044701"/>
                <a:gd name="connsiteY662" fmla="*/ 709898 h 731424"/>
                <a:gd name="connsiteX663" fmla="*/ 809244 w 1044701"/>
                <a:gd name="connsiteY663" fmla="*/ 707898 h 731424"/>
                <a:gd name="connsiteX664" fmla="*/ 810958 w 1044701"/>
                <a:gd name="connsiteY664" fmla="*/ 709327 h 731424"/>
                <a:gd name="connsiteX665" fmla="*/ 814388 w 1044701"/>
                <a:gd name="connsiteY665" fmla="*/ 710470 h 731424"/>
                <a:gd name="connsiteX666" fmla="*/ 813911 w 1044701"/>
                <a:gd name="connsiteY666" fmla="*/ 707327 h 731424"/>
                <a:gd name="connsiteX667" fmla="*/ 826961 w 1044701"/>
                <a:gd name="connsiteY667" fmla="*/ 708851 h 731424"/>
                <a:gd name="connsiteX668" fmla="*/ 829913 w 1044701"/>
                <a:gd name="connsiteY668" fmla="*/ 706945 h 731424"/>
                <a:gd name="connsiteX669" fmla="*/ 830294 w 1044701"/>
                <a:gd name="connsiteY669" fmla="*/ 710089 h 731424"/>
                <a:gd name="connsiteX670" fmla="*/ 833247 w 1044701"/>
                <a:gd name="connsiteY670" fmla="*/ 708089 h 731424"/>
                <a:gd name="connsiteX671" fmla="*/ 832866 w 1044701"/>
                <a:gd name="connsiteY671" fmla="*/ 704945 h 731424"/>
                <a:gd name="connsiteX672" fmla="*/ 830485 w 1044701"/>
                <a:gd name="connsiteY672" fmla="*/ 698849 h 731424"/>
                <a:gd name="connsiteX673" fmla="*/ 834390 w 1044701"/>
                <a:gd name="connsiteY673" fmla="*/ 691896 h 731424"/>
                <a:gd name="connsiteX674" fmla="*/ 834199 w 1044701"/>
                <a:gd name="connsiteY674" fmla="*/ 690277 h 731424"/>
                <a:gd name="connsiteX675" fmla="*/ 835628 w 1044701"/>
                <a:gd name="connsiteY675" fmla="*/ 688562 h 731424"/>
                <a:gd name="connsiteX676" fmla="*/ 834962 w 1044701"/>
                <a:gd name="connsiteY676" fmla="*/ 683800 h 731424"/>
                <a:gd name="connsiteX677" fmla="*/ 834009 w 1044701"/>
                <a:gd name="connsiteY677" fmla="*/ 675894 h 731424"/>
                <a:gd name="connsiteX678" fmla="*/ 838105 w 1044701"/>
                <a:gd name="connsiteY678" fmla="*/ 670560 h 731424"/>
                <a:gd name="connsiteX679" fmla="*/ 837724 w 1044701"/>
                <a:gd name="connsiteY679" fmla="*/ 667417 h 731424"/>
                <a:gd name="connsiteX680" fmla="*/ 840677 w 1044701"/>
                <a:gd name="connsiteY680" fmla="*/ 665417 h 731424"/>
                <a:gd name="connsiteX681" fmla="*/ 845439 w 1044701"/>
                <a:gd name="connsiteY681" fmla="*/ 664845 h 731424"/>
                <a:gd name="connsiteX682" fmla="*/ 848963 w 1044701"/>
                <a:gd name="connsiteY682" fmla="*/ 667607 h 731424"/>
                <a:gd name="connsiteX683" fmla="*/ 850582 w 1044701"/>
                <a:gd name="connsiteY683" fmla="*/ 667417 h 731424"/>
                <a:gd name="connsiteX684" fmla="*/ 854869 w 1044701"/>
                <a:gd name="connsiteY684" fmla="*/ 663607 h 731424"/>
                <a:gd name="connsiteX685" fmla="*/ 855536 w 1044701"/>
                <a:gd name="connsiteY685" fmla="*/ 668369 h 731424"/>
                <a:gd name="connsiteX686" fmla="*/ 862394 w 1044701"/>
                <a:gd name="connsiteY686" fmla="*/ 672274 h 731424"/>
                <a:gd name="connsiteX687" fmla="*/ 866775 w 1044701"/>
                <a:gd name="connsiteY687" fmla="*/ 668560 h 731424"/>
                <a:gd name="connsiteX688" fmla="*/ 871919 w 1044701"/>
                <a:gd name="connsiteY688" fmla="*/ 671132 h 731424"/>
                <a:gd name="connsiteX689" fmla="*/ 875252 w 1044701"/>
                <a:gd name="connsiteY689" fmla="*/ 672274 h 731424"/>
                <a:gd name="connsiteX690" fmla="*/ 875252 w 1044701"/>
                <a:gd name="connsiteY690" fmla="*/ 672274 h 731424"/>
                <a:gd name="connsiteX691" fmla="*/ 883158 w 1044701"/>
                <a:gd name="connsiteY691" fmla="*/ 671227 h 731424"/>
                <a:gd name="connsiteX692" fmla="*/ 882872 w 1044701"/>
                <a:gd name="connsiteY692" fmla="*/ 669703 h 731424"/>
                <a:gd name="connsiteX693" fmla="*/ 886111 w 1044701"/>
                <a:gd name="connsiteY693" fmla="*/ 669322 h 731424"/>
                <a:gd name="connsiteX694" fmla="*/ 884111 w 1044701"/>
                <a:gd name="connsiteY694" fmla="*/ 666369 h 731424"/>
                <a:gd name="connsiteX695" fmla="*/ 885063 w 1044701"/>
                <a:gd name="connsiteY695" fmla="*/ 661416 h 731424"/>
                <a:gd name="connsiteX696" fmla="*/ 886682 w 1044701"/>
                <a:gd name="connsiteY696" fmla="*/ 661226 h 731424"/>
                <a:gd name="connsiteX697" fmla="*/ 896683 w 1044701"/>
                <a:gd name="connsiteY697" fmla="*/ 664750 h 731424"/>
                <a:gd name="connsiteX698" fmla="*/ 909352 w 1044701"/>
                <a:gd name="connsiteY698" fmla="*/ 675894 h 731424"/>
                <a:gd name="connsiteX699" fmla="*/ 914876 w 1044701"/>
                <a:gd name="connsiteY699" fmla="*/ 668845 h 731424"/>
                <a:gd name="connsiteX700" fmla="*/ 921639 w 1044701"/>
                <a:gd name="connsiteY700" fmla="*/ 671132 h 731424"/>
                <a:gd name="connsiteX701" fmla="*/ 921163 w 1044701"/>
                <a:gd name="connsiteY701" fmla="*/ 667988 h 731424"/>
                <a:gd name="connsiteX702" fmla="*/ 917829 w 1044701"/>
                <a:gd name="connsiteY702" fmla="*/ 666845 h 731424"/>
                <a:gd name="connsiteX703" fmla="*/ 919258 w 1044701"/>
                <a:gd name="connsiteY703" fmla="*/ 665036 h 731424"/>
                <a:gd name="connsiteX704" fmla="*/ 927925 w 1044701"/>
                <a:gd name="connsiteY704" fmla="*/ 670370 h 731424"/>
                <a:gd name="connsiteX705" fmla="*/ 931259 w 1044701"/>
                <a:gd name="connsiteY705" fmla="*/ 671513 h 731424"/>
                <a:gd name="connsiteX706" fmla="*/ 932688 w 1044701"/>
                <a:gd name="connsiteY706" fmla="*/ 669798 h 731424"/>
                <a:gd name="connsiteX707" fmla="*/ 936022 w 1044701"/>
                <a:gd name="connsiteY707" fmla="*/ 670941 h 731424"/>
                <a:gd name="connsiteX708" fmla="*/ 941927 w 1044701"/>
                <a:gd name="connsiteY708" fmla="*/ 666940 h 731424"/>
                <a:gd name="connsiteX709" fmla="*/ 939165 w 1044701"/>
                <a:gd name="connsiteY709" fmla="*/ 670560 h 731424"/>
                <a:gd name="connsiteX710" fmla="*/ 953929 w 1044701"/>
                <a:gd name="connsiteY710" fmla="*/ 673418 h 731424"/>
                <a:gd name="connsiteX711" fmla="*/ 956310 w 1044701"/>
                <a:gd name="connsiteY711" fmla="*/ 679609 h 731424"/>
                <a:gd name="connsiteX712" fmla="*/ 959739 w 1044701"/>
                <a:gd name="connsiteY712" fmla="*/ 680752 h 731424"/>
                <a:gd name="connsiteX713" fmla="*/ 961263 w 1044701"/>
                <a:gd name="connsiteY713" fmla="*/ 680561 h 731424"/>
                <a:gd name="connsiteX714" fmla="*/ 980027 w 1044701"/>
                <a:gd name="connsiteY714" fmla="*/ 689420 h 731424"/>
                <a:gd name="connsiteX715" fmla="*/ 983361 w 1044701"/>
                <a:gd name="connsiteY715" fmla="*/ 690563 h 731424"/>
                <a:gd name="connsiteX716" fmla="*/ 995458 w 1044701"/>
                <a:gd name="connsiteY716" fmla="*/ 697040 h 731424"/>
                <a:gd name="connsiteX717" fmla="*/ 1002411 w 1044701"/>
                <a:gd name="connsiteY717" fmla="*/ 700945 h 731424"/>
                <a:gd name="connsiteX718" fmla="*/ 1016413 w 1044701"/>
                <a:gd name="connsiteY718" fmla="*/ 697611 h 731424"/>
                <a:gd name="connsiteX719" fmla="*/ 1014031 w 1044701"/>
                <a:gd name="connsiteY719" fmla="*/ 691515 h 731424"/>
                <a:gd name="connsiteX720" fmla="*/ 1016984 w 1044701"/>
                <a:gd name="connsiteY720" fmla="*/ 689515 h 731424"/>
                <a:gd name="connsiteX721" fmla="*/ 1018127 w 1044701"/>
                <a:gd name="connsiteY721" fmla="*/ 686086 h 731424"/>
                <a:gd name="connsiteX722" fmla="*/ 1014413 w 1044701"/>
                <a:gd name="connsiteY722" fmla="*/ 681799 h 731424"/>
                <a:gd name="connsiteX723" fmla="*/ 1018699 w 1044701"/>
                <a:gd name="connsiteY723" fmla="*/ 678085 h 731424"/>
                <a:gd name="connsiteX724" fmla="*/ 1019270 w 1044701"/>
                <a:gd name="connsiteY724" fmla="*/ 669989 h 731424"/>
                <a:gd name="connsiteX725" fmla="*/ 1020794 w 1044701"/>
                <a:gd name="connsiteY725" fmla="*/ 669798 h 731424"/>
                <a:gd name="connsiteX726" fmla="*/ 1022032 w 1044701"/>
                <a:gd name="connsiteY726" fmla="*/ 666369 h 731424"/>
                <a:gd name="connsiteX727" fmla="*/ 1021652 w 1044701"/>
                <a:gd name="connsiteY727" fmla="*/ 663226 h 731424"/>
                <a:gd name="connsiteX728" fmla="*/ 1023366 w 1044701"/>
                <a:gd name="connsiteY728" fmla="*/ 664655 h 731424"/>
                <a:gd name="connsiteX729" fmla="*/ 1023842 w 1044701"/>
                <a:gd name="connsiteY729" fmla="*/ 667798 h 731424"/>
                <a:gd name="connsiteX730" fmla="*/ 1027366 w 1044701"/>
                <a:gd name="connsiteY730" fmla="*/ 670560 h 731424"/>
                <a:gd name="connsiteX731" fmla="*/ 1028700 w 1044701"/>
                <a:gd name="connsiteY731" fmla="*/ 668750 h 731424"/>
                <a:gd name="connsiteX732" fmla="*/ 1021461 w 1044701"/>
                <a:gd name="connsiteY732" fmla="*/ 661702 h 731424"/>
                <a:gd name="connsiteX733" fmla="*/ 1015460 w 1044701"/>
                <a:gd name="connsiteY733" fmla="*/ 652844 h 731424"/>
                <a:gd name="connsiteX734" fmla="*/ 1014698 w 1044701"/>
                <a:gd name="connsiteY734" fmla="*/ 646462 h 731424"/>
                <a:gd name="connsiteX735" fmla="*/ 1016032 w 1044701"/>
                <a:gd name="connsiteY735" fmla="*/ 644747 h 731424"/>
                <a:gd name="connsiteX736" fmla="*/ 1014413 w 1044701"/>
                <a:gd name="connsiteY736" fmla="*/ 632079 h 731424"/>
                <a:gd name="connsiteX737" fmla="*/ 1019175 w 1044701"/>
                <a:gd name="connsiteY737" fmla="*/ 631507 h 731424"/>
                <a:gd name="connsiteX738" fmla="*/ 1018604 w 1044701"/>
                <a:gd name="connsiteY738" fmla="*/ 626745 h 731424"/>
                <a:gd name="connsiteX739" fmla="*/ 1022699 w 1044701"/>
                <a:gd name="connsiteY739" fmla="*/ 621411 h 731424"/>
                <a:gd name="connsiteX740" fmla="*/ 1029176 w 1044701"/>
                <a:gd name="connsiteY740" fmla="*/ 622173 h 731424"/>
                <a:gd name="connsiteX741" fmla="*/ 1030605 w 1044701"/>
                <a:gd name="connsiteY741" fmla="*/ 620363 h 731424"/>
                <a:gd name="connsiteX742" fmla="*/ 1031938 w 1044701"/>
                <a:gd name="connsiteY742" fmla="*/ 618649 h 731424"/>
                <a:gd name="connsiteX743" fmla="*/ 1029748 w 1044701"/>
                <a:gd name="connsiteY743" fmla="*/ 614077 h 731424"/>
                <a:gd name="connsiteX744" fmla="*/ 1035939 w 1044701"/>
                <a:gd name="connsiteY744" fmla="*/ 611695 h 731424"/>
                <a:gd name="connsiteX745" fmla="*/ 1039082 w 1044701"/>
                <a:gd name="connsiteY745" fmla="*/ 611315 h 731424"/>
                <a:gd name="connsiteX746" fmla="*/ 1044607 w 1044701"/>
                <a:gd name="connsiteY746" fmla="*/ 604171 h 731424"/>
                <a:gd name="connsiteX747" fmla="*/ 1042225 w 1044701"/>
                <a:gd name="connsiteY747" fmla="*/ 598075 h 731424"/>
                <a:gd name="connsiteX748" fmla="*/ 1044702 w 1044701"/>
                <a:gd name="connsiteY748" fmla="*/ 580073 h 731424"/>
                <a:gd name="connsiteX749" fmla="*/ 1044130 w 1044701"/>
                <a:gd name="connsiteY749" fmla="*/ 575405 h 731424"/>
                <a:gd name="connsiteX750" fmla="*/ 1041178 w 1044701"/>
                <a:gd name="connsiteY750" fmla="*/ 577310 h 731424"/>
                <a:gd name="connsiteX751" fmla="*/ 1040702 w 1044701"/>
                <a:gd name="connsiteY751" fmla="*/ 574167 h 731424"/>
                <a:gd name="connsiteX752" fmla="*/ 1038987 w 1044701"/>
                <a:gd name="connsiteY752" fmla="*/ 572834 h 731424"/>
                <a:gd name="connsiteX753" fmla="*/ 1042702 w 1044701"/>
                <a:gd name="connsiteY753" fmla="*/ 564356 h 731424"/>
                <a:gd name="connsiteX754" fmla="*/ 1043464 w 1044701"/>
                <a:gd name="connsiteY754" fmla="*/ 557784 h 731424"/>
                <a:gd name="connsiteX755" fmla="*/ 1036511 w 1044701"/>
                <a:gd name="connsiteY755" fmla="*/ 553879 h 731424"/>
                <a:gd name="connsiteX756" fmla="*/ 1032605 w 1044701"/>
                <a:gd name="connsiteY756" fmla="*/ 547973 h 731424"/>
                <a:gd name="connsiteX757" fmla="*/ 1026319 w 1044701"/>
                <a:gd name="connsiteY757" fmla="*/ 548735 h 731424"/>
                <a:gd name="connsiteX758" fmla="*/ 1021747 w 1044701"/>
                <a:gd name="connsiteY758" fmla="*/ 550926 h 731424"/>
                <a:gd name="connsiteX759" fmla="*/ 1019937 w 1044701"/>
                <a:gd name="connsiteY759" fmla="*/ 549593 h 731424"/>
                <a:gd name="connsiteX760" fmla="*/ 1019365 w 1044701"/>
                <a:gd name="connsiteY760" fmla="*/ 544830 h 731424"/>
                <a:gd name="connsiteX761" fmla="*/ 1014603 w 1044701"/>
                <a:gd name="connsiteY761" fmla="*/ 545497 h 731424"/>
                <a:gd name="connsiteX762" fmla="*/ 1013650 w 1044701"/>
                <a:gd name="connsiteY762" fmla="*/ 550355 h 731424"/>
                <a:gd name="connsiteX763" fmla="*/ 1008888 w 1044701"/>
                <a:gd name="connsiteY763" fmla="*/ 551021 h 731424"/>
                <a:gd name="connsiteX764" fmla="*/ 1005745 w 1044701"/>
                <a:gd name="connsiteY764" fmla="*/ 551402 h 731424"/>
                <a:gd name="connsiteX765" fmla="*/ 1003554 w 1044701"/>
                <a:gd name="connsiteY765" fmla="*/ 546830 h 731424"/>
                <a:gd name="connsiteX766" fmla="*/ 1007936 w 1044701"/>
                <a:gd name="connsiteY766" fmla="*/ 543115 h 731424"/>
                <a:gd name="connsiteX767" fmla="*/ 1011841 w 1044701"/>
                <a:gd name="connsiteY767" fmla="*/ 536162 h 731424"/>
                <a:gd name="connsiteX768" fmla="*/ 1014984 w 1044701"/>
                <a:gd name="connsiteY768" fmla="*/ 535781 h 731424"/>
                <a:gd name="connsiteX769" fmla="*/ 1018699 w 1044701"/>
                <a:gd name="connsiteY769" fmla="*/ 527304 h 731424"/>
                <a:gd name="connsiteX770" fmla="*/ 1013555 w 1044701"/>
                <a:gd name="connsiteY770" fmla="*/ 524732 h 731424"/>
                <a:gd name="connsiteX771" fmla="*/ 1004316 w 1044701"/>
                <a:gd name="connsiteY771" fmla="*/ 514731 h 731424"/>
                <a:gd name="connsiteX772" fmla="*/ 1004125 w 1044701"/>
                <a:gd name="connsiteY772" fmla="*/ 513112 h 731424"/>
                <a:gd name="connsiteX773" fmla="*/ 1008602 w 1044701"/>
                <a:gd name="connsiteY773" fmla="*/ 510921 h 731424"/>
                <a:gd name="connsiteX774" fmla="*/ 1008412 w 1044701"/>
                <a:gd name="connsiteY774" fmla="*/ 509397 h 731424"/>
                <a:gd name="connsiteX775" fmla="*/ 1008031 w 1044701"/>
                <a:gd name="connsiteY775" fmla="*/ 506159 h 731424"/>
                <a:gd name="connsiteX776" fmla="*/ 1010983 w 1044701"/>
                <a:gd name="connsiteY776" fmla="*/ 504253 h 731424"/>
                <a:gd name="connsiteX777" fmla="*/ 1006983 w 1044701"/>
                <a:gd name="connsiteY777" fmla="*/ 498348 h 731424"/>
                <a:gd name="connsiteX778" fmla="*/ 1002125 w 1044701"/>
                <a:gd name="connsiteY778" fmla="*/ 497300 h 731424"/>
                <a:gd name="connsiteX779" fmla="*/ 996791 w 1044701"/>
                <a:gd name="connsiteY779" fmla="*/ 493205 h 731424"/>
                <a:gd name="connsiteX780" fmla="*/ 985075 w 1044701"/>
                <a:gd name="connsiteY780" fmla="*/ 477012 h 731424"/>
                <a:gd name="connsiteX781" fmla="*/ 976979 w 1044701"/>
                <a:gd name="connsiteY781" fmla="*/ 463677 h 731424"/>
                <a:gd name="connsiteX782" fmla="*/ 979265 w 1044701"/>
                <a:gd name="connsiteY782" fmla="*/ 456914 h 731424"/>
                <a:gd name="connsiteX783" fmla="*/ 976884 w 1044701"/>
                <a:gd name="connsiteY783" fmla="*/ 450818 h 731424"/>
                <a:gd name="connsiteX784" fmla="*/ 979646 w 1044701"/>
                <a:gd name="connsiteY784" fmla="*/ 447294 h 731424"/>
                <a:gd name="connsiteX785" fmla="*/ 974503 w 1044701"/>
                <a:gd name="connsiteY785" fmla="*/ 444722 h 731424"/>
                <a:gd name="connsiteX786" fmla="*/ 972598 w 1044701"/>
                <a:gd name="connsiteY786" fmla="*/ 441769 h 731424"/>
                <a:gd name="connsiteX787" fmla="*/ 968978 w 1044701"/>
                <a:gd name="connsiteY787" fmla="*/ 439007 h 731424"/>
                <a:gd name="connsiteX788" fmla="*/ 968788 w 1044701"/>
                <a:gd name="connsiteY788" fmla="*/ 437388 h 731424"/>
                <a:gd name="connsiteX789" fmla="*/ 963835 w 1044701"/>
                <a:gd name="connsiteY789" fmla="*/ 436436 h 731424"/>
                <a:gd name="connsiteX790" fmla="*/ 961263 w 1044701"/>
                <a:gd name="connsiteY790" fmla="*/ 428720 h 731424"/>
                <a:gd name="connsiteX791" fmla="*/ 965168 w 1044701"/>
                <a:gd name="connsiteY791" fmla="*/ 421862 h 731424"/>
                <a:gd name="connsiteX792" fmla="*/ 961644 w 1044701"/>
                <a:gd name="connsiteY792" fmla="*/ 419100 h 731424"/>
                <a:gd name="connsiteX793" fmla="*/ 962406 w 1044701"/>
                <a:gd name="connsiteY793" fmla="*/ 412623 h 731424"/>
                <a:gd name="connsiteX794" fmla="*/ 962406 w 1044701"/>
                <a:gd name="connsiteY794" fmla="*/ 399764 h 731424"/>
                <a:gd name="connsiteX795" fmla="*/ 965168 w 1044701"/>
                <a:gd name="connsiteY795" fmla="*/ 396240 h 731424"/>
                <a:gd name="connsiteX796" fmla="*/ 971074 w 1044701"/>
                <a:gd name="connsiteY796" fmla="*/ 392240 h 731424"/>
                <a:gd name="connsiteX797" fmla="*/ 974217 w 1044701"/>
                <a:gd name="connsiteY797" fmla="*/ 391859 h 731424"/>
                <a:gd name="connsiteX798" fmla="*/ 983075 w 1044701"/>
                <a:gd name="connsiteY798" fmla="*/ 385858 h 731424"/>
                <a:gd name="connsiteX799" fmla="*/ 981265 w 1044701"/>
                <a:gd name="connsiteY799" fmla="*/ 384524 h 731424"/>
                <a:gd name="connsiteX800" fmla="*/ 984218 w 1044701"/>
                <a:gd name="connsiteY800" fmla="*/ 382524 h 731424"/>
                <a:gd name="connsiteX801" fmla="*/ 977551 w 1044701"/>
                <a:gd name="connsiteY801" fmla="*/ 380143 h 731424"/>
                <a:gd name="connsiteX802" fmla="*/ 976503 w 1044701"/>
                <a:gd name="connsiteY802" fmla="*/ 372332 h 731424"/>
                <a:gd name="connsiteX803" fmla="*/ 970216 w 1044701"/>
                <a:gd name="connsiteY803" fmla="*/ 360236 h 731424"/>
                <a:gd name="connsiteX804" fmla="*/ 974122 w 1044701"/>
                <a:gd name="connsiteY804" fmla="*/ 353378 h 731424"/>
                <a:gd name="connsiteX805" fmla="*/ 972122 w 1044701"/>
                <a:gd name="connsiteY805" fmla="*/ 350425 h 731424"/>
                <a:gd name="connsiteX806" fmla="*/ 971359 w 1044701"/>
                <a:gd name="connsiteY806" fmla="*/ 344043 h 731424"/>
                <a:gd name="connsiteX807" fmla="*/ 973931 w 1044701"/>
                <a:gd name="connsiteY807" fmla="*/ 338995 h 731424"/>
                <a:gd name="connsiteX808" fmla="*/ 971740 w 1044701"/>
                <a:gd name="connsiteY808" fmla="*/ 334423 h 731424"/>
                <a:gd name="connsiteX809" fmla="*/ 974217 w 1044701"/>
                <a:gd name="connsiteY809" fmla="*/ 329279 h 731424"/>
                <a:gd name="connsiteX810" fmla="*/ 965740 w 1044701"/>
                <a:gd name="connsiteY810" fmla="*/ 325565 h 731424"/>
                <a:gd name="connsiteX811" fmla="*/ 969455 w 1044701"/>
                <a:gd name="connsiteY811" fmla="*/ 317087 h 731424"/>
                <a:gd name="connsiteX812" fmla="*/ 962597 w 1044701"/>
                <a:gd name="connsiteY812" fmla="*/ 313087 h 731424"/>
                <a:gd name="connsiteX813" fmla="*/ 961168 w 1044701"/>
                <a:gd name="connsiteY813" fmla="*/ 302133 h 731424"/>
                <a:gd name="connsiteX814" fmla="*/ 956024 w 1044701"/>
                <a:gd name="connsiteY814" fmla="*/ 299561 h 731424"/>
                <a:gd name="connsiteX815" fmla="*/ 955453 w 1044701"/>
                <a:gd name="connsiteY815" fmla="*/ 294799 h 731424"/>
                <a:gd name="connsiteX816" fmla="*/ 955834 w 1044701"/>
                <a:gd name="connsiteY816" fmla="*/ 285083 h 731424"/>
                <a:gd name="connsiteX817" fmla="*/ 957929 w 1044701"/>
                <a:gd name="connsiteY817" fmla="*/ 276797 h 731424"/>
                <a:gd name="connsiteX818" fmla="*/ 952405 w 1044701"/>
                <a:gd name="connsiteY818" fmla="*/ 271082 h 731424"/>
                <a:gd name="connsiteX819" fmla="*/ 953357 w 1044701"/>
                <a:gd name="connsiteY819" fmla="*/ 266224 h 731424"/>
                <a:gd name="connsiteX820" fmla="*/ 949452 w 1044701"/>
                <a:gd name="connsiteY820" fmla="*/ 260318 h 731424"/>
                <a:gd name="connsiteX821" fmla="*/ 944118 w 1044701"/>
                <a:gd name="connsiteY821" fmla="*/ 256127 h 731424"/>
                <a:gd name="connsiteX822" fmla="*/ 940308 w 1044701"/>
                <a:gd name="connsiteY822" fmla="*/ 238982 h 731424"/>
                <a:gd name="connsiteX823" fmla="*/ 946404 w 1044701"/>
                <a:gd name="connsiteY823" fmla="*/ 236601 h 731424"/>
                <a:gd name="connsiteX824" fmla="*/ 959453 w 1044701"/>
                <a:gd name="connsiteY824" fmla="*/ 238125 h 731424"/>
                <a:gd name="connsiteX825" fmla="*/ 965168 w 1044701"/>
                <a:gd name="connsiteY825" fmla="*/ 245459 h 731424"/>
                <a:gd name="connsiteX826" fmla="*/ 969740 w 1044701"/>
                <a:gd name="connsiteY826" fmla="*/ 243269 h 731424"/>
                <a:gd name="connsiteX827" fmla="*/ 969550 w 1044701"/>
                <a:gd name="connsiteY827" fmla="*/ 241649 h 731424"/>
                <a:gd name="connsiteX828" fmla="*/ 973455 w 1044701"/>
                <a:gd name="connsiteY828" fmla="*/ 234791 h 731424"/>
                <a:gd name="connsiteX829" fmla="*/ 977741 w 1044701"/>
                <a:gd name="connsiteY829" fmla="*/ 230981 h 731424"/>
                <a:gd name="connsiteX830" fmla="*/ 978980 w 1044701"/>
                <a:gd name="connsiteY830" fmla="*/ 227648 h 731424"/>
                <a:gd name="connsiteX831" fmla="*/ 978122 w 1044701"/>
                <a:gd name="connsiteY831" fmla="*/ 221361 h 731424"/>
                <a:gd name="connsiteX832" fmla="*/ 979361 w 1044701"/>
                <a:gd name="connsiteY832" fmla="*/ 218027 h 731424"/>
                <a:gd name="connsiteX833" fmla="*/ 984218 w 1044701"/>
                <a:gd name="connsiteY833" fmla="*/ 218980 h 731424"/>
                <a:gd name="connsiteX834" fmla="*/ 986599 w 1044701"/>
                <a:gd name="connsiteY834" fmla="*/ 212217 h 731424"/>
                <a:gd name="connsiteX835" fmla="*/ 995648 w 1044701"/>
                <a:gd name="connsiteY835" fmla="*/ 207836 h 731424"/>
                <a:gd name="connsiteX836" fmla="*/ 996887 w 1044701"/>
                <a:gd name="connsiteY836" fmla="*/ 204502 h 731424"/>
                <a:gd name="connsiteX837" fmla="*/ 1004697 w 1044701"/>
                <a:gd name="connsiteY837" fmla="*/ 203549 h 731424"/>
                <a:gd name="connsiteX838" fmla="*/ 1005935 w 1044701"/>
                <a:gd name="connsiteY838" fmla="*/ 200120 h 731424"/>
                <a:gd name="connsiteX839" fmla="*/ 1005554 w 1044701"/>
                <a:gd name="connsiteY839" fmla="*/ 196977 h 731424"/>
                <a:gd name="connsiteX840" fmla="*/ 1006507 w 1044701"/>
                <a:gd name="connsiteY840" fmla="*/ 192024 h 731424"/>
                <a:gd name="connsiteX841" fmla="*/ 1012412 w 1044701"/>
                <a:gd name="connsiteY841" fmla="*/ 188119 h 731424"/>
                <a:gd name="connsiteX842" fmla="*/ 1004697 w 1044701"/>
                <a:gd name="connsiteY842" fmla="*/ 177832 h 731424"/>
                <a:gd name="connsiteX843" fmla="*/ 1008602 w 1044701"/>
                <a:gd name="connsiteY843" fmla="*/ 170974 h 731424"/>
                <a:gd name="connsiteX844" fmla="*/ 997744 w 1044701"/>
                <a:gd name="connsiteY844" fmla="*/ 161068 h 731424"/>
                <a:gd name="connsiteX845" fmla="*/ 1000315 w 1044701"/>
                <a:gd name="connsiteY845" fmla="*/ 155924 h 731424"/>
                <a:gd name="connsiteX846" fmla="*/ 1007173 w 1044701"/>
                <a:gd name="connsiteY846" fmla="*/ 147066 h 731424"/>
                <a:gd name="connsiteX847" fmla="*/ 1014508 w 1044701"/>
                <a:gd name="connsiteY847" fmla="*/ 141351 h 731424"/>
                <a:gd name="connsiteX848" fmla="*/ 1010698 w 1044701"/>
                <a:gd name="connsiteY848" fmla="*/ 136969 h 731424"/>
                <a:gd name="connsiteX849" fmla="*/ 1009936 w 1044701"/>
                <a:gd name="connsiteY849" fmla="*/ 130683 h 731424"/>
                <a:gd name="connsiteX850" fmla="*/ 1003363 w 1044701"/>
                <a:gd name="connsiteY850" fmla="*/ 117062 h 731424"/>
                <a:gd name="connsiteX851" fmla="*/ 1001363 w 1044701"/>
                <a:gd name="connsiteY851" fmla="*/ 114110 h 731424"/>
                <a:gd name="connsiteX852" fmla="*/ 1002792 w 1044701"/>
                <a:gd name="connsiteY852" fmla="*/ 112395 h 731424"/>
                <a:gd name="connsiteX853" fmla="*/ 1010603 w 1044701"/>
                <a:gd name="connsiteY853" fmla="*/ 111347 h 731424"/>
                <a:gd name="connsiteX854" fmla="*/ 1016317 w 1044701"/>
                <a:gd name="connsiteY854" fmla="*/ 105823 h 731424"/>
                <a:gd name="connsiteX855" fmla="*/ 1014508 w 1044701"/>
                <a:gd name="connsiteY855" fmla="*/ 91631 h 731424"/>
                <a:gd name="connsiteX856" fmla="*/ 1017651 w 1044701"/>
                <a:gd name="connsiteY856" fmla="*/ 91250 h 731424"/>
                <a:gd name="connsiteX857" fmla="*/ 1018318 w 1044701"/>
                <a:gd name="connsiteY857" fmla="*/ 95917 h 731424"/>
                <a:gd name="connsiteX858" fmla="*/ 1019842 w 1044701"/>
                <a:gd name="connsiteY858" fmla="*/ 95726 h 731424"/>
                <a:gd name="connsiteX859" fmla="*/ 1022223 w 1044701"/>
                <a:gd name="connsiteY859" fmla="*/ 89059 h 731424"/>
                <a:gd name="connsiteX860" fmla="*/ 1021461 w 1044701"/>
                <a:gd name="connsiteY860" fmla="*/ 82677 h 731424"/>
                <a:gd name="connsiteX861" fmla="*/ 1023366 w 1044701"/>
                <a:gd name="connsiteY861" fmla="*/ 72866 h 731424"/>
                <a:gd name="connsiteX862" fmla="*/ 1026128 w 1044701"/>
                <a:gd name="connsiteY862" fmla="*/ 69247 h 731424"/>
                <a:gd name="connsiteX863" fmla="*/ 1026700 w 1044701"/>
                <a:gd name="connsiteY863" fmla="*/ 61246 h 731424"/>
                <a:gd name="connsiteX864" fmla="*/ 1030414 w 1044701"/>
                <a:gd name="connsiteY864" fmla="*/ 52673 h 731424"/>
                <a:gd name="connsiteX865" fmla="*/ 1031177 w 1044701"/>
                <a:gd name="connsiteY865" fmla="*/ 46196 h 731424"/>
                <a:gd name="connsiteX866" fmla="*/ 1038511 w 1044701"/>
                <a:gd name="connsiteY866" fmla="*/ 40481 h 731424"/>
                <a:gd name="connsiteX867" fmla="*/ 1041082 w 1044701"/>
                <a:gd name="connsiteY867" fmla="*/ 35338 h 731424"/>
                <a:gd name="connsiteX868" fmla="*/ 1040035 w 1044701"/>
                <a:gd name="connsiteY868" fmla="*/ 27432 h 731424"/>
                <a:gd name="connsiteX869" fmla="*/ 1040987 w 1044701"/>
                <a:gd name="connsiteY869" fmla="*/ 22479 h 731424"/>
                <a:gd name="connsiteX870" fmla="*/ 1038797 w 1044701"/>
                <a:gd name="connsiteY870" fmla="*/ 17907 h 731424"/>
                <a:gd name="connsiteX871" fmla="*/ 1038797 w 1044701"/>
                <a:gd name="connsiteY871" fmla="*/ 17907 h 731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</a:cxnLst>
              <a:rect l="l" t="t" r="r" b="b"/>
              <a:pathLst>
                <a:path w="1044701" h="731424">
                  <a:moveTo>
                    <a:pt x="1038797" y="17907"/>
                  </a:moveTo>
                  <a:lnTo>
                    <a:pt x="1039558" y="11430"/>
                  </a:lnTo>
                  <a:lnTo>
                    <a:pt x="1037463" y="6953"/>
                  </a:lnTo>
                  <a:lnTo>
                    <a:pt x="1028509" y="0"/>
                  </a:lnTo>
                  <a:lnTo>
                    <a:pt x="1019651" y="6001"/>
                  </a:lnTo>
                  <a:lnTo>
                    <a:pt x="1018889" y="12478"/>
                  </a:lnTo>
                  <a:lnTo>
                    <a:pt x="1017270" y="12668"/>
                  </a:lnTo>
                  <a:lnTo>
                    <a:pt x="1012984" y="16478"/>
                  </a:lnTo>
                  <a:lnTo>
                    <a:pt x="1010412" y="21527"/>
                  </a:lnTo>
                  <a:lnTo>
                    <a:pt x="1006888" y="18860"/>
                  </a:lnTo>
                  <a:lnTo>
                    <a:pt x="1002316" y="20955"/>
                  </a:lnTo>
                  <a:lnTo>
                    <a:pt x="995839" y="33052"/>
                  </a:lnTo>
                  <a:lnTo>
                    <a:pt x="994696" y="49244"/>
                  </a:lnTo>
                  <a:lnTo>
                    <a:pt x="989362" y="57912"/>
                  </a:lnTo>
                  <a:lnTo>
                    <a:pt x="982313" y="65246"/>
                  </a:lnTo>
                  <a:lnTo>
                    <a:pt x="984504" y="69818"/>
                  </a:lnTo>
                  <a:lnTo>
                    <a:pt x="983361" y="73152"/>
                  </a:lnTo>
                  <a:lnTo>
                    <a:pt x="972883" y="79248"/>
                  </a:lnTo>
                  <a:lnTo>
                    <a:pt x="965549" y="85058"/>
                  </a:lnTo>
                  <a:lnTo>
                    <a:pt x="962215" y="83820"/>
                  </a:lnTo>
                  <a:lnTo>
                    <a:pt x="959263" y="85820"/>
                  </a:lnTo>
                  <a:lnTo>
                    <a:pt x="947452" y="106585"/>
                  </a:lnTo>
                  <a:lnTo>
                    <a:pt x="944308" y="119825"/>
                  </a:lnTo>
                  <a:lnTo>
                    <a:pt x="941641" y="123349"/>
                  </a:lnTo>
                  <a:lnTo>
                    <a:pt x="932783" y="129254"/>
                  </a:lnTo>
                  <a:lnTo>
                    <a:pt x="924401" y="127159"/>
                  </a:lnTo>
                  <a:lnTo>
                    <a:pt x="917734" y="124777"/>
                  </a:lnTo>
                  <a:lnTo>
                    <a:pt x="914209" y="122015"/>
                  </a:lnTo>
                  <a:lnTo>
                    <a:pt x="893826" y="113443"/>
                  </a:lnTo>
                  <a:lnTo>
                    <a:pt x="887349" y="112586"/>
                  </a:lnTo>
                  <a:lnTo>
                    <a:pt x="882396" y="111633"/>
                  </a:lnTo>
                  <a:lnTo>
                    <a:pt x="878205" y="104204"/>
                  </a:lnTo>
                  <a:lnTo>
                    <a:pt x="867537" y="95917"/>
                  </a:lnTo>
                  <a:lnTo>
                    <a:pt x="866775" y="89630"/>
                  </a:lnTo>
                  <a:lnTo>
                    <a:pt x="859822" y="85630"/>
                  </a:lnTo>
                  <a:lnTo>
                    <a:pt x="855821" y="79724"/>
                  </a:lnTo>
                  <a:lnTo>
                    <a:pt x="844391" y="78010"/>
                  </a:lnTo>
                  <a:lnTo>
                    <a:pt x="840105" y="81725"/>
                  </a:lnTo>
                  <a:lnTo>
                    <a:pt x="838295" y="80391"/>
                  </a:lnTo>
                  <a:lnTo>
                    <a:pt x="836962" y="82201"/>
                  </a:lnTo>
                  <a:lnTo>
                    <a:pt x="816197" y="70390"/>
                  </a:lnTo>
                  <a:lnTo>
                    <a:pt x="813245" y="72390"/>
                  </a:lnTo>
                  <a:lnTo>
                    <a:pt x="811435" y="70961"/>
                  </a:lnTo>
                  <a:lnTo>
                    <a:pt x="807720" y="66675"/>
                  </a:lnTo>
                  <a:lnTo>
                    <a:pt x="804767" y="68580"/>
                  </a:lnTo>
                  <a:lnTo>
                    <a:pt x="801719" y="57817"/>
                  </a:lnTo>
                  <a:lnTo>
                    <a:pt x="793242" y="54102"/>
                  </a:lnTo>
                  <a:lnTo>
                    <a:pt x="790099" y="54483"/>
                  </a:lnTo>
                  <a:lnTo>
                    <a:pt x="786384" y="50102"/>
                  </a:lnTo>
                  <a:lnTo>
                    <a:pt x="784955" y="51911"/>
                  </a:lnTo>
                  <a:lnTo>
                    <a:pt x="778478" y="51149"/>
                  </a:lnTo>
                  <a:lnTo>
                    <a:pt x="772763" y="56674"/>
                  </a:lnTo>
                  <a:lnTo>
                    <a:pt x="772382" y="79153"/>
                  </a:lnTo>
                  <a:lnTo>
                    <a:pt x="769811" y="84296"/>
                  </a:lnTo>
                  <a:lnTo>
                    <a:pt x="762190" y="86868"/>
                  </a:lnTo>
                  <a:lnTo>
                    <a:pt x="759428" y="90392"/>
                  </a:lnTo>
                  <a:lnTo>
                    <a:pt x="757809" y="90678"/>
                  </a:lnTo>
                  <a:lnTo>
                    <a:pt x="755237" y="95821"/>
                  </a:lnTo>
                  <a:lnTo>
                    <a:pt x="755047" y="94202"/>
                  </a:lnTo>
                  <a:lnTo>
                    <a:pt x="745617" y="95441"/>
                  </a:lnTo>
                  <a:lnTo>
                    <a:pt x="745236" y="92202"/>
                  </a:lnTo>
                  <a:lnTo>
                    <a:pt x="743617" y="92488"/>
                  </a:lnTo>
                  <a:lnTo>
                    <a:pt x="743998" y="95631"/>
                  </a:lnTo>
                  <a:lnTo>
                    <a:pt x="736378" y="98203"/>
                  </a:lnTo>
                  <a:lnTo>
                    <a:pt x="739712" y="99346"/>
                  </a:lnTo>
                  <a:lnTo>
                    <a:pt x="740092" y="102489"/>
                  </a:lnTo>
                  <a:lnTo>
                    <a:pt x="737330" y="106108"/>
                  </a:lnTo>
                  <a:lnTo>
                    <a:pt x="733615" y="101727"/>
                  </a:lnTo>
                  <a:lnTo>
                    <a:pt x="730663" y="103727"/>
                  </a:lnTo>
                  <a:lnTo>
                    <a:pt x="727424" y="104108"/>
                  </a:lnTo>
                  <a:lnTo>
                    <a:pt x="727900" y="107252"/>
                  </a:lnTo>
                  <a:lnTo>
                    <a:pt x="724757" y="107728"/>
                  </a:lnTo>
                  <a:lnTo>
                    <a:pt x="725138" y="110871"/>
                  </a:lnTo>
                  <a:lnTo>
                    <a:pt x="721805" y="109633"/>
                  </a:lnTo>
                  <a:lnTo>
                    <a:pt x="719995" y="108299"/>
                  </a:lnTo>
                  <a:lnTo>
                    <a:pt x="715232" y="108871"/>
                  </a:lnTo>
                  <a:lnTo>
                    <a:pt x="715423" y="110490"/>
                  </a:lnTo>
                  <a:lnTo>
                    <a:pt x="703040" y="126492"/>
                  </a:lnTo>
                  <a:lnTo>
                    <a:pt x="691801" y="126302"/>
                  </a:lnTo>
                  <a:lnTo>
                    <a:pt x="687038" y="126968"/>
                  </a:lnTo>
                  <a:lnTo>
                    <a:pt x="687705" y="131636"/>
                  </a:lnTo>
                  <a:lnTo>
                    <a:pt x="681514" y="134017"/>
                  </a:lnTo>
                  <a:lnTo>
                    <a:pt x="677608" y="140970"/>
                  </a:lnTo>
                  <a:lnTo>
                    <a:pt x="679990" y="147066"/>
                  </a:lnTo>
                  <a:lnTo>
                    <a:pt x="681419" y="145256"/>
                  </a:lnTo>
                  <a:lnTo>
                    <a:pt x="685133" y="149638"/>
                  </a:lnTo>
                  <a:lnTo>
                    <a:pt x="690467" y="153734"/>
                  </a:lnTo>
                  <a:lnTo>
                    <a:pt x="684562" y="157734"/>
                  </a:lnTo>
                  <a:lnTo>
                    <a:pt x="683419" y="161068"/>
                  </a:lnTo>
                  <a:lnTo>
                    <a:pt x="677132" y="161830"/>
                  </a:lnTo>
                  <a:lnTo>
                    <a:pt x="674561" y="166973"/>
                  </a:lnTo>
                  <a:lnTo>
                    <a:pt x="669227" y="162877"/>
                  </a:lnTo>
                  <a:lnTo>
                    <a:pt x="667798" y="164687"/>
                  </a:lnTo>
                  <a:lnTo>
                    <a:pt x="663035" y="165259"/>
                  </a:lnTo>
                  <a:lnTo>
                    <a:pt x="665226" y="169831"/>
                  </a:lnTo>
                  <a:lnTo>
                    <a:pt x="664083" y="173165"/>
                  </a:lnTo>
                  <a:lnTo>
                    <a:pt x="662273" y="171736"/>
                  </a:lnTo>
                  <a:lnTo>
                    <a:pt x="662940" y="176498"/>
                  </a:lnTo>
                  <a:lnTo>
                    <a:pt x="668083" y="179070"/>
                  </a:lnTo>
                  <a:lnTo>
                    <a:pt x="670465" y="185166"/>
                  </a:lnTo>
                  <a:lnTo>
                    <a:pt x="673798" y="186309"/>
                  </a:lnTo>
                  <a:lnTo>
                    <a:pt x="675227" y="197358"/>
                  </a:lnTo>
                  <a:lnTo>
                    <a:pt x="655034" y="190310"/>
                  </a:lnTo>
                  <a:lnTo>
                    <a:pt x="651700" y="189167"/>
                  </a:lnTo>
                  <a:lnTo>
                    <a:pt x="646366" y="185071"/>
                  </a:lnTo>
                  <a:lnTo>
                    <a:pt x="645033" y="186785"/>
                  </a:lnTo>
                  <a:lnTo>
                    <a:pt x="638270" y="184499"/>
                  </a:lnTo>
                  <a:lnTo>
                    <a:pt x="640080" y="185833"/>
                  </a:lnTo>
                  <a:lnTo>
                    <a:pt x="638842" y="189167"/>
                  </a:lnTo>
                  <a:lnTo>
                    <a:pt x="640652" y="190595"/>
                  </a:lnTo>
                  <a:lnTo>
                    <a:pt x="633984" y="188214"/>
                  </a:lnTo>
                  <a:lnTo>
                    <a:pt x="632555" y="190024"/>
                  </a:lnTo>
                  <a:lnTo>
                    <a:pt x="630936" y="190214"/>
                  </a:lnTo>
                  <a:lnTo>
                    <a:pt x="627793" y="190595"/>
                  </a:lnTo>
                  <a:lnTo>
                    <a:pt x="615410" y="193834"/>
                  </a:lnTo>
                  <a:lnTo>
                    <a:pt x="614839" y="189071"/>
                  </a:lnTo>
                  <a:lnTo>
                    <a:pt x="614648" y="187452"/>
                  </a:lnTo>
                  <a:lnTo>
                    <a:pt x="618744" y="182118"/>
                  </a:lnTo>
                  <a:lnTo>
                    <a:pt x="616934" y="180785"/>
                  </a:lnTo>
                  <a:lnTo>
                    <a:pt x="612267" y="181356"/>
                  </a:lnTo>
                  <a:lnTo>
                    <a:pt x="611981" y="179832"/>
                  </a:lnTo>
                  <a:lnTo>
                    <a:pt x="610457" y="180023"/>
                  </a:lnTo>
                  <a:lnTo>
                    <a:pt x="612457" y="182975"/>
                  </a:lnTo>
                  <a:lnTo>
                    <a:pt x="611219" y="186309"/>
                  </a:lnTo>
                  <a:lnTo>
                    <a:pt x="611410" y="187833"/>
                  </a:lnTo>
                  <a:lnTo>
                    <a:pt x="602552" y="193834"/>
                  </a:lnTo>
                  <a:lnTo>
                    <a:pt x="598837" y="189452"/>
                  </a:lnTo>
                  <a:lnTo>
                    <a:pt x="596074" y="193072"/>
                  </a:lnTo>
                  <a:lnTo>
                    <a:pt x="589597" y="192310"/>
                  </a:lnTo>
                  <a:lnTo>
                    <a:pt x="587026" y="197358"/>
                  </a:lnTo>
                  <a:lnTo>
                    <a:pt x="582073" y="196406"/>
                  </a:lnTo>
                  <a:lnTo>
                    <a:pt x="580644" y="198215"/>
                  </a:lnTo>
                  <a:lnTo>
                    <a:pt x="576929" y="193834"/>
                  </a:lnTo>
                  <a:lnTo>
                    <a:pt x="574929" y="190881"/>
                  </a:lnTo>
                  <a:lnTo>
                    <a:pt x="576167" y="187547"/>
                  </a:lnTo>
                  <a:lnTo>
                    <a:pt x="574548" y="187738"/>
                  </a:lnTo>
                  <a:lnTo>
                    <a:pt x="569405" y="185261"/>
                  </a:lnTo>
                  <a:lnTo>
                    <a:pt x="564832" y="174593"/>
                  </a:lnTo>
                  <a:lnTo>
                    <a:pt x="561689" y="174974"/>
                  </a:lnTo>
                  <a:lnTo>
                    <a:pt x="559880" y="173546"/>
                  </a:lnTo>
                  <a:lnTo>
                    <a:pt x="558546" y="175355"/>
                  </a:lnTo>
                  <a:lnTo>
                    <a:pt x="556736" y="174022"/>
                  </a:lnTo>
                  <a:lnTo>
                    <a:pt x="553593" y="174403"/>
                  </a:lnTo>
                  <a:lnTo>
                    <a:pt x="551974" y="174593"/>
                  </a:lnTo>
                  <a:lnTo>
                    <a:pt x="546068" y="165735"/>
                  </a:lnTo>
                  <a:lnTo>
                    <a:pt x="543115" y="167735"/>
                  </a:lnTo>
                  <a:lnTo>
                    <a:pt x="541972" y="171069"/>
                  </a:lnTo>
                  <a:lnTo>
                    <a:pt x="540353" y="171260"/>
                  </a:lnTo>
                  <a:lnTo>
                    <a:pt x="531495" y="164402"/>
                  </a:lnTo>
                  <a:lnTo>
                    <a:pt x="528447" y="153543"/>
                  </a:lnTo>
                  <a:lnTo>
                    <a:pt x="519589" y="146685"/>
                  </a:lnTo>
                  <a:lnTo>
                    <a:pt x="513493" y="149066"/>
                  </a:lnTo>
                  <a:lnTo>
                    <a:pt x="511683" y="147638"/>
                  </a:lnTo>
                  <a:lnTo>
                    <a:pt x="506921" y="148304"/>
                  </a:lnTo>
                  <a:lnTo>
                    <a:pt x="505015" y="145352"/>
                  </a:lnTo>
                  <a:lnTo>
                    <a:pt x="498443" y="144494"/>
                  </a:lnTo>
                  <a:lnTo>
                    <a:pt x="495300" y="144971"/>
                  </a:lnTo>
                  <a:lnTo>
                    <a:pt x="493300" y="142018"/>
                  </a:lnTo>
                  <a:lnTo>
                    <a:pt x="492347" y="134112"/>
                  </a:lnTo>
                  <a:lnTo>
                    <a:pt x="486728" y="115538"/>
                  </a:lnTo>
                  <a:lnTo>
                    <a:pt x="480250" y="114776"/>
                  </a:lnTo>
                  <a:lnTo>
                    <a:pt x="449675" y="113824"/>
                  </a:lnTo>
                  <a:lnTo>
                    <a:pt x="449580" y="88202"/>
                  </a:lnTo>
                  <a:lnTo>
                    <a:pt x="448437" y="78772"/>
                  </a:lnTo>
                  <a:lnTo>
                    <a:pt x="435197" y="75629"/>
                  </a:lnTo>
                  <a:lnTo>
                    <a:pt x="435102" y="62770"/>
                  </a:lnTo>
                  <a:lnTo>
                    <a:pt x="415957" y="63627"/>
                  </a:lnTo>
                  <a:lnTo>
                    <a:pt x="410623" y="59531"/>
                  </a:lnTo>
                  <a:lnTo>
                    <a:pt x="405955" y="60103"/>
                  </a:lnTo>
                  <a:lnTo>
                    <a:pt x="405289" y="55340"/>
                  </a:lnTo>
                  <a:lnTo>
                    <a:pt x="401193" y="60674"/>
                  </a:lnTo>
                  <a:lnTo>
                    <a:pt x="388525" y="49530"/>
                  </a:lnTo>
                  <a:lnTo>
                    <a:pt x="383572" y="48482"/>
                  </a:lnTo>
                  <a:lnTo>
                    <a:pt x="384429" y="54864"/>
                  </a:lnTo>
                  <a:lnTo>
                    <a:pt x="383000" y="56579"/>
                  </a:lnTo>
                  <a:lnTo>
                    <a:pt x="362331" y="57626"/>
                  </a:lnTo>
                  <a:lnTo>
                    <a:pt x="362903" y="75248"/>
                  </a:lnTo>
                  <a:lnTo>
                    <a:pt x="351663" y="75057"/>
                  </a:lnTo>
                  <a:lnTo>
                    <a:pt x="338899" y="75057"/>
                  </a:lnTo>
                  <a:lnTo>
                    <a:pt x="338328" y="83153"/>
                  </a:lnTo>
                  <a:lnTo>
                    <a:pt x="329470" y="89059"/>
                  </a:lnTo>
                  <a:lnTo>
                    <a:pt x="329851" y="92297"/>
                  </a:lnTo>
                  <a:lnTo>
                    <a:pt x="326898" y="94202"/>
                  </a:lnTo>
                  <a:lnTo>
                    <a:pt x="326231" y="89535"/>
                  </a:lnTo>
                  <a:lnTo>
                    <a:pt x="314992" y="89344"/>
                  </a:lnTo>
                  <a:lnTo>
                    <a:pt x="313468" y="89535"/>
                  </a:lnTo>
                  <a:lnTo>
                    <a:pt x="313087" y="86392"/>
                  </a:lnTo>
                  <a:lnTo>
                    <a:pt x="306324" y="84011"/>
                  </a:lnTo>
                  <a:lnTo>
                    <a:pt x="304133" y="79439"/>
                  </a:lnTo>
                  <a:lnTo>
                    <a:pt x="304514" y="69818"/>
                  </a:lnTo>
                  <a:lnTo>
                    <a:pt x="308229" y="61341"/>
                  </a:lnTo>
                  <a:lnTo>
                    <a:pt x="303086" y="58769"/>
                  </a:lnTo>
                  <a:lnTo>
                    <a:pt x="304324" y="55435"/>
                  </a:lnTo>
                  <a:lnTo>
                    <a:pt x="303847" y="52292"/>
                  </a:lnTo>
                  <a:lnTo>
                    <a:pt x="294227" y="51911"/>
                  </a:lnTo>
                  <a:lnTo>
                    <a:pt x="290513" y="47530"/>
                  </a:lnTo>
                  <a:lnTo>
                    <a:pt x="285083" y="43434"/>
                  </a:lnTo>
                  <a:lnTo>
                    <a:pt x="280797" y="47149"/>
                  </a:lnTo>
                  <a:lnTo>
                    <a:pt x="278416" y="53912"/>
                  </a:lnTo>
                  <a:lnTo>
                    <a:pt x="270129" y="51721"/>
                  </a:lnTo>
                  <a:lnTo>
                    <a:pt x="269177" y="56674"/>
                  </a:lnTo>
                  <a:lnTo>
                    <a:pt x="264414" y="57245"/>
                  </a:lnTo>
                  <a:lnTo>
                    <a:pt x="264605" y="58865"/>
                  </a:lnTo>
                  <a:lnTo>
                    <a:pt x="260128" y="61055"/>
                  </a:lnTo>
                  <a:lnTo>
                    <a:pt x="260890" y="67342"/>
                  </a:lnTo>
                  <a:lnTo>
                    <a:pt x="262699" y="68771"/>
                  </a:lnTo>
                  <a:lnTo>
                    <a:pt x="260985" y="80200"/>
                  </a:lnTo>
                  <a:lnTo>
                    <a:pt x="259747" y="83534"/>
                  </a:lnTo>
                  <a:lnTo>
                    <a:pt x="256604" y="83915"/>
                  </a:lnTo>
                  <a:lnTo>
                    <a:pt x="256794" y="85535"/>
                  </a:lnTo>
                  <a:lnTo>
                    <a:pt x="254794" y="82582"/>
                  </a:lnTo>
                  <a:lnTo>
                    <a:pt x="251079" y="91059"/>
                  </a:lnTo>
                  <a:lnTo>
                    <a:pt x="247364" y="86677"/>
                  </a:lnTo>
                  <a:lnTo>
                    <a:pt x="242411" y="85725"/>
                  </a:lnTo>
                  <a:lnTo>
                    <a:pt x="239458" y="87725"/>
                  </a:lnTo>
                  <a:lnTo>
                    <a:pt x="239268" y="86106"/>
                  </a:lnTo>
                  <a:lnTo>
                    <a:pt x="235934" y="84963"/>
                  </a:lnTo>
                  <a:lnTo>
                    <a:pt x="234696" y="88297"/>
                  </a:lnTo>
                  <a:lnTo>
                    <a:pt x="231553" y="88773"/>
                  </a:lnTo>
                  <a:lnTo>
                    <a:pt x="228981" y="93917"/>
                  </a:lnTo>
                  <a:lnTo>
                    <a:pt x="227457" y="94107"/>
                  </a:lnTo>
                  <a:lnTo>
                    <a:pt x="227838" y="97250"/>
                  </a:lnTo>
                  <a:lnTo>
                    <a:pt x="225076" y="100775"/>
                  </a:lnTo>
                  <a:lnTo>
                    <a:pt x="221552" y="98012"/>
                  </a:lnTo>
                  <a:lnTo>
                    <a:pt x="219932" y="98203"/>
                  </a:lnTo>
                  <a:lnTo>
                    <a:pt x="218789" y="101632"/>
                  </a:lnTo>
                  <a:lnTo>
                    <a:pt x="215170" y="98869"/>
                  </a:lnTo>
                  <a:lnTo>
                    <a:pt x="214979" y="97250"/>
                  </a:lnTo>
                  <a:lnTo>
                    <a:pt x="209836" y="94679"/>
                  </a:lnTo>
                  <a:lnTo>
                    <a:pt x="209645" y="93154"/>
                  </a:lnTo>
                  <a:lnTo>
                    <a:pt x="199358" y="88011"/>
                  </a:lnTo>
                  <a:lnTo>
                    <a:pt x="197644" y="86677"/>
                  </a:lnTo>
                  <a:lnTo>
                    <a:pt x="195834" y="85249"/>
                  </a:lnTo>
                  <a:lnTo>
                    <a:pt x="195263" y="93345"/>
                  </a:lnTo>
                  <a:lnTo>
                    <a:pt x="191738" y="90583"/>
                  </a:lnTo>
                  <a:lnTo>
                    <a:pt x="191929" y="92202"/>
                  </a:lnTo>
                  <a:lnTo>
                    <a:pt x="186785" y="89630"/>
                  </a:lnTo>
                  <a:lnTo>
                    <a:pt x="182023" y="90202"/>
                  </a:lnTo>
                  <a:lnTo>
                    <a:pt x="181832" y="88678"/>
                  </a:lnTo>
                  <a:lnTo>
                    <a:pt x="183452" y="88487"/>
                  </a:lnTo>
                  <a:lnTo>
                    <a:pt x="183261" y="86868"/>
                  </a:lnTo>
                  <a:lnTo>
                    <a:pt x="181642" y="87058"/>
                  </a:lnTo>
                  <a:lnTo>
                    <a:pt x="180213" y="88868"/>
                  </a:lnTo>
                  <a:lnTo>
                    <a:pt x="175070" y="86296"/>
                  </a:lnTo>
                  <a:lnTo>
                    <a:pt x="173736" y="88106"/>
                  </a:lnTo>
                  <a:lnTo>
                    <a:pt x="175355" y="87916"/>
                  </a:lnTo>
                  <a:lnTo>
                    <a:pt x="170783" y="90106"/>
                  </a:lnTo>
                  <a:lnTo>
                    <a:pt x="168783" y="87154"/>
                  </a:lnTo>
                  <a:lnTo>
                    <a:pt x="165640" y="87535"/>
                  </a:lnTo>
                  <a:lnTo>
                    <a:pt x="163925" y="86106"/>
                  </a:lnTo>
                  <a:lnTo>
                    <a:pt x="162496" y="87916"/>
                  </a:lnTo>
                  <a:lnTo>
                    <a:pt x="162115" y="84773"/>
                  </a:lnTo>
                  <a:lnTo>
                    <a:pt x="160496" y="84963"/>
                  </a:lnTo>
                  <a:lnTo>
                    <a:pt x="161354" y="91250"/>
                  </a:lnTo>
                  <a:lnTo>
                    <a:pt x="164497" y="90869"/>
                  </a:lnTo>
                  <a:lnTo>
                    <a:pt x="163068" y="92678"/>
                  </a:lnTo>
                  <a:lnTo>
                    <a:pt x="161354" y="91250"/>
                  </a:lnTo>
                  <a:lnTo>
                    <a:pt x="157734" y="88487"/>
                  </a:lnTo>
                  <a:lnTo>
                    <a:pt x="156400" y="90297"/>
                  </a:lnTo>
                  <a:lnTo>
                    <a:pt x="156591" y="91916"/>
                  </a:lnTo>
                  <a:lnTo>
                    <a:pt x="154972" y="92107"/>
                  </a:lnTo>
                  <a:lnTo>
                    <a:pt x="153448" y="92297"/>
                  </a:lnTo>
                  <a:lnTo>
                    <a:pt x="152781" y="87535"/>
                  </a:lnTo>
                  <a:lnTo>
                    <a:pt x="149638" y="87916"/>
                  </a:lnTo>
                  <a:lnTo>
                    <a:pt x="149828" y="76676"/>
                  </a:lnTo>
                  <a:lnTo>
                    <a:pt x="142970" y="72771"/>
                  </a:lnTo>
                  <a:lnTo>
                    <a:pt x="139732" y="73152"/>
                  </a:lnTo>
                  <a:lnTo>
                    <a:pt x="138779" y="78105"/>
                  </a:lnTo>
                  <a:lnTo>
                    <a:pt x="143923" y="80677"/>
                  </a:lnTo>
                  <a:lnTo>
                    <a:pt x="137827" y="83058"/>
                  </a:lnTo>
                  <a:lnTo>
                    <a:pt x="136017" y="81629"/>
                  </a:lnTo>
                  <a:lnTo>
                    <a:pt x="134684" y="83439"/>
                  </a:lnTo>
                  <a:lnTo>
                    <a:pt x="135255" y="88202"/>
                  </a:lnTo>
                  <a:lnTo>
                    <a:pt x="130683" y="90392"/>
                  </a:lnTo>
                  <a:lnTo>
                    <a:pt x="127349" y="89154"/>
                  </a:lnTo>
                  <a:lnTo>
                    <a:pt x="126778" y="84487"/>
                  </a:lnTo>
                  <a:lnTo>
                    <a:pt x="125349" y="86201"/>
                  </a:lnTo>
                  <a:lnTo>
                    <a:pt x="123444" y="83248"/>
                  </a:lnTo>
                  <a:lnTo>
                    <a:pt x="120301" y="83629"/>
                  </a:lnTo>
                  <a:lnTo>
                    <a:pt x="109823" y="89821"/>
                  </a:lnTo>
                  <a:lnTo>
                    <a:pt x="108394" y="91631"/>
                  </a:lnTo>
                  <a:lnTo>
                    <a:pt x="107823" y="99727"/>
                  </a:lnTo>
                  <a:lnTo>
                    <a:pt x="106680" y="103061"/>
                  </a:lnTo>
                  <a:lnTo>
                    <a:pt x="108490" y="104394"/>
                  </a:lnTo>
                  <a:lnTo>
                    <a:pt x="110680" y="108966"/>
                  </a:lnTo>
                  <a:lnTo>
                    <a:pt x="109252" y="110776"/>
                  </a:lnTo>
                  <a:lnTo>
                    <a:pt x="105727" y="108014"/>
                  </a:lnTo>
                  <a:lnTo>
                    <a:pt x="102965" y="111538"/>
                  </a:lnTo>
                  <a:lnTo>
                    <a:pt x="98393" y="113729"/>
                  </a:lnTo>
                  <a:lnTo>
                    <a:pt x="98584" y="115252"/>
                  </a:lnTo>
                  <a:lnTo>
                    <a:pt x="96869" y="113919"/>
                  </a:lnTo>
                  <a:lnTo>
                    <a:pt x="85630" y="113729"/>
                  </a:lnTo>
                  <a:lnTo>
                    <a:pt x="86201" y="118491"/>
                  </a:lnTo>
                  <a:lnTo>
                    <a:pt x="90964" y="117919"/>
                  </a:lnTo>
                  <a:lnTo>
                    <a:pt x="88011" y="119825"/>
                  </a:lnTo>
                  <a:lnTo>
                    <a:pt x="83058" y="118872"/>
                  </a:lnTo>
                  <a:lnTo>
                    <a:pt x="83248" y="120491"/>
                  </a:lnTo>
                  <a:lnTo>
                    <a:pt x="78962" y="124206"/>
                  </a:lnTo>
                  <a:lnTo>
                    <a:pt x="77343" y="124396"/>
                  </a:lnTo>
                  <a:lnTo>
                    <a:pt x="73247" y="129731"/>
                  </a:lnTo>
                  <a:lnTo>
                    <a:pt x="60960" y="134493"/>
                  </a:lnTo>
                  <a:lnTo>
                    <a:pt x="50863" y="118205"/>
                  </a:lnTo>
                  <a:lnTo>
                    <a:pt x="49054" y="116777"/>
                  </a:lnTo>
                  <a:lnTo>
                    <a:pt x="47530" y="116967"/>
                  </a:lnTo>
                  <a:lnTo>
                    <a:pt x="50292" y="126302"/>
                  </a:lnTo>
                  <a:lnTo>
                    <a:pt x="44386" y="130207"/>
                  </a:lnTo>
                  <a:lnTo>
                    <a:pt x="39243" y="127635"/>
                  </a:lnTo>
                  <a:lnTo>
                    <a:pt x="38671" y="122968"/>
                  </a:lnTo>
                  <a:lnTo>
                    <a:pt x="35147" y="120206"/>
                  </a:lnTo>
                  <a:lnTo>
                    <a:pt x="29146" y="124111"/>
                  </a:lnTo>
                  <a:lnTo>
                    <a:pt x="25622" y="134207"/>
                  </a:lnTo>
                  <a:lnTo>
                    <a:pt x="32766" y="139732"/>
                  </a:lnTo>
                  <a:lnTo>
                    <a:pt x="37147" y="135922"/>
                  </a:lnTo>
                  <a:lnTo>
                    <a:pt x="41243" y="143446"/>
                  </a:lnTo>
                  <a:lnTo>
                    <a:pt x="44386" y="143066"/>
                  </a:lnTo>
                  <a:lnTo>
                    <a:pt x="39910" y="145256"/>
                  </a:lnTo>
                  <a:lnTo>
                    <a:pt x="36100" y="140875"/>
                  </a:lnTo>
                  <a:lnTo>
                    <a:pt x="33338" y="144494"/>
                  </a:lnTo>
                  <a:lnTo>
                    <a:pt x="30194" y="144875"/>
                  </a:lnTo>
                  <a:lnTo>
                    <a:pt x="28861" y="146685"/>
                  </a:lnTo>
                  <a:lnTo>
                    <a:pt x="31432" y="154305"/>
                  </a:lnTo>
                  <a:lnTo>
                    <a:pt x="33623" y="158877"/>
                  </a:lnTo>
                  <a:lnTo>
                    <a:pt x="33814" y="173260"/>
                  </a:lnTo>
                  <a:lnTo>
                    <a:pt x="27337" y="172498"/>
                  </a:lnTo>
                  <a:lnTo>
                    <a:pt x="22765" y="174689"/>
                  </a:lnTo>
                  <a:lnTo>
                    <a:pt x="21050" y="173260"/>
                  </a:lnTo>
                  <a:lnTo>
                    <a:pt x="21431" y="176403"/>
                  </a:lnTo>
                  <a:lnTo>
                    <a:pt x="18288" y="176879"/>
                  </a:lnTo>
                  <a:lnTo>
                    <a:pt x="16478" y="175450"/>
                  </a:lnTo>
                  <a:lnTo>
                    <a:pt x="13144" y="174308"/>
                  </a:lnTo>
                  <a:lnTo>
                    <a:pt x="11906" y="177641"/>
                  </a:lnTo>
                  <a:lnTo>
                    <a:pt x="8954" y="179642"/>
                  </a:lnTo>
                  <a:lnTo>
                    <a:pt x="9239" y="181261"/>
                  </a:lnTo>
                  <a:lnTo>
                    <a:pt x="12763" y="183928"/>
                  </a:lnTo>
                  <a:lnTo>
                    <a:pt x="24003" y="184118"/>
                  </a:lnTo>
                  <a:lnTo>
                    <a:pt x="22860" y="187547"/>
                  </a:lnTo>
                  <a:lnTo>
                    <a:pt x="27337" y="185356"/>
                  </a:lnTo>
                  <a:lnTo>
                    <a:pt x="28004" y="190024"/>
                  </a:lnTo>
                  <a:lnTo>
                    <a:pt x="26575" y="191834"/>
                  </a:lnTo>
                  <a:lnTo>
                    <a:pt x="24765" y="190500"/>
                  </a:lnTo>
                  <a:lnTo>
                    <a:pt x="23431" y="192215"/>
                  </a:lnTo>
                  <a:lnTo>
                    <a:pt x="18288" y="189643"/>
                  </a:lnTo>
                  <a:lnTo>
                    <a:pt x="18479" y="191262"/>
                  </a:lnTo>
                  <a:lnTo>
                    <a:pt x="21812" y="192405"/>
                  </a:lnTo>
                  <a:lnTo>
                    <a:pt x="20288" y="192596"/>
                  </a:lnTo>
                  <a:lnTo>
                    <a:pt x="15145" y="190119"/>
                  </a:lnTo>
                  <a:lnTo>
                    <a:pt x="11811" y="188881"/>
                  </a:lnTo>
                  <a:lnTo>
                    <a:pt x="6096" y="194405"/>
                  </a:lnTo>
                  <a:lnTo>
                    <a:pt x="0" y="196787"/>
                  </a:lnTo>
                  <a:lnTo>
                    <a:pt x="5334" y="200977"/>
                  </a:lnTo>
                  <a:lnTo>
                    <a:pt x="5715" y="204121"/>
                  </a:lnTo>
                  <a:lnTo>
                    <a:pt x="7239" y="203930"/>
                  </a:lnTo>
                  <a:lnTo>
                    <a:pt x="8096" y="210217"/>
                  </a:lnTo>
                  <a:lnTo>
                    <a:pt x="11621" y="212979"/>
                  </a:lnTo>
                  <a:lnTo>
                    <a:pt x="13240" y="212789"/>
                  </a:lnTo>
                  <a:lnTo>
                    <a:pt x="11811" y="214598"/>
                  </a:lnTo>
                  <a:lnTo>
                    <a:pt x="14954" y="214122"/>
                  </a:lnTo>
                  <a:lnTo>
                    <a:pt x="15430" y="217265"/>
                  </a:lnTo>
                  <a:lnTo>
                    <a:pt x="20574" y="219837"/>
                  </a:lnTo>
                  <a:lnTo>
                    <a:pt x="25717" y="222409"/>
                  </a:lnTo>
                  <a:lnTo>
                    <a:pt x="27432" y="223838"/>
                  </a:lnTo>
                  <a:lnTo>
                    <a:pt x="31623" y="218504"/>
                  </a:lnTo>
                  <a:lnTo>
                    <a:pt x="39910" y="220599"/>
                  </a:lnTo>
                  <a:lnTo>
                    <a:pt x="38481" y="222409"/>
                  </a:lnTo>
                  <a:lnTo>
                    <a:pt x="36767" y="220980"/>
                  </a:lnTo>
                  <a:lnTo>
                    <a:pt x="40481" y="225362"/>
                  </a:lnTo>
                  <a:lnTo>
                    <a:pt x="43434" y="223361"/>
                  </a:lnTo>
                  <a:lnTo>
                    <a:pt x="48577" y="225933"/>
                  </a:lnTo>
                  <a:lnTo>
                    <a:pt x="44196" y="229648"/>
                  </a:lnTo>
                  <a:lnTo>
                    <a:pt x="41053" y="230029"/>
                  </a:lnTo>
                  <a:lnTo>
                    <a:pt x="43053" y="232981"/>
                  </a:lnTo>
                  <a:lnTo>
                    <a:pt x="46387" y="234220"/>
                  </a:lnTo>
                  <a:lnTo>
                    <a:pt x="49625" y="233839"/>
                  </a:lnTo>
                  <a:lnTo>
                    <a:pt x="49816" y="235363"/>
                  </a:lnTo>
                  <a:lnTo>
                    <a:pt x="51149" y="233648"/>
                  </a:lnTo>
                  <a:lnTo>
                    <a:pt x="52959" y="234982"/>
                  </a:lnTo>
                  <a:lnTo>
                    <a:pt x="58102" y="237554"/>
                  </a:lnTo>
                  <a:lnTo>
                    <a:pt x="65342" y="231839"/>
                  </a:lnTo>
                  <a:lnTo>
                    <a:pt x="67151" y="233172"/>
                  </a:lnTo>
                  <a:lnTo>
                    <a:pt x="67532" y="236315"/>
                  </a:lnTo>
                  <a:lnTo>
                    <a:pt x="69342" y="237744"/>
                  </a:lnTo>
                  <a:lnTo>
                    <a:pt x="66389" y="239649"/>
                  </a:lnTo>
                  <a:lnTo>
                    <a:pt x="67151" y="246031"/>
                  </a:lnTo>
                  <a:lnTo>
                    <a:pt x="70294" y="245555"/>
                  </a:lnTo>
                  <a:lnTo>
                    <a:pt x="73819" y="235553"/>
                  </a:lnTo>
                  <a:lnTo>
                    <a:pt x="75819" y="238506"/>
                  </a:lnTo>
                  <a:lnTo>
                    <a:pt x="74676" y="241840"/>
                  </a:lnTo>
                  <a:lnTo>
                    <a:pt x="77819" y="241459"/>
                  </a:lnTo>
                  <a:lnTo>
                    <a:pt x="76867" y="246412"/>
                  </a:lnTo>
                  <a:lnTo>
                    <a:pt x="77438" y="251079"/>
                  </a:lnTo>
                  <a:lnTo>
                    <a:pt x="76105" y="252889"/>
                  </a:lnTo>
                  <a:lnTo>
                    <a:pt x="68580" y="257080"/>
                  </a:lnTo>
                  <a:lnTo>
                    <a:pt x="68771" y="258604"/>
                  </a:lnTo>
                  <a:lnTo>
                    <a:pt x="70771" y="261556"/>
                  </a:lnTo>
                  <a:lnTo>
                    <a:pt x="79438" y="266890"/>
                  </a:lnTo>
                  <a:lnTo>
                    <a:pt x="98774" y="280416"/>
                  </a:lnTo>
                  <a:lnTo>
                    <a:pt x="100203" y="278702"/>
                  </a:lnTo>
                  <a:lnTo>
                    <a:pt x="103346" y="278225"/>
                  </a:lnTo>
                  <a:lnTo>
                    <a:pt x="105537" y="282797"/>
                  </a:lnTo>
                  <a:lnTo>
                    <a:pt x="106871" y="280988"/>
                  </a:lnTo>
                  <a:lnTo>
                    <a:pt x="108680" y="282416"/>
                  </a:lnTo>
                  <a:lnTo>
                    <a:pt x="110490" y="283750"/>
                  </a:lnTo>
                  <a:lnTo>
                    <a:pt x="109252" y="287179"/>
                  </a:lnTo>
                  <a:lnTo>
                    <a:pt x="112681" y="288322"/>
                  </a:lnTo>
                  <a:lnTo>
                    <a:pt x="115443" y="284798"/>
                  </a:lnTo>
                  <a:lnTo>
                    <a:pt x="119348" y="290703"/>
                  </a:lnTo>
                  <a:lnTo>
                    <a:pt x="116776" y="295847"/>
                  </a:lnTo>
                  <a:lnTo>
                    <a:pt x="118586" y="297180"/>
                  </a:lnTo>
                  <a:lnTo>
                    <a:pt x="117634" y="302133"/>
                  </a:lnTo>
                  <a:lnTo>
                    <a:pt x="119634" y="305086"/>
                  </a:lnTo>
                  <a:lnTo>
                    <a:pt x="116205" y="303943"/>
                  </a:lnTo>
                  <a:lnTo>
                    <a:pt x="111728" y="306038"/>
                  </a:lnTo>
                  <a:lnTo>
                    <a:pt x="107537" y="311372"/>
                  </a:lnTo>
                  <a:lnTo>
                    <a:pt x="117062" y="322993"/>
                  </a:lnTo>
                  <a:lnTo>
                    <a:pt x="118872" y="324422"/>
                  </a:lnTo>
                  <a:lnTo>
                    <a:pt x="120682" y="325755"/>
                  </a:lnTo>
                  <a:lnTo>
                    <a:pt x="121063" y="328898"/>
                  </a:lnTo>
                  <a:lnTo>
                    <a:pt x="119825" y="332327"/>
                  </a:lnTo>
                  <a:lnTo>
                    <a:pt x="118491" y="334042"/>
                  </a:lnTo>
                  <a:lnTo>
                    <a:pt x="114967" y="331280"/>
                  </a:lnTo>
                  <a:lnTo>
                    <a:pt x="115919" y="339185"/>
                  </a:lnTo>
                  <a:lnTo>
                    <a:pt x="114395" y="339376"/>
                  </a:lnTo>
                  <a:lnTo>
                    <a:pt x="113347" y="344329"/>
                  </a:lnTo>
                  <a:lnTo>
                    <a:pt x="111823" y="344519"/>
                  </a:lnTo>
                  <a:lnTo>
                    <a:pt x="112014" y="346139"/>
                  </a:lnTo>
                  <a:lnTo>
                    <a:pt x="106680" y="354806"/>
                  </a:lnTo>
                  <a:lnTo>
                    <a:pt x="110300" y="357569"/>
                  </a:lnTo>
                  <a:lnTo>
                    <a:pt x="107251" y="359569"/>
                  </a:lnTo>
                  <a:lnTo>
                    <a:pt x="98012" y="362331"/>
                  </a:lnTo>
                  <a:lnTo>
                    <a:pt x="96488" y="362522"/>
                  </a:lnTo>
                  <a:lnTo>
                    <a:pt x="96869" y="365665"/>
                  </a:lnTo>
                  <a:lnTo>
                    <a:pt x="96869" y="365665"/>
                  </a:lnTo>
                  <a:lnTo>
                    <a:pt x="95726" y="369094"/>
                  </a:lnTo>
                  <a:lnTo>
                    <a:pt x="100775" y="371570"/>
                  </a:lnTo>
                  <a:lnTo>
                    <a:pt x="100013" y="378143"/>
                  </a:lnTo>
                  <a:lnTo>
                    <a:pt x="99060" y="383095"/>
                  </a:lnTo>
                  <a:lnTo>
                    <a:pt x="100870" y="384429"/>
                  </a:lnTo>
                  <a:lnTo>
                    <a:pt x="100108" y="390906"/>
                  </a:lnTo>
                  <a:lnTo>
                    <a:pt x="98488" y="391192"/>
                  </a:lnTo>
                  <a:lnTo>
                    <a:pt x="96488" y="388239"/>
                  </a:lnTo>
                  <a:lnTo>
                    <a:pt x="93917" y="393287"/>
                  </a:lnTo>
                  <a:lnTo>
                    <a:pt x="97536" y="396049"/>
                  </a:lnTo>
                  <a:lnTo>
                    <a:pt x="98298" y="402431"/>
                  </a:lnTo>
                  <a:lnTo>
                    <a:pt x="95155" y="402812"/>
                  </a:lnTo>
                  <a:lnTo>
                    <a:pt x="105823" y="411099"/>
                  </a:lnTo>
                  <a:lnTo>
                    <a:pt x="110966" y="413576"/>
                  </a:lnTo>
                  <a:lnTo>
                    <a:pt x="114776" y="417957"/>
                  </a:lnTo>
                  <a:lnTo>
                    <a:pt x="118491" y="422243"/>
                  </a:lnTo>
                  <a:lnTo>
                    <a:pt x="122015" y="425006"/>
                  </a:lnTo>
                  <a:lnTo>
                    <a:pt x="128588" y="425768"/>
                  </a:lnTo>
                  <a:lnTo>
                    <a:pt x="137827" y="435864"/>
                  </a:lnTo>
                  <a:lnTo>
                    <a:pt x="142589" y="435293"/>
                  </a:lnTo>
                  <a:lnTo>
                    <a:pt x="142970" y="438436"/>
                  </a:lnTo>
                  <a:lnTo>
                    <a:pt x="144971" y="441389"/>
                  </a:lnTo>
                  <a:lnTo>
                    <a:pt x="151257" y="440531"/>
                  </a:lnTo>
                  <a:lnTo>
                    <a:pt x="150304" y="445484"/>
                  </a:lnTo>
                  <a:lnTo>
                    <a:pt x="150495" y="447103"/>
                  </a:lnTo>
                  <a:lnTo>
                    <a:pt x="154305" y="451390"/>
                  </a:lnTo>
                  <a:lnTo>
                    <a:pt x="157448" y="451009"/>
                  </a:lnTo>
                  <a:lnTo>
                    <a:pt x="159258" y="452342"/>
                  </a:lnTo>
                  <a:lnTo>
                    <a:pt x="162401" y="451961"/>
                  </a:lnTo>
                  <a:lnTo>
                    <a:pt x="160972" y="453771"/>
                  </a:lnTo>
                  <a:lnTo>
                    <a:pt x="163163" y="458248"/>
                  </a:lnTo>
                  <a:lnTo>
                    <a:pt x="160401" y="461867"/>
                  </a:lnTo>
                  <a:lnTo>
                    <a:pt x="162401" y="464820"/>
                  </a:lnTo>
                  <a:lnTo>
                    <a:pt x="163354" y="459867"/>
                  </a:lnTo>
                  <a:lnTo>
                    <a:pt x="163735" y="463010"/>
                  </a:lnTo>
                  <a:lnTo>
                    <a:pt x="166497" y="459486"/>
                  </a:lnTo>
                  <a:lnTo>
                    <a:pt x="168497" y="462439"/>
                  </a:lnTo>
                  <a:lnTo>
                    <a:pt x="171450" y="460439"/>
                  </a:lnTo>
                  <a:lnTo>
                    <a:pt x="174784" y="461582"/>
                  </a:lnTo>
                  <a:lnTo>
                    <a:pt x="181165" y="460819"/>
                  </a:lnTo>
                  <a:lnTo>
                    <a:pt x="181356" y="462344"/>
                  </a:lnTo>
                  <a:lnTo>
                    <a:pt x="184499" y="461963"/>
                  </a:lnTo>
                  <a:lnTo>
                    <a:pt x="184309" y="460439"/>
                  </a:lnTo>
                  <a:lnTo>
                    <a:pt x="189071" y="459772"/>
                  </a:lnTo>
                  <a:lnTo>
                    <a:pt x="188595" y="456628"/>
                  </a:lnTo>
                  <a:lnTo>
                    <a:pt x="194977" y="455867"/>
                  </a:lnTo>
                  <a:lnTo>
                    <a:pt x="193738" y="459200"/>
                  </a:lnTo>
                  <a:lnTo>
                    <a:pt x="197929" y="466725"/>
                  </a:lnTo>
                  <a:lnTo>
                    <a:pt x="199263" y="464915"/>
                  </a:lnTo>
                  <a:lnTo>
                    <a:pt x="201073" y="466249"/>
                  </a:lnTo>
                  <a:lnTo>
                    <a:pt x="207359" y="465487"/>
                  </a:lnTo>
                  <a:lnTo>
                    <a:pt x="207931" y="457390"/>
                  </a:lnTo>
                  <a:lnTo>
                    <a:pt x="210693" y="453866"/>
                  </a:lnTo>
                  <a:lnTo>
                    <a:pt x="214694" y="459772"/>
                  </a:lnTo>
                  <a:lnTo>
                    <a:pt x="216503" y="461105"/>
                  </a:lnTo>
                  <a:lnTo>
                    <a:pt x="219646" y="460724"/>
                  </a:lnTo>
                  <a:lnTo>
                    <a:pt x="219837" y="462344"/>
                  </a:lnTo>
                  <a:lnTo>
                    <a:pt x="227743" y="461296"/>
                  </a:lnTo>
                  <a:lnTo>
                    <a:pt x="229648" y="464248"/>
                  </a:lnTo>
                  <a:lnTo>
                    <a:pt x="226504" y="464630"/>
                  </a:lnTo>
                  <a:lnTo>
                    <a:pt x="226886" y="467773"/>
                  </a:lnTo>
                  <a:lnTo>
                    <a:pt x="230696" y="472154"/>
                  </a:lnTo>
                  <a:lnTo>
                    <a:pt x="235077" y="468344"/>
                  </a:lnTo>
                  <a:lnTo>
                    <a:pt x="235648" y="473107"/>
                  </a:lnTo>
                  <a:lnTo>
                    <a:pt x="240602" y="474059"/>
                  </a:lnTo>
                  <a:lnTo>
                    <a:pt x="244697" y="468725"/>
                  </a:lnTo>
                  <a:lnTo>
                    <a:pt x="243554" y="472059"/>
                  </a:lnTo>
                  <a:lnTo>
                    <a:pt x="246888" y="473297"/>
                  </a:lnTo>
                  <a:lnTo>
                    <a:pt x="247650" y="479584"/>
                  </a:lnTo>
                  <a:lnTo>
                    <a:pt x="249269" y="479393"/>
                  </a:lnTo>
                  <a:lnTo>
                    <a:pt x="251079" y="480727"/>
                  </a:lnTo>
                  <a:lnTo>
                    <a:pt x="252603" y="480536"/>
                  </a:lnTo>
                  <a:lnTo>
                    <a:pt x="251460" y="483965"/>
                  </a:lnTo>
                  <a:lnTo>
                    <a:pt x="249841" y="484156"/>
                  </a:lnTo>
                  <a:lnTo>
                    <a:pt x="251650" y="485489"/>
                  </a:lnTo>
                  <a:lnTo>
                    <a:pt x="253174" y="485299"/>
                  </a:lnTo>
                  <a:lnTo>
                    <a:pt x="253460" y="486918"/>
                  </a:lnTo>
                  <a:lnTo>
                    <a:pt x="256413" y="484918"/>
                  </a:lnTo>
                  <a:lnTo>
                    <a:pt x="258128" y="486251"/>
                  </a:lnTo>
                  <a:lnTo>
                    <a:pt x="260318" y="490823"/>
                  </a:lnTo>
                  <a:lnTo>
                    <a:pt x="258985" y="492633"/>
                  </a:lnTo>
                  <a:lnTo>
                    <a:pt x="267462" y="496348"/>
                  </a:lnTo>
                  <a:lnTo>
                    <a:pt x="267271" y="494728"/>
                  </a:lnTo>
                  <a:lnTo>
                    <a:pt x="276701" y="493490"/>
                  </a:lnTo>
                  <a:lnTo>
                    <a:pt x="282035" y="497681"/>
                  </a:lnTo>
                  <a:lnTo>
                    <a:pt x="286798" y="497015"/>
                  </a:lnTo>
                  <a:lnTo>
                    <a:pt x="291941" y="499586"/>
                  </a:lnTo>
                  <a:lnTo>
                    <a:pt x="291560" y="496443"/>
                  </a:lnTo>
                  <a:lnTo>
                    <a:pt x="296228" y="495872"/>
                  </a:lnTo>
                  <a:lnTo>
                    <a:pt x="293941" y="502539"/>
                  </a:lnTo>
                  <a:lnTo>
                    <a:pt x="290608" y="514255"/>
                  </a:lnTo>
                  <a:lnTo>
                    <a:pt x="292132" y="514064"/>
                  </a:lnTo>
                  <a:lnTo>
                    <a:pt x="291560" y="522065"/>
                  </a:lnTo>
                  <a:lnTo>
                    <a:pt x="293561" y="525113"/>
                  </a:lnTo>
                  <a:lnTo>
                    <a:pt x="296704" y="524637"/>
                  </a:lnTo>
                  <a:lnTo>
                    <a:pt x="301085" y="520922"/>
                  </a:lnTo>
                  <a:lnTo>
                    <a:pt x="302800" y="522256"/>
                  </a:lnTo>
                  <a:lnTo>
                    <a:pt x="302609" y="520732"/>
                  </a:lnTo>
                  <a:lnTo>
                    <a:pt x="305562" y="518732"/>
                  </a:lnTo>
                  <a:lnTo>
                    <a:pt x="309372" y="523018"/>
                  </a:lnTo>
                  <a:lnTo>
                    <a:pt x="313849" y="520827"/>
                  </a:lnTo>
                  <a:lnTo>
                    <a:pt x="315849" y="523875"/>
                  </a:lnTo>
                  <a:lnTo>
                    <a:pt x="320992" y="526352"/>
                  </a:lnTo>
                  <a:lnTo>
                    <a:pt x="321183" y="527971"/>
                  </a:lnTo>
                  <a:lnTo>
                    <a:pt x="324326" y="527590"/>
                  </a:lnTo>
                  <a:lnTo>
                    <a:pt x="330708" y="539591"/>
                  </a:lnTo>
                  <a:lnTo>
                    <a:pt x="342138" y="541306"/>
                  </a:lnTo>
                  <a:lnTo>
                    <a:pt x="344329" y="545878"/>
                  </a:lnTo>
                  <a:lnTo>
                    <a:pt x="350234" y="541877"/>
                  </a:lnTo>
                  <a:lnTo>
                    <a:pt x="354521" y="538163"/>
                  </a:lnTo>
                  <a:lnTo>
                    <a:pt x="354616" y="550926"/>
                  </a:lnTo>
                  <a:lnTo>
                    <a:pt x="350044" y="553117"/>
                  </a:lnTo>
                  <a:lnTo>
                    <a:pt x="343567" y="565214"/>
                  </a:lnTo>
                  <a:lnTo>
                    <a:pt x="349282" y="572453"/>
                  </a:lnTo>
                  <a:lnTo>
                    <a:pt x="348139" y="575882"/>
                  </a:lnTo>
                  <a:lnTo>
                    <a:pt x="358807" y="584073"/>
                  </a:lnTo>
                  <a:lnTo>
                    <a:pt x="366713" y="583120"/>
                  </a:lnTo>
                  <a:lnTo>
                    <a:pt x="377190" y="589788"/>
                  </a:lnTo>
                  <a:lnTo>
                    <a:pt x="382143" y="590740"/>
                  </a:lnTo>
                  <a:lnTo>
                    <a:pt x="382333" y="592360"/>
                  </a:lnTo>
                  <a:lnTo>
                    <a:pt x="384143" y="593693"/>
                  </a:lnTo>
                  <a:lnTo>
                    <a:pt x="393382" y="603790"/>
                  </a:lnTo>
                  <a:lnTo>
                    <a:pt x="396526" y="603314"/>
                  </a:lnTo>
                  <a:lnTo>
                    <a:pt x="399479" y="601409"/>
                  </a:lnTo>
                  <a:lnTo>
                    <a:pt x="404241" y="600742"/>
                  </a:lnTo>
                  <a:lnTo>
                    <a:pt x="409384" y="603314"/>
                  </a:lnTo>
                  <a:lnTo>
                    <a:pt x="414147" y="602742"/>
                  </a:lnTo>
                  <a:lnTo>
                    <a:pt x="413956" y="601123"/>
                  </a:lnTo>
                  <a:lnTo>
                    <a:pt x="421577" y="598551"/>
                  </a:lnTo>
                  <a:lnTo>
                    <a:pt x="416623" y="584740"/>
                  </a:lnTo>
                  <a:lnTo>
                    <a:pt x="428054" y="586549"/>
                  </a:lnTo>
                  <a:lnTo>
                    <a:pt x="429482" y="584740"/>
                  </a:lnTo>
                  <a:lnTo>
                    <a:pt x="431006" y="584549"/>
                  </a:lnTo>
                  <a:lnTo>
                    <a:pt x="428244" y="575215"/>
                  </a:lnTo>
                  <a:lnTo>
                    <a:pt x="430244" y="565404"/>
                  </a:lnTo>
                  <a:lnTo>
                    <a:pt x="445961" y="550545"/>
                  </a:lnTo>
                  <a:lnTo>
                    <a:pt x="446722" y="544068"/>
                  </a:lnTo>
                  <a:lnTo>
                    <a:pt x="451485" y="543401"/>
                  </a:lnTo>
                  <a:lnTo>
                    <a:pt x="453485" y="546354"/>
                  </a:lnTo>
                  <a:lnTo>
                    <a:pt x="456438" y="544449"/>
                  </a:lnTo>
                  <a:lnTo>
                    <a:pt x="455200" y="547783"/>
                  </a:lnTo>
                  <a:lnTo>
                    <a:pt x="453866" y="549593"/>
                  </a:lnTo>
                  <a:lnTo>
                    <a:pt x="456057" y="554069"/>
                  </a:lnTo>
                  <a:lnTo>
                    <a:pt x="454438" y="554260"/>
                  </a:lnTo>
                  <a:lnTo>
                    <a:pt x="455105" y="559022"/>
                  </a:lnTo>
                  <a:lnTo>
                    <a:pt x="464153" y="567499"/>
                  </a:lnTo>
                  <a:lnTo>
                    <a:pt x="469106" y="568452"/>
                  </a:lnTo>
                  <a:lnTo>
                    <a:pt x="473773" y="567881"/>
                  </a:lnTo>
                  <a:lnTo>
                    <a:pt x="475774" y="570833"/>
                  </a:lnTo>
                  <a:lnTo>
                    <a:pt x="482537" y="573119"/>
                  </a:lnTo>
                  <a:lnTo>
                    <a:pt x="484251" y="574548"/>
                  </a:lnTo>
                  <a:lnTo>
                    <a:pt x="486823" y="569405"/>
                  </a:lnTo>
                  <a:lnTo>
                    <a:pt x="490252" y="570548"/>
                  </a:lnTo>
                  <a:lnTo>
                    <a:pt x="493395" y="570167"/>
                  </a:lnTo>
                  <a:lnTo>
                    <a:pt x="498538" y="572738"/>
                  </a:lnTo>
                  <a:lnTo>
                    <a:pt x="500063" y="572548"/>
                  </a:lnTo>
                  <a:lnTo>
                    <a:pt x="503872" y="576834"/>
                  </a:lnTo>
                  <a:lnTo>
                    <a:pt x="507397" y="579596"/>
                  </a:lnTo>
                  <a:lnTo>
                    <a:pt x="507587" y="581215"/>
                  </a:lnTo>
                  <a:lnTo>
                    <a:pt x="513112" y="586931"/>
                  </a:lnTo>
                  <a:lnTo>
                    <a:pt x="516541" y="600932"/>
                  </a:lnTo>
                  <a:lnTo>
                    <a:pt x="522065" y="606647"/>
                  </a:lnTo>
                  <a:lnTo>
                    <a:pt x="526161" y="601313"/>
                  </a:lnTo>
                  <a:lnTo>
                    <a:pt x="529590" y="602456"/>
                  </a:lnTo>
                  <a:lnTo>
                    <a:pt x="529399" y="600837"/>
                  </a:lnTo>
                  <a:lnTo>
                    <a:pt x="539210" y="602837"/>
                  </a:lnTo>
                  <a:lnTo>
                    <a:pt x="548069" y="596836"/>
                  </a:lnTo>
                  <a:lnTo>
                    <a:pt x="551879" y="601218"/>
                  </a:lnTo>
                  <a:lnTo>
                    <a:pt x="555784" y="607124"/>
                  </a:lnTo>
                  <a:lnTo>
                    <a:pt x="554641" y="610457"/>
                  </a:lnTo>
                  <a:lnTo>
                    <a:pt x="557974" y="611695"/>
                  </a:lnTo>
                  <a:lnTo>
                    <a:pt x="562356" y="607886"/>
                  </a:lnTo>
                  <a:lnTo>
                    <a:pt x="568642" y="607124"/>
                  </a:lnTo>
                  <a:lnTo>
                    <a:pt x="572357" y="611410"/>
                  </a:lnTo>
                  <a:lnTo>
                    <a:pt x="579501" y="616934"/>
                  </a:lnTo>
                  <a:lnTo>
                    <a:pt x="582644" y="616553"/>
                  </a:lnTo>
                  <a:lnTo>
                    <a:pt x="583692" y="611600"/>
                  </a:lnTo>
                  <a:lnTo>
                    <a:pt x="586835" y="611219"/>
                  </a:lnTo>
                  <a:lnTo>
                    <a:pt x="589216" y="617315"/>
                  </a:lnTo>
                  <a:lnTo>
                    <a:pt x="594550" y="621411"/>
                  </a:lnTo>
                  <a:lnTo>
                    <a:pt x="594931" y="624554"/>
                  </a:lnTo>
                  <a:lnTo>
                    <a:pt x="599694" y="623983"/>
                  </a:lnTo>
                  <a:lnTo>
                    <a:pt x="601408" y="625316"/>
                  </a:lnTo>
                  <a:lnTo>
                    <a:pt x="602837" y="623602"/>
                  </a:lnTo>
                  <a:lnTo>
                    <a:pt x="609695" y="627507"/>
                  </a:lnTo>
                  <a:lnTo>
                    <a:pt x="617982" y="629698"/>
                  </a:lnTo>
                  <a:lnTo>
                    <a:pt x="621792" y="633984"/>
                  </a:lnTo>
                  <a:lnTo>
                    <a:pt x="631507" y="647224"/>
                  </a:lnTo>
                  <a:lnTo>
                    <a:pt x="637222" y="654463"/>
                  </a:lnTo>
                  <a:lnTo>
                    <a:pt x="642366" y="657035"/>
                  </a:lnTo>
                  <a:lnTo>
                    <a:pt x="640366" y="666940"/>
                  </a:lnTo>
                  <a:lnTo>
                    <a:pt x="647129" y="669227"/>
                  </a:lnTo>
                  <a:lnTo>
                    <a:pt x="650653" y="671989"/>
                  </a:lnTo>
                  <a:lnTo>
                    <a:pt x="653034" y="678085"/>
                  </a:lnTo>
                  <a:lnTo>
                    <a:pt x="657987" y="679132"/>
                  </a:lnTo>
                  <a:lnTo>
                    <a:pt x="661130" y="678656"/>
                  </a:lnTo>
                  <a:lnTo>
                    <a:pt x="663702" y="673513"/>
                  </a:lnTo>
                  <a:lnTo>
                    <a:pt x="670846" y="679037"/>
                  </a:lnTo>
                  <a:lnTo>
                    <a:pt x="673798" y="677037"/>
                  </a:lnTo>
                  <a:lnTo>
                    <a:pt x="682657" y="683990"/>
                  </a:lnTo>
                  <a:lnTo>
                    <a:pt x="688943" y="683133"/>
                  </a:lnTo>
                  <a:lnTo>
                    <a:pt x="695706" y="685514"/>
                  </a:lnTo>
                  <a:lnTo>
                    <a:pt x="698087" y="691610"/>
                  </a:lnTo>
                  <a:lnTo>
                    <a:pt x="703802" y="698945"/>
                  </a:lnTo>
                  <a:lnTo>
                    <a:pt x="710184" y="698087"/>
                  </a:lnTo>
                  <a:lnTo>
                    <a:pt x="715708" y="703802"/>
                  </a:lnTo>
                  <a:lnTo>
                    <a:pt x="716280" y="708565"/>
                  </a:lnTo>
                  <a:lnTo>
                    <a:pt x="725996" y="721709"/>
                  </a:lnTo>
                  <a:lnTo>
                    <a:pt x="729329" y="722948"/>
                  </a:lnTo>
                  <a:lnTo>
                    <a:pt x="733330" y="728853"/>
                  </a:lnTo>
                  <a:lnTo>
                    <a:pt x="738378" y="731425"/>
                  </a:lnTo>
                  <a:lnTo>
                    <a:pt x="737616" y="725043"/>
                  </a:lnTo>
                  <a:lnTo>
                    <a:pt x="746284" y="717518"/>
                  </a:lnTo>
                  <a:lnTo>
                    <a:pt x="743712" y="709898"/>
                  </a:lnTo>
                  <a:lnTo>
                    <a:pt x="744664" y="704945"/>
                  </a:lnTo>
                  <a:lnTo>
                    <a:pt x="751427" y="707327"/>
                  </a:lnTo>
                  <a:lnTo>
                    <a:pt x="755904" y="705136"/>
                  </a:lnTo>
                  <a:lnTo>
                    <a:pt x="758476" y="699992"/>
                  </a:lnTo>
                  <a:lnTo>
                    <a:pt x="760286" y="701326"/>
                  </a:lnTo>
                  <a:lnTo>
                    <a:pt x="761809" y="701135"/>
                  </a:lnTo>
                  <a:lnTo>
                    <a:pt x="766953" y="703707"/>
                  </a:lnTo>
                  <a:lnTo>
                    <a:pt x="765048" y="713613"/>
                  </a:lnTo>
                  <a:lnTo>
                    <a:pt x="768191" y="713137"/>
                  </a:lnTo>
                  <a:lnTo>
                    <a:pt x="771144" y="711232"/>
                  </a:lnTo>
                  <a:lnTo>
                    <a:pt x="774287" y="710756"/>
                  </a:lnTo>
                  <a:lnTo>
                    <a:pt x="777240" y="708851"/>
                  </a:lnTo>
                  <a:lnTo>
                    <a:pt x="783812" y="709613"/>
                  </a:lnTo>
                  <a:lnTo>
                    <a:pt x="793813" y="700278"/>
                  </a:lnTo>
                  <a:lnTo>
                    <a:pt x="796957" y="699897"/>
                  </a:lnTo>
                  <a:lnTo>
                    <a:pt x="804481" y="708565"/>
                  </a:lnTo>
                  <a:lnTo>
                    <a:pt x="806291" y="709898"/>
                  </a:lnTo>
                  <a:lnTo>
                    <a:pt x="809244" y="707898"/>
                  </a:lnTo>
                  <a:lnTo>
                    <a:pt x="810958" y="709327"/>
                  </a:lnTo>
                  <a:lnTo>
                    <a:pt x="814388" y="710470"/>
                  </a:lnTo>
                  <a:lnTo>
                    <a:pt x="813911" y="707327"/>
                  </a:lnTo>
                  <a:lnTo>
                    <a:pt x="826961" y="708851"/>
                  </a:lnTo>
                  <a:lnTo>
                    <a:pt x="829913" y="706945"/>
                  </a:lnTo>
                  <a:lnTo>
                    <a:pt x="830294" y="710089"/>
                  </a:lnTo>
                  <a:lnTo>
                    <a:pt x="833247" y="708089"/>
                  </a:lnTo>
                  <a:lnTo>
                    <a:pt x="832866" y="704945"/>
                  </a:lnTo>
                  <a:lnTo>
                    <a:pt x="830485" y="698849"/>
                  </a:lnTo>
                  <a:lnTo>
                    <a:pt x="834390" y="691896"/>
                  </a:lnTo>
                  <a:lnTo>
                    <a:pt x="834199" y="690277"/>
                  </a:lnTo>
                  <a:lnTo>
                    <a:pt x="835628" y="688562"/>
                  </a:lnTo>
                  <a:lnTo>
                    <a:pt x="834962" y="683800"/>
                  </a:lnTo>
                  <a:lnTo>
                    <a:pt x="834009" y="675894"/>
                  </a:lnTo>
                  <a:lnTo>
                    <a:pt x="838105" y="670560"/>
                  </a:lnTo>
                  <a:lnTo>
                    <a:pt x="837724" y="667417"/>
                  </a:lnTo>
                  <a:lnTo>
                    <a:pt x="840677" y="665417"/>
                  </a:lnTo>
                  <a:lnTo>
                    <a:pt x="845439" y="664845"/>
                  </a:lnTo>
                  <a:lnTo>
                    <a:pt x="848963" y="667607"/>
                  </a:lnTo>
                  <a:lnTo>
                    <a:pt x="850582" y="667417"/>
                  </a:lnTo>
                  <a:lnTo>
                    <a:pt x="854869" y="663607"/>
                  </a:lnTo>
                  <a:lnTo>
                    <a:pt x="855536" y="668369"/>
                  </a:lnTo>
                  <a:lnTo>
                    <a:pt x="862394" y="672274"/>
                  </a:lnTo>
                  <a:lnTo>
                    <a:pt x="866775" y="668560"/>
                  </a:lnTo>
                  <a:lnTo>
                    <a:pt x="871919" y="671132"/>
                  </a:lnTo>
                  <a:lnTo>
                    <a:pt x="875252" y="672274"/>
                  </a:lnTo>
                  <a:lnTo>
                    <a:pt x="875252" y="672274"/>
                  </a:lnTo>
                  <a:lnTo>
                    <a:pt x="883158" y="671227"/>
                  </a:lnTo>
                  <a:lnTo>
                    <a:pt x="882872" y="669703"/>
                  </a:lnTo>
                  <a:lnTo>
                    <a:pt x="886111" y="669322"/>
                  </a:lnTo>
                  <a:lnTo>
                    <a:pt x="884111" y="666369"/>
                  </a:lnTo>
                  <a:lnTo>
                    <a:pt x="885063" y="661416"/>
                  </a:lnTo>
                  <a:lnTo>
                    <a:pt x="886682" y="661226"/>
                  </a:lnTo>
                  <a:lnTo>
                    <a:pt x="896683" y="664750"/>
                  </a:lnTo>
                  <a:lnTo>
                    <a:pt x="909352" y="675894"/>
                  </a:lnTo>
                  <a:lnTo>
                    <a:pt x="914876" y="668845"/>
                  </a:lnTo>
                  <a:lnTo>
                    <a:pt x="921639" y="671132"/>
                  </a:lnTo>
                  <a:lnTo>
                    <a:pt x="921163" y="667988"/>
                  </a:lnTo>
                  <a:lnTo>
                    <a:pt x="917829" y="666845"/>
                  </a:lnTo>
                  <a:lnTo>
                    <a:pt x="919258" y="665036"/>
                  </a:lnTo>
                  <a:lnTo>
                    <a:pt x="927925" y="670370"/>
                  </a:lnTo>
                  <a:lnTo>
                    <a:pt x="931259" y="671513"/>
                  </a:lnTo>
                  <a:lnTo>
                    <a:pt x="932688" y="669798"/>
                  </a:lnTo>
                  <a:lnTo>
                    <a:pt x="936022" y="670941"/>
                  </a:lnTo>
                  <a:lnTo>
                    <a:pt x="941927" y="666940"/>
                  </a:lnTo>
                  <a:lnTo>
                    <a:pt x="939165" y="670560"/>
                  </a:lnTo>
                  <a:lnTo>
                    <a:pt x="953929" y="673418"/>
                  </a:lnTo>
                  <a:lnTo>
                    <a:pt x="956310" y="679609"/>
                  </a:lnTo>
                  <a:lnTo>
                    <a:pt x="959739" y="680752"/>
                  </a:lnTo>
                  <a:lnTo>
                    <a:pt x="961263" y="680561"/>
                  </a:lnTo>
                  <a:lnTo>
                    <a:pt x="980027" y="689420"/>
                  </a:lnTo>
                  <a:lnTo>
                    <a:pt x="983361" y="690563"/>
                  </a:lnTo>
                  <a:lnTo>
                    <a:pt x="995458" y="697040"/>
                  </a:lnTo>
                  <a:lnTo>
                    <a:pt x="1002411" y="700945"/>
                  </a:lnTo>
                  <a:lnTo>
                    <a:pt x="1016413" y="697611"/>
                  </a:lnTo>
                  <a:lnTo>
                    <a:pt x="1014031" y="691515"/>
                  </a:lnTo>
                  <a:lnTo>
                    <a:pt x="1016984" y="689515"/>
                  </a:lnTo>
                  <a:lnTo>
                    <a:pt x="1018127" y="686086"/>
                  </a:lnTo>
                  <a:lnTo>
                    <a:pt x="1014413" y="681799"/>
                  </a:lnTo>
                  <a:lnTo>
                    <a:pt x="1018699" y="678085"/>
                  </a:lnTo>
                  <a:lnTo>
                    <a:pt x="1019270" y="669989"/>
                  </a:lnTo>
                  <a:lnTo>
                    <a:pt x="1020794" y="669798"/>
                  </a:lnTo>
                  <a:lnTo>
                    <a:pt x="1022032" y="666369"/>
                  </a:lnTo>
                  <a:lnTo>
                    <a:pt x="1021652" y="663226"/>
                  </a:lnTo>
                  <a:lnTo>
                    <a:pt x="1023366" y="664655"/>
                  </a:lnTo>
                  <a:lnTo>
                    <a:pt x="1023842" y="667798"/>
                  </a:lnTo>
                  <a:lnTo>
                    <a:pt x="1027366" y="670560"/>
                  </a:lnTo>
                  <a:lnTo>
                    <a:pt x="1028700" y="668750"/>
                  </a:lnTo>
                  <a:lnTo>
                    <a:pt x="1021461" y="661702"/>
                  </a:lnTo>
                  <a:lnTo>
                    <a:pt x="1015460" y="652844"/>
                  </a:lnTo>
                  <a:lnTo>
                    <a:pt x="1014698" y="646462"/>
                  </a:lnTo>
                  <a:lnTo>
                    <a:pt x="1016032" y="644747"/>
                  </a:lnTo>
                  <a:lnTo>
                    <a:pt x="1014413" y="632079"/>
                  </a:lnTo>
                  <a:lnTo>
                    <a:pt x="1019175" y="631507"/>
                  </a:lnTo>
                  <a:lnTo>
                    <a:pt x="1018604" y="626745"/>
                  </a:lnTo>
                  <a:lnTo>
                    <a:pt x="1022699" y="621411"/>
                  </a:lnTo>
                  <a:lnTo>
                    <a:pt x="1029176" y="622173"/>
                  </a:lnTo>
                  <a:lnTo>
                    <a:pt x="1030605" y="620363"/>
                  </a:lnTo>
                  <a:lnTo>
                    <a:pt x="1031938" y="618649"/>
                  </a:lnTo>
                  <a:lnTo>
                    <a:pt x="1029748" y="614077"/>
                  </a:lnTo>
                  <a:lnTo>
                    <a:pt x="1035939" y="611695"/>
                  </a:lnTo>
                  <a:lnTo>
                    <a:pt x="1039082" y="611315"/>
                  </a:lnTo>
                  <a:lnTo>
                    <a:pt x="1044607" y="604171"/>
                  </a:lnTo>
                  <a:lnTo>
                    <a:pt x="1042225" y="598075"/>
                  </a:lnTo>
                  <a:lnTo>
                    <a:pt x="1044702" y="580073"/>
                  </a:lnTo>
                  <a:lnTo>
                    <a:pt x="1044130" y="575405"/>
                  </a:lnTo>
                  <a:lnTo>
                    <a:pt x="1041178" y="577310"/>
                  </a:lnTo>
                  <a:lnTo>
                    <a:pt x="1040702" y="574167"/>
                  </a:lnTo>
                  <a:lnTo>
                    <a:pt x="1038987" y="572834"/>
                  </a:lnTo>
                  <a:lnTo>
                    <a:pt x="1042702" y="564356"/>
                  </a:lnTo>
                  <a:lnTo>
                    <a:pt x="1043464" y="557784"/>
                  </a:lnTo>
                  <a:lnTo>
                    <a:pt x="1036511" y="553879"/>
                  </a:lnTo>
                  <a:lnTo>
                    <a:pt x="1032605" y="547973"/>
                  </a:lnTo>
                  <a:lnTo>
                    <a:pt x="1026319" y="548735"/>
                  </a:lnTo>
                  <a:lnTo>
                    <a:pt x="1021747" y="550926"/>
                  </a:lnTo>
                  <a:lnTo>
                    <a:pt x="1019937" y="549593"/>
                  </a:lnTo>
                  <a:lnTo>
                    <a:pt x="1019365" y="544830"/>
                  </a:lnTo>
                  <a:lnTo>
                    <a:pt x="1014603" y="545497"/>
                  </a:lnTo>
                  <a:lnTo>
                    <a:pt x="1013650" y="550355"/>
                  </a:lnTo>
                  <a:lnTo>
                    <a:pt x="1008888" y="551021"/>
                  </a:lnTo>
                  <a:lnTo>
                    <a:pt x="1005745" y="551402"/>
                  </a:lnTo>
                  <a:lnTo>
                    <a:pt x="1003554" y="546830"/>
                  </a:lnTo>
                  <a:lnTo>
                    <a:pt x="1007936" y="543115"/>
                  </a:lnTo>
                  <a:lnTo>
                    <a:pt x="1011841" y="536162"/>
                  </a:lnTo>
                  <a:lnTo>
                    <a:pt x="1014984" y="535781"/>
                  </a:lnTo>
                  <a:lnTo>
                    <a:pt x="1018699" y="527304"/>
                  </a:lnTo>
                  <a:lnTo>
                    <a:pt x="1013555" y="524732"/>
                  </a:lnTo>
                  <a:lnTo>
                    <a:pt x="1004316" y="514731"/>
                  </a:lnTo>
                  <a:lnTo>
                    <a:pt x="1004125" y="513112"/>
                  </a:lnTo>
                  <a:lnTo>
                    <a:pt x="1008602" y="510921"/>
                  </a:lnTo>
                  <a:lnTo>
                    <a:pt x="1008412" y="509397"/>
                  </a:lnTo>
                  <a:lnTo>
                    <a:pt x="1008031" y="506159"/>
                  </a:lnTo>
                  <a:lnTo>
                    <a:pt x="1010983" y="504253"/>
                  </a:lnTo>
                  <a:lnTo>
                    <a:pt x="1006983" y="498348"/>
                  </a:lnTo>
                  <a:lnTo>
                    <a:pt x="1002125" y="497300"/>
                  </a:lnTo>
                  <a:lnTo>
                    <a:pt x="996791" y="493205"/>
                  </a:lnTo>
                  <a:lnTo>
                    <a:pt x="985075" y="477012"/>
                  </a:lnTo>
                  <a:lnTo>
                    <a:pt x="976979" y="463677"/>
                  </a:lnTo>
                  <a:lnTo>
                    <a:pt x="979265" y="456914"/>
                  </a:lnTo>
                  <a:lnTo>
                    <a:pt x="976884" y="450818"/>
                  </a:lnTo>
                  <a:lnTo>
                    <a:pt x="979646" y="447294"/>
                  </a:lnTo>
                  <a:lnTo>
                    <a:pt x="974503" y="444722"/>
                  </a:lnTo>
                  <a:lnTo>
                    <a:pt x="972598" y="441769"/>
                  </a:lnTo>
                  <a:lnTo>
                    <a:pt x="968978" y="439007"/>
                  </a:lnTo>
                  <a:lnTo>
                    <a:pt x="968788" y="437388"/>
                  </a:lnTo>
                  <a:lnTo>
                    <a:pt x="963835" y="436436"/>
                  </a:lnTo>
                  <a:lnTo>
                    <a:pt x="961263" y="428720"/>
                  </a:lnTo>
                  <a:lnTo>
                    <a:pt x="965168" y="421862"/>
                  </a:lnTo>
                  <a:lnTo>
                    <a:pt x="961644" y="419100"/>
                  </a:lnTo>
                  <a:lnTo>
                    <a:pt x="962406" y="412623"/>
                  </a:lnTo>
                  <a:lnTo>
                    <a:pt x="962406" y="399764"/>
                  </a:lnTo>
                  <a:lnTo>
                    <a:pt x="965168" y="396240"/>
                  </a:lnTo>
                  <a:lnTo>
                    <a:pt x="971074" y="392240"/>
                  </a:lnTo>
                  <a:lnTo>
                    <a:pt x="974217" y="391859"/>
                  </a:lnTo>
                  <a:lnTo>
                    <a:pt x="983075" y="385858"/>
                  </a:lnTo>
                  <a:lnTo>
                    <a:pt x="981265" y="384524"/>
                  </a:lnTo>
                  <a:lnTo>
                    <a:pt x="984218" y="382524"/>
                  </a:lnTo>
                  <a:lnTo>
                    <a:pt x="977551" y="380143"/>
                  </a:lnTo>
                  <a:lnTo>
                    <a:pt x="976503" y="372332"/>
                  </a:lnTo>
                  <a:lnTo>
                    <a:pt x="970216" y="360236"/>
                  </a:lnTo>
                  <a:lnTo>
                    <a:pt x="974122" y="353378"/>
                  </a:lnTo>
                  <a:lnTo>
                    <a:pt x="972122" y="350425"/>
                  </a:lnTo>
                  <a:lnTo>
                    <a:pt x="971359" y="344043"/>
                  </a:lnTo>
                  <a:lnTo>
                    <a:pt x="973931" y="338995"/>
                  </a:lnTo>
                  <a:lnTo>
                    <a:pt x="971740" y="334423"/>
                  </a:lnTo>
                  <a:lnTo>
                    <a:pt x="974217" y="329279"/>
                  </a:lnTo>
                  <a:lnTo>
                    <a:pt x="965740" y="325565"/>
                  </a:lnTo>
                  <a:lnTo>
                    <a:pt x="969455" y="317087"/>
                  </a:lnTo>
                  <a:lnTo>
                    <a:pt x="962597" y="313087"/>
                  </a:lnTo>
                  <a:lnTo>
                    <a:pt x="961168" y="302133"/>
                  </a:lnTo>
                  <a:lnTo>
                    <a:pt x="956024" y="299561"/>
                  </a:lnTo>
                  <a:lnTo>
                    <a:pt x="955453" y="294799"/>
                  </a:lnTo>
                  <a:lnTo>
                    <a:pt x="955834" y="285083"/>
                  </a:lnTo>
                  <a:lnTo>
                    <a:pt x="957929" y="276797"/>
                  </a:lnTo>
                  <a:lnTo>
                    <a:pt x="952405" y="271082"/>
                  </a:lnTo>
                  <a:lnTo>
                    <a:pt x="953357" y="266224"/>
                  </a:lnTo>
                  <a:lnTo>
                    <a:pt x="949452" y="260318"/>
                  </a:lnTo>
                  <a:lnTo>
                    <a:pt x="944118" y="256127"/>
                  </a:lnTo>
                  <a:lnTo>
                    <a:pt x="940308" y="238982"/>
                  </a:lnTo>
                  <a:lnTo>
                    <a:pt x="946404" y="236601"/>
                  </a:lnTo>
                  <a:lnTo>
                    <a:pt x="959453" y="238125"/>
                  </a:lnTo>
                  <a:lnTo>
                    <a:pt x="965168" y="245459"/>
                  </a:lnTo>
                  <a:lnTo>
                    <a:pt x="969740" y="243269"/>
                  </a:lnTo>
                  <a:lnTo>
                    <a:pt x="969550" y="241649"/>
                  </a:lnTo>
                  <a:lnTo>
                    <a:pt x="973455" y="234791"/>
                  </a:lnTo>
                  <a:lnTo>
                    <a:pt x="977741" y="230981"/>
                  </a:lnTo>
                  <a:lnTo>
                    <a:pt x="978980" y="227648"/>
                  </a:lnTo>
                  <a:lnTo>
                    <a:pt x="978122" y="221361"/>
                  </a:lnTo>
                  <a:lnTo>
                    <a:pt x="979361" y="218027"/>
                  </a:lnTo>
                  <a:lnTo>
                    <a:pt x="984218" y="218980"/>
                  </a:lnTo>
                  <a:lnTo>
                    <a:pt x="986599" y="212217"/>
                  </a:lnTo>
                  <a:lnTo>
                    <a:pt x="995648" y="207836"/>
                  </a:lnTo>
                  <a:lnTo>
                    <a:pt x="996887" y="204502"/>
                  </a:lnTo>
                  <a:lnTo>
                    <a:pt x="1004697" y="203549"/>
                  </a:lnTo>
                  <a:lnTo>
                    <a:pt x="1005935" y="200120"/>
                  </a:lnTo>
                  <a:lnTo>
                    <a:pt x="1005554" y="196977"/>
                  </a:lnTo>
                  <a:lnTo>
                    <a:pt x="1006507" y="192024"/>
                  </a:lnTo>
                  <a:lnTo>
                    <a:pt x="1012412" y="188119"/>
                  </a:lnTo>
                  <a:lnTo>
                    <a:pt x="1004697" y="177832"/>
                  </a:lnTo>
                  <a:lnTo>
                    <a:pt x="1008602" y="170974"/>
                  </a:lnTo>
                  <a:lnTo>
                    <a:pt x="997744" y="161068"/>
                  </a:lnTo>
                  <a:lnTo>
                    <a:pt x="1000315" y="155924"/>
                  </a:lnTo>
                  <a:lnTo>
                    <a:pt x="1007173" y="147066"/>
                  </a:lnTo>
                  <a:lnTo>
                    <a:pt x="1014508" y="141351"/>
                  </a:lnTo>
                  <a:lnTo>
                    <a:pt x="1010698" y="136969"/>
                  </a:lnTo>
                  <a:lnTo>
                    <a:pt x="1009936" y="130683"/>
                  </a:lnTo>
                  <a:lnTo>
                    <a:pt x="1003363" y="117062"/>
                  </a:lnTo>
                  <a:lnTo>
                    <a:pt x="1001363" y="114110"/>
                  </a:lnTo>
                  <a:lnTo>
                    <a:pt x="1002792" y="112395"/>
                  </a:lnTo>
                  <a:lnTo>
                    <a:pt x="1010603" y="111347"/>
                  </a:lnTo>
                  <a:lnTo>
                    <a:pt x="1016317" y="105823"/>
                  </a:lnTo>
                  <a:lnTo>
                    <a:pt x="1014508" y="91631"/>
                  </a:lnTo>
                  <a:lnTo>
                    <a:pt x="1017651" y="91250"/>
                  </a:lnTo>
                  <a:lnTo>
                    <a:pt x="1018318" y="95917"/>
                  </a:lnTo>
                  <a:lnTo>
                    <a:pt x="1019842" y="95726"/>
                  </a:lnTo>
                  <a:lnTo>
                    <a:pt x="1022223" y="89059"/>
                  </a:lnTo>
                  <a:lnTo>
                    <a:pt x="1021461" y="82677"/>
                  </a:lnTo>
                  <a:lnTo>
                    <a:pt x="1023366" y="72866"/>
                  </a:lnTo>
                  <a:lnTo>
                    <a:pt x="1026128" y="69247"/>
                  </a:lnTo>
                  <a:lnTo>
                    <a:pt x="1026700" y="61246"/>
                  </a:lnTo>
                  <a:lnTo>
                    <a:pt x="1030414" y="52673"/>
                  </a:lnTo>
                  <a:lnTo>
                    <a:pt x="1031177" y="46196"/>
                  </a:lnTo>
                  <a:lnTo>
                    <a:pt x="1038511" y="40481"/>
                  </a:lnTo>
                  <a:lnTo>
                    <a:pt x="1041082" y="35338"/>
                  </a:lnTo>
                  <a:lnTo>
                    <a:pt x="1040035" y="27432"/>
                  </a:lnTo>
                  <a:lnTo>
                    <a:pt x="1040987" y="22479"/>
                  </a:lnTo>
                  <a:lnTo>
                    <a:pt x="1038797" y="17907"/>
                  </a:lnTo>
                  <a:lnTo>
                    <a:pt x="1038797" y="17907"/>
                  </a:lnTo>
                  <a:close/>
                </a:path>
              </a:pathLst>
            </a:custGeom>
            <a:solidFill>
              <a:schemeClr val="bg1"/>
            </a:solidFill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7" name="Volný tvar: obrazec 26">
              <a:extLst>
                <a:ext uri="{FF2B5EF4-FFF2-40B4-BE49-F238E27FC236}">
                  <a16:creationId xmlns:a16="http://schemas.microsoft.com/office/drawing/2014/main" id="{6007C2A5-199F-329B-E2A2-79E3A34CABF8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3286" y="2823209"/>
              <a:ext cx="1216913" cy="1049655"/>
            </a:xfrm>
            <a:custGeom>
              <a:avLst/>
              <a:gdLst>
                <a:gd name="connsiteX0" fmla="*/ 1209770 w 1216913"/>
                <a:gd name="connsiteY0" fmla="*/ 853249 h 1049655"/>
                <a:gd name="connsiteX1" fmla="*/ 1205674 w 1216913"/>
                <a:gd name="connsiteY1" fmla="*/ 845725 h 1049655"/>
                <a:gd name="connsiteX2" fmla="*/ 1200912 w 1216913"/>
                <a:gd name="connsiteY2" fmla="*/ 846296 h 1049655"/>
                <a:gd name="connsiteX3" fmla="*/ 1200722 w 1216913"/>
                <a:gd name="connsiteY3" fmla="*/ 844772 h 1049655"/>
                <a:gd name="connsiteX4" fmla="*/ 1199674 w 1216913"/>
                <a:gd name="connsiteY4" fmla="*/ 836866 h 1049655"/>
                <a:gd name="connsiteX5" fmla="*/ 1195959 w 1216913"/>
                <a:gd name="connsiteY5" fmla="*/ 832580 h 1049655"/>
                <a:gd name="connsiteX6" fmla="*/ 1196911 w 1216913"/>
                <a:gd name="connsiteY6" fmla="*/ 827627 h 1049655"/>
                <a:gd name="connsiteX7" fmla="*/ 1194340 w 1216913"/>
                <a:gd name="connsiteY7" fmla="*/ 819912 h 1049655"/>
                <a:gd name="connsiteX8" fmla="*/ 1197292 w 1216913"/>
                <a:gd name="connsiteY8" fmla="*/ 817912 h 1049655"/>
                <a:gd name="connsiteX9" fmla="*/ 1199007 w 1216913"/>
                <a:gd name="connsiteY9" fmla="*/ 806482 h 1049655"/>
                <a:gd name="connsiteX10" fmla="*/ 1192721 w 1216913"/>
                <a:gd name="connsiteY10" fmla="*/ 807244 h 1049655"/>
                <a:gd name="connsiteX11" fmla="*/ 1190911 w 1216913"/>
                <a:gd name="connsiteY11" fmla="*/ 805910 h 1049655"/>
                <a:gd name="connsiteX12" fmla="*/ 1187958 w 1216913"/>
                <a:gd name="connsiteY12" fmla="*/ 795052 h 1049655"/>
                <a:gd name="connsiteX13" fmla="*/ 1188530 w 1216913"/>
                <a:gd name="connsiteY13" fmla="*/ 786956 h 1049655"/>
                <a:gd name="connsiteX14" fmla="*/ 1183005 w 1216913"/>
                <a:gd name="connsiteY14" fmla="*/ 781240 h 1049655"/>
                <a:gd name="connsiteX15" fmla="*/ 1185577 w 1216913"/>
                <a:gd name="connsiteY15" fmla="*/ 776097 h 1049655"/>
                <a:gd name="connsiteX16" fmla="*/ 1181005 w 1216913"/>
                <a:gd name="connsiteY16" fmla="*/ 765524 h 1049655"/>
                <a:gd name="connsiteX17" fmla="*/ 1179195 w 1216913"/>
                <a:gd name="connsiteY17" fmla="*/ 764095 h 1049655"/>
                <a:gd name="connsiteX18" fmla="*/ 1178433 w 1216913"/>
                <a:gd name="connsiteY18" fmla="*/ 757809 h 1049655"/>
                <a:gd name="connsiteX19" fmla="*/ 1173671 w 1216913"/>
                <a:gd name="connsiteY19" fmla="*/ 745617 h 1049655"/>
                <a:gd name="connsiteX20" fmla="*/ 1174432 w 1216913"/>
                <a:gd name="connsiteY20" fmla="*/ 739045 h 1049655"/>
                <a:gd name="connsiteX21" fmla="*/ 1173004 w 1216913"/>
                <a:gd name="connsiteY21" fmla="*/ 727996 h 1049655"/>
                <a:gd name="connsiteX22" fmla="*/ 1173766 w 1216913"/>
                <a:gd name="connsiteY22" fmla="*/ 721519 h 1049655"/>
                <a:gd name="connsiteX23" fmla="*/ 1171194 w 1216913"/>
                <a:gd name="connsiteY23" fmla="*/ 713803 h 1049655"/>
                <a:gd name="connsiteX24" fmla="*/ 1169384 w 1216913"/>
                <a:gd name="connsiteY24" fmla="*/ 712470 h 1049655"/>
                <a:gd name="connsiteX25" fmla="*/ 1163098 w 1216913"/>
                <a:gd name="connsiteY25" fmla="*/ 713232 h 1049655"/>
                <a:gd name="connsiteX26" fmla="*/ 1152620 w 1216913"/>
                <a:gd name="connsiteY26" fmla="*/ 706565 h 1049655"/>
                <a:gd name="connsiteX27" fmla="*/ 1143381 w 1216913"/>
                <a:gd name="connsiteY27" fmla="*/ 709327 h 1049655"/>
                <a:gd name="connsiteX28" fmla="*/ 1141571 w 1216913"/>
                <a:gd name="connsiteY28" fmla="*/ 707993 h 1049655"/>
                <a:gd name="connsiteX29" fmla="*/ 1131570 w 1216913"/>
                <a:gd name="connsiteY29" fmla="*/ 717232 h 1049655"/>
                <a:gd name="connsiteX30" fmla="*/ 1124998 w 1216913"/>
                <a:gd name="connsiteY30" fmla="*/ 716470 h 1049655"/>
                <a:gd name="connsiteX31" fmla="*/ 1122616 w 1216913"/>
                <a:gd name="connsiteY31" fmla="*/ 710374 h 1049655"/>
                <a:gd name="connsiteX32" fmla="*/ 1117473 w 1216913"/>
                <a:gd name="connsiteY32" fmla="*/ 707803 h 1049655"/>
                <a:gd name="connsiteX33" fmla="*/ 1112996 w 1216913"/>
                <a:gd name="connsiteY33" fmla="*/ 709994 h 1049655"/>
                <a:gd name="connsiteX34" fmla="*/ 1108043 w 1216913"/>
                <a:gd name="connsiteY34" fmla="*/ 709041 h 1049655"/>
                <a:gd name="connsiteX35" fmla="*/ 1108996 w 1216913"/>
                <a:gd name="connsiteY35" fmla="*/ 704088 h 1049655"/>
                <a:gd name="connsiteX36" fmla="*/ 1105472 w 1216913"/>
                <a:gd name="connsiteY36" fmla="*/ 701326 h 1049655"/>
                <a:gd name="connsiteX37" fmla="*/ 1106424 w 1216913"/>
                <a:gd name="connsiteY37" fmla="*/ 696373 h 1049655"/>
                <a:gd name="connsiteX38" fmla="*/ 1101661 w 1216913"/>
                <a:gd name="connsiteY38" fmla="*/ 697040 h 1049655"/>
                <a:gd name="connsiteX39" fmla="*/ 1102709 w 1216913"/>
                <a:gd name="connsiteY39" fmla="*/ 692086 h 1049655"/>
                <a:gd name="connsiteX40" fmla="*/ 1101852 w 1216913"/>
                <a:gd name="connsiteY40" fmla="*/ 685800 h 1049655"/>
                <a:gd name="connsiteX41" fmla="*/ 1090422 w 1216913"/>
                <a:gd name="connsiteY41" fmla="*/ 683990 h 1049655"/>
                <a:gd name="connsiteX42" fmla="*/ 1081183 w 1216913"/>
                <a:gd name="connsiteY42" fmla="*/ 686753 h 1049655"/>
                <a:gd name="connsiteX43" fmla="*/ 1077754 w 1216913"/>
                <a:gd name="connsiteY43" fmla="*/ 685610 h 1049655"/>
                <a:gd name="connsiteX44" fmla="*/ 1073467 w 1216913"/>
                <a:gd name="connsiteY44" fmla="*/ 689420 h 1049655"/>
                <a:gd name="connsiteX45" fmla="*/ 1072420 w 1216913"/>
                <a:gd name="connsiteY45" fmla="*/ 681514 h 1049655"/>
                <a:gd name="connsiteX46" fmla="*/ 1069086 w 1216913"/>
                <a:gd name="connsiteY46" fmla="*/ 680276 h 1049655"/>
                <a:gd name="connsiteX47" fmla="*/ 1065943 w 1216913"/>
                <a:gd name="connsiteY47" fmla="*/ 680752 h 1049655"/>
                <a:gd name="connsiteX48" fmla="*/ 1062990 w 1216913"/>
                <a:gd name="connsiteY48" fmla="*/ 682657 h 1049655"/>
                <a:gd name="connsiteX49" fmla="*/ 1062609 w 1216913"/>
                <a:gd name="connsiteY49" fmla="*/ 679514 h 1049655"/>
                <a:gd name="connsiteX50" fmla="*/ 1054513 w 1216913"/>
                <a:gd name="connsiteY50" fmla="*/ 678942 h 1049655"/>
                <a:gd name="connsiteX51" fmla="*/ 1050893 w 1216913"/>
                <a:gd name="connsiteY51" fmla="*/ 676180 h 1049655"/>
                <a:gd name="connsiteX52" fmla="*/ 1050512 w 1216913"/>
                <a:gd name="connsiteY52" fmla="*/ 673036 h 1049655"/>
                <a:gd name="connsiteX53" fmla="*/ 1048702 w 1216913"/>
                <a:gd name="connsiteY53" fmla="*/ 671703 h 1049655"/>
                <a:gd name="connsiteX54" fmla="*/ 1044988 w 1216913"/>
                <a:gd name="connsiteY54" fmla="*/ 667322 h 1049655"/>
                <a:gd name="connsiteX55" fmla="*/ 1041844 w 1216913"/>
                <a:gd name="connsiteY55" fmla="*/ 667703 h 1049655"/>
                <a:gd name="connsiteX56" fmla="*/ 1044607 w 1216913"/>
                <a:gd name="connsiteY56" fmla="*/ 664178 h 1049655"/>
                <a:gd name="connsiteX57" fmla="*/ 1042416 w 1216913"/>
                <a:gd name="connsiteY57" fmla="*/ 659606 h 1049655"/>
                <a:gd name="connsiteX58" fmla="*/ 1044702 w 1216913"/>
                <a:gd name="connsiteY58" fmla="*/ 640080 h 1049655"/>
                <a:gd name="connsiteX59" fmla="*/ 1040987 w 1216913"/>
                <a:gd name="connsiteY59" fmla="*/ 635794 h 1049655"/>
                <a:gd name="connsiteX60" fmla="*/ 1036034 w 1216913"/>
                <a:gd name="connsiteY60" fmla="*/ 634841 h 1049655"/>
                <a:gd name="connsiteX61" fmla="*/ 1032510 w 1216913"/>
                <a:gd name="connsiteY61" fmla="*/ 632079 h 1049655"/>
                <a:gd name="connsiteX62" fmla="*/ 1033272 w 1216913"/>
                <a:gd name="connsiteY62" fmla="*/ 625507 h 1049655"/>
                <a:gd name="connsiteX63" fmla="*/ 1030033 w 1216913"/>
                <a:gd name="connsiteY63" fmla="*/ 613124 h 1049655"/>
                <a:gd name="connsiteX64" fmla="*/ 1024890 w 1216913"/>
                <a:gd name="connsiteY64" fmla="*/ 610553 h 1049655"/>
                <a:gd name="connsiteX65" fmla="*/ 1023938 w 1216913"/>
                <a:gd name="connsiteY65" fmla="*/ 602647 h 1049655"/>
                <a:gd name="connsiteX66" fmla="*/ 1020127 w 1216913"/>
                <a:gd name="connsiteY66" fmla="*/ 598361 h 1049655"/>
                <a:gd name="connsiteX67" fmla="*/ 1020889 w 1216913"/>
                <a:gd name="connsiteY67" fmla="*/ 591788 h 1049655"/>
                <a:gd name="connsiteX68" fmla="*/ 1018699 w 1216913"/>
                <a:gd name="connsiteY68" fmla="*/ 587311 h 1049655"/>
                <a:gd name="connsiteX69" fmla="*/ 1016794 w 1216913"/>
                <a:gd name="connsiteY69" fmla="*/ 584359 h 1049655"/>
                <a:gd name="connsiteX70" fmla="*/ 1016127 w 1216913"/>
                <a:gd name="connsiteY70" fmla="*/ 579596 h 1049655"/>
                <a:gd name="connsiteX71" fmla="*/ 1009079 w 1216913"/>
                <a:gd name="connsiteY71" fmla="*/ 574072 h 1049655"/>
                <a:gd name="connsiteX72" fmla="*/ 1006221 w 1216913"/>
                <a:gd name="connsiteY72" fmla="*/ 564832 h 1049655"/>
                <a:gd name="connsiteX73" fmla="*/ 1007459 w 1216913"/>
                <a:gd name="connsiteY73" fmla="*/ 561499 h 1049655"/>
                <a:gd name="connsiteX74" fmla="*/ 1003840 w 1216913"/>
                <a:gd name="connsiteY74" fmla="*/ 558736 h 1049655"/>
                <a:gd name="connsiteX75" fmla="*/ 1003268 w 1216913"/>
                <a:gd name="connsiteY75" fmla="*/ 553974 h 1049655"/>
                <a:gd name="connsiteX76" fmla="*/ 999744 w 1216913"/>
                <a:gd name="connsiteY76" fmla="*/ 551212 h 1049655"/>
                <a:gd name="connsiteX77" fmla="*/ 996124 w 1216913"/>
                <a:gd name="connsiteY77" fmla="*/ 548449 h 1049655"/>
                <a:gd name="connsiteX78" fmla="*/ 996886 w 1216913"/>
                <a:gd name="connsiteY78" fmla="*/ 541973 h 1049655"/>
                <a:gd name="connsiteX79" fmla="*/ 1007173 w 1216913"/>
                <a:gd name="connsiteY79" fmla="*/ 534257 h 1049655"/>
                <a:gd name="connsiteX80" fmla="*/ 1011079 w 1216913"/>
                <a:gd name="connsiteY80" fmla="*/ 527304 h 1049655"/>
                <a:gd name="connsiteX81" fmla="*/ 1009364 w 1216913"/>
                <a:gd name="connsiteY81" fmla="*/ 525970 h 1049655"/>
                <a:gd name="connsiteX82" fmla="*/ 1007173 w 1216913"/>
                <a:gd name="connsiteY82" fmla="*/ 521398 h 1049655"/>
                <a:gd name="connsiteX83" fmla="*/ 1010317 w 1216913"/>
                <a:gd name="connsiteY83" fmla="*/ 521018 h 1049655"/>
                <a:gd name="connsiteX84" fmla="*/ 1011269 w 1216913"/>
                <a:gd name="connsiteY84" fmla="*/ 516065 h 1049655"/>
                <a:gd name="connsiteX85" fmla="*/ 1020794 w 1216913"/>
                <a:gd name="connsiteY85" fmla="*/ 514922 h 1049655"/>
                <a:gd name="connsiteX86" fmla="*/ 1021747 w 1216913"/>
                <a:gd name="connsiteY86" fmla="*/ 509969 h 1049655"/>
                <a:gd name="connsiteX87" fmla="*/ 1017937 w 1216913"/>
                <a:gd name="connsiteY87" fmla="*/ 505587 h 1049655"/>
                <a:gd name="connsiteX88" fmla="*/ 1009650 w 1216913"/>
                <a:gd name="connsiteY88" fmla="*/ 503491 h 1049655"/>
                <a:gd name="connsiteX89" fmla="*/ 1001744 w 1216913"/>
                <a:gd name="connsiteY89" fmla="*/ 504444 h 1049655"/>
                <a:gd name="connsiteX90" fmla="*/ 1001363 w 1216913"/>
                <a:gd name="connsiteY90" fmla="*/ 501301 h 1049655"/>
                <a:gd name="connsiteX91" fmla="*/ 996029 w 1216913"/>
                <a:gd name="connsiteY91" fmla="*/ 497205 h 1049655"/>
                <a:gd name="connsiteX92" fmla="*/ 995648 w 1216913"/>
                <a:gd name="connsiteY92" fmla="*/ 493966 h 1049655"/>
                <a:gd name="connsiteX93" fmla="*/ 991838 w 1216913"/>
                <a:gd name="connsiteY93" fmla="*/ 489680 h 1049655"/>
                <a:gd name="connsiteX94" fmla="*/ 991457 w 1216913"/>
                <a:gd name="connsiteY94" fmla="*/ 486537 h 1049655"/>
                <a:gd name="connsiteX95" fmla="*/ 995839 w 1216913"/>
                <a:gd name="connsiteY95" fmla="*/ 482727 h 1049655"/>
                <a:gd name="connsiteX96" fmla="*/ 996982 w 1216913"/>
                <a:gd name="connsiteY96" fmla="*/ 479393 h 1049655"/>
                <a:gd name="connsiteX97" fmla="*/ 994791 w 1216913"/>
                <a:gd name="connsiteY97" fmla="*/ 474916 h 1049655"/>
                <a:gd name="connsiteX98" fmla="*/ 997363 w 1216913"/>
                <a:gd name="connsiteY98" fmla="*/ 469773 h 1049655"/>
                <a:gd name="connsiteX99" fmla="*/ 1000887 w 1216913"/>
                <a:gd name="connsiteY99" fmla="*/ 459677 h 1049655"/>
                <a:gd name="connsiteX100" fmla="*/ 995743 w 1216913"/>
                <a:gd name="connsiteY100" fmla="*/ 457105 h 1049655"/>
                <a:gd name="connsiteX101" fmla="*/ 996886 w 1216913"/>
                <a:gd name="connsiteY101" fmla="*/ 453771 h 1049655"/>
                <a:gd name="connsiteX102" fmla="*/ 995172 w 1216913"/>
                <a:gd name="connsiteY102" fmla="*/ 452342 h 1049655"/>
                <a:gd name="connsiteX103" fmla="*/ 998315 w 1216913"/>
                <a:gd name="connsiteY103" fmla="*/ 451961 h 1049655"/>
                <a:gd name="connsiteX104" fmla="*/ 993743 w 1216913"/>
                <a:gd name="connsiteY104" fmla="*/ 441293 h 1049655"/>
                <a:gd name="connsiteX105" fmla="*/ 992124 w 1216913"/>
                <a:gd name="connsiteY105" fmla="*/ 441579 h 1049655"/>
                <a:gd name="connsiteX106" fmla="*/ 984694 w 1216913"/>
                <a:gd name="connsiteY106" fmla="*/ 445675 h 1049655"/>
                <a:gd name="connsiteX107" fmla="*/ 974026 w 1216913"/>
                <a:gd name="connsiteY107" fmla="*/ 437388 h 1049655"/>
                <a:gd name="connsiteX108" fmla="*/ 969264 w 1216913"/>
                <a:gd name="connsiteY108" fmla="*/ 438055 h 1049655"/>
                <a:gd name="connsiteX109" fmla="*/ 972979 w 1216913"/>
                <a:gd name="connsiteY109" fmla="*/ 442341 h 1049655"/>
                <a:gd name="connsiteX110" fmla="*/ 971264 w 1216913"/>
                <a:gd name="connsiteY110" fmla="*/ 453771 h 1049655"/>
                <a:gd name="connsiteX111" fmla="*/ 976408 w 1216913"/>
                <a:gd name="connsiteY111" fmla="*/ 456343 h 1049655"/>
                <a:gd name="connsiteX112" fmla="*/ 970883 w 1216913"/>
                <a:gd name="connsiteY112" fmla="*/ 463486 h 1049655"/>
                <a:gd name="connsiteX113" fmla="*/ 966597 w 1216913"/>
                <a:gd name="connsiteY113" fmla="*/ 467297 h 1049655"/>
                <a:gd name="connsiteX114" fmla="*/ 963454 w 1216913"/>
                <a:gd name="connsiteY114" fmla="*/ 467678 h 1049655"/>
                <a:gd name="connsiteX115" fmla="*/ 960215 w 1216913"/>
                <a:gd name="connsiteY115" fmla="*/ 468058 h 1049655"/>
                <a:gd name="connsiteX116" fmla="*/ 958310 w 1216913"/>
                <a:gd name="connsiteY116" fmla="*/ 465106 h 1049655"/>
                <a:gd name="connsiteX117" fmla="*/ 953929 w 1216913"/>
                <a:gd name="connsiteY117" fmla="*/ 468820 h 1049655"/>
                <a:gd name="connsiteX118" fmla="*/ 955357 w 1216913"/>
                <a:gd name="connsiteY118" fmla="*/ 467106 h 1049655"/>
                <a:gd name="connsiteX119" fmla="*/ 951738 w 1216913"/>
                <a:gd name="connsiteY119" fmla="*/ 464344 h 1049655"/>
                <a:gd name="connsiteX120" fmla="*/ 947261 w 1216913"/>
                <a:gd name="connsiteY120" fmla="*/ 466535 h 1049655"/>
                <a:gd name="connsiteX121" fmla="*/ 940117 w 1216913"/>
                <a:gd name="connsiteY121" fmla="*/ 461010 h 1049655"/>
                <a:gd name="connsiteX122" fmla="*/ 937546 w 1216913"/>
                <a:gd name="connsiteY122" fmla="*/ 466153 h 1049655"/>
                <a:gd name="connsiteX123" fmla="*/ 933831 w 1216913"/>
                <a:gd name="connsiteY123" fmla="*/ 461772 h 1049655"/>
                <a:gd name="connsiteX124" fmla="*/ 931640 w 1216913"/>
                <a:gd name="connsiteY124" fmla="*/ 457295 h 1049655"/>
                <a:gd name="connsiteX125" fmla="*/ 928021 w 1216913"/>
                <a:gd name="connsiteY125" fmla="*/ 454533 h 1049655"/>
                <a:gd name="connsiteX126" fmla="*/ 921163 w 1216913"/>
                <a:gd name="connsiteY126" fmla="*/ 450628 h 1049655"/>
                <a:gd name="connsiteX127" fmla="*/ 918591 w 1216913"/>
                <a:gd name="connsiteY127" fmla="*/ 442912 h 1049655"/>
                <a:gd name="connsiteX128" fmla="*/ 905732 w 1216913"/>
                <a:gd name="connsiteY128" fmla="*/ 442912 h 1049655"/>
                <a:gd name="connsiteX129" fmla="*/ 900398 w 1216913"/>
                <a:gd name="connsiteY129" fmla="*/ 438817 h 1049655"/>
                <a:gd name="connsiteX130" fmla="*/ 897064 w 1216913"/>
                <a:gd name="connsiteY130" fmla="*/ 437578 h 1049655"/>
                <a:gd name="connsiteX131" fmla="*/ 895636 w 1216913"/>
                <a:gd name="connsiteY131" fmla="*/ 426529 h 1049655"/>
                <a:gd name="connsiteX132" fmla="*/ 875157 w 1216913"/>
                <a:gd name="connsiteY132" fmla="*/ 429197 h 1049655"/>
                <a:gd name="connsiteX133" fmla="*/ 872204 w 1216913"/>
                <a:gd name="connsiteY133" fmla="*/ 431197 h 1049655"/>
                <a:gd name="connsiteX134" fmla="*/ 862489 w 1216913"/>
                <a:gd name="connsiteY134" fmla="*/ 430816 h 1049655"/>
                <a:gd name="connsiteX135" fmla="*/ 851249 w 1216913"/>
                <a:gd name="connsiteY135" fmla="*/ 430625 h 1049655"/>
                <a:gd name="connsiteX136" fmla="*/ 847439 w 1216913"/>
                <a:gd name="connsiteY136" fmla="*/ 426339 h 1049655"/>
                <a:gd name="connsiteX137" fmla="*/ 827151 w 1216913"/>
                <a:gd name="connsiteY137" fmla="*/ 417671 h 1049655"/>
                <a:gd name="connsiteX138" fmla="*/ 826770 w 1216913"/>
                <a:gd name="connsiteY138" fmla="*/ 427291 h 1049655"/>
                <a:gd name="connsiteX139" fmla="*/ 830104 w 1216913"/>
                <a:gd name="connsiteY139" fmla="*/ 428530 h 1049655"/>
                <a:gd name="connsiteX140" fmla="*/ 836676 w 1216913"/>
                <a:gd name="connsiteY140" fmla="*/ 429292 h 1049655"/>
                <a:gd name="connsiteX141" fmla="*/ 838581 w 1216913"/>
                <a:gd name="connsiteY141" fmla="*/ 432244 h 1049655"/>
                <a:gd name="connsiteX142" fmla="*/ 830961 w 1216913"/>
                <a:gd name="connsiteY142" fmla="*/ 434816 h 1049655"/>
                <a:gd name="connsiteX143" fmla="*/ 832961 w 1216913"/>
                <a:gd name="connsiteY143" fmla="*/ 437769 h 1049655"/>
                <a:gd name="connsiteX144" fmla="*/ 834676 w 1216913"/>
                <a:gd name="connsiteY144" fmla="*/ 439103 h 1049655"/>
                <a:gd name="connsiteX145" fmla="*/ 830389 w 1216913"/>
                <a:gd name="connsiteY145" fmla="*/ 442912 h 1049655"/>
                <a:gd name="connsiteX146" fmla="*/ 826770 w 1216913"/>
                <a:gd name="connsiteY146" fmla="*/ 440150 h 1049655"/>
                <a:gd name="connsiteX147" fmla="*/ 826389 w 1216913"/>
                <a:gd name="connsiteY147" fmla="*/ 437007 h 1049655"/>
                <a:gd name="connsiteX148" fmla="*/ 823246 w 1216913"/>
                <a:gd name="connsiteY148" fmla="*/ 437388 h 1049655"/>
                <a:gd name="connsiteX149" fmla="*/ 824198 w 1216913"/>
                <a:gd name="connsiteY149" fmla="*/ 445294 h 1049655"/>
                <a:gd name="connsiteX150" fmla="*/ 819150 w 1216913"/>
                <a:gd name="connsiteY150" fmla="*/ 455581 h 1049655"/>
                <a:gd name="connsiteX151" fmla="*/ 814197 w 1216913"/>
                <a:gd name="connsiteY151" fmla="*/ 454628 h 1049655"/>
                <a:gd name="connsiteX152" fmla="*/ 813816 w 1216913"/>
                <a:gd name="connsiteY152" fmla="*/ 451390 h 1049655"/>
                <a:gd name="connsiteX153" fmla="*/ 805148 w 1216913"/>
                <a:gd name="connsiteY153" fmla="*/ 446151 h 1049655"/>
                <a:gd name="connsiteX154" fmla="*/ 802767 w 1216913"/>
                <a:gd name="connsiteY154" fmla="*/ 440055 h 1049655"/>
                <a:gd name="connsiteX155" fmla="*/ 796385 w 1216913"/>
                <a:gd name="connsiteY155" fmla="*/ 440817 h 1049655"/>
                <a:gd name="connsiteX156" fmla="*/ 788289 w 1216913"/>
                <a:gd name="connsiteY156" fmla="*/ 427387 h 1049655"/>
                <a:gd name="connsiteX157" fmla="*/ 789813 w 1216913"/>
                <a:gd name="connsiteY157" fmla="*/ 414433 h 1049655"/>
                <a:gd name="connsiteX158" fmla="*/ 786860 w 1216913"/>
                <a:gd name="connsiteY158" fmla="*/ 403574 h 1049655"/>
                <a:gd name="connsiteX159" fmla="*/ 784860 w 1216913"/>
                <a:gd name="connsiteY159" fmla="*/ 400622 h 1049655"/>
                <a:gd name="connsiteX160" fmla="*/ 758380 w 1216913"/>
                <a:gd name="connsiteY160" fmla="*/ 394335 h 1049655"/>
                <a:gd name="connsiteX161" fmla="*/ 749141 w 1216913"/>
                <a:gd name="connsiteY161" fmla="*/ 397097 h 1049655"/>
                <a:gd name="connsiteX162" fmla="*/ 746188 w 1216913"/>
                <a:gd name="connsiteY162" fmla="*/ 399098 h 1049655"/>
                <a:gd name="connsiteX163" fmla="*/ 742188 w 1216913"/>
                <a:gd name="connsiteY163" fmla="*/ 393192 h 1049655"/>
                <a:gd name="connsiteX164" fmla="*/ 743236 w 1216913"/>
                <a:gd name="connsiteY164" fmla="*/ 388239 h 1049655"/>
                <a:gd name="connsiteX165" fmla="*/ 740378 w 1216913"/>
                <a:gd name="connsiteY165" fmla="*/ 379000 h 1049655"/>
                <a:gd name="connsiteX166" fmla="*/ 735235 w 1216913"/>
                <a:gd name="connsiteY166" fmla="*/ 363569 h 1049655"/>
                <a:gd name="connsiteX167" fmla="*/ 724567 w 1216913"/>
                <a:gd name="connsiteY167" fmla="*/ 368141 h 1049655"/>
                <a:gd name="connsiteX168" fmla="*/ 722471 w 1216913"/>
                <a:gd name="connsiteY168" fmla="*/ 363665 h 1049655"/>
                <a:gd name="connsiteX169" fmla="*/ 719233 w 1216913"/>
                <a:gd name="connsiteY169" fmla="*/ 364046 h 1049655"/>
                <a:gd name="connsiteX170" fmla="*/ 717518 w 1216913"/>
                <a:gd name="connsiteY170" fmla="*/ 362712 h 1049655"/>
                <a:gd name="connsiteX171" fmla="*/ 711232 w 1216913"/>
                <a:gd name="connsiteY171" fmla="*/ 363474 h 1049655"/>
                <a:gd name="connsiteX172" fmla="*/ 711422 w 1216913"/>
                <a:gd name="connsiteY172" fmla="*/ 365093 h 1049655"/>
                <a:gd name="connsiteX173" fmla="*/ 708184 w 1216913"/>
                <a:gd name="connsiteY173" fmla="*/ 365474 h 1049655"/>
                <a:gd name="connsiteX174" fmla="*/ 708469 w 1216913"/>
                <a:gd name="connsiteY174" fmla="*/ 366998 h 1049655"/>
                <a:gd name="connsiteX175" fmla="*/ 709231 w 1216913"/>
                <a:gd name="connsiteY175" fmla="*/ 373380 h 1049655"/>
                <a:gd name="connsiteX176" fmla="*/ 708279 w 1216913"/>
                <a:gd name="connsiteY176" fmla="*/ 378238 h 1049655"/>
                <a:gd name="connsiteX177" fmla="*/ 699421 w 1216913"/>
                <a:gd name="connsiteY177" fmla="*/ 384238 h 1049655"/>
                <a:gd name="connsiteX178" fmla="*/ 693230 w 1216913"/>
                <a:gd name="connsiteY178" fmla="*/ 373761 h 1049655"/>
                <a:gd name="connsiteX179" fmla="*/ 686372 w 1216913"/>
                <a:gd name="connsiteY179" fmla="*/ 369856 h 1049655"/>
                <a:gd name="connsiteX180" fmla="*/ 684371 w 1216913"/>
                <a:gd name="connsiteY180" fmla="*/ 366903 h 1049655"/>
                <a:gd name="connsiteX181" fmla="*/ 671893 w 1216913"/>
                <a:gd name="connsiteY181" fmla="*/ 370046 h 1049655"/>
                <a:gd name="connsiteX182" fmla="*/ 664845 w 1216913"/>
                <a:gd name="connsiteY182" fmla="*/ 364522 h 1049655"/>
                <a:gd name="connsiteX183" fmla="*/ 659035 w 1216913"/>
                <a:gd name="connsiteY183" fmla="*/ 357283 h 1049655"/>
                <a:gd name="connsiteX184" fmla="*/ 654748 w 1216913"/>
                <a:gd name="connsiteY184" fmla="*/ 348234 h 1049655"/>
                <a:gd name="connsiteX185" fmla="*/ 657701 w 1216913"/>
                <a:gd name="connsiteY185" fmla="*/ 346234 h 1049655"/>
                <a:gd name="connsiteX186" fmla="*/ 661606 w 1216913"/>
                <a:gd name="connsiteY186" fmla="*/ 339280 h 1049655"/>
                <a:gd name="connsiteX187" fmla="*/ 654463 w 1216913"/>
                <a:gd name="connsiteY187" fmla="*/ 333851 h 1049655"/>
                <a:gd name="connsiteX188" fmla="*/ 652272 w 1216913"/>
                <a:gd name="connsiteY188" fmla="*/ 329279 h 1049655"/>
                <a:gd name="connsiteX189" fmla="*/ 649129 w 1216913"/>
                <a:gd name="connsiteY189" fmla="*/ 329660 h 1049655"/>
                <a:gd name="connsiteX190" fmla="*/ 650462 w 1216913"/>
                <a:gd name="connsiteY190" fmla="*/ 315087 h 1049655"/>
                <a:gd name="connsiteX191" fmla="*/ 648748 w 1216913"/>
                <a:gd name="connsiteY191" fmla="*/ 313658 h 1049655"/>
                <a:gd name="connsiteX192" fmla="*/ 643985 w 1216913"/>
                <a:gd name="connsiteY192" fmla="*/ 314325 h 1049655"/>
                <a:gd name="connsiteX193" fmla="*/ 635508 w 1216913"/>
                <a:gd name="connsiteY193" fmla="*/ 310610 h 1049655"/>
                <a:gd name="connsiteX194" fmla="*/ 634841 w 1216913"/>
                <a:gd name="connsiteY194" fmla="*/ 305848 h 1049655"/>
                <a:gd name="connsiteX195" fmla="*/ 633127 w 1216913"/>
                <a:gd name="connsiteY195" fmla="*/ 304419 h 1049655"/>
                <a:gd name="connsiteX196" fmla="*/ 630746 w 1216913"/>
                <a:gd name="connsiteY196" fmla="*/ 298323 h 1049655"/>
                <a:gd name="connsiteX197" fmla="*/ 622840 w 1216913"/>
                <a:gd name="connsiteY197" fmla="*/ 299371 h 1049655"/>
                <a:gd name="connsiteX198" fmla="*/ 620649 w 1216913"/>
                <a:gd name="connsiteY198" fmla="*/ 294799 h 1049655"/>
                <a:gd name="connsiteX199" fmla="*/ 615696 w 1216913"/>
                <a:gd name="connsiteY199" fmla="*/ 293846 h 1049655"/>
                <a:gd name="connsiteX200" fmla="*/ 613886 w 1216913"/>
                <a:gd name="connsiteY200" fmla="*/ 292513 h 1049655"/>
                <a:gd name="connsiteX201" fmla="*/ 610552 w 1216913"/>
                <a:gd name="connsiteY201" fmla="*/ 291275 h 1049655"/>
                <a:gd name="connsiteX202" fmla="*/ 596170 w 1216913"/>
                <a:gd name="connsiteY202" fmla="*/ 304324 h 1049655"/>
                <a:gd name="connsiteX203" fmla="*/ 591693 w 1216913"/>
                <a:gd name="connsiteY203" fmla="*/ 306515 h 1049655"/>
                <a:gd name="connsiteX204" fmla="*/ 592646 w 1216913"/>
                <a:gd name="connsiteY204" fmla="*/ 314420 h 1049655"/>
                <a:gd name="connsiteX205" fmla="*/ 592264 w 1216913"/>
                <a:gd name="connsiteY205" fmla="*/ 324136 h 1049655"/>
                <a:gd name="connsiteX206" fmla="*/ 596646 w 1216913"/>
                <a:gd name="connsiteY206" fmla="*/ 333184 h 1049655"/>
                <a:gd name="connsiteX207" fmla="*/ 602932 w 1216913"/>
                <a:gd name="connsiteY207" fmla="*/ 332327 h 1049655"/>
                <a:gd name="connsiteX208" fmla="*/ 604933 w 1216913"/>
                <a:gd name="connsiteY208" fmla="*/ 322517 h 1049655"/>
                <a:gd name="connsiteX209" fmla="*/ 611410 w 1216913"/>
                <a:gd name="connsiteY209" fmla="*/ 323278 h 1049655"/>
                <a:gd name="connsiteX210" fmla="*/ 615029 w 1216913"/>
                <a:gd name="connsiteY210" fmla="*/ 326041 h 1049655"/>
                <a:gd name="connsiteX211" fmla="*/ 619697 w 1216913"/>
                <a:gd name="connsiteY211" fmla="*/ 325374 h 1049655"/>
                <a:gd name="connsiteX212" fmla="*/ 624078 w 1216913"/>
                <a:gd name="connsiteY212" fmla="*/ 334518 h 1049655"/>
                <a:gd name="connsiteX213" fmla="*/ 622744 w 1216913"/>
                <a:gd name="connsiteY213" fmla="*/ 336232 h 1049655"/>
                <a:gd name="connsiteX214" fmla="*/ 622935 w 1216913"/>
                <a:gd name="connsiteY214" fmla="*/ 337852 h 1049655"/>
                <a:gd name="connsiteX215" fmla="*/ 618554 w 1216913"/>
                <a:gd name="connsiteY215" fmla="*/ 341567 h 1049655"/>
                <a:gd name="connsiteX216" fmla="*/ 622173 w 1216913"/>
                <a:gd name="connsiteY216" fmla="*/ 344329 h 1049655"/>
                <a:gd name="connsiteX217" fmla="*/ 622744 w 1216913"/>
                <a:gd name="connsiteY217" fmla="*/ 349091 h 1049655"/>
                <a:gd name="connsiteX218" fmla="*/ 619601 w 1216913"/>
                <a:gd name="connsiteY218" fmla="*/ 349472 h 1049655"/>
                <a:gd name="connsiteX219" fmla="*/ 618172 w 1216913"/>
                <a:gd name="connsiteY219" fmla="*/ 351282 h 1049655"/>
                <a:gd name="connsiteX220" fmla="*/ 621982 w 1216913"/>
                <a:gd name="connsiteY220" fmla="*/ 355568 h 1049655"/>
                <a:gd name="connsiteX221" fmla="*/ 621030 w 1216913"/>
                <a:gd name="connsiteY221" fmla="*/ 360521 h 1049655"/>
                <a:gd name="connsiteX222" fmla="*/ 617410 w 1216913"/>
                <a:gd name="connsiteY222" fmla="*/ 357759 h 1049655"/>
                <a:gd name="connsiteX223" fmla="*/ 617220 w 1216913"/>
                <a:gd name="connsiteY223" fmla="*/ 356235 h 1049655"/>
                <a:gd name="connsiteX224" fmla="*/ 613696 w 1216913"/>
                <a:gd name="connsiteY224" fmla="*/ 353473 h 1049655"/>
                <a:gd name="connsiteX225" fmla="*/ 594741 w 1216913"/>
                <a:gd name="connsiteY225" fmla="*/ 355854 h 1049655"/>
                <a:gd name="connsiteX226" fmla="*/ 593503 w 1216913"/>
                <a:gd name="connsiteY226" fmla="*/ 346424 h 1049655"/>
                <a:gd name="connsiteX227" fmla="*/ 582930 w 1216913"/>
                <a:gd name="connsiteY227" fmla="*/ 350996 h 1049655"/>
                <a:gd name="connsiteX228" fmla="*/ 577786 w 1216913"/>
                <a:gd name="connsiteY228" fmla="*/ 361188 h 1049655"/>
                <a:gd name="connsiteX229" fmla="*/ 569309 w 1216913"/>
                <a:gd name="connsiteY229" fmla="*/ 357473 h 1049655"/>
                <a:gd name="connsiteX230" fmla="*/ 563404 w 1216913"/>
                <a:gd name="connsiteY230" fmla="*/ 361474 h 1049655"/>
                <a:gd name="connsiteX231" fmla="*/ 558641 w 1216913"/>
                <a:gd name="connsiteY231" fmla="*/ 362045 h 1049655"/>
                <a:gd name="connsiteX232" fmla="*/ 539591 w 1216913"/>
                <a:gd name="connsiteY232" fmla="*/ 388525 h 1049655"/>
                <a:gd name="connsiteX233" fmla="*/ 537019 w 1216913"/>
                <a:gd name="connsiteY233" fmla="*/ 393668 h 1049655"/>
                <a:gd name="connsiteX234" fmla="*/ 529304 w 1216913"/>
                <a:gd name="connsiteY234" fmla="*/ 396240 h 1049655"/>
                <a:gd name="connsiteX235" fmla="*/ 515874 w 1216913"/>
                <a:gd name="connsiteY235" fmla="*/ 391573 h 1049655"/>
                <a:gd name="connsiteX236" fmla="*/ 509778 w 1216913"/>
                <a:gd name="connsiteY236" fmla="*/ 393954 h 1049655"/>
                <a:gd name="connsiteX237" fmla="*/ 500920 w 1216913"/>
                <a:gd name="connsiteY237" fmla="*/ 399860 h 1049655"/>
                <a:gd name="connsiteX238" fmla="*/ 495205 w 1216913"/>
                <a:gd name="connsiteY238" fmla="*/ 392620 h 1049655"/>
                <a:gd name="connsiteX239" fmla="*/ 492061 w 1216913"/>
                <a:gd name="connsiteY239" fmla="*/ 393002 h 1049655"/>
                <a:gd name="connsiteX240" fmla="*/ 491395 w 1216913"/>
                <a:gd name="connsiteY240" fmla="*/ 388239 h 1049655"/>
                <a:gd name="connsiteX241" fmla="*/ 488251 w 1216913"/>
                <a:gd name="connsiteY241" fmla="*/ 388620 h 1049655"/>
                <a:gd name="connsiteX242" fmla="*/ 487871 w 1216913"/>
                <a:gd name="connsiteY242" fmla="*/ 385477 h 1049655"/>
                <a:gd name="connsiteX243" fmla="*/ 482917 w 1216913"/>
                <a:gd name="connsiteY243" fmla="*/ 384524 h 1049655"/>
                <a:gd name="connsiteX244" fmla="*/ 479012 w 1216913"/>
                <a:gd name="connsiteY244" fmla="*/ 378619 h 1049655"/>
                <a:gd name="connsiteX245" fmla="*/ 477393 w 1216913"/>
                <a:gd name="connsiteY245" fmla="*/ 378809 h 1049655"/>
                <a:gd name="connsiteX246" fmla="*/ 476059 w 1216913"/>
                <a:gd name="connsiteY246" fmla="*/ 380619 h 1049655"/>
                <a:gd name="connsiteX247" fmla="*/ 472249 w 1216913"/>
                <a:gd name="connsiteY247" fmla="*/ 376238 h 1049655"/>
                <a:gd name="connsiteX248" fmla="*/ 475964 w 1216913"/>
                <a:gd name="connsiteY248" fmla="*/ 367760 h 1049655"/>
                <a:gd name="connsiteX249" fmla="*/ 470059 w 1216913"/>
                <a:gd name="connsiteY249" fmla="*/ 358902 h 1049655"/>
                <a:gd name="connsiteX250" fmla="*/ 468249 w 1216913"/>
                <a:gd name="connsiteY250" fmla="*/ 357569 h 1049655"/>
                <a:gd name="connsiteX251" fmla="*/ 453866 w 1216913"/>
                <a:gd name="connsiteY251" fmla="*/ 357759 h 1049655"/>
                <a:gd name="connsiteX252" fmla="*/ 451866 w 1216913"/>
                <a:gd name="connsiteY252" fmla="*/ 354806 h 1049655"/>
                <a:gd name="connsiteX253" fmla="*/ 448723 w 1216913"/>
                <a:gd name="connsiteY253" fmla="*/ 355187 h 1049655"/>
                <a:gd name="connsiteX254" fmla="*/ 448342 w 1216913"/>
                <a:gd name="connsiteY254" fmla="*/ 352044 h 1049655"/>
                <a:gd name="connsiteX255" fmla="*/ 444532 w 1216913"/>
                <a:gd name="connsiteY255" fmla="*/ 347758 h 1049655"/>
                <a:gd name="connsiteX256" fmla="*/ 441579 w 1216913"/>
                <a:gd name="connsiteY256" fmla="*/ 349663 h 1049655"/>
                <a:gd name="connsiteX257" fmla="*/ 439864 w 1216913"/>
                <a:gd name="connsiteY257" fmla="*/ 348329 h 1049655"/>
                <a:gd name="connsiteX258" fmla="*/ 434911 w 1216913"/>
                <a:gd name="connsiteY258" fmla="*/ 347377 h 1049655"/>
                <a:gd name="connsiteX259" fmla="*/ 430911 w 1216913"/>
                <a:gd name="connsiteY259" fmla="*/ 341471 h 1049655"/>
                <a:gd name="connsiteX260" fmla="*/ 433673 w 1216913"/>
                <a:gd name="connsiteY260" fmla="*/ 337852 h 1049655"/>
                <a:gd name="connsiteX261" fmla="*/ 434816 w 1216913"/>
                <a:gd name="connsiteY261" fmla="*/ 334518 h 1049655"/>
                <a:gd name="connsiteX262" fmla="*/ 432721 w 1216913"/>
                <a:gd name="connsiteY262" fmla="*/ 330041 h 1049655"/>
                <a:gd name="connsiteX263" fmla="*/ 427958 w 1216913"/>
                <a:gd name="connsiteY263" fmla="*/ 330613 h 1049655"/>
                <a:gd name="connsiteX264" fmla="*/ 431863 w 1216913"/>
                <a:gd name="connsiteY264" fmla="*/ 323659 h 1049655"/>
                <a:gd name="connsiteX265" fmla="*/ 428339 w 1216913"/>
                <a:gd name="connsiteY265" fmla="*/ 320897 h 1049655"/>
                <a:gd name="connsiteX266" fmla="*/ 429673 w 1216913"/>
                <a:gd name="connsiteY266" fmla="*/ 319183 h 1049655"/>
                <a:gd name="connsiteX267" fmla="*/ 428911 w 1216913"/>
                <a:gd name="connsiteY267" fmla="*/ 312801 h 1049655"/>
                <a:gd name="connsiteX268" fmla="*/ 422148 w 1216913"/>
                <a:gd name="connsiteY268" fmla="*/ 310515 h 1049655"/>
                <a:gd name="connsiteX269" fmla="*/ 423386 w 1216913"/>
                <a:gd name="connsiteY269" fmla="*/ 307086 h 1049655"/>
                <a:gd name="connsiteX270" fmla="*/ 419386 w 1216913"/>
                <a:gd name="connsiteY270" fmla="*/ 301180 h 1049655"/>
                <a:gd name="connsiteX271" fmla="*/ 417862 w 1216913"/>
                <a:gd name="connsiteY271" fmla="*/ 301466 h 1049655"/>
                <a:gd name="connsiteX272" fmla="*/ 420814 w 1216913"/>
                <a:gd name="connsiteY272" fmla="*/ 299466 h 1049655"/>
                <a:gd name="connsiteX273" fmla="*/ 420529 w 1216913"/>
                <a:gd name="connsiteY273" fmla="*/ 297847 h 1049655"/>
                <a:gd name="connsiteX274" fmla="*/ 419005 w 1216913"/>
                <a:gd name="connsiteY274" fmla="*/ 298037 h 1049655"/>
                <a:gd name="connsiteX275" fmla="*/ 420148 w 1216913"/>
                <a:gd name="connsiteY275" fmla="*/ 294703 h 1049655"/>
                <a:gd name="connsiteX276" fmla="*/ 416623 w 1216913"/>
                <a:gd name="connsiteY276" fmla="*/ 291941 h 1049655"/>
                <a:gd name="connsiteX277" fmla="*/ 416052 w 1216913"/>
                <a:gd name="connsiteY277" fmla="*/ 287179 h 1049655"/>
                <a:gd name="connsiteX278" fmla="*/ 413861 w 1216913"/>
                <a:gd name="connsiteY278" fmla="*/ 282702 h 1049655"/>
                <a:gd name="connsiteX279" fmla="*/ 408527 w 1216913"/>
                <a:gd name="connsiteY279" fmla="*/ 278511 h 1049655"/>
                <a:gd name="connsiteX280" fmla="*/ 405289 w 1216913"/>
                <a:gd name="connsiteY280" fmla="*/ 278987 h 1049655"/>
                <a:gd name="connsiteX281" fmla="*/ 405098 w 1216913"/>
                <a:gd name="connsiteY281" fmla="*/ 277368 h 1049655"/>
                <a:gd name="connsiteX282" fmla="*/ 398050 w 1216913"/>
                <a:gd name="connsiteY282" fmla="*/ 271844 h 1049655"/>
                <a:gd name="connsiteX283" fmla="*/ 399955 w 1216913"/>
                <a:gd name="connsiteY283" fmla="*/ 262033 h 1049655"/>
                <a:gd name="connsiteX284" fmla="*/ 379952 w 1216913"/>
                <a:gd name="connsiteY284" fmla="*/ 243650 h 1049655"/>
                <a:gd name="connsiteX285" fmla="*/ 374618 w 1216913"/>
                <a:gd name="connsiteY285" fmla="*/ 239554 h 1049655"/>
                <a:gd name="connsiteX286" fmla="*/ 364998 w 1216913"/>
                <a:gd name="connsiteY286" fmla="*/ 239173 h 1049655"/>
                <a:gd name="connsiteX287" fmla="*/ 360712 w 1216913"/>
                <a:gd name="connsiteY287" fmla="*/ 255746 h 1049655"/>
                <a:gd name="connsiteX288" fmla="*/ 350234 w 1216913"/>
                <a:gd name="connsiteY288" fmla="*/ 249079 h 1049655"/>
                <a:gd name="connsiteX289" fmla="*/ 343471 w 1216913"/>
                <a:gd name="connsiteY289" fmla="*/ 246698 h 1049655"/>
                <a:gd name="connsiteX290" fmla="*/ 334327 w 1216913"/>
                <a:gd name="connsiteY290" fmla="*/ 225457 h 1049655"/>
                <a:gd name="connsiteX291" fmla="*/ 325660 w 1216913"/>
                <a:gd name="connsiteY291" fmla="*/ 220123 h 1049655"/>
                <a:gd name="connsiteX292" fmla="*/ 318706 w 1216913"/>
                <a:gd name="connsiteY292" fmla="*/ 216217 h 1049655"/>
                <a:gd name="connsiteX293" fmla="*/ 318516 w 1216913"/>
                <a:gd name="connsiteY293" fmla="*/ 214598 h 1049655"/>
                <a:gd name="connsiteX294" fmla="*/ 313658 w 1216913"/>
                <a:gd name="connsiteY294" fmla="*/ 213646 h 1049655"/>
                <a:gd name="connsiteX295" fmla="*/ 309086 w 1216913"/>
                <a:gd name="connsiteY295" fmla="*/ 202978 h 1049655"/>
                <a:gd name="connsiteX296" fmla="*/ 301085 w 1216913"/>
                <a:gd name="connsiteY296" fmla="*/ 191167 h 1049655"/>
                <a:gd name="connsiteX297" fmla="*/ 306229 w 1216913"/>
                <a:gd name="connsiteY297" fmla="*/ 180880 h 1049655"/>
                <a:gd name="connsiteX298" fmla="*/ 309181 w 1216913"/>
                <a:gd name="connsiteY298" fmla="*/ 178975 h 1049655"/>
                <a:gd name="connsiteX299" fmla="*/ 317278 w 1216913"/>
                <a:gd name="connsiteY299" fmla="*/ 179546 h 1049655"/>
                <a:gd name="connsiteX300" fmla="*/ 322421 w 1216913"/>
                <a:gd name="connsiteY300" fmla="*/ 182023 h 1049655"/>
                <a:gd name="connsiteX301" fmla="*/ 326517 w 1216913"/>
                <a:gd name="connsiteY301" fmla="*/ 176689 h 1049655"/>
                <a:gd name="connsiteX302" fmla="*/ 331089 w 1216913"/>
                <a:gd name="connsiteY302" fmla="*/ 174593 h 1049655"/>
                <a:gd name="connsiteX303" fmla="*/ 337185 w 1216913"/>
                <a:gd name="connsiteY303" fmla="*/ 172212 h 1049655"/>
                <a:gd name="connsiteX304" fmla="*/ 349853 w 1216913"/>
                <a:gd name="connsiteY304" fmla="*/ 170593 h 1049655"/>
                <a:gd name="connsiteX305" fmla="*/ 358711 w 1216913"/>
                <a:gd name="connsiteY305" fmla="*/ 164592 h 1049655"/>
                <a:gd name="connsiteX306" fmla="*/ 362045 w 1216913"/>
                <a:gd name="connsiteY306" fmla="*/ 165830 h 1049655"/>
                <a:gd name="connsiteX307" fmla="*/ 366617 w 1216913"/>
                <a:gd name="connsiteY307" fmla="*/ 163640 h 1049655"/>
                <a:gd name="connsiteX308" fmla="*/ 369951 w 1216913"/>
                <a:gd name="connsiteY308" fmla="*/ 164782 h 1049655"/>
                <a:gd name="connsiteX309" fmla="*/ 377380 w 1216913"/>
                <a:gd name="connsiteY309" fmla="*/ 160592 h 1049655"/>
                <a:gd name="connsiteX310" fmla="*/ 376809 w 1216913"/>
                <a:gd name="connsiteY310" fmla="*/ 155924 h 1049655"/>
                <a:gd name="connsiteX311" fmla="*/ 381381 w 1216913"/>
                <a:gd name="connsiteY311" fmla="*/ 153734 h 1049655"/>
                <a:gd name="connsiteX312" fmla="*/ 380333 w 1216913"/>
                <a:gd name="connsiteY312" fmla="*/ 145828 h 1049655"/>
                <a:gd name="connsiteX313" fmla="*/ 384715 w 1216913"/>
                <a:gd name="connsiteY313" fmla="*/ 142018 h 1049655"/>
                <a:gd name="connsiteX314" fmla="*/ 385858 w 1216913"/>
                <a:gd name="connsiteY314" fmla="*/ 138684 h 1049655"/>
                <a:gd name="connsiteX315" fmla="*/ 388810 w 1216913"/>
                <a:gd name="connsiteY315" fmla="*/ 136684 h 1049655"/>
                <a:gd name="connsiteX316" fmla="*/ 392335 w 1216913"/>
                <a:gd name="connsiteY316" fmla="*/ 139446 h 1049655"/>
                <a:gd name="connsiteX317" fmla="*/ 400621 w 1216913"/>
                <a:gd name="connsiteY317" fmla="*/ 141637 h 1049655"/>
                <a:gd name="connsiteX318" fmla="*/ 406527 w 1216913"/>
                <a:gd name="connsiteY318" fmla="*/ 137636 h 1049655"/>
                <a:gd name="connsiteX319" fmla="*/ 412909 w 1216913"/>
                <a:gd name="connsiteY319" fmla="*/ 136874 h 1049655"/>
                <a:gd name="connsiteX320" fmla="*/ 412051 w 1216913"/>
                <a:gd name="connsiteY320" fmla="*/ 130588 h 1049655"/>
                <a:gd name="connsiteX321" fmla="*/ 412813 w 1216913"/>
                <a:gd name="connsiteY321" fmla="*/ 124015 h 1049655"/>
                <a:gd name="connsiteX322" fmla="*/ 412051 w 1216913"/>
                <a:gd name="connsiteY322" fmla="*/ 117729 h 1049655"/>
                <a:gd name="connsiteX323" fmla="*/ 416528 w 1216913"/>
                <a:gd name="connsiteY323" fmla="*/ 102679 h 1049655"/>
                <a:gd name="connsiteX324" fmla="*/ 400336 w 1216913"/>
                <a:gd name="connsiteY324" fmla="*/ 88773 h 1049655"/>
                <a:gd name="connsiteX325" fmla="*/ 387858 w 1216913"/>
                <a:gd name="connsiteY325" fmla="*/ 79153 h 1049655"/>
                <a:gd name="connsiteX326" fmla="*/ 388620 w 1216913"/>
                <a:gd name="connsiteY326" fmla="*/ 72580 h 1049655"/>
                <a:gd name="connsiteX327" fmla="*/ 388620 w 1216913"/>
                <a:gd name="connsiteY327" fmla="*/ 59722 h 1049655"/>
                <a:gd name="connsiteX328" fmla="*/ 394335 w 1216913"/>
                <a:gd name="connsiteY328" fmla="*/ 54197 h 1049655"/>
                <a:gd name="connsiteX329" fmla="*/ 398812 w 1216913"/>
                <a:gd name="connsiteY329" fmla="*/ 39243 h 1049655"/>
                <a:gd name="connsiteX330" fmla="*/ 403193 w 1216913"/>
                <a:gd name="connsiteY330" fmla="*/ 35433 h 1049655"/>
                <a:gd name="connsiteX331" fmla="*/ 402812 w 1216913"/>
                <a:gd name="connsiteY331" fmla="*/ 32290 h 1049655"/>
                <a:gd name="connsiteX332" fmla="*/ 405765 w 1216913"/>
                <a:gd name="connsiteY332" fmla="*/ 30290 h 1049655"/>
                <a:gd name="connsiteX333" fmla="*/ 403765 w 1216913"/>
                <a:gd name="connsiteY333" fmla="*/ 27337 h 1049655"/>
                <a:gd name="connsiteX334" fmla="*/ 394240 w 1216913"/>
                <a:gd name="connsiteY334" fmla="*/ 28575 h 1049655"/>
                <a:gd name="connsiteX335" fmla="*/ 392335 w 1216913"/>
                <a:gd name="connsiteY335" fmla="*/ 25622 h 1049655"/>
                <a:gd name="connsiteX336" fmla="*/ 387382 w 1216913"/>
                <a:gd name="connsiteY336" fmla="*/ 24670 h 1049655"/>
                <a:gd name="connsiteX337" fmla="*/ 381952 w 1216913"/>
                <a:gd name="connsiteY337" fmla="*/ 7715 h 1049655"/>
                <a:gd name="connsiteX338" fmla="*/ 366617 w 1216913"/>
                <a:gd name="connsiteY338" fmla="*/ 0 h 1049655"/>
                <a:gd name="connsiteX339" fmla="*/ 358711 w 1216913"/>
                <a:gd name="connsiteY339" fmla="*/ 1048 h 1049655"/>
                <a:gd name="connsiteX340" fmla="*/ 360331 w 1216913"/>
                <a:gd name="connsiteY340" fmla="*/ 13621 h 1049655"/>
                <a:gd name="connsiteX341" fmla="*/ 358330 w 1216913"/>
                <a:gd name="connsiteY341" fmla="*/ 23527 h 1049655"/>
                <a:gd name="connsiteX342" fmla="*/ 360521 w 1216913"/>
                <a:gd name="connsiteY342" fmla="*/ 28099 h 1049655"/>
                <a:gd name="connsiteX343" fmla="*/ 360712 w 1216913"/>
                <a:gd name="connsiteY343" fmla="*/ 29623 h 1049655"/>
                <a:gd name="connsiteX344" fmla="*/ 359378 w 1216913"/>
                <a:gd name="connsiteY344" fmla="*/ 31432 h 1049655"/>
                <a:gd name="connsiteX345" fmla="*/ 340614 w 1216913"/>
                <a:gd name="connsiteY345" fmla="*/ 48196 h 1049655"/>
                <a:gd name="connsiteX346" fmla="*/ 335375 w 1216913"/>
                <a:gd name="connsiteY346" fmla="*/ 56959 h 1049655"/>
                <a:gd name="connsiteX347" fmla="*/ 323279 w 1216913"/>
                <a:gd name="connsiteY347" fmla="*/ 63246 h 1049655"/>
                <a:gd name="connsiteX348" fmla="*/ 312706 w 1216913"/>
                <a:gd name="connsiteY348" fmla="*/ 67818 h 1049655"/>
                <a:gd name="connsiteX349" fmla="*/ 309753 w 1216913"/>
                <a:gd name="connsiteY349" fmla="*/ 69818 h 1049655"/>
                <a:gd name="connsiteX350" fmla="*/ 303181 w 1216913"/>
                <a:gd name="connsiteY350" fmla="*/ 69056 h 1049655"/>
                <a:gd name="connsiteX351" fmla="*/ 302800 w 1216913"/>
                <a:gd name="connsiteY351" fmla="*/ 65913 h 1049655"/>
                <a:gd name="connsiteX352" fmla="*/ 299466 w 1216913"/>
                <a:gd name="connsiteY352" fmla="*/ 64675 h 1049655"/>
                <a:gd name="connsiteX353" fmla="*/ 298609 w 1216913"/>
                <a:gd name="connsiteY353" fmla="*/ 58388 h 1049655"/>
                <a:gd name="connsiteX354" fmla="*/ 295084 w 1216913"/>
                <a:gd name="connsiteY354" fmla="*/ 55626 h 1049655"/>
                <a:gd name="connsiteX355" fmla="*/ 287179 w 1216913"/>
                <a:gd name="connsiteY355" fmla="*/ 56674 h 1049655"/>
                <a:gd name="connsiteX356" fmla="*/ 285845 w 1216913"/>
                <a:gd name="connsiteY356" fmla="*/ 58388 h 1049655"/>
                <a:gd name="connsiteX357" fmla="*/ 279749 w 1216913"/>
                <a:gd name="connsiteY357" fmla="*/ 60865 h 1049655"/>
                <a:gd name="connsiteX358" fmla="*/ 275558 w 1216913"/>
                <a:gd name="connsiteY358" fmla="*/ 66199 h 1049655"/>
                <a:gd name="connsiteX359" fmla="*/ 272224 w 1216913"/>
                <a:gd name="connsiteY359" fmla="*/ 64960 h 1049655"/>
                <a:gd name="connsiteX360" fmla="*/ 266129 w 1216913"/>
                <a:gd name="connsiteY360" fmla="*/ 67342 h 1049655"/>
                <a:gd name="connsiteX361" fmla="*/ 261175 w 1216913"/>
                <a:gd name="connsiteY361" fmla="*/ 66389 h 1049655"/>
                <a:gd name="connsiteX362" fmla="*/ 256032 w 1216913"/>
                <a:gd name="connsiteY362" fmla="*/ 63817 h 1049655"/>
                <a:gd name="connsiteX363" fmla="*/ 251079 w 1216913"/>
                <a:gd name="connsiteY363" fmla="*/ 62865 h 1049655"/>
                <a:gd name="connsiteX364" fmla="*/ 249364 w 1216913"/>
                <a:gd name="connsiteY364" fmla="*/ 61436 h 1049655"/>
                <a:gd name="connsiteX365" fmla="*/ 244602 w 1216913"/>
                <a:gd name="connsiteY365" fmla="*/ 62103 h 1049655"/>
                <a:gd name="connsiteX366" fmla="*/ 228409 w 1216913"/>
                <a:gd name="connsiteY366" fmla="*/ 60960 h 1049655"/>
                <a:gd name="connsiteX367" fmla="*/ 214789 w 1216913"/>
                <a:gd name="connsiteY367" fmla="*/ 67437 h 1049655"/>
                <a:gd name="connsiteX368" fmla="*/ 211836 w 1216913"/>
                <a:gd name="connsiteY368" fmla="*/ 69437 h 1049655"/>
                <a:gd name="connsiteX369" fmla="*/ 210121 w 1216913"/>
                <a:gd name="connsiteY369" fmla="*/ 68104 h 1049655"/>
                <a:gd name="connsiteX370" fmla="*/ 205740 w 1216913"/>
                <a:gd name="connsiteY370" fmla="*/ 71819 h 1049655"/>
                <a:gd name="connsiteX371" fmla="*/ 202216 w 1216913"/>
                <a:gd name="connsiteY371" fmla="*/ 69056 h 1049655"/>
                <a:gd name="connsiteX372" fmla="*/ 200596 w 1216913"/>
                <a:gd name="connsiteY372" fmla="*/ 69247 h 1049655"/>
                <a:gd name="connsiteX373" fmla="*/ 202025 w 1216913"/>
                <a:gd name="connsiteY373" fmla="*/ 80296 h 1049655"/>
                <a:gd name="connsiteX374" fmla="*/ 200882 w 1216913"/>
                <a:gd name="connsiteY374" fmla="*/ 83725 h 1049655"/>
                <a:gd name="connsiteX375" fmla="*/ 196310 w 1216913"/>
                <a:gd name="connsiteY375" fmla="*/ 85915 h 1049655"/>
                <a:gd name="connsiteX376" fmla="*/ 190405 w 1216913"/>
                <a:gd name="connsiteY376" fmla="*/ 89821 h 1049655"/>
                <a:gd name="connsiteX377" fmla="*/ 183451 w 1216913"/>
                <a:gd name="connsiteY377" fmla="*/ 85915 h 1049655"/>
                <a:gd name="connsiteX378" fmla="*/ 181927 w 1216913"/>
                <a:gd name="connsiteY378" fmla="*/ 98965 h 1049655"/>
                <a:gd name="connsiteX379" fmla="*/ 179546 w 1216913"/>
                <a:gd name="connsiteY379" fmla="*/ 105632 h 1049655"/>
                <a:gd name="connsiteX380" fmla="*/ 182404 w 1216913"/>
                <a:gd name="connsiteY380" fmla="*/ 114967 h 1049655"/>
                <a:gd name="connsiteX381" fmla="*/ 181546 w 1216913"/>
                <a:gd name="connsiteY381" fmla="*/ 121444 h 1049655"/>
                <a:gd name="connsiteX382" fmla="*/ 182404 w 1216913"/>
                <a:gd name="connsiteY382" fmla="*/ 127730 h 1049655"/>
                <a:gd name="connsiteX383" fmla="*/ 179641 w 1216913"/>
                <a:gd name="connsiteY383" fmla="*/ 131350 h 1049655"/>
                <a:gd name="connsiteX384" fmla="*/ 180213 w 1216913"/>
                <a:gd name="connsiteY384" fmla="*/ 136017 h 1049655"/>
                <a:gd name="connsiteX385" fmla="*/ 174307 w 1216913"/>
                <a:gd name="connsiteY385" fmla="*/ 140017 h 1049655"/>
                <a:gd name="connsiteX386" fmla="*/ 166021 w 1216913"/>
                <a:gd name="connsiteY386" fmla="*/ 137827 h 1049655"/>
                <a:gd name="connsiteX387" fmla="*/ 163068 w 1216913"/>
                <a:gd name="connsiteY387" fmla="*/ 139827 h 1049655"/>
                <a:gd name="connsiteX388" fmla="*/ 157734 w 1216913"/>
                <a:gd name="connsiteY388" fmla="*/ 135731 h 1049655"/>
                <a:gd name="connsiteX389" fmla="*/ 150019 w 1216913"/>
                <a:gd name="connsiteY389" fmla="*/ 125444 h 1049655"/>
                <a:gd name="connsiteX390" fmla="*/ 148209 w 1216913"/>
                <a:gd name="connsiteY390" fmla="*/ 124111 h 1049655"/>
                <a:gd name="connsiteX391" fmla="*/ 144971 w 1216913"/>
                <a:gd name="connsiteY391" fmla="*/ 135731 h 1049655"/>
                <a:gd name="connsiteX392" fmla="*/ 136493 w 1216913"/>
                <a:gd name="connsiteY392" fmla="*/ 144780 h 1049655"/>
                <a:gd name="connsiteX393" fmla="*/ 129159 w 1216913"/>
                <a:gd name="connsiteY393" fmla="*/ 163354 h 1049655"/>
                <a:gd name="connsiteX394" fmla="*/ 121920 w 1216913"/>
                <a:gd name="connsiteY394" fmla="*/ 169164 h 1049655"/>
                <a:gd name="connsiteX395" fmla="*/ 108299 w 1216913"/>
                <a:gd name="connsiteY395" fmla="*/ 162877 h 1049655"/>
                <a:gd name="connsiteX396" fmla="*/ 102394 w 1216913"/>
                <a:gd name="connsiteY396" fmla="*/ 166783 h 1049655"/>
                <a:gd name="connsiteX397" fmla="*/ 98488 w 1216913"/>
                <a:gd name="connsiteY397" fmla="*/ 173736 h 1049655"/>
                <a:gd name="connsiteX398" fmla="*/ 99250 w 1216913"/>
                <a:gd name="connsiteY398" fmla="*/ 180023 h 1049655"/>
                <a:gd name="connsiteX399" fmla="*/ 94964 w 1216913"/>
                <a:gd name="connsiteY399" fmla="*/ 183832 h 1049655"/>
                <a:gd name="connsiteX400" fmla="*/ 91916 w 1216913"/>
                <a:gd name="connsiteY400" fmla="*/ 185738 h 1049655"/>
                <a:gd name="connsiteX401" fmla="*/ 86582 w 1216913"/>
                <a:gd name="connsiteY401" fmla="*/ 181642 h 1049655"/>
                <a:gd name="connsiteX402" fmla="*/ 81534 w 1216913"/>
                <a:gd name="connsiteY402" fmla="*/ 191929 h 1049655"/>
                <a:gd name="connsiteX403" fmla="*/ 77343 w 1216913"/>
                <a:gd name="connsiteY403" fmla="*/ 197263 h 1049655"/>
                <a:gd name="connsiteX404" fmla="*/ 69342 w 1216913"/>
                <a:gd name="connsiteY404" fmla="*/ 209550 h 1049655"/>
                <a:gd name="connsiteX405" fmla="*/ 66199 w 1216913"/>
                <a:gd name="connsiteY405" fmla="*/ 209931 h 1049655"/>
                <a:gd name="connsiteX406" fmla="*/ 55912 w 1216913"/>
                <a:gd name="connsiteY406" fmla="*/ 217646 h 1049655"/>
                <a:gd name="connsiteX407" fmla="*/ 58483 w 1216913"/>
                <a:gd name="connsiteY407" fmla="*/ 225361 h 1049655"/>
                <a:gd name="connsiteX408" fmla="*/ 59912 w 1216913"/>
                <a:gd name="connsiteY408" fmla="*/ 236411 h 1049655"/>
                <a:gd name="connsiteX409" fmla="*/ 63913 w 1216913"/>
                <a:gd name="connsiteY409" fmla="*/ 242316 h 1049655"/>
                <a:gd name="connsiteX410" fmla="*/ 59912 w 1216913"/>
                <a:gd name="connsiteY410" fmla="*/ 249174 h 1049655"/>
                <a:gd name="connsiteX411" fmla="*/ 44196 w 1216913"/>
                <a:gd name="connsiteY411" fmla="*/ 264033 h 1049655"/>
                <a:gd name="connsiteX412" fmla="*/ 51721 w 1216913"/>
                <a:gd name="connsiteY412" fmla="*/ 285559 h 1049655"/>
                <a:gd name="connsiteX413" fmla="*/ 51340 w 1216913"/>
                <a:gd name="connsiteY413" fmla="*/ 295180 h 1049655"/>
                <a:gd name="connsiteX414" fmla="*/ 53721 w 1216913"/>
                <a:gd name="connsiteY414" fmla="*/ 301276 h 1049655"/>
                <a:gd name="connsiteX415" fmla="*/ 54769 w 1216913"/>
                <a:gd name="connsiteY415" fmla="*/ 309182 h 1049655"/>
                <a:gd name="connsiteX416" fmla="*/ 47530 w 1216913"/>
                <a:gd name="connsiteY416" fmla="*/ 327755 h 1049655"/>
                <a:gd name="connsiteX417" fmla="*/ 39814 w 1216913"/>
                <a:gd name="connsiteY417" fmla="*/ 330327 h 1049655"/>
                <a:gd name="connsiteX418" fmla="*/ 37242 w 1216913"/>
                <a:gd name="connsiteY418" fmla="*/ 335471 h 1049655"/>
                <a:gd name="connsiteX419" fmla="*/ 31718 w 1216913"/>
                <a:gd name="connsiteY419" fmla="*/ 342614 h 1049655"/>
                <a:gd name="connsiteX420" fmla="*/ 24098 w 1216913"/>
                <a:gd name="connsiteY420" fmla="*/ 345186 h 1049655"/>
                <a:gd name="connsiteX421" fmla="*/ 19526 w 1216913"/>
                <a:gd name="connsiteY421" fmla="*/ 360140 h 1049655"/>
                <a:gd name="connsiteX422" fmla="*/ 11049 w 1216913"/>
                <a:gd name="connsiteY422" fmla="*/ 369284 h 1049655"/>
                <a:gd name="connsiteX423" fmla="*/ 12668 w 1216913"/>
                <a:gd name="connsiteY423" fmla="*/ 381857 h 1049655"/>
                <a:gd name="connsiteX424" fmla="*/ 15049 w 1216913"/>
                <a:gd name="connsiteY424" fmla="*/ 388048 h 1049655"/>
                <a:gd name="connsiteX425" fmla="*/ 14288 w 1216913"/>
                <a:gd name="connsiteY425" fmla="*/ 394526 h 1049655"/>
                <a:gd name="connsiteX426" fmla="*/ 5429 w 1216913"/>
                <a:gd name="connsiteY426" fmla="*/ 400431 h 1049655"/>
                <a:gd name="connsiteX427" fmla="*/ 3905 w 1216913"/>
                <a:gd name="connsiteY427" fmla="*/ 400622 h 1049655"/>
                <a:gd name="connsiteX428" fmla="*/ 6286 w 1216913"/>
                <a:gd name="connsiteY428" fmla="*/ 406813 h 1049655"/>
                <a:gd name="connsiteX429" fmla="*/ 14764 w 1216913"/>
                <a:gd name="connsiteY429" fmla="*/ 410528 h 1049655"/>
                <a:gd name="connsiteX430" fmla="*/ 29432 w 1216913"/>
                <a:gd name="connsiteY430" fmla="*/ 424720 h 1049655"/>
                <a:gd name="connsiteX431" fmla="*/ 33528 w 1216913"/>
                <a:gd name="connsiteY431" fmla="*/ 432149 h 1049655"/>
                <a:gd name="connsiteX432" fmla="*/ 33718 w 1216913"/>
                <a:gd name="connsiteY432" fmla="*/ 433769 h 1049655"/>
                <a:gd name="connsiteX433" fmla="*/ 36100 w 1216913"/>
                <a:gd name="connsiteY433" fmla="*/ 439865 h 1049655"/>
                <a:gd name="connsiteX434" fmla="*/ 33338 w 1216913"/>
                <a:gd name="connsiteY434" fmla="*/ 443389 h 1049655"/>
                <a:gd name="connsiteX435" fmla="*/ 35338 w 1216913"/>
                <a:gd name="connsiteY435" fmla="*/ 446341 h 1049655"/>
                <a:gd name="connsiteX436" fmla="*/ 32766 w 1216913"/>
                <a:gd name="connsiteY436" fmla="*/ 451485 h 1049655"/>
                <a:gd name="connsiteX437" fmla="*/ 31051 w 1216913"/>
                <a:gd name="connsiteY437" fmla="*/ 450152 h 1049655"/>
                <a:gd name="connsiteX438" fmla="*/ 28861 w 1216913"/>
                <a:gd name="connsiteY438" fmla="*/ 458438 h 1049655"/>
                <a:gd name="connsiteX439" fmla="*/ 22574 w 1216913"/>
                <a:gd name="connsiteY439" fmla="*/ 459200 h 1049655"/>
                <a:gd name="connsiteX440" fmla="*/ 21622 w 1216913"/>
                <a:gd name="connsiteY440" fmla="*/ 464153 h 1049655"/>
                <a:gd name="connsiteX441" fmla="*/ 17050 w 1216913"/>
                <a:gd name="connsiteY441" fmla="*/ 466344 h 1049655"/>
                <a:gd name="connsiteX442" fmla="*/ 17431 w 1216913"/>
                <a:gd name="connsiteY442" fmla="*/ 469487 h 1049655"/>
                <a:gd name="connsiteX443" fmla="*/ 9811 w 1216913"/>
                <a:gd name="connsiteY443" fmla="*/ 472059 h 1049655"/>
                <a:gd name="connsiteX444" fmla="*/ 12097 w 1216913"/>
                <a:gd name="connsiteY444" fmla="*/ 478155 h 1049655"/>
                <a:gd name="connsiteX445" fmla="*/ 10954 w 1216913"/>
                <a:gd name="connsiteY445" fmla="*/ 481584 h 1049655"/>
                <a:gd name="connsiteX446" fmla="*/ 19240 w 1216913"/>
                <a:gd name="connsiteY446" fmla="*/ 483679 h 1049655"/>
                <a:gd name="connsiteX447" fmla="*/ 16954 w 1216913"/>
                <a:gd name="connsiteY447" fmla="*/ 490442 h 1049655"/>
                <a:gd name="connsiteX448" fmla="*/ 17335 w 1216913"/>
                <a:gd name="connsiteY448" fmla="*/ 493586 h 1049655"/>
                <a:gd name="connsiteX449" fmla="*/ 15907 w 1216913"/>
                <a:gd name="connsiteY449" fmla="*/ 495395 h 1049655"/>
                <a:gd name="connsiteX450" fmla="*/ 14192 w 1216913"/>
                <a:gd name="connsiteY450" fmla="*/ 493966 h 1049655"/>
                <a:gd name="connsiteX451" fmla="*/ 13144 w 1216913"/>
                <a:gd name="connsiteY451" fmla="*/ 498919 h 1049655"/>
                <a:gd name="connsiteX452" fmla="*/ 13430 w 1216913"/>
                <a:gd name="connsiteY452" fmla="*/ 500539 h 1049655"/>
                <a:gd name="connsiteX453" fmla="*/ 7715 w 1216913"/>
                <a:gd name="connsiteY453" fmla="*/ 506063 h 1049655"/>
                <a:gd name="connsiteX454" fmla="*/ 6477 w 1216913"/>
                <a:gd name="connsiteY454" fmla="*/ 509397 h 1049655"/>
                <a:gd name="connsiteX455" fmla="*/ 1714 w 1216913"/>
                <a:gd name="connsiteY455" fmla="*/ 509969 h 1049655"/>
                <a:gd name="connsiteX456" fmla="*/ 4191 w 1216913"/>
                <a:gd name="connsiteY456" fmla="*/ 516065 h 1049655"/>
                <a:gd name="connsiteX457" fmla="*/ 952 w 1216913"/>
                <a:gd name="connsiteY457" fmla="*/ 516541 h 1049655"/>
                <a:gd name="connsiteX458" fmla="*/ 0 w 1216913"/>
                <a:gd name="connsiteY458" fmla="*/ 521398 h 1049655"/>
                <a:gd name="connsiteX459" fmla="*/ 8477 w 1216913"/>
                <a:gd name="connsiteY459" fmla="*/ 525208 h 1049655"/>
                <a:gd name="connsiteX460" fmla="*/ 10858 w 1216913"/>
                <a:gd name="connsiteY460" fmla="*/ 531304 h 1049655"/>
                <a:gd name="connsiteX461" fmla="*/ 10287 w 1216913"/>
                <a:gd name="connsiteY461" fmla="*/ 539401 h 1049655"/>
                <a:gd name="connsiteX462" fmla="*/ 12859 w 1216913"/>
                <a:gd name="connsiteY462" fmla="*/ 534257 h 1049655"/>
                <a:gd name="connsiteX463" fmla="*/ 16192 w 1216913"/>
                <a:gd name="connsiteY463" fmla="*/ 535400 h 1049655"/>
                <a:gd name="connsiteX464" fmla="*/ 18192 w 1216913"/>
                <a:gd name="connsiteY464" fmla="*/ 538353 h 1049655"/>
                <a:gd name="connsiteX465" fmla="*/ 19050 w 1216913"/>
                <a:gd name="connsiteY465" fmla="*/ 544640 h 1049655"/>
                <a:gd name="connsiteX466" fmla="*/ 23622 w 1216913"/>
                <a:gd name="connsiteY466" fmla="*/ 555307 h 1049655"/>
                <a:gd name="connsiteX467" fmla="*/ 26956 w 1216913"/>
                <a:gd name="connsiteY467" fmla="*/ 556546 h 1049655"/>
                <a:gd name="connsiteX468" fmla="*/ 29146 w 1216913"/>
                <a:gd name="connsiteY468" fmla="*/ 561023 h 1049655"/>
                <a:gd name="connsiteX469" fmla="*/ 36195 w 1216913"/>
                <a:gd name="connsiteY469" fmla="*/ 553688 h 1049655"/>
                <a:gd name="connsiteX470" fmla="*/ 39338 w 1216913"/>
                <a:gd name="connsiteY470" fmla="*/ 553307 h 1049655"/>
                <a:gd name="connsiteX471" fmla="*/ 44291 w 1216913"/>
                <a:gd name="connsiteY471" fmla="*/ 554260 h 1049655"/>
                <a:gd name="connsiteX472" fmla="*/ 43720 w 1216913"/>
                <a:gd name="connsiteY472" fmla="*/ 549593 h 1049655"/>
                <a:gd name="connsiteX473" fmla="*/ 45053 w 1216913"/>
                <a:gd name="connsiteY473" fmla="*/ 547783 h 1049655"/>
                <a:gd name="connsiteX474" fmla="*/ 50197 w 1216913"/>
                <a:gd name="connsiteY474" fmla="*/ 550354 h 1049655"/>
                <a:gd name="connsiteX475" fmla="*/ 53911 w 1216913"/>
                <a:gd name="connsiteY475" fmla="*/ 541877 h 1049655"/>
                <a:gd name="connsiteX476" fmla="*/ 57055 w 1216913"/>
                <a:gd name="connsiteY476" fmla="*/ 541401 h 1049655"/>
                <a:gd name="connsiteX477" fmla="*/ 54578 w 1216913"/>
                <a:gd name="connsiteY477" fmla="*/ 559403 h 1049655"/>
                <a:gd name="connsiteX478" fmla="*/ 48482 w 1216913"/>
                <a:gd name="connsiteY478" fmla="*/ 574643 h 1049655"/>
                <a:gd name="connsiteX479" fmla="*/ 46101 w 1216913"/>
                <a:gd name="connsiteY479" fmla="*/ 581311 h 1049655"/>
                <a:gd name="connsiteX480" fmla="*/ 49244 w 1216913"/>
                <a:gd name="connsiteY480" fmla="*/ 580930 h 1049655"/>
                <a:gd name="connsiteX481" fmla="*/ 49721 w 1216913"/>
                <a:gd name="connsiteY481" fmla="*/ 584073 h 1049655"/>
                <a:gd name="connsiteX482" fmla="*/ 51435 w 1216913"/>
                <a:gd name="connsiteY482" fmla="*/ 585407 h 1049655"/>
                <a:gd name="connsiteX483" fmla="*/ 51911 w 1216913"/>
                <a:gd name="connsiteY483" fmla="*/ 588645 h 1049655"/>
                <a:gd name="connsiteX484" fmla="*/ 53245 w 1216913"/>
                <a:gd name="connsiteY484" fmla="*/ 586835 h 1049655"/>
                <a:gd name="connsiteX485" fmla="*/ 56197 w 1216913"/>
                <a:gd name="connsiteY485" fmla="*/ 584835 h 1049655"/>
                <a:gd name="connsiteX486" fmla="*/ 58007 w 1216913"/>
                <a:gd name="connsiteY486" fmla="*/ 586264 h 1049655"/>
                <a:gd name="connsiteX487" fmla="*/ 59531 w 1216913"/>
                <a:gd name="connsiteY487" fmla="*/ 585978 h 1049655"/>
                <a:gd name="connsiteX488" fmla="*/ 59150 w 1216913"/>
                <a:gd name="connsiteY488" fmla="*/ 582835 h 1049655"/>
                <a:gd name="connsiteX489" fmla="*/ 62293 w 1216913"/>
                <a:gd name="connsiteY489" fmla="*/ 582454 h 1049655"/>
                <a:gd name="connsiteX490" fmla="*/ 63532 w 1216913"/>
                <a:gd name="connsiteY490" fmla="*/ 579120 h 1049655"/>
                <a:gd name="connsiteX491" fmla="*/ 65437 w 1216913"/>
                <a:gd name="connsiteY491" fmla="*/ 582073 h 1049655"/>
                <a:gd name="connsiteX492" fmla="*/ 70009 w 1216913"/>
                <a:gd name="connsiteY492" fmla="*/ 579882 h 1049655"/>
                <a:gd name="connsiteX493" fmla="*/ 73533 w 1216913"/>
                <a:gd name="connsiteY493" fmla="*/ 582644 h 1049655"/>
                <a:gd name="connsiteX494" fmla="*/ 76486 w 1216913"/>
                <a:gd name="connsiteY494" fmla="*/ 580644 h 1049655"/>
                <a:gd name="connsiteX495" fmla="*/ 78867 w 1216913"/>
                <a:gd name="connsiteY495" fmla="*/ 586740 h 1049655"/>
                <a:gd name="connsiteX496" fmla="*/ 85439 w 1216913"/>
                <a:gd name="connsiteY496" fmla="*/ 587502 h 1049655"/>
                <a:gd name="connsiteX497" fmla="*/ 88963 w 1216913"/>
                <a:gd name="connsiteY497" fmla="*/ 590264 h 1049655"/>
                <a:gd name="connsiteX498" fmla="*/ 93535 w 1216913"/>
                <a:gd name="connsiteY498" fmla="*/ 588074 h 1049655"/>
                <a:gd name="connsiteX499" fmla="*/ 95536 w 1216913"/>
                <a:gd name="connsiteY499" fmla="*/ 591026 h 1049655"/>
                <a:gd name="connsiteX500" fmla="*/ 96107 w 1216913"/>
                <a:gd name="connsiteY500" fmla="*/ 595789 h 1049655"/>
                <a:gd name="connsiteX501" fmla="*/ 97250 w 1216913"/>
                <a:gd name="connsiteY501" fmla="*/ 592455 h 1049655"/>
                <a:gd name="connsiteX502" fmla="*/ 98869 w 1216913"/>
                <a:gd name="connsiteY502" fmla="*/ 592265 h 1049655"/>
                <a:gd name="connsiteX503" fmla="*/ 104204 w 1216913"/>
                <a:gd name="connsiteY503" fmla="*/ 596360 h 1049655"/>
                <a:gd name="connsiteX504" fmla="*/ 104394 w 1216913"/>
                <a:gd name="connsiteY504" fmla="*/ 597979 h 1049655"/>
                <a:gd name="connsiteX505" fmla="*/ 104584 w 1216913"/>
                <a:gd name="connsiteY505" fmla="*/ 599503 h 1049655"/>
                <a:gd name="connsiteX506" fmla="*/ 109538 w 1216913"/>
                <a:gd name="connsiteY506" fmla="*/ 600551 h 1049655"/>
                <a:gd name="connsiteX507" fmla="*/ 115633 w 1216913"/>
                <a:gd name="connsiteY507" fmla="*/ 598075 h 1049655"/>
                <a:gd name="connsiteX508" fmla="*/ 127254 w 1216913"/>
                <a:gd name="connsiteY508" fmla="*/ 601408 h 1049655"/>
                <a:gd name="connsiteX509" fmla="*/ 126301 w 1216913"/>
                <a:gd name="connsiteY509" fmla="*/ 606361 h 1049655"/>
                <a:gd name="connsiteX510" fmla="*/ 128302 w 1216913"/>
                <a:gd name="connsiteY510" fmla="*/ 609314 h 1049655"/>
                <a:gd name="connsiteX511" fmla="*/ 130873 w 1216913"/>
                <a:gd name="connsiteY511" fmla="*/ 604171 h 1049655"/>
                <a:gd name="connsiteX512" fmla="*/ 133636 w 1216913"/>
                <a:gd name="connsiteY512" fmla="*/ 600647 h 1049655"/>
                <a:gd name="connsiteX513" fmla="*/ 143065 w 1216913"/>
                <a:gd name="connsiteY513" fmla="*/ 599408 h 1049655"/>
                <a:gd name="connsiteX514" fmla="*/ 150400 w 1216913"/>
                <a:gd name="connsiteY514" fmla="*/ 593693 h 1049655"/>
                <a:gd name="connsiteX515" fmla="*/ 157829 w 1216913"/>
                <a:gd name="connsiteY515" fmla="*/ 602361 h 1049655"/>
                <a:gd name="connsiteX516" fmla="*/ 159258 w 1216913"/>
                <a:gd name="connsiteY516" fmla="*/ 600551 h 1049655"/>
                <a:gd name="connsiteX517" fmla="*/ 161258 w 1216913"/>
                <a:gd name="connsiteY517" fmla="*/ 603504 h 1049655"/>
                <a:gd name="connsiteX518" fmla="*/ 172688 w 1216913"/>
                <a:gd name="connsiteY518" fmla="*/ 618077 h 1049655"/>
                <a:gd name="connsiteX519" fmla="*/ 174688 w 1216913"/>
                <a:gd name="connsiteY519" fmla="*/ 621030 h 1049655"/>
                <a:gd name="connsiteX520" fmla="*/ 177832 w 1216913"/>
                <a:gd name="connsiteY520" fmla="*/ 620649 h 1049655"/>
                <a:gd name="connsiteX521" fmla="*/ 180022 w 1216913"/>
                <a:gd name="connsiteY521" fmla="*/ 625221 h 1049655"/>
                <a:gd name="connsiteX522" fmla="*/ 186976 w 1216913"/>
                <a:gd name="connsiteY522" fmla="*/ 629126 h 1049655"/>
                <a:gd name="connsiteX523" fmla="*/ 189357 w 1216913"/>
                <a:gd name="connsiteY523" fmla="*/ 635222 h 1049655"/>
                <a:gd name="connsiteX524" fmla="*/ 186404 w 1216913"/>
                <a:gd name="connsiteY524" fmla="*/ 637223 h 1049655"/>
                <a:gd name="connsiteX525" fmla="*/ 186785 w 1216913"/>
                <a:gd name="connsiteY525" fmla="*/ 640366 h 1049655"/>
                <a:gd name="connsiteX526" fmla="*/ 193929 w 1216913"/>
                <a:gd name="connsiteY526" fmla="*/ 645890 h 1049655"/>
                <a:gd name="connsiteX527" fmla="*/ 195834 w 1216913"/>
                <a:gd name="connsiteY527" fmla="*/ 648843 h 1049655"/>
                <a:gd name="connsiteX528" fmla="*/ 189738 w 1216913"/>
                <a:gd name="connsiteY528" fmla="*/ 651224 h 1049655"/>
                <a:gd name="connsiteX529" fmla="*/ 196882 w 1216913"/>
                <a:gd name="connsiteY529" fmla="*/ 656749 h 1049655"/>
                <a:gd name="connsiteX530" fmla="*/ 199072 w 1216913"/>
                <a:gd name="connsiteY530" fmla="*/ 661226 h 1049655"/>
                <a:gd name="connsiteX531" fmla="*/ 198691 w 1216913"/>
                <a:gd name="connsiteY531" fmla="*/ 658082 h 1049655"/>
                <a:gd name="connsiteX532" fmla="*/ 203359 w 1216913"/>
                <a:gd name="connsiteY532" fmla="*/ 657511 h 1049655"/>
                <a:gd name="connsiteX533" fmla="*/ 207740 w 1216913"/>
                <a:gd name="connsiteY533" fmla="*/ 653701 h 1049655"/>
                <a:gd name="connsiteX534" fmla="*/ 215170 w 1216913"/>
                <a:gd name="connsiteY534" fmla="*/ 649605 h 1049655"/>
                <a:gd name="connsiteX535" fmla="*/ 230219 w 1216913"/>
                <a:gd name="connsiteY535" fmla="*/ 654082 h 1049655"/>
                <a:gd name="connsiteX536" fmla="*/ 235363 w 1216913"/>
                <a:gd name="connsiteY536" fmla="*/ 656653 h 1049655"/>
                <a:gd name="connsiteX537" fmla="*/ 238125 w 1216913"/>
                <a:gd name="connsiteY537" fmla="*/ 653034 h 1049655"/>
                <a:gd name="connsiteX538" fmla="*/ 241459 w 1216913"/>
                <a:gd name="connsiteY538" fmla="*/ 654272 h 1049655"/>
                <a:gd name="connsiteX539" fmla="*/ 249746 w 1216913"/>
                <a:gd name="connsiteY539" fmla="*/ 669227 h 1049655"/>
                <a:gd name="connsiteX540" fmla="*/ 253174 w 1216913"/>
                <a:gd name="connsiteY540" fmla="*/ 670370 h 1049655"/>
                <a:gd name="connsiteX541" fmla="*/ 266319 w 1216913"/>
                <a:gd name="connsiteY541" fmla="*/ 673513 h 1049655"/>
                <a:gd name="connsiteX542" fmla="*/ 274225 w 1216913"/>
                <a:gd name="connsiteY542" fmla="*/ 659702 h 1049655"/>
                <a:gd name="connsiteX543" fmla="*/ 272415 w 1216913"/>
                <a:gd name="connsiteY543" fmla="*/ 658368 h 1049655"/>
                <a:gd name="connsiteX544" fmla="*/ 273653 w 1216913"/>
                <a:gd name="connsiteY544" fmla="*/ 654939 h 1049655"/>
                <a:gd name="connsiteX545" fmla="*/ 276225 w 1216913"/>
                <a:gd name="connsiteY545" fmla="*/ 649795 h 1049655"/>
                <a:gd name="connsiteX546" fmla="*/ 279559 w 1216913"/>
                <a:gd name="connsiteY546" fmla="*/ 651034 h 1049655"/>
                <a:gd name="connsiteX547" fmla="*/ 281559 w 1216913"/>
                <a:gd name="connsiteY547" fmla="*/ 653986 h 1049655"/>
                <a:gd name="connsiteX548" fmla="*/ 289846 w 1216913"/>
                <a:gd name="connsiteY548" fmla="*/ 656082 h 1049655"/>
                <a:gd name="connsiteX549" fmla="*/ 298323 w 1216913"/>
                <a:gd name="connsiteY549" fmla="*/ 659797 h 1049655"/>
                <a:gd name="connsiteX550" fmla="*/ 310134 w 1216913"/>
                <a:gd name="connsiteY550" fmla="*/ 677608 h 1049655"/>
                <a:gd name="connsiteX551" fmla="*/ 316897 w 1216913"/>
                <a:gd name="connsiteY551" fmla="*/ 679895 h 1049655"/>
                <a:gd name="connsiteX552" fmla="*/ 329565 w 1216913"/>
                <a:gd name="connsiteY552" fmla="*/ 678275 h 1049655"/>
                <a:gd name="connsiteX553" fmla="*/ 330327 w 1216913"/>
                <a:gd name="connsiteY553" fmla="*/ 671798 h 1049655"/>
                <a:gd name="connsiteX554" fmla="*/ 336423 w 1216913"/>
                <a:gd name="connsiteY554" fmla="*/ 669417 h 1049655"/>
                <a:gd name="connsiteX555" fmla="*/ 340519 w 1216913"/>
                <a:gd name="connsiteY555" fmla="*/ 664083 h 1049655"/>
                <a:gd name="connsiteX556" fmla="*/ 343852 w 1216913"/>
                <a:gd name="connsiteY556" fmla="*/ 665226 h 1049655"/>
                <a:gd name="connsiteX557" fmla="*/ 346234 w 1216913"/>
                <a:gd name="connsiteY557" fmla="*/ 658558 h 1049655"/>
                <a:gd name="connsiteX558" fmla="*/ 354901 w 1216913"/>
                <a:gd name="connsiteY558" fmla="*/ 663893 h 1049655"/>
                <a:gd name="connsiteX559" fmla="*/ 359664 w 1216913"/>
                <a:gd name="connsiteY559" fmla="*/ 663226 h 1049655"/>
                <a:gd name="connsiteX560" fmla="*/ 365569 w 1216913"/>
                <a:gd name="connsiteY560" fmla="*/ 672084 h 1049655"/>
                <a:gd name="connsiteX561" fmla="*/ 371761 w 1216913"/>
                <a:gd name="connsiteY561" fmla="*/ 669703 h 1049655"/>
                <a:gd name="connsiteX562" fmla="*/ 375094 w 1216913"/>
                <a:gd name="connsiteY562" fmla="*/ 670941 h 1049655"/>
                <a:gd name="connsiteX563" fmla="*/ 378619 w 1216913"/>
                <a:gd name="connsiteY563" fmla="*/ 673703 h 1049655"/>
                <a:gd name="connsiteX564" fmla="*/ 376047 w 1216913"/>
                <a:gd name="connsiteY564" fmla="*/ 678847 h 1049655"/>
                <a:gd name="connsiteX565" fmla="*/ 379476 w 1216913"/>
                <a:gd name="connsiteY565" fmla="*/ 679990 h 1049655"/>
                <a:gd name="connsiteX566" fmla="*/ 381190 w 1216913"/>
                <a:gd name="connsiteY566" fmla="*/ 681323 h 1049655"/>
                <a:gd name="connsiteX567" fmla="*/ 384810 w 1216913"/>
                <a:gd name="connsiteY567" fmla="*/ 684086 h 1049655"/>
                <a:gd name="connsiteX568" fmla="*/ 387953 w 1216913"/>
                <a:gd name="connsiteY568" fmla="*/ 683704 h 1049655"/>
                <a:gd name="connsiteX569" fmla="*/ 390334 w 1216913"/>
                <a:gd name="connsiteY569" fmla="*/ 677037 h 1049655"/>
                <a:gd name="connsiteX570" fmla="*/ 391858 w 1216913"/>
                <a:gd name="connsiteY570" fmla="*/ 676751 h 1049655"/>
                <a:gd name="connsiteX571" fmla="*/ 391287 w 1216913"/>
                <a:gd name="connsiteY571" fmla="*/ 684848 h 1049655"/>
                <a:gd name="connsiteX572" fmla="*/ 393287 w 1216913"/>
                <a:gd name="connsiteY572" fmla="*/ 687800 h 1049655"/>
                <a:gd name="connsiteX573" fmla="*/ 391668 w 1216913"/>
                <a:gd name="connsiteY573" fmla="*/ 687991 h 1049655"/>
                <a:gd name="connsiteX574" fmla="*/ 390715 w 1216913"/>
                <a:gd name="connsiteY574" fmla="*/ 692944 h 1049655"/>
                <a:gd name="connsiteX575" fmla="*/ 389096 w 1216913"/>
                <a:gd name="connsiteY575" fmla="*/ 693134 h 1049655"/>
                <a:gd name="connsiteX576" fmla="*/ 382905 w 1216913"/>
                <a:gd name="connsiteY576" fmla="*/ 706755 h 1049655"/>
                <a:gd name="connsiteX577" fmla="*/ 381857 w 1216913"/>
                <a:gd name="connsiteY577" fmla="*/ 711708 h 1049655"/>
                <a:gd name="connsiteX578" fmla="*/ 385096 w 1216913"/>
                <a:gd name="connsiteY578" fmla="*/ 724186 h 1049655"/>
                <a:gd name="connsiteX579" fmla="*/ 386715 w 1216913"/>
                <a:gd name="connsiteY579" fmla="*/ 736759 h 1049655"/>
                <a:gd name="connsiteX580" fmla="*/ 389096 w 1216913"/>
                <a:gd name="connsiteY580" fmla="*/ 742855 h 1049655"/>
                <a:gd name="connsiteX581" fmla="*/ 409861 w 1216913"/>
                <a:gd name="connsiteY581" fmla="*/ 754666 h 1049655"/>
                <a:gd name="connsiteX582" fmla="*/ 410242 w 1216913"/>
                <a:gd name="connsiteY582" fmla="*/ 757809 h 1049655"/>
                <a:gd name="connsiteX583" fmla="*/ 411956 w 1216913"/>
                <a:gd name="connsiteY583" fmla="*/ 759238 h 1049655"/>
                <a:gd name="connsiteX584" fmla="*/ 414528 w 1216913"/>
                <a:gd name="connsiteY584" fmla="*/ 754094 h 1049655"/>
                <a:gd name="connsiteX585" fmla="*/ 416338 w 1216913"/>
                <a:gd name="connsiteY585" fmla="*/ 755428 h 1049655"/>
                <a:gd name="connsiteX586" fmla="*/ 417671 w 1216913"/>
                <a:gd name="connsiteY586" fmla="*/ 753713 h 1049655"/>
                <a:gd name="connsiteX587" fmla="*/ 419290 w 1216913"/>
                <a:gd name="connsiteY587" fmla="*/ 753523 h 1049655"/>
                <a:gd name="connsiteX588" fmla="*/ 419671 w 1216913"/>
                <a:gd name="connsiteY588" fmla="*/ 743807 h 1049655"/>
                <a:gd name="connsiteX589" fmla="*/ 422243 w 1216913"/>
                <a:gd name="connsiteY589" fmla="*/ 738664 h 1049655"/>
                <a:gd name="connsiteX590" fmla="*/ 422243 w 1216913"/>
                <a:gd name="connsiteY590" fmla="*/ 738664 h 1049655"/>
                <a:gd name="connsiteX591" fmla="*/ 429292 w 1216913"/>
                <a:gd name="connsiteY591" fmla="*/ 744188 h 1049655"/>
                <a:gd name="connsiteX592" fmla="*/ 437864 w 1216913"/>
                <a:gd name="connsiteY592" fmla="*/ 760762 h 1049655"/>
                <a:gd name="connsiteX593" fmla="*/ 448532 w 1216913"/>
                <a:gd name="connsiteY593" fmla="*/ 769049 h 1049655"/>
                <a:gd name="connsiteX594" fmla="*/ 444817 w 1216913"/>
                <a:gd name="connsiteY594" fmla="*/ 777526 h 1049655"/>
                <a:gd name="connsiteX595" fmla="*/ 450151 w 1216913"/>
                <a:gd name="connsiteY595" fmla="*/ 781622 h 1049655"/>
                <a:gd name="connsiteX596" fmla="*/ 451294 w 1216913"/>
                <a:gd name="connsiteY596" fmla="*/ 791051 h 1049655"/>
                <a:gd name="connsiteX597" fmla="*/ 453104 w 1216913"/>
                <a:gd name="connsiteY597" fmla="*/ 792480 h 1049655"/>
                <a:gd name="connsiteX598" fmla="*/ 455866 w 1216913"/>
                <a:gd name="connsiteY598" fmla="*/ 788956 h 1049655"/>
                <a:gd name="connsiteX599" fmla="*/ 459010 w 1216913"/>
                <a:gd name="connsiteY599" fmla="*/ 788479 h 1049655"/>
                <a:gd name="connsiteX600" fmla="*/ 464820 w 1216913"/>
                <a:gd name="connsiteY600" fmla="*/ 795814 h 1049655"/>
                <a:gd name="connsiteX601" fmla="*/ 473488 w 1216913"/>
                <a:gd name="connsiteY601" fmla="*/ 801148 h 1049655"/>
                <a:gd name="connsiteX602" fmla="*/ 479965 w 1216913"/>
                <a:gd name="connsiteY602" fmla="*/ 801910 h 1049655"/>
                <a:gd name="connsiteX603" fmla="*/ 484537 w 1216913"/>
                <a:gd name="connsiteY603" fmla="*/ 812482 h 1049655"/>
                <a:gd name="connsiteX604" fmla="*/ 490061 w 1216913"/>
                <a:gd name="connsiteY604" fmla="*/ 818198 h 1049655"/>
                <a:gd name="connsiteX605" fmla="*/ 493681 w 1216913"/>
                <a:gd name="connsiteY605" fmla="*/ 820960 h 1049655"/>
                <a:gd name="connsiteX606" fmla="*/ 495586 w 1216913"/>
                <a:gd name="connsiteY606" fmla="*/ 823912 h 1049655"/>
                <a:gd name="connsiteX607" fmla="*/ 497967 w 1216913"/>
                <a:gd name="connsiteY607" fmla="*/ 830008 h 1049655"/>
                <a:gd name="connsiteX608" fmla="*/ 501110 w 1216913"/>
                <a:gd name="connsiteY608" fmla="*/ 829628 h 1049655"/>
                <a:gd name="connsiteX609" fmla="*/ 501777 w 1216913"/>
                <a:gd name="connsiteY609" fmla="*/ 834390 h 1049655"/>
                <a:gd name="connsiteX610" fmla="*/ 503301 w 1216913"/>
                <a:gd name="connsiteY610" fmla="*/ 834199 h 1049655"/>
                <a:gd name="connsiteX611" fmla="*/ 501967 w 1216913"/>
                <a:gd name="connsiteY611" fmla="*/ 836009 h 1049655"/>
                <a:gd name="connsiteX612" fmla="*/ 504158 w 1216913"/>
                <a:gd name="connsiteY612" fmla="*/ 840486 h 1049655"/>
                <a:gd name="connsiteX613" fmla="*/ 507111 w 1216913"/>
                <a:gd name="connsiteY613" fmla="*/ 838486 h 1049655"/>
                <a:gd name="connsiteX614" fmla="*/ 508921 w 1216913"/>
                <a:gd name="connsiteY614" fmla="*/ 839915 h 1049655"/>
                <a:gd name="connsiteX615" fmla="*/ 508063 w 1216913"/>
                <a:gd name="connsiteY615" fmla="*/ 846391 h 1049655"/>
                <a:gd name="connsiteX616" fmla="*/ 513207 w 1216913"/>
                <a:gd name="connsiteY616" fmla="*/ 848963 h 1049655"/>
                <a:gd name="connsiteX617" fmla="*/ 516350 w 1216913"/>
                <a:gd name="connsiteY617" fmla="*/ 848582 h 1049655"/>
                <a:gd name="connsiteX618" fmla="*/ 513397 w 1216913"/>
                <a:gd name="connsiteY618" fmla="*/ 850582 h 1049655"/>
                <a:gd name="connsiteX619" fmla="*/ 515017 w 1216913"/>
                <a:gd name="connsiteY619" fmla="*/ 850297 h 1049655"/>
                <a:gd name="connsiteX620" fmla="*/ 513874 w 1216913"/>
                <a:gd name="connsiteY620" fmla="*/ 853726 h 1049655"/>
                <a:gd name="connsiteX621" fmla="*/ 517207 w 1216913"/>
                <a:gd name="connsiteY621" fmla="*/ 854869 h 1049655"/>
                <a:gd name="connsiteX622" fmla="*/ 513302 w 1216913"/>
                <a:gd name="connsiteY622" fmla="*/ 861822 h 1049655"/>
                <a:gd name="connsiteX623" fmla="*/ 508349 w 1216913"/>
                <a:gd name="connsiteY623" fmla="*/ 860774 h 1049655"/>
                <a:gd name="connsiteX624" fmla="*/ 501205 w 1216913"/>
                <a:gd name="connsiteY624" fmla="*/ 868108 h 1049655"/>
                <a:gd name="connsiteX625" fmla="*/ 501682 w 1216913"/>
                <a:gd name="connsiteY625" fmla="*/ 871252 h 1049655"/>
                <a:gd name="connsiteX626" fmla="*/ 504825 w 1216913"/>
                <a:gd name="connsiteY626" fmla="*/ 870871 h 1049655"/>
                <a:gd name="connsiteX627" fmla="*/ 508730 w 1216913"/>
                <a:gd name="connsiteY627" fmla="*/ 876776 h 1049655"/>
                <a:gd name="connsiteX628" fmla="*/ 509588 w 1216913"/>
                <a:gd name="connsiteY628" fmla="*/ 883063 h 1049655"/>
                <a:gd name="connsiteX629" fmla="*/ 516731 w 1216913"/>
                <a:gd name="connsiteY629" fmla="*/ 888587 h 1049655"/>
                <a:gd name="connsiteX630" fmla="*/ 521398 w 1216913"/>
                <a:gd name="connsiteY630" fmla="*/ 875157 h 1049655"/>
                <a:gd name="connsiteX631" fmla="*/ 522732 w 1216913"/>
                <a:gd name="connsiteY631" fmla="*/ 873443 h 1049655"/>
                <a:gd name="connsiteX632" fmla="*/ 527494 w 1216913"/>
                <a:gd name="connsiteY632" fmla="*/ 872776 h 1049655"/>
                <a:gd name="connsiteX633" fmla="*/ 526923 w 1216913"/>
                <a:gd name="connsiteY633" fmla="*/ 868108 h 1049655"/>
                <a:gd name="connsiteX634" fmla="*/ 529685 w 1216913"/>
                <a:gd name="connsiteY634" fmla="*/ 864489 h 1049655"/>
                <a:gd name="connsiteX635" fmla="*/ 539972 w 1216913"/>
                <a:gd name="connsiteY635" fmla="*/ 869632 h 1049655"/>
                <a:gd name="connsiteX636" fmla="*/ 540925 w 1216913"/>
                <a:gd name="connsiteY636" fmla="*/ 864679 h 1049655"/>
                <a:gd name="connsiteX637" fmla="*/ 544068 w 1216913"/>
                <a:gd name="connsiteY637" fmla="*/ 864299 h 1049655"/>
                <a:gd name="connsiteX638" fmla="*/ 544258 w 1216913"/>
                <a:gd name="connsiteY638" fmla="*/ 865823 h 1049655"/>
                <a:gd name="connsiteX639" fmla="*/ 541687 w 1216913"/>
                <a:gd name="connsiteY639" fmla="*/ 870966 h 1049655"/>
                <a:gd name="connsiteX640" fmla="*/ 548830 w 1216913"/>
                <a:gd name="connsiteY640" fmla="*/ 876490 h 1049655"/>
                <a:gd name="connsiteX641" fmla="*/ 546449 w 1216913"/>
                <a:gd name="connsiteY641" fmla="*/ 883253 h 1049655"/>
                <a:gd name="connsiteX642" fmla="*/ 548068 w 1216913"/>
                <a:gd name="connsiteY642" fmla="*/ 883063 h 1049655"/>
                <a:gd name="connsiteX643" fmla="*/ 548449 w 1216913"/>
                <a:gd name="connsiteY643" fmla="*/ 886206 h 1049655"/>
                <a:gd name="connsiteX644" fmla="*/ 550259 w 1216913"/>
                <a:gd name="connsiteY644" fmla="*/ 887540 h 1049655"/>
                <a:gd name="connsiteX645" fmla="*/ 549497 w 1216913"/>
                <a:gd name="connsiteY645" fmla="*/ 894016 h 1049655"/>
                <a:gd name="connsiteX646" fmla="*/ 554164 w 1216913"/>
                <a:gd name="connsiteY646" fmla="*/ 893445 h 1049655"/>
                <a:gd name="connsiteX647" fmla="*/ 554641 w 1216913"/>
                <a:gd name="connsiteY647" fmla="*/ 896588 h 1049655"/>
                <a:gd name="connsiteX648" fmla="*/ 576643 w 1216913"/>
                <a:gd name="connsiteY648" fmla="*/ 893826 h 1049655"/>
                <a:gd name="connsiteX649" fmla="*/ 583216 w 1216913"/>
                <a:gd name="connsiteY649" fmla="*/ 894588 h 1049655"/>
                <a:gd name="connsiteX650" fmla="*/ 590264 w 1216913"/>
                <a:gd name="connsiteY650" fmla="*/ 900112 h 1049655"/>
                <a:gd name="connsiteX651" fmla="*/ 591502 w 1216913"/>
                <a:gd name="connsiteY651" fmla="*/ 896683 h 1049655"/>
                <a:gd name="connsiteX652" fmla="*/ 594646 w 1216913"/>
                <a:gd name="connsiteY652" fmla="*/ 896303 h 1049655"/>
                <a:gd name="connsiteX653" fmla="*/ 600551 w 1216913"/>
                <a:gd name="connsiteY653" fmla="*/ 905161 h 1049655"/>
                <a:gd name="connsiteX654" fmla="*/ 607885 w 1216913"/>
                <a:gd name="connsiteY654" fmla="*/ 912304 h 1049655"/>
                <a:gd name="connsiteX655" fmla="*/ 609314 w 1216913"/>
                <a:gd name="connsiteY655" fmla="*/ 923353 h 1049655"/>
                <a:gd name="connsiteX656" fmla="*/ 608933 w 1216913"/>
                <a:gd name="connsiteY656" fmla="*/ 932974 h 1049655"/>
                <a:gd name="connsiteX657" fmla="*/ 615696 w 1216913"/>
                <a:gd name="connsiteY657" fmla="*/ 935355 h 1049655"/>
                <a:gd name="connsiteX658" fmla="*/ 617030 w 1216913"/>
                <a:gd name="connsiteY658" fmla="*/ 933545 h 1049655"/>
                <a:gd name="connsiteX659" fmla="*/ 623316 w 1216913"/>
                <a:gd name="connsiteY659" fmla="*/ 932783 h 1049655"/>
                <a:gd name="connsiteX660" fmla="*/ 638365 w 1216913"/>
                <a:gd name="connsiteY660" fmla="*/ 924401 h 1049655"/>
                <a:gd name="connsiteX661" fmla="*/ 652367 w 1216913"/>
                <a:gd name="connsiteY661" fmla="*/ 921068 h 1049655"/>
                <a:gd name="connsiteX662" fmla="*/ 659987 w 1216913"/>
                <a:gd name="connsiteY662" fmla="*/ 918496 h 1049655"/>
                <a:gd name="connsiteX663" fmla="*/ 668083 w 1216913"/>
                <a:gd name="connsiteY663" fmla="*/ 919067 h 1049655"/>
                <a:gd name="connsiteX664" fmla="*/ 669703 w 1216913"/>
                <a:gd name="connsiteY664" fmla="*/ 918877 h 1049655"/>
                <a:gd name="connsiteX665" fmla="*/ 673989 w 1216913"/>
                <a:gd name="connsiteY665" fmla="*/ 915067 h 1049655"/>
                <a:gd name="connsiteX666" fmla="*/ 682276 w 1216913"/>
                <a:gd name="connsiteY666" fmla="*/ 917257 h 1049655"/>
                <a:gd name="connsiteX667" fmla="*/ 685229 w 1216913"/>
                <a:gd name="connsiteY667" fmla="*/ 915257 h 1049655"/>
                <a:gd name="connsiteX668" fmla="*/ 691801 w 1216913"/>
                <a:gd name="connsiteY668" fmla="*/ 916019 h 1049655"/>
                <a:gd name="connsiteX669" fmla="*/ 702373 w 1216913"/>
                <a:gd name="connsiteY669" fmla="*/ 911447 h 1049655"/>
                <a:gd name="connsiteX670" fmla="*/ 710374 w 1216913"/>
                <a:gd name="connsiteY670" fmla="*/ 923258 h 1049655"/>
                <a:gd name="connsiteX671" fmla="*/ 725900 w 1216913"/>
                <a:gd name="connsiteY671" fmla="*/ 919734 h 1049655"/>
                <a:gd name="connsiteX672" fmla="*/ 730282 w 1216913"/>
                <a:gd name="connsiteY672" fmla="*/ 915924 h 1049655"/>
                <a:gd name="connsiteX673" fmla="*/ 733806 w 1216913"/>
                <a:gd name="connsiteY673" fmla="*/ 918686 h 1049655"/>
                <a:gd name="connsiteX674" fmla="*/ 738378 w 1216913"/>
                <a:gd name="connsiteY674" fmla="*/ 929354 h 1049655"/>
                <a:gd name="connsiteX675" fmla="*/ 749617 w 1216913"/>
                <a:gd name="connsiteY675" fmla="*/ 942308 h 1049655"/>
                <a:gd name="connsiteX676" fmla="*/ 758190 w 1216913"/>
                <a:gd name="connsiteY676" fmla="*/ 946023 h 1049655"/>
                <a:gd name="connsiteX677" fmla="*/ 767239 w 1216913"/>
                <a:gd name="connsiteY677" fmla="*/ 941641 h 1049655"/>
                <a:gd name="connsiteX678" fmla="*/ 770382 w 1216913"/>
                <a:gd name="connsiteY678" fmla="*/ 941261 h 1049655"/>
                <a:gd name="connsiteX679" fmla="*/ 774382 w 1216913"/>
                <a:gd name="connsiteY679" fmla="*/ 947166 h 1049655"/>
                <a:gd name="connsiteX680" fmla="*/ 794290 w 1216913"/>
                <a:gd name="connsiteY680" fmla="*/ 952690 h 1049655"/>
                <a:gd name="connsiteX681" fmla="*/ 798766 w 1216913"/>
                <a:gd name="connsiteY681" fmla="*/ 950500 h 1049655"/>
                <a:gd name="connsiteX682" fmla="*/ 803910 w 1216913"/>
                <a:gd name="connsiteY682" fmla="*/ 940213 h 1049655"/>
                <a:gd name="connsiteX683" fmla="*/ 808672 w 1216913"/>
                <a:gd name="connsiteY683" fmla="*/ 939641 h 1049655"/>
                <a:gd name="connsiteX684" fmla="*/ 820102 w 1216913"/>
                <a:gd name="connsiteY684" fmla="*/ 941356 h 1049655"/>
                <a:gd name="connsiteX685" fmla="*/ 826770 w 1216913"/>
                <a:gd name="connsiteY685" fmla="*/ 943737 h 1049655"/>
                <a:gd name="connsiteX686" fmla="*/ 830580 w 1216913"/>
                <a:gd name="connsiteY686" fmla="*/ 948023 h 1049655"/>
                <a:gd name="connsiteX687" fmla="*/ 833342 w 1216913"/>
                <a:gd name="connsiteY687" fmla="*/ 970121 h 1049655"/>
                <a:gd name="connsiteX688" fmla="*/ 838962 w 1216913"/>
                <a:gd name="connsiteY688" fmla="*/ 975836 h 1049655"/>
                <a:gd name="connsiteX689" fmla="*/ 845058 w 1216913"/>
                <a:gd name="connsiteY689" fmla="*/ 986314 h 1049655"/>
                <a:gd name="connsiteX690" fmla="*/ 850011 w 1216913"/>
                <a:gd name="connsiteY690" fmla="*/ 987266 h 1049655"/>
                <a:gd name="connsiteX691" fmla="*/ 858679 w 1216913"/>
                <a:gd name="connsiteY691" fmla="*/ 992600 h 1049655"/>
                <a:gd name="connsiteX692" fmla="*/ 864965 w 1216913"/>
                <a:gd name="connsiteY692" fmla="*/ 991743 h 1049655"/>
                <a:gd name="connsiteX693" fmla="*/ 869347 w 1216913"/>
                <a:gd name="connsiteY693" fmla="*/ 1000792 h 1049655"/>
                <a:gd name="connsiteX694" fmla="*/ 871347 w 1216913"/>
                <a:gd name="connsiteY694" fmla="*/ 1003840 h 1049655"/>
                <a:gd name="connsiteX695" fmla="*/ 869728 w 1216913"/>
                <a:gd name="connsiteY695" fmla="*/ 1004030 h 1049655"/>
                <a:gd name="connsiteX696" fmla="*/ 871728 w 1216913"/>
                <a:gd name="connsiteY696" fmla="*/ 1006983 h 1049655"/>
                <a:gd name="connsiteX697" fmla="*/ 876490 w 1216913"/>
                <a:gd name="connsiteY697" fmla="*/ 1006316 h 1049655"/>
                <a:gd name="connsiteX698" fmla="*/ 881253 w 1216913"/>
                <a:gd name="connsiteY698" fmla="*/ 1018603 h 1049655"/>
                <a:gd name="connsiteX699" fmla="*/ 876014 w 1216913"/>
                <a:gd name="connsiteY699" fmla="*/ 1040130 h 1049655"/>
                <a:gd name="connsiteX700" fmla="*/ 883825 w 1216913"/>
                <a:gd name="connsiteY700" fmla="*/ 1039082 h 1049655"/>
                <a:gd name="connsiteX701" fmla="*/ 888778 w 1216913"/>
                <a:gd name="connsiteY701" fmla="*/ 1040035 h 1049655"/>
                <a:gd name="connsiteX702" fmla="*/ 895922 w 1216913"/>
                <a:gd name="connsiteY702" fmla="*/ 1045559 h 1049655"/>
                <a:gd name="connsiteX703" fmla="*/ 900684 w 1216913"/>
                <a:gd name="connsiteY703" fmla="*/ 1044988 h 1049655"/>
                <a:gd name="connsiteX704" fmla="*/ 905827 w 1216913"/>
                <a:gd name="connsiteY704" fmla="*/ 1047560 h 1049655"/>
                <a:gd name="connsiteX705" fmla="*/ 910114 w 1216913"/>
                <a:gd name="connsiteY705" fmla="*/ 1043749 h 1049655"/>
                <a:gd name="connsiteX706" fmla="*/ 926878 w 1216913"/>
                <a:gd name="connsiteY706" fmla="*/ 1049655 h 1049655"/>
                <a:gd name="connsiteX707" fmla="*/ 936403 w 1216913"/>
                <a:gd name="connsiteY707" fmla="*/ 1048417 h 1049655"/>
                <a:gd name="connsiteX708" fmla="*/ 937355 w 1216913"/>
                <a:gd name="connsiteY708" fmla="*/ 1043464 h 1049655"/>
                <a:gd name="connsiteX709" fmla="*/ 940117 w 1216913"/>
                <a:gd name="connsiteY709" fmla="*/ 1039940 h 1049655"/>
                <a:gd name="connsiteX710" fmla="*/ 955072 w 1216913"/>
                <a:gd name="connsiteY710" fmla="*/ 1031653 h 1049655"/>
                <a:gd name="connsiteX711" fmla="*/ 956024 w 1216913"/>
                <a:gd name="connsiteY711" fmla="*/ 1026700 h 1049655"/>
                <a:gd name="connsiteX712" fmla="*/ 955262 w 1216913"/>
                <a:gd name="connsiteY712" fmla="*/ 1020413 h 1049655"/>
                <a:gd name="connsiteX713" fmla="*/ 958024 w 1216913"/>
                <a:gd name="connsiteY713" fmla="*/ 1016794 h 1049655"/>
                <a:gd name="connsiteX714" fmla="*/ 959167 w 1216913"/>
                <a:gd name="connsiteY714" fmla="*/ 1013460 h 1049655"/>
                <a:gd name="connsiteX715" fmla="*/ 968026 w 1216913"/>
                <a:gd name="connsiteY715" fmla="*/ 1007554 h 1049655"/>
                <a:gd name="connsiteX716" fmla="*/ 962692 w 1216913"/>
                <a:gd name="connsiteY716" fmla="*/ 1003364 h 1049655"/>
                <a:gd name="connsiteX717" fmla="*/ 967073 w 1216913"/>
                <a:gd name="connsiteY717" fmla="*/ 999649 h 1049655"/>
                <a:gd name="connsiteX718" fmla="*/ 971740 w 1216913"/>
                <a:gd name="connsiteY718" fmla="*/ 998982 h 1049655"/>
                <a:gd name="connsiteX719" fmla="*/ 972598 w 1216913"/>
                <a:gd name="connsiteY719" fmla="*/ 992505 h 1049655"/>
                <a:gd name="connsiteX720" fmla="*/ 984409 w 1216913"/>
                <a:gd name="connsiteY720" fmla="*/ 984599 h 1049655"/>
                <a:gd name="connsiteX721" fmla="*/ 987933 w 1216913"/>
                <a:gd name="connsiteY721" fmla="*/ 974503 h 1049655"/>
                <a:gd name="connsiteX722" fmla="*/ 990886 w 1216913"/>
                <a:gd name="connsiteY722" fmla="*/ 972503 h 1049655"/>
                <a:gd name="connsiteX723" fmla="*/ 993172 w 1216913"/>
                <a:gd name="connsiteY723" fmla="*/ 965835 h 1049655"/>
                <a:gd name="connsiteX724" fmla="*/ 999554 w 1216913"/>
                <a:gd name="connsiteY724" fmla="*/ 964978 h 1049655"/>
                <a:gd name="connsiteX725" fmla="*/ 1000887 w 1216913"/>
                <a:gd name="connsiteY725" fmla="*/ 963263 h 1049655"/>
                <a:gd name="connsiteX726" fmla="*/ 1002030 w 1216913"/>
                <a:gd name="connsiteY726" fmla="*/ 959834 h 1049655"/>
                <a:gd name="connsiteX727" fmla="*/ 998315 w 1216913"/>
                <a:gd name="connsiteY727" fmla="*/ 955548 h 1049655"/>
                <a:gd name="connsiteX728" fmla="*/ 997458 w 1216913"/>
                <a:gd name="connsiteY728" fmla="*/ 949261 h 1049655"/>
                <a:gd name="connsiteX729" fmla="*/ 993743 w 1216913"/>
                <a:gd name="connsiteY729" fmla="*/ 944880 h 1049655"/>
                <a:gd name="connsiteX730" fmla="*/ 991552 w 1216913"/>
                <a:gd name="connsiteY730" fmla="*/ 940403 h 1049655"/>
                <a:gd name="connsiteX731" fmla="*/ 992505 w 1216913"/>
                <a:gd name="connsiteY731" fmla="*/ 935450 h 1049655"/>
                <a:gd name="connsiteX732" fmla="*/ 997077 w 1216913"/>
                <a:gd name="connsiteY732" fmla="*/ 933260 h 1049655"/>
                <a:gd name="connsiteX733" fmla="*/ 996886 w 1216913"/>
                <a:gd name="connsiteY733" fmla="*/ 931640 h 1049655"/>
                <a:gd name="connsiteX734" fmla="*/ 997648 w 1216913"/>
                <a:gd name="connsiteY734" fmla="*/ 925163 h 1049655"/>
                <a:gd name="connsiteX735" fmla="*/ 1002221 w 1216913"/>
                <a:gd name="connsiteY735" fmla="*/ 922973 h 1049655"/>
                <a:gd name="connsiteX736" fmla="*/ 1003554 w 1216913"/>
                <a:gd name="connsiteY736" fmla="*/ 921163 h 1049655"/>
                <a:gd name="connsiteX737" fmla="*/ 1015555 w 1216913"/>
                <a:gd name="connsiteY737" fmla="*/ 914876 h 1049655"/>
                <a:gd name="connsiteX738" fmla="*/ 1023842 w 1216913"/>
                <a:gd name="connsiteY738" fmla="*/ 916972 h 1049655"/>
                <a:gd name="connsiteX739" fmla="*/ 1031367 w 1216913"/>
                <a:gd name="connsiteY739" fmla="*/ 912876 h 1049655"/>
                <a:gd name="connsiteX740" fmla="*/ 1034320 w 1216913"/>
                <a:gd name="connsiteY740" fmla="*/ 910876 h 1049655"/>
                <a:gd name="connsiteX741" fmla="*/ 1036130 w 1216913"/>
                <a:gd name="connsiteY741" fmla="*/ 912209 h 1049655"/>
                <a:gd name="connsiteX742" fmla="*/ 1038320 w 1216913"/>
                <a:gd name="connsiteY742" fmla="*/ 916781 h 1049655"/>
                <a:gd name="connsiteX743" fmla="*/ 1039463 w 1216913"/>
                <a:gd name="connsiteY743" fmla="*/ 926211 h 1049655"/>
                <a:gd name="connsiteX744" fmla="*/ 1049369 w 1216913"/>
                <a:gd name="connsiteY744" fmla="*/ 928211 h 1049655"/>
                <a:gd name="connsiteX745" fmla="*/ 1058418 w 1216913"/>
                <a:gd name="connsiteY745" fmla="*/ 923830 h 1049655"/>
                <a:gd name="connsiteX746" fmla="*/ 1065181 w 1216913"/>
                <a:gd name="connsiteY746" fmla="*/ 926211 h 1049655"/>
                <a:gd name="connsiteX747" fmla="*/ 1066133 w 1216913"/>
                <a:gd name="connsiteY747" fmla="*/ 921258 h 1049655"/>
                <a:gd name="connsiteX748" fmla="*/ 1074039 w 1216913"/>
                <a:gd name="connsiteY748" fmla="*/ 920210 h 1049655"/>
                <a:gd name="connsiteX749" fmla="*/ 1076992 w 1216913"/>
                <a:gd name="connsiteY749" fmla="*/ 918305 h 1049655"/>
                <a:gd name="connsiteX750" fmla="*/ 1081659 w 1216913"/>
                <a:gd name="connsiteY750" fmla="*/ 917639 h 1049655"/>
                <a:gd name="connsiteX751" fmla="*/ 1085850 w 1216913"/>
                <a:gd name="connsiteY751" fmla="*/ 912304 h 1049655"/>
                <a:gd name="connsiteX752" fmla="*/ 1087374 w 1216913"/>
                <a:gd name="connsiteY752" fmla="*/ 912114 h 1049655"/>
                <a:gd name="connsiteX753" fmla="*/ 1094137 w 1216913"/>
                <a:gd name="connsiteY753" fmla="*/ 914495 h 1049655"/>
                <a:gd name="connsiteX754" fmla="*/ 1094708 w 1216913"/>
                <a:gd name="connsiteY754" fmla="*/ 919162 h 1049655"/>
                <a:gd name="connsiteX755" fmla="*/ 1098042 w 1216913"/>
                <a:gd name="connsiteY755" fmla="*/ 920401 h 1049655"/>
                <a:gd name="connsiteX756" fmla="*/ 1102995 w 1216913"/>
                <a:gd name="connsiteY756" fmla="*/ 921353 h 1049655"/>
                <a:gd name="connsiteX757" fmla="*/ 1113663 w 1216913"/>
                <a:gd name="connsiteY757" fmla="*/ 916781 h 1049655"/>
                <a:gd name="connsiteX758" fmla="*/ 1120616 w 1216913"/>
                <a:gd name="connsiteY758" fmla="*/ 920686 h 1049655"/>
                <a:gd name="connsiteX759" fmla="*/ 1131475 w 1216913"/>
                <a:gd name="connsiteY759" fmla="*/ 930593 h 1049655"/>
                <a:gd name="connsiteX760" fmla="*/ 1139761 w 1216913"/>
                <a:gd name="connsiteY760" fmla="*/ 932688 h 1049655"/>
                <a:gd name="connsiteX761" fmla="*/ 1142524 w 1216913"/>
                <a:gd name="connsiteY761" fmla="*/ 929164 h 1049655"/>
                <a:gd name="connsiteX762" fmla="*/ 1145857 w 1216913"/>
                <a:gd name="connsiteY762" fmla="*/ 930307 h 1049655"/>
                <a:gd name="connsiteX763" fmla="*/ 1161383 w 1216913"/>
                <a:gd name="connsiteY763" fmla="*/ 913924 h 1049655"/>
                <a:gd name="connsiteX764" fmla="*/ 1168717 w 1216913"/>
                <a:gd name="connsiteY764" fmla="*/ 908209 h 1049655"/>
                <a:gd name="connsiteX765" fmla="*/ 1168908 w 1216913"/>
                <a:gd name="connsiteY765" fmla="*/ 909733 h 1049655"/>
                <a:gd name="connsiteX766" fmla="*/ 1176623 w 1216913"/>
                <a:gd name="connsiteY766" fmla="*/ 907161 h 1049655"/>
                <a:gd name="connsiteX767" fmla="*/ 1181862 w 1216913"/>
                <a:gd name="connsiteY767" fmla="*/ 898493 h 1049655"/>
                <a:gd name="connsiteX768" fmla="*/ 1189958 w 1216913"/>
                <a:gd name="connsiteY768" fmla="*/ 899065 h 1049655"/>
                <a:gd name="connsiteX769" fmla="*/ 1202817 w 1216913"/>
                <a:gd name="connsiteY769" fmla="*/ 898970 h 1049655"/>
                <a:gd name="connsiteX770" fmla="*/ 1212056 w 1216913"/>
                <a:gd name="connsiteY770" fmla="*/ 896207 h 1049655"/>
                <a:gd name="connsiteX771" fmla="*/ 1211866 w 1216913"/>
                <a:gd name="connsiteY771" fmla="*/ 894683 h 1049655"/>
                <a:gd name="connsiteX772" fmla="*/ 1205579 w 1216913"/>
                <a:gd name="connsiteY772" fmla="*/ 895445 h 1049655"/>
                <a:gd name="connsiteX773" fmla="*/ 1201579 w 1216913"/>
                <a:gd name="connsiteY773" fmla="*/ 889540 h 1049655"/>
                <a:gd name="connsiteX774" fmla="*/ 1205770 w 1216913"/>
                <a:gd name="connsiteY774" fmla="*/ 884206 h 1049655"/>
                <a:gd name="connsiteX775" fmla="*/ 1205103 w 1216913"/>
                <a:gd name="connsiteY775" fmla="*/ 879443 h 1049655"/>
                <a:gd name="connsiteX776" fmla="*/ 1204913 w 1216913"/>
                <a:gd name="connsiteY776" fmla="*/ 877919 h 1049655"/>
                <a:gd name="connsiteX777" fmla="*/ 1207865 w 1216913"/>
                <a:gd name="connsiteY777" fmla="*/ 875919 h 1049655"/>
                <a:gd name="connsiteX778" fmla="*/ 1209675 w 1216913"/>
                <a:gd name="connsiteY778" fmla="*/ 877253 h 1049655"/>
                <a:gd name="connsiteX779" fmla="*/ 1215390 w 1216913"/>
                <a:gd name="connsiteY779" fmla="*/ 871728 h 1049655"/>
                <a:gd name="connsiteX780" fmla="*/ 1216914 w 1216913"/>
                <a:gd name="connsiteY780" fmla="*/ 858774 h 1049655"/>
                <a:gd name="connsiteX781" fmla="*/ 1209770 w 1216913"/>
                <a:gd name="connsiteY781" fmla="*/ 853249 h 1049655"/>
                <a:gd name="connsiteX782" fmla="*/ 1209770 w 1216913"/>
                <a:gd name="connsiteY782" fmla="*/ 853249 h 1049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</a:cxnLst>
              <a:rect l="l" t="t" r="r" b="b"/>
              <a:pathLst>
                <a:path w="1216913" h="1049655">
                  <a:moveTo>
                    <a:pt x="1209770" y="853249"/>
                  </a:moveTo>
                  <a:lnTo>
                    <a:pt x="1205674" y="845725"/>
                  </a:lnTo>
                  <a:lnTo>
                    <a:pt x="1200912" y="846296"/>
                  </a:lnTo>
                  <a:lnTo>
                    <a:pt x="1200722" y="844772"/>
                  </a:lnTo>
                  <a:lnTo>
                    <a:pt x="1199674" y="836866"/>
                  </a:lnTo>
                  <a:lnTo>
                    <a:pt x="1195959" y="832580"/>
                  </a:lnTo>
                  <a:lnTo>
                    <a:pt x="1196911" y="827627"/>
                  </a:lnTo>
                  <a:lnTo>
                    <a:pt x="1194340" y="819912"/>
                  </a:lnTo>
                  <a:lnTo>
                    <a:pt x="1197292" y="817912"/>
                  </a:lnTo>
                  <a:lnTo>
                    <a:pt x="1199007" y="806482"/>
                  </a:lnTo>
                  <a:lnTo>
                    <a:pt x="1192721" y="807244"/>
                  </a:lnTo>
                  <a:lnTo>
                    <a:pt x="1190911" y="805910"/>
                  </a:lnTo>
                  <a:lnTo>
                    <a:pt x="1187958" y="795052"/>
                  </a:lnTo>
                  <a:lnTo>
                    <a:pt x="1188530" y="786956"/>
                  </a:lnTo>
                  <a:lnTo>
                    <a:pt x="1183005" y="781240"/>
                  </a:lnTo>
                  <a:lnTo>
                    <a:pt x="1185577" y="776097"/>
                  </a:lnTo>
                  <a:lnTo>
                    <a:pt x="1181005" y="765524"/>
                  </a:lnTo>
                  <a:lnTo>
                    <a:pt x="1179195" y="764095"/>
                  </a:lnTo>
                  <a:lnTo>
                    <a:pt x="1178433" y="757809"/>
                  </a:lnTo>
                  <a:lnTo>
                    <a:pt x="1173671" y="745617"/>
                  </a:lnTo>
                  <a:lnTo>
                    <a:pt x="1174432" y="739045"/>
                  </a:lnTo>
                  <a:lnTo>
                    <a:pt x="1173004" y="727996"/>
                  </a:lnTo>
                  <a:lnTo>
                    <a:pt x="1173766" y="721519"/>
                  </a:lnTo>
                  <a:lnTo>
                    <a:pt x="1171194" y="713803"/>
                  </a:lnTo>
                  <a:lnTo>
                    <a:pt x="1169384" y="712470"/>
                  </a:lnTo>
                  <a:lnTo>
                    <a:pt x="1163098" y="713232"/>
                  </a:lnTo>
                  <a:lnTo>
                    <a:pt x="1152620" y="706565"/>
                  </a:lnTo>
                  <a:lnTo>
                    <a:pt x="1143381" y="709327"/>
                  </a:lnTo>
                  <a:lnTo>
                    <a:pt x="1141571" y="707993"/>
                  </a:lnTo>
                  <a:lnTo>
                    <a:pt x="1131570" y="717232"/>
                  </a:lnTo>
                  <a:lnTo>
                    <a:pt x="1124998" y="716470"/>
                  </a:lnTo>
                  <a:lnTo>
                    <a:pt x="1122616" y="710374"/>
                  </a:lnTo>
                  <a:lnTo>
                    <a:pt x="1117473" y="707803"/>
                  </a:lnTo>
                  <a:lnTo>
                    <a:pt x="1112996" y="709994"/>
                  </a:lnTo>
                  <a:lnTo>
                    <a:pt x="1108043" y="709041"/>
                  </a:lnTo>
                  <a:lnTo>
                    <a:pt x="1108996" y="704088"/>
                  </a:lnTo>
                  <a:lnTo>
                    <a:pt x="1105472" y="701326"/>
                  </a:lnTo>
                  <a:lnTo>
                    <a:pt x="1106424" y="696373"/>
                  </a:lnTo>
                  <a:lnTo>
                    <a:pt x="1101661" y="697040"/>
                  </a:lnTo>
                  <a:lnTo>
                    <a:pt x="1102709" y="692086"/>
                  </a:lnTo>
                  <a:lnTo>
                    <a:pt x="1101852" y="685800"/>
                  </a:lnTo>
                  <a:lnTo>
                    <a:pt x="1090422" y="683990"/>
                  </a:lnTo>
                  <a:lnTo>
                    <a:pt x="1081183" y="686753"/>
                  </a:lnTo>
                  <a:lnTo>
                    <a:pt x="1077754" y="685610"/>
                  </a:lnTo>
                  <a:lnTo>
                    <a:pt x="1073467" y="689420"/>
                  </a:lnTo>
                  <a:lnTo>
                    <a:pt x="1072420" y="681514"/>
                  </a:lnTo>
                  <a:lnTo>
                    <a:pt x="1069086" y="680276"/>
                  </a:lnTo>
                  <a:lnTo>
                    <a:pt x="1065943" y="680752"/>
                  </a:lnTo>
                  <a:lnTo>
                    <a:pt x="1062990" y="682657"/>
                  </a:lnTo>
                  <a:lnTo>
                    <a:pt x="1062609" y="679514"/>
                  </a:lnTo>
                  <a:lnTo>
                    <a:pt x="1054513" y="678942"/>
                  </a:lnTo>
                  <a:lnTo>
                    <a:pt x="1050893" y="676180"/>
                  </a:lnTo>
                  <a:lnTo>
                    <a:pt x="1050512" y="673036"/>
                  </a:lnTo>
                  <a:lnTo>
                    <a:pt x="1048702" y="671703"/>
                  </a:lnTo>
                  <a:lnTo>
                    <a:pt x="1044988" y="667322"/>
                  </a:lnTo>
                  <a:lnTo>
                    <a:pt x="1041844" y="667703"/>
                  </a:lnTo>
                  <a:lnTo>
                    <a:pt x="1044607" y="664178"/>
                  </a:lnTo>
                  <a:lnTo>
                    <a:pt x="1042416" y="659606"/>
                  </a:lnTo>
                  <a:lnTo>
                    <a:pt x="1044702" y="640080"/>
                  </a:lnTo>
                  <a:lnTo>
                    <a:pt x="1040987" y="635794"/>
                  </a:lnTo>
                  <a:lnTo>
                    <a:pt x="1036034" y="634841"/>
                  </a:lnTo>
                  <a:lnTo>
                    <a:pt x="1032510" y="632079"/>
                  </a:lnTo>
                  <a:lnTo>
                    <a:pt x="1033272" y="625507"/>
                  </a:lnTo>
                  <a:lnTo>
                    <a:pt x="1030033" y="613124"/>
                  </a:lnTo>
                  <a:lnTo>
                    <a:pt x="1024890" y="610553"/>
                  </a:lnTo>
                  <a:lnTo>
                    <a:pt x="1023938" y="602647"/>
                  </a:lnTo>
                  <a:lnTo>
                    <a:pt x="1020127" y="598361"/>
                  </a:lnTo>
                  <a:lnTo>
                    <a:pt x="1020889" y="591788"/>
                  </a:lnTo>
                  <a:lnTo>
                    <a:pt x="1018699" y="587311"/>
                  </a:lnTo>
                  <a:lnTo>
                    <a:pt x="1016794" y="584359"/>
                  </a:lnTo>
                  <a:lnTo>
                    <a:pt x="1016127" y="579596"/>
                  </a:lnTo>
                  <a:lnTo>
                    <a:pt x="1009079" y="574072"/>
                  </a:lnTo>
                  <a:lnTo>
                    <a:pt x="1006221" y="564832"/>
                  </a:lnTo>
                  <a:lnTo>
                    <a:pt x="1007459" y="561499"/>
                  </a:lnTo>
                  <a:lnTo>
                    <a:pt x="1003840" y="558736"/>
                  </a:lnTo>
                  <a:lnTo>
                    <a:pt x="1003268" y="553974"/>
                  </a:lnTo>
                  <a:lnTo>
                    <a:pt x="999744" y="551212"/>
                  </a:lnTo>
                  <a:lnTo>
                    <a:pt x="996124" y="548449"/>
                  </a:lnTo>
                  <a:lnTo>
                    <a:pt x="996886" y="541973"/>
                  </a:lnTo>
                  <a:lnTo>
                    <a:pt x="1007173" y="534257"/>
                  </a:lnTo>
                  <a:lnTo>
                    <a:pt x="1011079" y="527304"/>
                  </a:lnTo>
                  <a:lnTo>
                    <a:pt x="1009364" y="525970"/>
                  </a:lnTo>
                  <a:lnTo>
                    <a:pt x="1007173" y="521398"/>
                  </a:lnTo>
                  <a:lnTo>
                    <a:pt x="1010317" y="521018"/>
                  </a:lnTo>
                  <a:lnTo>
                    <a:pt x="1011269" y="516065"/>
                  </a:lnTo>
                  <a:lnTo>
                    <a:pt x="1020794" y="514922"/>
                  </a:lnTo>
                  <a:lnTo>
                    <a:pt x="1021747" y="509969"/>
                  </a:lnTo>
                  <a:lnTo>
                    <a:pt x="1017937" y="505587"/>
                  </a:lnTo>
                  <a:lnTo>
                    <a:pt x="1009650" y="503491"/>
                  </a:lnTo>
                  <a:lnTo>
                    <a:pt x="1001744" y="504444"/>
                  </a:lnTo>
                  <a:lnTo>
                    <a:pt x="1001363" y="501301"/>
                  </a:lnTo>
                  <a:lnTo>
                    <a:pt x="996029" y="497205"/>
                  </a:lnTo>
                  <a:lnTo>
                    <a:pt x="995648" y="493966"/>
                  </a:lnTo>
                  <a:lnTo>
                    <a:pt x="991838" y="489680"/>
                  </a:lnTo>
                  <a:lnTo>
                    <a:pt x="991457" y="486537"/>
                  </a:lnTo>
                  <a:lnTo>
                    <a:pt x="995839" y="482727"/>
                  </a:lnTo>
                  <a:lnTo>
                    <a:pt x="996982" y="479393"/>
                  </a:lnTo>
                  <a:lnTo>
                    <a:pt x="994791" y="474916"/>
                  </a:lnTo>
                  <a:lnTo>
                    <a:pt x="997363" y="469773"/>
                  </a:lnTo>
                  <a:lnTo>
                    <a:pt x="1000887" y="459677"/>
                  </a:lnTo>
                  <a:lnTo>
                    <a:pt x="995743" y="457105"/>
                  </a:lnTo>
                  <a:lnTo>
                    <a:pt x="996886" y="453771"/>
                  </a:lnTo>
                  <a:lnTo>
                    <a:pt x="995172" y="452342"/>
                  </a:lnTo>
                  <a:lnTo>
                    <a:pt x="998315" y="451961"/>
                  </a:lnTo>
                  <a:lnTo>
                    <a:pt x="993743" y="441293"/>
                  </a:lnTo>
                  <a:lnTo>
                    <a:pt x="992124" y="441579"/>
                  </a:lnTo>
                  <a:lnTo>
                    <a:pt x="984694" y="445675"/>
                  </a:lnTo>
                  <a:lnTo>
                    <a:pt x="974026" y="437388"/>
                  </a:lnTo>
                  <a:lnTo>
                    <a:pt x="969264" y="438055"/>
                  </a:lnTo>
                  <a:lnTo>
                    <a:pt x="972979" y="442341"/>
                  </a:lnTo>
                  <a:lnTo>
                    <a:pt x="971264" y="453771"/>
                  </a:lnTo>
                  <a:lnTo>
                    <a:pt x="976408" y="456343"/>
                  </a:lnTo>
                  <a:lnTo>
                    <a:pt x="970883" y="463486"/>
                  </a:lnTo>
                  <a:lnTo>
                    <a:pt x="966597" y="467297"/>
                  </a:lnTo>
                  <a:lnTo>
                    <a:pt x="963454" y="467678"/>
                  </a:lnTo>
                  <a:lnTo>
                    <a:pt x="960215" y="468058"/>
                  </a:lnTo>
                  <a:lnTo>
                    <a:pt x="958310" y="465106"/>
                  </a:lnTo>
                  <a:lnTo>
                    <a:pt x="953929" y="468820"/>
                  </a:lnTo>
                  <a:lnTo>
                    <a:pt x="955357" y="467106"/>
                  </a:lnTo>
                  <a:lnTo>
                    <a:pt x="951738" y="464344"/>
                  </a:lnTo>
                  <a:lnTo>
                    <a:pt x="947261" y="466535"/>
                  </a:lnTo>
                  <a:lnTo>
                    <a:pt x="940117" y="461010"/>
                  </a:lnTo>
                  <a:lnTo>
                    <a:pt x="937546" y="466153"/>
                  </a:lnTo>
                  <a:lnTo>
                    <a:pt x="933831" y="461772"/>
                  </a:lnTo>
                  <a:lnTo>
                    <a:pt x="931640" y="457295"/>
                  </a:lnTo>
                  <a:lnTo>
                    <a:pt x="928021" y="454533"/>
                  </a:lnTo>
                  <a:lnTo>
                    <a:pt x="921163" y="450628"/>
                  </a:lnTo>
                  <a:lnTo>
                    <a:pt x="918591" y="442912"/>
                  </a:lnTo>
                  <a:lnTo>
                    <a:pt x="905732" y="442912"/>
                  </a:lnTo>
                  <a:lnTo>
                    <a:pt x="900398" y="438817"/>
                  </a:lnTo>
                  <a:lnTo>
                    <a:pt x="897064" y="437578"/>
                  </a:lnTo>
                  <a:lnTo>
                    <a:pt x="895636" y="426529"/>
                  </a:lnTo>
                  <a:lnTo>
                    <a:pt x="875157" y="429197"/>
                  </a:lnTo>
                  <a:lnTo>
                    <a:pt x="872204" y="431197"/>
                  </a:lnTo>
                  <a:lnTo>
                    <a:pt x="862489" y="430816"/>
                  </a:lnTo>
                  <a:lnTo>
                    <a:pt x="851249" y="430625"/>
                  </a:lnTo>
                  <a:lnTo>
                    <a:pt x="847439" y="426339"/>
                  </a:lnTo>
                  <a:lnTo>
                    <a:pt x="827151" y="417671"/>
                  </a:lnTo>
                  <a:lnTo>
                    <a:pt x="826770" y="427291"/>
                  </a:lnTo>
                  <a:lnTo>
                    <a:pt x="830104" y="428530"/>
                  </a:lnTo>
                  <a:lnTo>
                    <a:pt x="836676" y="429292"/>
                  </a:lnTo>
                  <a:lnTo>
                    <a:pt x="838581" y="432244"/>
                  </a:lnTo>
                  <a:lnTo>
                    <a:pt x="830961" y="434816"/>
                  </a:lnTo>
                  <a:lnTo>
                    <a:pt x="832961" y="437769"/>
                  </a:lnTo>
                  <a:lnTo>
                    <a:pt x="834676" y="439103"/>
                  </a:lnTo>
                  <a:lnTo>
                    <a:pt x="830389" y="442912"/>
                  </a:lnTo>
                  <a:lnTo>
                    <a:pt x="826770" y="440150"/>
                  </a:lnTo>
                  <a:lnTo>
                    <a:pt x="826389" y="437007"/>
                  </a:lnTo>
                  <a:lnTo>
                    <a:pt x="823246" y="437388"/>
                  </a:lnTo>
                  <a:lnTo>
                    <a:pt x="824198" y="445294"/>
                  </a:lnTo>
                  <a:lnTo>
                    <a:pt x="819150" y="455581"/>
                  </a:lnTo>
                  <a:lnTo>
                    <a:pt x="814197" y="454628"/>
                  </a:lnTo>
                  <a:lnTo>
                    <a:pt x="813816" y="451390"/>
                  </a:lnTo>
                  <a:lnTo>
                    <a:pt x="805148" y="446151"/>
                  </a:lnTo>
                  <a:lnTo>
                    <a:pt x="802767" y="440055"/>
                  </a:lnTo>
                  <a:lnTo>
                    <a:pt x="796385" y="440817"/>
                  </a:lnTo>
                  <a:lnTo>
                    <a:pt x="788289" y="427387"/>
                  </a:lnTo>
                  <a:lnTo>
                    <a:pt x="789813" y="414433"/>
                  </a:lnTo>
                  <a:lnTo>
                    <a:pt x="786860" y="403574"/>
                  </a:lnTo>
                  <a:lnTo>
                    <a:pt x="784860" y="400622"/>
                  </a:lnTo>
                  <a:lnTo>
                    <a:pt x="758380" y="394335"/>
                  </a:lnTo>
                  <a:lnTo>
                    <a:pt x="749141" y="397097"/>
                  </a:lnTo>
                  <a:lnTo>
                    <a:pt x="746188" y="399098"/>
                  </a:lnTo>
                  <a:lnTo>
                    <a:pt x="742188" y="393192"/>
                  </a:lnTo>
                  <a:lnTo>
                    <a:pt x="743236" y="388239"/>
                  </a:lnTo>
                  <a:lnTo>
                    <a:pt x="740378" y="379000"/>
                  </a:lnTo>
                  <a:lnTo>
                    <a:pt x="735235" y="363569"/>
                  </a:lnTo>
                  <a:lnTo>
                    <a:pt x="724567" y="368141"/>
                  </a:lnTo>
                  <a:lnTo>
                    <a:pt x="722471" y="363665"/>
                  </a:lnTo>
                  <a:lnTo>
                    <a:pt x="719233" y="364046"/>
                  </a:lnTo>
                  <a:lnTo>
                    <a:pt x="717518" y="362712"/>
                  </a:lnTo>
                  <a:lnTo>
                    <a:pt x="711232" y="363474"/>
                  </a:lnTo>
                  <a:lnTo>
                    <a:pt x="711422" y="365093"/>
                  </a:lnTo>
                  <a:lnTo>
                    <a:pt x="708184" y="365474"/>
                  </a:lnTo>
                  <a:lnTo>
                    <a:pt x="708469" y="366998"/>
                  </a:lnTo>
                  <a:lnTo>
                    <a:pt x="709231" y="373380"/>
                  </a:lnTo>
                  <a:lnTo>
                    <a:pt x="708279" y="378238"/>
                  </a:lnTo>
                  <a:lnTo>
                    <a:pt x="699421" y="384238"/>
                  </a:lnTo>
                  <a:lnTo>
                    <a:pt x="693230" y="373761"/>
                  </a:lnTo>
                  <a:lnTo>
                    <a:pt x="686372" y="369856"/>
                  </a:lnTo>
                  <a:lnTo>
                    <a:pt x="684371" y="366903"/>
                  </a:lnTo>
                  <a:lnTo>
                    <a:pt x="671893" y="370046"/>
                  </a:lnTo>
                  <a:lnTo>
                    <a:pt x="664845" y="364522"/>
                  </a:lnTo>
                  <a:lnTo>
                    <a:pt x="659035" y="357283"/>
                  </a:lnTo>
                  <a:lnTo>
                    <a:pt x="654748" y="348234"/>
                  </a:lnTo>
                  <a:lnTo>
                    <a:pt x="657701" y="346234"/>
                  </a:lnTo>
                  <a:lnTo>
                    <a:pt x="661606" y="339280"/>
                  </a:lnTo>
                  <a:lnTo>
                    <a:pt x="654463" y="333851"/>
                  </a:lnTo>
                  <a:lnTo>
                    <a:pt x="652272" y="329279"/>
                  </a:lnTo>
                  <a:lnTo>
                    <a:pt x="649129" y="329660"/>
                  </a:lnTo>
                  <a:lnTo>
                    <a:pt x="650462" y="315087"/>
                  </a:lnTo>
                  <a:lnTo>
                    <a:pt x="648748" y="313658"/>
                  </a:lnTo>
                  <a:lnTo>
                    <a:pt x="643985" y="314325"/>
                  </a:lnTo>
                  <a:lnTo>
                    <a:pt x="635508" y="310610"/>
                  </a:lnTo>
                  <a:lnTo>
                    <a:pt x="634841" y="305848"/>
                  </a:lnTo>
                  <a:lnTo>
                    <a:pt x="633127" y="304419"/>
                  </a:lnTo>
                  <a:lnTo>
                    <a:pt x="630746" y="298323"/>
                  </a:lnTo>
                  <a:lnTo>
                    <a:pt x="622840" y="299371"/>
                  </a:lnTo>
                  <a:lnTo>
                    <a:pt x="620649" y="294799"/>
                  </a:lnTo>
                  <a:lnTo>
                    <a:pt x="615696" y="293846"/>
                  </a:lnTo>
                  <a:lnTo>
                    <a:pt x="613886" y="292513"/>
                  </a:lnTo>
                  <a:lnTo>
                    <a:pt x="610552" y="291275"/>
                  </a:lnTo>
                  <a:lnTo>
                    <a:pt x="596170" y="304324"/>
                  </a:lnTo>
                  <a:lnTo>
                    <a:pt x="591693" y="306515"/>
                  </a:lnTo>
                  <a:lnTo>
                    <a:pt x="592646" y="314420"/>
                  </a:lnTo>
                  <a:lnTo>
                    <a:pt x="592264" y="324136"/>
                  </a:lnTo>
                  <a:lnTo>
                    <a:pt x="596646" y="333184"/>
                  </a:lnTo>
                  <a:lnTo>
                    <a:pt x="602932" y="332327"/>
                  </a:lnTo>
                  <a:lnTo>
                    <a:pt x="604933" y="322517"/>
                  </a:lnTo>
                  <a:lnTo>
                    <a:pt x="611410" y="323278"/>
                  </a:lnTo>
                  <a:lnTo>
                    <a:pt x="615029" y="326041"/>
                  </a:lnTo>
                  <a:lnTo>
                    <a:pt x="619697" y="325374"/>
                  </a:lnTo>
                  <a:lnTo>
                    <a:pt x="624078" y="334518"/>
                  </a:lnTo>
                  <a:lnTo>
                    <a:pt x="622744" y="336232"/>
                  </a:lnTo>
                  <a:lnTo>
                    <a:pt x="622935" y="337852"/>
                  </a:lnTo>
                  <a:lnTo>
                    <a:pt x="618554" y="341567"/>
                  </a:lnTo>
                  <a:lnTo>
                    <a:pt x="622173" y="344329"/>
                  </a:lnTo>
                  <a:lnTo>
                    <a:pt x="622744" y="349091"/>
                  </a:lnTo>
                  <a:lnTo>
                    <a:pt x="619601" y="349472"/>
                  </a:lnTo>
                  <a:lnTo>
                    <a:pt x="618172" y="351282"/>
                  </a:lnTo>
                  <a:lnTo>
                    <a:pt x="621982" y="355568"/>
                  </a:lnTo>
                  <a:lnTo>
                    <a:pt x="621030" y="360521"/>
                  </a:lnTo>
                  <a:lnTo>
                    <a:pt x="617410" y="357759"/>
                  </a:lnTo>
                  <a:lnTo>
                    <a:pt x="617220" y="356235"/>
                  </a:lnTo>
                  <a:lnTo>
                    <a:pt x="613696" y="353473"/>
                  </a:lnTo>
                  <a:lnTo>
                    <a:pt x="594741" y="355854"/>
                  </a:lnTo>
                  <a:lnTo>
                    <a:pt x="593503" y="346424"/>
                  </a:lnTo>
                  <a:lnTo>
                    <a:pt x="582930" y="350996"/>
                  </a:lnTo>
                  <a:lnTo>
                    <a:pt x="577786" y="361188"/>
                  </a:lnTo>
                  <a:lnTo>
                    <a:pt x="569309" y="357473"/>
                  </a:lnTo>
                  <a:lnTo>
                    <a:pt x="563404" y="361474"/>
                  </a:lnTo>
                  <a:lnTo>
                    <a:pt x="558641" y="362045"/>
                  </a:lnTo>
                  <a:lnTo>
                    <a:pt x="539591" y="388525"/>
                  </a:lnTo>
                  <a:lnTo>
                    <a:pt x="537019" y="393668"/>
                  </a:lnTo>
                  <a:lnTo>
                    <a:pt x="529304" y="396240"/>
                  </a:lnTo>
                  <a:lnTo>
                    <a:pt x="515874" y="391573"/>
                  </a:lnTo>
                  <a:lnTo>
                    <a:pt x="509778" y="393954"/>
                  </a:lnTo>
                  <a:lnTo>
                    <a:pt x="500920" y="399860"/>
                  </a:lnTo>
                  <a:lnTo>
                    <a:pt x="495205" y="392620"/>
                  </a:lnTo>
                  <a:lnTo>
                    <a:pt x="492061" y="393002"/>
                  </a:lnTo>
                  <a:lnTo>
                    <a:pt x="491395" y="388239"/>
                  </a:lnTo>
                  <a:lnTo>
                    <a:pt x="488251" y="388620"/>
                  </a:lnTo>
                  <a:lnTo>
                    <a:pt x="487871" y="385477"/>
                  </a:lnTo>
                  <a:lnTo>
                    <a:pt x="482917" y="384524"/>
                  </a:lnTo>
                  <a:lnTo>
                    <a:pt x="479012" y="378619"/>
                  </a:lnTo>
                  <a:lnTo>
                    <a:pt x="477393" y="378809"/>
                  </a:lnTo>
                  <a:lnTo>
                    <a:pt x="476059" y="380619"/>
                  </a:lnTo>
                  <a:lnTo>
                    <a:pt x="472249" y="376238"/>
                  </a:lnTo>
                  <a:lnTo>
                    <a:pt x="475964" y="367760"/>
                  </a:lnTo>
                  <a:lnTo>
                    <a:pt x="470059" y="358902"/>
                  </a:lnTo>
                  <a:lnTo>
                    <a:pt x="468249" y="357569"/>
                  </a:lnTo>
                  <a:lnTo>
                    <a:pt x="453866" y="357759"/>
                  </a:lnTo>
                  <a:lnTo>
                    <a:pt x="451866" y="354806"/>
                  </a:lnTo>
                  <a:lnTo>
                    <a:pt x="448723" y="355187"/>
                  </a:lnTo>
                  <a:lnTo>
                    <a:pt x="448342" y="352044"/>
                  </a:lnTo>
                  <a:lnTo>
                    <a:pt x="444532" y="347758"/>
                  </a:lnTo>
                  <a:lnTo>
                    <a:pt x="441579" y="349663"/>
                  </a:lnTo>
                  <a:lnTo>
                    <a:pt x="439864" y="348329"/>
                  </a:lnTo>
                  <a:lnTo>
                    <a:pt x="434911" y="347377"/>
                  </a:lnTo>
                  <a:lnTo>
                    <a:pt x="430911" y="341471"/>
                  </a:lnTo>
                  <a:lnTo>
                    <a:pt x="433673" y="337852"/>
                  </a:lnTo>
                  <a:lnTo>
                    <a:pt x="434816" y="334518"/>
                  </a:lnTo>
                  <a:lnTo>
                    <a:pt x="432721" y="330041"/>
                  </a:lnTo>
                  <a:lnTo>
                    <a:pt x="427958" y="330613"/>
                  </a:lnTo>
                  <a:lnTo>
                    <a:pt x="431863" y="323659"/>
                  </a:lnTo>
                  <a:lnTo>
                    <a:pt x="428339" y="320897"/>
                  </a:lnTo>
                  <a:lnTo>
                    <a:pt x="429673" y="319183"/>
                  </a:lnTo>
                  <a:lnTo>
                    <a:pt x="428911" y="312801"/>
                  </a:lnTo>
                  <a:lnTo>
                    <a:pt x="422148" y="310515"/>
                  </a:lnTo>
                  <a:lnTo>
                    <a:pt x="423386" y="307086"/>
                  </a:lnTo>
                  <a:lnTo>
                    <a:pt x="419386" y="301180"/>
                  </a:lnTo>
                  <a:lnTo>
                    <a:pt x="417862" y="301466"/>
                  </a:lnTo>
                  <a:lnTo>
                    <a:pt x="420814" y="299466"/>
                  </a:lnTo>
                  <a:lnTo>
                    <a:pt x="420529" y="297847"/>
                  </a:lnTo>
                  <a:lnTo>
                    <a:pt x="419005" y="298037"/>
                  </a:lnTo>
                  <a:lnTo>
                    <a:pt x="420148" y="294703"/>
                  </a:lnTo>
                  <a:lnTo>
                    <a:pt x="416623" y="291941"/>
                  </a:lnTo>
                  <a:lnTo>
                    <a:pt x="416052" y="287179"/>
                  </a:lnTo>
                  <a:lnTo>
                    <a:pt x="413861" y="282702"/>
                  </a:lnTo>
                  <a:lnTo>
                    <a:pt x="408527" y="278511"/>
                  </a:lnTo>
                  <a:lnTo>
                    <a:pt x="405289" y="278987"/>
                  </a:lnTo>
                  <a:lnTo>
                    <a:pt x="405098" y="277368"/>
                  </a:lnTo>
                  <a:lnTo>
                    <a:pt x="398050" y="271844"/>
                  </a:lnTo>
                  <a:lnTo>
                    <a:pt x="399955" y="262033"/>
                  </a:lnTo>
                  <a:lnTo>
                    <a:pt x="379952" y="243650"/>
                  </a:lnTo>
                  <a:lnTo>
                    <a:pt x="374618" y="239554"/>
                  </a:lnTo>
                  <a:lnTo>
                    <a:pt x="364998" y="239173"/>
                  </a:lnTo>
                  <a:lnTo>
                    <a:pt x="360712" y="255746"/>
                  </a:lnTo>
                  <a:lnTo>
                    <a:pt x="350234" y="249079"/>
                  </a:lnTo>
                  <a:lnTo>
                    <a:pt x="343471" y="246698"/>
                  </a:lnTo>
                  <a:lnTo>
                    <a:pt x="334327" y="225457"/>
                  </a:lnTo>
                  <a:lnTo>
                    <a:pt x="325660" y="220123"/>
                  </a:lnTo>
                  <a:lnTo>
                    <a:pt x="318706" y="216217"/>
                  </a:lnTo>
                  <a:lnTo>
                    <a:pt x="318516" y="214598"/>
                  </a:lnTo>
                  <a:lnTo>
                    <a:pt x="313658" y="213646"/>
                  </a:lnTo>
                  <a:lnTo>
                    <a:pt x="309086" y="202978"/>
                  </a:lnTo>
                  <a:lnTo>
                    <a:pt x="301085" y="191167"/>
                  </a:lnTo>
                  <a:lnTo>
                    <a:pt x="306229" y="180880"/>
                  </a:lnTo>
                  <a:lnTo>
                    <a:pt x="309181" y="178975"/>
                  </a:lnTo>
                  <a:lnTo>
                    <a:pt x="317278" y="179546"/>
                  </a:lnTo>
                  <a:lnTo>
                    <a:pt x="322421" y="182023"/>
                  </a:lnTo>
                  <a:lnTo>
                    <a:pt x="326517" y="176689"/>
                  </a:lnTo>
                  <a:lnTo>
                    <a:pt x="331089" y="174593"/>
                  </a:lnTo>
                  <a:lnTo>
                    <a:pt x="337185" y="172212"/>
                  </a:lnTo>
                  <a:lnTo>
                    <a:pt x="349853" y="170593"/>
                  </a:lnTo>
                  <a:lnTo>
                    <a:pt x="358711" y="164592"/>
                  </a:lnTo>
                  <a:lnTo>
                    <a:pt x="362045" y="165830"/>
                  </a:lnTo>
                  <a:lnTo>
                    <a:pt x="366617" y="163640"/>
                  </a:lnTo>
                  <a:lnTo>
                    <a:pt x="369951" y="164782"/>
                  </a:lnTo>
                  <a:lnTo>
                    <a:pt x="377380" y="160592"/>
                  </a:lnTo>
                  <a:lnTo>
                    <a:pt x="376809" y="155924"/>
                  </a:lnTo>
                  <a:lnTo>
                    <a:pt x="381381" y="153734"/>
                  </a:lnTo>
                  <a:lnTo>
                    <a:pt x="380333" y="145828"/>
                  </a:lnTo>
                  <a:lnTo>
                    <a:pt x="384715" y="142018"/>
                  </a:lnTo>
                  <a:lnTo>
                    <a:pt x="385858" y="138684"/>
                  </a:lnTo>
                  <a:lnTo>
                    <a:pt x="388810" y="136684"/>
                  </a:lnTo>
                  <a:lnTo>
                    <a:pt x="392335" y="139446"/>
                  </a:lnTo>
                  <a:lnTo>
                    <a:pt x="400621" y="141637"/>
                  </a:lnTo>
                  <a:lnTo>
                    <a:pt x="406527" y="137636"/>
                  </a:lnTo>
                  <a:lnTo>
                    <a:pt x="412909" y="136874"/>
                  </a:lnTo>
                  <a:lnTo>
                    <a:pt x="412051" y="130588"/>
                  </a:lnTo>
                  <a:lnTo>
                    <a:pt x="412813" y="124015"/>
                  </a:lnTo>
                  <a:lnTo>
                    <a:pt x="412051" y="117729"/>
                  </a:lnTo>
                  <a:lnTo>
                    <a:pt x="416528" y="102679"/>
                  </a:lnTo>
                  <a:lnTo>
                    <a:pt x="400336" y="88773"/>
                  </a:lnTo>
                  <a:lnTo>
                    <a:pt x="387858" y="79153"/>
                  </a:lnTo>
                  <a:lnTo>
                    <a:pt x="388620" y="72580"/>
                  </a:lnTo>
                  <a:lnTo>
                    <a:pt x="388620" y="59722"/>
                  </a:lnTo>
                  <a:lnTo>
                    <a:pt x="394335" y="54197"/>
                  </a:lnTo>
                  <a:lnTo>
                    <a:pt x="398812" y="39243"/>
                  </a:lnTo>
                  <a:lnTo>
                    <a:pt x="403193" y="35433"/>
                  </a:lnTo>
                  <a:lnTo>
                    <a:pt x="402812" y="32290"/>
                  </a:lnTo>
                  <a:lnTo>
                    <a:pt x="405765" y="30290"/>
                  </a:lnTo>
                  <a:lnTo>
                    <a:pt x="403765" y="27337"/>
                  </a:lnTo>
                  <a:lnTo>
                    <a:pt x="394240" y="28575"/>
                  </a:lnTo>
                  <a:lnTo>
                    <a:pt x="392335" y="25622"/>
                  </a:lnTo>
                  <a:lnTo>
                    <a:pt x="387382" y="24670"/>
                  </a:lnTo>
                  <a:lnTo>
                    <a:pt x="381952" y="7715"/>
                  </a:lnTo>
                  <a:lnTo>
                    <a:pt x="366617" y="0"/>
                  </a:lnTo>
                  <a:lnTo>
                    <a:pt x="358711" y="1048"/>
                  </a:lnTo>
                  <a:lnTo>
                    <a:pt x="360331" y="13621"/>
                  </a:lnTo>
                  <a:lnTo>
                    <a:pt x="358330" y="23527"/>
                  </a:lnTo>
                  <a:lnTo>
                    <a:pt x="360521" y="28099"/>
                  </a:lnTo>
                  <a:lnTo>
                    <a:pt x="360712" y="29623"/>
                  </a:lnTo>
                  <a:lnTo>
                    <a:pt x="359378" y="31432"/>
                  </a:lnTo>
                  <a:lnTo>
                    <a:pt x="340614" y="48196"/>
                  </a:lnTo>
                  <a:lnTo>
                    <a:pt x="335375" y="56959"/>
                  </a:lnTo>
                  <a:lnTo>
                    <a:pt x="323279" y="63246"/>
                  </a:lnTo>
                  <a:lnTo>
                    <a:pt x="312706" y="67818"/>
                  </a:lnTo>
                  <a:lnTo>
                    <a:pt x="309753" y="69818"/>
                  </a:lnTo>
                  <a:lnTo>
                    <a:pt x="303181" y="69056"/>
                  </a:lnTo>
                  <a:lnTo>
                    <a:pt x="302800" y="65913"/>
                  </a:lnTo>
                  <a:lnTo>
                    <a:pt x="299466" y="64675"/>
                  </a:lnTo>
                  <a:lnTo>
                    <a:pt x="298609" y="58388"/>
                  </a:lnTo>
                  <a:lnTo>
                    <a:pt x="295084" y="55626"/>
                  </a:lnTo>
                  <a:lnTo>
                    <a:pt x="287179" y="56674"/>
                  </a:lnTo>
                  <a:lnTo>
                    <a:pt x="285845" y="58388"/>
                  </a:lnTo>
                  <a:lnTo>
                    <a:pt x="279749" y="60865"/>
                  </a:lnTo>
                  <a:lnTo>
                    <a:pt x="275558" y="66199"/>
                  </a:lnTo>
                  <a:lnTo>
                    <a:pt x="272224" y="64960"/>
                  </a:lnTo>
                  <a:lnTo>
                    <a:pt x="266129" y="67342"/>
                  </a:lnTo>
                  <a:lnTo>
                    <a:pt x="261175" y="66389"/>
                  </a:lnTo>
                  <a:lnTo>
                    <a:pt x="256032" y="63817"/>
                  </a:lnTo>
                  <a:lnTo>
                    <a:pt x="251079" y="62865"/>
                  </a:lnTo>
                  <a:lnTo>
                    <a:pt x="249364" y="61436"/>
                  </a:lnTo>
                  <a:lnTo>
                    <a:pt x="244602" y="62103"/>
                  </a:lnTo>
                  <a:lnTo>
                    <a:pt x="228409" y="60960"/>
                  </a:lnTo>
                  <a:lnTo>
                    <a:pt x="214789" y="67437"/>
                  </a:lnTo>
                  <a:lnTo>
                    <a:pt x="211836" y="69437"/>
                  </a:lnTo>
                  <a:lnTo>
                    <a:pt x="210121" y="68104"/>
                  </a:lnTo>
                  <a:lnTo>
                    <a:pt x="205740" y="71819"/>
                  </a:lnTo>
                  <a:lnTo>
                    <a:pt x="202216" y="69056"/>
                  </a:lnTo>
                  <a:lnTo>
                    <a:pt x="200596" y="69247"/>
                  </a:lnTo>
                  <a:lnTo>
                    <a:pt x="202025" y="80296"/>
                  </a:lnTo>
                  <a:lnTo>
                    <a:pt x="200882" y="83725"/>
                  </a:lnTo>
                  <a:lnTo>
                    <a:pt x="196310" y="85915"/>
                  </a:lnTo>
                  <a:lnTo>
                    <a:pt x="190405" y="89821"/>
                  </a:lnTo>
                  <a:lnTo>
                    <a:pt x="183451" y="85915"/>
                  </a:lnTo>
                  <a:lnTo>
                    <a:pt x="181927" y="98965"/>
                  </a:lnTo>
                  <a:lnTo>
                    <a:pt x="179546" y="105632"/>
                  </a:lnTo>
                  <a:lnTo>
                    <a:pt x="182404" y="114967"/>
                  </a:lnTo>
                  <a:lnTo>
                    <a:pt x="181546" y="121444"/>
                  </a:lnTo>
                  <a:lnTo>
                    <a:pt x="182404" y="127730"/>
                  </a:lnTo>
                  <a:lnTo>
                    <a:pt x="179641" y="131350"/>
                  </a:lnTo>
                  <a:lnTo>
                    <a:pt x="180213" y="136017"/>
                  </a:lnTo>
                  <a:lnTo>
                    <a:pt x="174307" y="140017"/>
                  </a:lnTo>
                  <a:lnTo>
                    <a:pt x="166021" y="137827"/>
                  </a:lnTo>
                  <a:lnTo>
                    <a:pt x="163068" y="139827"/>
                  </a:lnTo>
                  <a:lnTo>
                    <a:pt x="157734" y="135731"/>
                  </a:lnTo>
                  <a:lnTo>
                    <a:pt x="150019" y="125444"/>
                  </a:lnTo>
                  <a:lnTo>
                    <a:pt x="148209" y="124111"/>
                  </a:lnTo>
                  <a:lnTo>
                    <a:pt x="144971" y="135731"/>
                  </a:lnTo>
                  <a:lnTo>
                    <a:pt x="136493" y="144780"/>
                  </a:lnTo>
                  <a:lnTo>
                    <a:pt x="129159" y="163354"/>
                  </a:lnTo>
                  <a:lnTo>
                    <a:pt x="121920" y="169164"/>
                  </a:lnTo>
                  <a:lnTo>
                    <a:pt x="108299" y="162877"/>
                  </a:lnTo>
                  <a:lnTo>
                    <a:pt x="102394" y="166783"/>
                  </a:lnTo>
                  <a:lnTo>
                    <a:pt x="98488" y="173736"/>
                  </a:lnTo>
                  <a:lnTo>
                    <a:pt x="99250" y="180023"/>
                  </a:lnTo>
                  <a:lnTo>
                    <a:pt x="94964" y="183832"/>
                  </a:lnTo>
                  <a:lnTo>
                    <a:pt x="91916" y="185738"/>
                  </a:lnTo>
                  <a:lnTo>
                    <a:pt x="86582" y="181642"/>
                  </a:lnTo>
                  <a:lnTo>
                    <a:pt x="81534" y="191929"/>
                  </a:lnTo>
                  <a:lnTo>
                    <a:pt x="77343" y="197263"/>
                  </a:lnTo>
                  <a:lnTo>
                    <a:pt x="69342" y="209550"/>
                  </a:lnTo>
                  <a:lnTo>
                    <a:pt x="66199" y="209931"/>
                  </a:lnTo>
                  <a:lnTo>
                    <a:pt x="55912" y="217646"/>
                  </a:lnTo>
                  <a:lnTo>
                    <a:pt x="58483" y="225361"/>
                  </a:lnTo>
                  <a:lnTo>
                    <a:pt x="59912" y="236411"/>
                  </a:lnTo>
                  <a:lnTo>
                    <a:pt x="63913" y="242316"/>
                  </a:lnTo>
                  <a:lnTo>
                    <a:pt x="59912" y="249174"/>
                  </a:lnTo>
                  <a:lnTo>
                    <a:pt x="44196" y="264033"/>
                  </a:lnTo>
                  <a:lnTo>
                    <a:pt x="51721" y="285559"/>
                  </a:lnTo>
                  <a:lnTo>
                    <a:pt x="51340" y="295180"/>
                  </a:lnTo>
                  <a:lnTo>
                    <a:pt x="53721" y="301276"/>
                  </a:lnTo>
                  <a:lnTo>
                    <a:pt x="54769" y="309182"/>
                  </a:lnTo>
                  <a:lnTo>
                    <a:pt x="47530" y="327755"/>
                  </a:lnTo>
                  <a:lnTo>
                    <a:pt x="39814" y="330327"/>
                  </a:lnTo>
                  <a:lnTo>
                    <a:pt x="37242" y="335471"/>
                  </a:lnTo>
                  <a:lnTo>
                    <a:pt x="31718" y="342614"/>
                  </a:lnTo>
                  <a:lnTo>
                    <a:pt x="24098" y="345186"/>
                  </a:lnTo>
                  <a:lnTo>
                    <a:pt x="19526" y="360140"/>
                  </a:lnTo>
                  <a:lnTo>
                    <a:pt x="11049" y="369284"/>
                  </a:lnTo>
                  <a:lnTo>
                    <a:pt x="12668" y="381857"/>
                  </a:lnTo>
                  <a:lnTo>
                    <a:pt x="15049" y="388048"/>
                  </a:lnTo>
                  <a:lnTo>
                    <a:pt x="14288" y="394526"/>
                  </a:lnTo>
                  <a:lnTo>
                    <a:pt x="5429" y="400431"/>
                  </a:lnTo>
                  <a:lnTo>
                    <a:pt x="3905" y="400622"/>
                  </a:lnTo>
                  <a:lnTo>
                    <a:pt x="6286" y="406813"/>
                  </a:lnTo>
                  <a:lnTo>
                    <a:pt x="14764" y="410528"/>
                  </a:lnTo>
                  <a:lnTo>
                    <a:pt x="29432" y="424720"/>
                  </a:lnTo>
                  <a:lnTo>
                    <a:pt x="33528" y="432149"/>
                  </a:lnTo>
                  <a:lnTo>
                    <a:pt x="33718" y="433769"/>
                  </a:lnTo>
                  <a:lnTo>
                    <a:pt x="36100" y="439865"/>
                  </a:lnTo>
                  <a:lnTo>
                    <a:pt x="33338" y="443389"/>
                  </a:lnTo>
                  <a:lnTo>
                    <a:pt x="35338" y="446341"/>
                  </a:lnTo>
                  <a:lnTo>
                    <a:pt x="32766" y="451485"/>
                  </a:lnTo>
                  <a:lnTo>
                    <a:pt x="31051" y="450152"/>
                  </a:lnTo>
                  <a:lnTo>
                    <a:pt x="28861" y="458438"/>
                  </a:lnTo>
                  <a:lnTo>
                    <a:pt x="22574" y="459200"/>
                  </a:lnTo>
                  <a:lnTo>
                    <a:pt x="21622" y="464153"/>
                  </a:lnTo>
                  <a:lnTo>
                    <a:pt x="17050" y="466344"/>
                  </a:lnTo>
                  <a:lnTo>
                    <a:pt x="17431" y="469487"/>
                  </a:lnTo>
                  <a:lnTo>
                    <a:pt x="9811" y="472059"/>
                  </a:lnTo>
                  <a:lnTo>
                    <a:pt x="12097" y="478155"/>
                  </a:lnTo>
                  <a:lnTo>
                    <a:pt x="10954" y="481584"/>
                  </a:lnTo>
                  <a:lnTo>
                    <a:pt x="19240" y="483679"/>
                  </a:lnTo>
                  <a:lnTo>
                    <a:pt x="16954" y="490442"/>
                  </a:lnTo>
                  <a:lnTo>
                    <a:pt x="17335" y="493586"/>
                  </a:lnTo>
                  <a:lnTo>
                    <a:pt x="15907" y="495395"/>
                  </a:lnTo>
                  <a:lnTo>
                    <a:pt x="14192" y="493966"/>
                  </a:lnTo>
                  <a:lnTo>
                    <a:pt x="13144" y="498919"/>
                  </a:lnTo>
                  <a:lnTo>
                    <a:pt x="13430" y="500539"/>
                  </a:lnTo>
                  <a:lnTo>
                    <a:pt x="7715" y="506063"/>
                  </a:lnTo>
                  <a:lnTo>
                    <a:pt x="6477" y="509397"/>
                  </a:lnTo>
                  <a:lnTo>
                    <a:pt x="1714" y="509969"/>
                  </a:lnTo>
                  <a:lnTo>
                    <a:pt x="4191" y="516065"/>
                  </a:lnTo>
                  <a:lnTo>
                    <a:pt x="952" y="516541"/>
                  </a:lnTo>
                  <a:lnTo>
                    <a:pt x="0" y="521398"/>
                  </a:lnTo>
                  <a:lnTo>
                    <a:pt x="8477" y="525208"/>
                  </a:lnTo>
                  <a:lnTo>
                    <a:pt x="10858" y="531304"/>
                  </a:lnTo>
                  <a:lnTo>
                    <a:pt x="10287" y="539401"/>
                  </a:lnTo>
                  <a:lnTo>
                    <a:pt x="12859" y="534257"/>
                  </a:lnTo>
                  <a:lnTo>
                    <a:pt x="16192" y="535400"/>
                  </a:lnTo>
                  <a:lnTo>
                    <a:pt x="18192" y="538353"/>
                  </a:lnTo>
                  <a:lnTo>
                    <a:pt x="19050" y="544640"/>
                  </a:lnTo>
                  <a:lnTo>
                    <a:pt x="23622" y="555307"/>
                  </a:lnTo>
                  <a:lnTo>
                    <a:pt x="26956" y="556546"/>
                  </a:lnTo>
                  <a:lnTo>
                    <a:pt x="29146" y="561023"/>
                  </a:lnTo>
                  <a:lnTo>
                    <a:pt x="36195" y="553688"/>
                  </a:lnTo>
                  <a:lnTo>
                    <a:pt x="39338" y="553307"/>
                  </a:lnTo>
                  <a:lnTo>
                    <a:pt x="44291" y="554260"/>
                  </a:lnTo>
                  <a:lnTo>
                    <a:pt x="43720" y="549593"/>
                  </a:lnTo>
                  <a:lnTo>
                    <a:pt x="45053" y="547783"/>
                  </a:lnTo>
                  <a:lnTo>
                    <a:pt x="50197" y="550354"/>
                  </a:lnTo>
                  <a:lnTo>
                    <a:pt x="53911" y="541877"/>
                  </a:lnTo>
                  <a:lnTo>
                    <a:pt x="57055" y="541401"/>
                  </a:lnTo>
                  <a:lnTo>
                    <a:pt x="54578" y="559403"/>
                  </a:lnTo>
                  <a:lnTo>
                    <a:pt x="48482" y="574643"/>
                  </a:lnTo>
                  <a:lnTo>
                    <a:pt x="46101" y="581311"/>
                  </a:lnTo>
                  <a:lnTo>
                    <a:pt x="49244" y="580930"/>
                  </a:lnTo>
                  <a:lnTo>
                    <a:pt x="49721" y="584073"/>
                  </a:lnTo>
                  <a:lnTo>
                    <a:pt x="51435" y="585407"/>
                  </a:lnTo>
                  <a:lnTo>
                    <a:pt x="51911" y="588645"/>
                  </a:lnTo>
                  <a:lnTo>
                    <a:pt x="53245" y="586835"/>
                  </a:lnTo>
                  <a:lnTo>
                    <a:pt x="56197" y="584835"/>
                  </a:lnTo>
                  <a:lnTo>
                    <a:pt x="58007" y="586264"/>
                  </a:lnTo>
                  <a:lnTo>
                    <a:pt x="59531" y="585978"/>
                  </a:lnTo>
                  <a:lnTo>
                    <a:pt x="59150" y="582835"/>
                  </a:lnTo>
                  <a:lnTo>
                    <a:pt x="62293" y="582454"/>
                  </a:lnTo>
                  <a:lnTo>
                    <a:pt x="63532" y="579120"/>
                  </a:lnTo>
                  <a:lnTo>
                    <a:pt x="65437" y="582073"/>
                  </a:lnTo>
                  <a:lnTo>
                    <a:pt x="70009" y="579882"/>
                  </a:lnTo>
                  <a:lnTo>
                    <a:pt x="73533" y="582644"/>
                  </a:lnTo>
                  <a:lnTo>
                    <a:pt x="76486" y="580644"/>
                  </a:lnTo>
                  <a:lnTo>
                    <a:pt x="78867" y="586740"/>
                  </a:lnTo>
                  <a:lnTo>
                    <a:pt x="85439" y="587502"/>
                  </a:lnTo>
                  <a:lnTo>
                    <a:pt x="88963" y="590264"/>
                  </a:lnTo>
                  <a:lnTo>
                    <a:pt x="93535" y="588074"/>
                  </a:lnTo>
                  <a:lnTo>
                    <a:pt x="95536" y="591026"/>
                  </a:lnTo>
                  <a:lnTo>
                    <a:pt x="96107" y="595789"/>
                  </a:lnTo>
                  <a:lnTo>
                    <a:pt x="97250" y="592455"/>
                  </a:lnTo>
                  <a:lnTo>
                    <a:pt x="98869" y="592265"/>
                  </a:lnTo>
                  <a:lnTo>
                    <a:pt x="104204" y="596360"/>
                  </a:lnTo>
                  <a:lnTo>
                    <a:pt x="104394" y="597979"/>
                  </a:lnTo>
                  <a:lnTo>
                    <a:pt x="104584" y="599503"/>
                  </a:lnTo>
                  <a:lnTo>
                    <a:pt x="109538" y="600551"/>
                  </a:lnTo>
                  <a:lnTo>
                    <a:pt x="115633" y="598075"/>
                  </a:lnTo>
                  <a:lnTo>
                    <a:pt x="127254" y="601408"/>
                  </a:lnTo>
                  <a:lnTo>
                    <a:pt x="126301" y="606361"/>
                  </a:lnTo>
                  <a:lnTo>
                    <a:pt x="128302" y="609314"/>
                  </a:lnTo>
                  <a:lnTo>
                    <a:pt x="130873" y="604171"/>
                  </a:lnTo>
                  <a:lnTo>
                    <a:pt x="133636" y="600647"/>
                  </a:lnTo>
                  <a:lnTo>
                    <a:pt x="143065" y="599408"/>
                  </a:lnTo>
                  <a:lnTo>
                    <a:pt x="150400" y="593693"/>
                  </a:lnTo>
                  <a:lnTo>
                    <a:pt x="157829" y="602361"/>
                  </a:lnTo>
                  <a:lnTo>
                    <a:pt x="159258" y="600551"/>
                  </a:lnTo>
                  <a:lnTo>
                    <a:pt x="161258" y="603504"/>
                  </a:lnTo>
                  <a:lnTo>
                    <a:pt x="172688" y="618077"/>
                  </a:lnTo>
                  <a:lnTo>
                    <a:pt x="174688" y="621030"/>
                  </a:lnTo>
                  <a:lnTo>
                    <a:pt x="177832" y="620649"/>
                  </a:lnTo>
                  <a:lnTo>
                    <a:pt x="180022" y="625221"/>
                  </a:lnTo>
                  <a:lnTo>
                    <a:pt x="186976" y="629126"/>
                  </a:lnTo>
                  <a:lnTo>
                    <a:pt x="189357" y="635222"/>
                  </a:lnTo>
                  <a:lnTo>
                    <a:pt x="186404" y="637223"/>
                  </a:lnTo>
                  <a:lnTo>
                    <a:pt x="186785" y="640366"/>
                  </a:lnTo>
                  <a:lnTo>
                    <a:pt x="193929" y="645890"/>
                  </a:lnTo>
                  <a:lnTo>
                    <a:pt x="195834" y="648843"/>
                  </a:lnTo>
                  <a:lnTo>
                    <a:pt x="189738" y="651224"/>
                  </a:lnTo>
                  <a:lnTo>
                    <a:pt x="196882" y="656749"/>
                  </a:lnTo>
                  <a:lnTo>
                    <a:pt x="199072" y="661226"/>
                  </a:lnTo>
                  <a:lnTo>
                    <a:pt x="198691" y="658082"/>
                  </a:lnTo>
                  <a:lnTo>
                    <a:pt x="203359" y="657511"/>
                  </a:lnTo>
                  <a:lnTo>
                    <a:pt x="207740" y="653701"/>
                  </a:lnTo>
                  <a:lnTo>
                    <a:pt x="215170" y="649605"/>
                  </a:lnTo>
                  <a:lnTo>
                    <a:pt x="230219" y="654082"/>
                  </a:lnTo>
                  <a:lnTo>
                    <a:pt x="235363" y="656653"/>
                  </a:lnTo>
                  <a:lnTo>
                    <a:pt x="238125" y="653034"/>
                  </a:lnTo>
                  <a:lnTo>
                    <a:pt x="241459" y="654272"/>
                  </a:lnTo>
                  <a:lnTo>
                    <a:pt x="249746" y="669227"/>
                  </a:lnTo>
                  <a:lnTo>
                    <a:pt x="253174" y="670370"/>
                  </a:lnTo>
                  <a:lnTo>
                    <a:pt x="266319" y="673513"/>
                  </a:lnTo>
                  <a:lnTo>
                    <a:pt x="274225" y="659702"/>
                  </a:lnTo>
                  <a:lnTo>
                    <a:pt x="272415" y="658368"/>
                  </a:lnTo>
                  <a:lnTo>
                    <a:pt x="273653" y="654939"/>
                  </a:lnTo>
                  <a:lnTo>
                    <a:pt x="276225" y="649795"/>
                  </a:lnTo>
                  <a:lnTo>
                    <a:pt x="279559" y="651034"/>
                  </a:lnTo>
                  <a:lnTo>
                    <a:pt x="281559" y="653986"/>
                  </a:lnTo>
                  <a:lnTo>
                    <a:pt x="289846" y="656082"/>
                  </a:lnTo>
                  <a:lnTo>
                    <a:pt x="298323" y="659797"/>
                  </a:lnTo>
                  <a:lnTo>
                    <a:pt x="310134" y="677608"/>
                  </a:lnTo>
                  <a:lnTo>
                    <a:pt x="316897" y="679895"/>
                  </a:lnTo>
                  <a:lnTo>
                    <a:pt x="329565" y="678275"/>
                  </a:lnTo>
                  <a:lnTo>
                    <a:pt x="330327" y="671798"/>
                  </a:lnTo>
                  <a:lnTo>
                    <a:pt x="336423" y="669417"/>
                  </a:lnTo>
                  <a:lnTo>
                    <a:pt x="340519" y="664083"/>
                  </a:lnTo>
                  <a:lnTo>
                    <a:pt x="343852" y="665226"/>
                  </a:lnTo>
                  <a:lnTo>
                    <a:pt x="346234" y="658558"/>
                  </a:lnTo>
                  <a:lnTo>
                    <a:pt x="354901" y="663893"/>
                  </a:lnTo>
                  <a:lnTo>
                    <a:pt x="359664" y="663226"/>
                  </a:lnTo>
                  <a:lnTo>
                    <a:pt x="365569" y="672084"/>
                  </a:lnTo>
                  <a:lnTo>
                    <a:pt x="371761" y="669703"/>
                  </a:lnTo>
                  <a:lnTo>
                    <a:pt x="375094" y="670941"/>
                  </a:lnTo>
                  <a:lnTo>
                    <a:pt x="378619" y="673703"/>
                  </a:lnTo>
                  <a:lnTo>
                    <a:pt x="376047" y="678847"/>
                  </a:lnTo>
                  <a:lnTo>
                    <a:pt x="379476" y="679990"/>
                  </a:lnTo>
                  <a:lnTo>
                    <a:pt x="381190" y="681323"/>
                  </a:lnTo>
                  <a:lnTo>
                    <a:pt x="384810" y="684086"/>
                  </a:lnTo>
                  <a:lnTo>
                    <a:pt x="387953" y="683704"/>
                  </a:lnTo>
                  <a:lnTo>
                    <a:pt x="390334" y="677037"/>
                  </a:lnTo>
                  <a:lnTo>
                    <a:pt x="391858" y="676751"/>
                  </a:lnTo>
                  <a:lnTo>
                    <a:pt x="391287" y="684848"/>
                  </a:lnTo>
                  <a:lnTo>
                    <a:pt x="393287" y="687800"/>
                  </a:lnTo>
                  <a:lnTo>
                    <a:pt x="391668" y="687991"/>
                  </a:lnTo>
                  <a:lnTo>
                    <a:pt x="390715" y="692944"/>
                  </a:lnTo>
                  <a:lnTo>
                    <a:pt x="389096" y="693134"/>
                  </a:lnTo>
                  <a:lnTo>
                    <a:pt x="382905" y="706755"/>
                  </a:lnTo>
                  <a:lnTo>
                    <a:pt x="381857" y="711708"/>
                  </a:lnTo>
                  <a:lnTo>
                    <a:pt x="385096" y="724186"/>
                  </a:lnTo>
                  <a:lnTo>
                    <a:pt x="386715" y="736759"/>
                  </a:lnTo>
                  <a:lnTo>
                    <a:pt x="389096" y="742855"/>
                  </a:lnTo>
                  <a:lnTo>
                    <a:pt x="409861" y="754666"/>
                  </a:lnTo>
                  <a:lnTo>
                    <a:pt x="410242" y="757809"/>
                  </a:lnTo>
                  <a:lnTo>
                    <a:pt x="411956" y="759238"/>
                  </a:lnTo>
                  <a:lnTo>
                    <a:pt x="414528" y="754094"/>
                  </a:lnTo>
                  <a:lnTo>
                    <a:pt x="416338" y="755428"/>
                  </a:lnTo>
                  <a:lnTo>
                    <a:pt x="417671" y="753713"/>
                  </a:lnTo>
                  <a:lnTo>
                    <a:pt x="419290" y="753523"/>
                  </a:lnTo>
                  <a:lnTo>
                    <a:pt x="419671" y="743807"/>
                  </a:lnTo>
                  <a:lnTo>
                    <a:pt x="422243" y="738664"/>
                  </a:lnTo>
                  <a:lnTo>
                    <a:pt x="422243" y="738664"/>
                  </a:lnTo>
                  <a:lnTo>
                    <a:pt x="429292" y="744188"/>
                  </a:lnTo>
                  <a:lnTo>
                    <a:pt x="437864" y="760762"/>
                  </a:lnTo>
                  <a:lnTo>
                    <a:pt x="448532" y="769049"/>
                  </a:lnTo>
                  <a:lnTo>
                    <a:pt x="444817" y="777526"/>
                  </a:lnTo>
                  <a:lnTo>
                    <a:pt x="450151" y="781622"/>
                  </a:lnTo>
                  <a:lnTo>
                    <a:pt x="451294" y="791051"/>
                  </a:lnTo>
                  <a:lnTo>
                    <a:pt x="453104" y="792480"/>
                  </a:lnTo>
                  <a:lnTo>
                    <a:pt x="455866" y="788956"/>
                  </a:lnTo>
                  <a:lnTo>
                    <a:pt x="459010" y="788479"/>
                  </a:lnTo>
                  <a:lnTo>
                    <a:pt x="464820" y="795814"/>
                  </a:lnTo>
                  <a:lnTo>
                    <a:pt x="473488" y="801148"/>
                  </a:lnTo>
                  <a:lnTo>
                    <a:pt x="479965" y="801910"/>
                  </a:lnTo>
                  <a:lnTo>
                    <a:pt x="484537" y="812482"/>
                  </a:lnTo>
                  <a:lnTo>
                    <a:pt x="490061" y="818198"/>
                  </a:lnTo>
                  <a:lnTo>
                    <a:pt x="493681" y="820960"/>
                  </a:lnTo>
                  <a:lnTo>
                    <a:pt x="495586" y="823912"/>
                  </a:lnTo>
                  <a:lnTo>
                    <a:pt x="497967" y="830008"/>
                  </a:lnTo>
                  <a:lnTo>
                    <a:pt x="501110" y="829628"/>
                  </a:lnTo>
                  <a:lnTo>
                    <a:pt x="501777" y="834390"/>
                  </a:lnTo>
                  <a:lnTo>
                    <a:pt x="503301" y="834199"/>
                  </a:lnTo>
                  <a:lnTo>
                    <a:pt x="501967" y="836009"/>
                  </a:lnTo>
                  <a:lnTo>
                    <a:pt x="504158" y="840486"/>
                  </a:lnTo>
                  <a:lnTo>
                    <a:pt x="507111" y="838486"/>
                  </a:lnTo>
                  <a:lnTo>
                    <a:pt x="508921" y="839915"/>
                  </a:lnTo>
                  <a:lnTo>
                    <a:pt x="508063" y="846391"/>
                  </a:lnTo>
                  <a:lnTo>
                    <a:pt x="513207" y="848963"/>
                  </a:lnTo>
                  <a:lnTo>
                    <a:pt x="516350" y="848582"/>
                  </a:lnTo>
                  <a:lnTo>
                    <a:pt x="513397" y="850582"/>
                  </a:lnTo>
                  <a:lnTo>
                    <a:pt x="515017" y="850297"/>
                  </a:lnTo>
                  <a:lnTo>
                    <a:pt x="513874" y="853726"/>
                  </a:lnTo>
                  <a:lnTo>
                    <a:pt x="517207" y="854869"/>
                  </a:lnTo>
                  <a:lnTo>
                    <a:pt x="513302" y="861822"/>
                  </a:lnTo>
                  <a:lnTo>
                    <a:pt x="508349" y="860774"/>
                  </a:lnTo>
                  <a:lnTo>
                    <a:pt x="501205" y="868108"/>
                  </a:lnTo>
                  <a:lnTo>
                    <a:pt x="501682" y="871252"/>
                  </a:lnTo>
                  <a:lnTo>
                    <a:pt x="504825" y="870871"/>
                  </a:lnTo>
                  <a:lnTo>
                    <a:pt x="508730" y="876776"/>
                  </a:lnTo>
                  <a:lnTo>
                    <a:pt x="509588" y="883063"/>
                  </a:lnTo>
                  <a:lnTo>
                    <a:pt x="516731" y="888587"/>
                  </a:lnTo>
                  <a:lnTo>
                    <a:pt x="521398" y="875157"/>
                  </a:lnTo>
                  <a:lnTo>
                    <a:pt x="522732" y="873443"/>
                  </a:lnTo>
                  <a:lnTo>
                    <a:pt x="527494" y="872776"/>
                  </a:lnTo>
                  <a:lnTo>
                    <a:pt x="526923" y="868108"/>
                  </a:lnTo>
                  <a:lnTo>
                    <a:pt x="529685" y="864489"/>
                  </a:lnTo>
                  <a:lnTo>
                    <a:pt x="539972" y="869632"/>
                  </a:lnTo>
                  <a:lnTo>
                    <a:pt x="540925" y="864679"/>
                  </a:lnTo>
                  <a:lnTo>
                    <a:pt x="544068" y="864299"/>
                  </a:lnTo>
                  <a:lnTo>
                    <a:pt x="544258" y="865823"/>
                  </a:lnTo>
                  <a:lnTo>
                    <a:pt x="541687" y="870966"/>
                  </a:lnTo>
                  <a:lnTo>
                    <a:pt x="548830" y="876490"/>
                  </a:lnTo>
                  <a:lnTo>
                    <a:pt x="546449" y="883253"/>
                  </a:lnTo>
                  <a:lnTo>
                    <a:pt x="548068" y="883063"/>
                  </a:lnTo>
                  <a:lnTo>
                    <a:pt x="548449" y="886206"/>
                  </a:lnTo>
                  <a:lnTo>
                    <a:pt x="550259" y="887540"/>
                  </a:lnTo>
                  <a:lnTo>
                    <a:pt x="549497" y="894016"/>
                  </a:lnTo>
                  <a:lnTo>
                    <a:pt x="554164" y="893445"/>
                  </a:lnTo>
                  <a:lnTo>
                    <a:pt x="554641" y="896588"/>
                  </a:lnTo>
                  <a:lnTo>
                    <a:pt x="576643" y="893826"/>
                  </a:lnTo>
                  <a:lnTo>
                    <a:pt x="583216" y="894588"/>
                  </a:lnTo>
                  <a:lnTo>
                    <a:pt x="590264" y="900112"/>
                  </a:lnTo>
                  <a:lnTo>
                    <a:pt x="591502" y="896683"/>
                  </a:lnTo>
                  <a:lnTo>
                    <a:pt x="594646" y="896303"/>
                  </a:lnTo>
                  <a:lnTo>
                    <a:pt x="600551" y="905161"/>
                  </a:lnTo>
                  <a:lnTo>
                    <a:pt x="607885" y="912304"/>
                  </a:lnTo>
                  <a:lnTo>
                    <a:pt x="609314" y="923353"/>
                  </a:lnTo>
                  <a:lnTo>
                    <a:pt x="608933" y="932974"/>
                  </a:lnTo>
                  <a:lnTo>
                    <a:pt x="615696" y="935355"/>
                  </a:lnTo>
                  <a:lnTo>
                    <a:pt x="617030" y="933545"/>
                  </a:lnTo>
                  <a:lnTo>
                    <a:pt x="623316" y="932783"/>
                  </a:lnTo>
                  <a:lnTo>
                    <a:pt x="638365" y="924401"/>
                  </a:lnTo>
                  <a:lnTo>
                    <a:pt x="652367" y="921068"/>
                  </a:lnTo>
                  <a:lnTo>
                    <a:pt x="659987" y="918496"/>
                  </a:lnTo>
                  <a:lnTo>
                    <a:pt x="668083" y="919067"/>
                  </a:lnTo>
                  <a:lnTo>
                    <a:pt x="669703" y="918877"/>
                  </a:lnTo>
                  <a:lnTo>
                    <a:pt x="673989" y="915067"/>
                  </a:lnTo>
                  <a:lnTo>
                    <a:pt x="682276" y="917257"/>
                  </a:lnTo>
                  <a:lnTo>
                    <a:pt x="685229" y="915257"/>
                  </a:lnTo>
                  <a:lnTo>
                    <a:pt x="691801" y="916019"/>
                  </a:lnTo>
                  <a:lnTo>
                    <a:pt x="702373" y="911447"/>
                  </a:lnTo>
                  <a:lnTo>
                    <a:pt x="710374" y="923258"/>
                  </a:lnTo>
                  <a:lnTo>
                    <a:pt x="725900" y="919734"/>
                  </a:lnTo>
                  <a:lnTo>
                    <a:pt x="730282" y="915924"/>
                  </a:lnTo>
                  <a:lnTo>
                    <a:pt x="733806" y="918686"/>
                  </a:lnTo>
                  <a:lnTo>
                    <a:pt x="738378" y="929354"/>
                  </a:lnTo>
                  <a:lnTo>
                    <a:pt x="749617" y="942308"/>
                  </a:lnTo>
                  <a:lnTo>
                    <a:pt x="758190" y="946023"/>
                  </a:lnTo>
                  <a:lnTo>
                    <a:pt x="767239" y="941641"/>
                  </a:lnTo>
                  <a:lnTo>
                    <a:pt x="770382" y="941261"/>
                  </a:lnTo>
                  <a:lnTo>
                    <a:pt x="774382" y="947166"/>
                  </a:lnTo>
                  <a:lnTo>
                    <a:pt x="794290" y="952690"/>
                  </a:lnTo>
                  <a:lnTo>
                    <a:pt x="798766" y="950500"/>
                  </a:lnTo>
                  <a:lnTo>
                    <a:pt x="803910" y="940213"/>
                  </a:lnTo>
                  <a:lnTo>
                    <a:pt x="808672" y="939641"/>
                  </a:lnTo>
                  <a:lnTo>
                    <a:pt x="820102" y="941356"/>
                  </a:lnTo>
                  <a:lnTo>
                    <a:pt x="826770" y="943737"/>
                  </a:lnTo>
                  <a:lnTo>
                    <a:pt x="830580" y="948023"/>
                  </a:lnTo>
                  <a:lnTo>
                    <a:pt x="833342" y="970121"/>
                  </a:lnTo>
                  <a:lnTo>
                    <a:pt x="838962" y="975836"/>
                  </a:lnTo>
                  <a:lnTo>
                    <a:pt x="845058" y="986314"/>
                  </a:lnTo>
                  <a:lnTo>
                    <a:pt x="850011" y="987266"/>
                  </a:lnTo>
                  <a:lnTo>
                    <a:pt x="858679" y="992600"/>
                  </a:lnTo>
                  <a:lnTo>
                    <a:pt x="864965" y="991743"/>
                  </a:lnTo>
                  <a:lnTo>
                    <a:pt x="869347" y="1000792"/>
                  </a:lnTo>
                  <a:lnTo>
                    <a:pt x="871347" y="1003840"/>
                  </a:lnTo>
                  <a:lnTo>
                    <a:pt x="869728" y="1004030"/>
                  </a:lnTo>
                  <a:lnTo>
                    <a:pt x="871728" y="1006983"/>
                  </a:lnTo>
                  <a:lnTo>
                    <a:pt x="876490" y="1006316"/>
                  </a:lnTo>
                  <a:lnTo>
                    <a:pt x="881253" y="1018603"/>
                  </a:lnTo>
                  <a:lnTo>
                    <a:pt x="876014" y="1040130"/>
                  </a:lnTo>
                  <a:lnTo>
                    <a:pt x="883825" y="1039082"/>
                  </a:lnTo>
                  <a:lnTo>
                    <a:pt x="888778" y="1040035"/>
                  </a:lnTo>
                  <a:lnTo>
                    <a:pt x="895922" y="1045559"/>
                  </a:lnTo>
                  <a:lnTo>
                    <a:pt x="900684" y="1044988"/>
                  </a:lnTo>
                  <a:lnTo>
                    <a:pt x="905827" y="1047560"/>
                  </a:lnTo>
                  <a:lnTo>
                    <a:pt x="910114" y="1043749"/>
                  </a:lnTo>
                  <a:lnTo>
                    <a:pt x="926878" y="1049655"/>
                  </a:lnTo>
                  <a:lnTo>
                    <a:pt x="936403" y="1048417"/>
                  </a:lnTo>
                  <a:lnTo>
                    <a:pt x="937355" y="1043464"/>
                  </a:lnTo>
                  <a:lnTo>
                    <a:pt x="940117" y="1039940"/>
                  </a:lnTo>
                  <a:lnTo>
                    <a:pt x="955072" y="1031653"/>
                  </a:lnTo>
                  <a:lnTo>
                    <a:pt x="956024" y="1026700"/>
                  </a:lnTo>
                  <a:lnTo>
                    <a:pt x="955262" y="1020413"/>
                  </a:lnTo>
                  <a:lnTo>
                    <a:pt x="958024" y="1016794"/>
                  </a:lnTo>
                  <a:lnTo>
                    <a:pt x="959167" y="1013460"/>
                  </a:lnTo>
                  <a:lnTo>
                    <a:pt x="968026" y="1007554"/>
                  </a:lnTo>
                  <a:lnTo>
                    <a:pt x="962692" y="1003364"/>
                  </a:lnTo>
                  <a:lnTo>
                    <a:pt x="967073" y="999649"/>
                  </a:lnTo>
                  <a:lnTo>
                    <a:pt x="971740" y="998982"/>
                  </a:lnTo>
                  <a:lnTo>
                    <a:pt x="972598" y="992505"/>
                  </a:lnTo>
                  <a:lnTo>
                    <a:pt x="984409" y="984599"/>
                  </a:lnTo>
                  <a:lnTo>
                    <a:pt x="987933" y="974503"/>
                  </a:lnTo>
                  <a:lnTo>
                    <a:pt x="990886" y="972503"/>
                  </a:lnTo>
                  <a:lnTo>
                    <a:pt x="993172" y="965835"/>
                  </a:lnTo>
                  <a:lnTo>
                    <a:pt x="999554" y="964978"/>
                  </a:lnTo>
                  <a:lnTo>
                    <a:pt x="1000887" y="963263"/>
                  </a:lnTo>
                  <a:lnTo>
                    <a:pt x="1002030" y="959834"/>
                  </a:lnTo>
                  <a:lnTo>
                    <a:pt x="998315" y="955548"/>
                  </a:lnTo>
                  <a:lnTo>
                    <a:pt x="997458" y="949261"/>
                  </a:lnTo>
                  <a:lnTo>
                    <a:pt x="993743" y="944880"/>
                  </a:lnTo>
                  <a:lnTo>
                    <a:pt x="991552" y="940403"/>
                  </a:lnTo>
                  <a:lnTo>
                    <a:pt x="992505" y="935450"/>
                  </a:lnTo>
                  <a:lnTo>
                    <a:pt x="997077" y="933260"/>
                  </a:lnTo>
                  <a:lnTo>
                    <a:pt x="996886" y="931640"/>
                  </a:lnTo>
                  <a:lnTo>
                    <a:pt x="997648" y="925163"/>
                  </a:lnTo>
                  <a:lnTo>
                    <a:pt x="1002221" y="922973"/>
                  </a:lnTo>
                  <a:lnTo>
                    <a:pt x="1003554" y="921163"/>
                  </a:lnTo>
                  <a:lnTo>
                    <a:pt x="1015555" y="914876"/>
                  </a:lnTo>
                  <a:lnTo>
                    <a:pt x="1023842" y="916972"/>
                  </a:lnTo>
                  <a:lnTo>
                    <a:pt x="1031367" y="912876"/>
                  </a:lnTo>
                  <a:lnTo>
                    <a:pt x="1034320" y="910876"/>
                  </a:lnTo>
                  <a:lnTo>
                    <a:pt x="1036130" y="912209"/>
                  </a:lnTo>
                  <a:lnTo>
                    <a:pt x="1038320" y="916781"/>
                  </a:lnTo>
                  <a:lnTo>
                    <a:pt x="1039463" y="926211"/>
                  </a:lnTo>
                  <a:lnTo>
                    <a:pt x="1049369" y="928211"/>
                  </a:lnTo>
                  <a:lnTo>
                    <a:pt x="1058418" y="923830"/>
                  </a:lnTo>
                  <a:lnTo>
                    <a:pt x="1065181" y="926211"/>
                  </a:lnTo>
                  <a:lnTo>
                    <a:pt x="1066133" y="921258"/>
                  </a:lnTo>
                  <a:lnTo>
                    <a:pt x="1074039" y="920210"/>
                  </a:lnTo>
                  <a:lnTo>
                    <a:pt x="1076992" y="918305"/>
                  </a:lnTo>
                  <a:lnTo>
                    <a:pt x="1081659" y="917639"/>
                  </a:lnTo>
                  <a:lnTo>
                    <a:pt x="1085850" y="912304"/>
                  </a:lnTo>
                  <a:lnTo>
                    <a:pt x="1087374" y="912114"/>
                  </a:lnTo>
                  <a:lnTo>
                    <a:pt x="1094137" y="914495"/>
                  </a:lnTo>
                  <a:lnTo>
                    <a:pt x="1094708" y="919162"/>
                  </a:lnTo>
                  <a:lnTo>
                    <a:pt x="1098042" y="920401"/>
                  </a:lnTo>
                  <a:lnTo>
                    <a:pt x="1102995" y="921353"/>
                  </a:lnTo>
                  <a:lnTo>
                    <a:pt x="1113663" y="916781"/>
                  </a:lnTo>
                  <a:lnTo>
                    <a:pt x="1120616" y="920686"/>
                  </a:lnTo>
                  <a:lnTo>
                    <a:pt x="1131475" y="930593"/>
                  </a:lnTo>
                  <a:lnTo>
                    <a:pt x="1139761" y="932688"/>
                  </a:lnTo>
                  <a:lnTo>
                    <a:pt x="1142524" y="929164"/>
                  </a:lnTo>
                  <a:lnTo>
                    <a:pt x="1145857" y="930307"/>
                  </a:lnTo>
                  <a:lnTo>
                    <a:pt x="1161383" y="913924"/>
                  </a:lnTo>
                  <a:lnTo>
                    <a:pt x="1168717" y="908209"/>
                  </a:lnTo>
                  <a:lnTo>
                    <a:pt x="1168908" y="909733"/>
                  </a:lnTo>
                  <a:lnTo>
                    <a:pt x="1176623" y="907161"/>
                  </a:lnTo>
                  <a:lnTo>
                    <a:pt x="1181862" y="898493"/>
                  </a:lnTo>
                  <a:lnTo>
                    <a:pt x="1189958" y="899065"/>
                  </a:lnTo>
                  <a:lnTo>
                    <a:pt x="1202817" y="898970"/>
                  </a:lnTo>
                  <a:lnTo>
                    <a:pt x="1212056" y="896207"/>
                  </a:lnTo>
                  <a:lnTo>
                    <a:pt x="1211866" y="894683"/>
                  </a:lnTo>
                  <a:lnTo>
                    <a:pt x="1205579" y="895445"/>
                  </a:lnTo>
                  <a:lnTo>
                    <a:pt x="1201579" y="889540"/>
                  </a:lnTo>
                  <a:lnTo>
                    <a:pt x="1205770" y="884206"/>
                  </a:lnTo>
                  <a:lnTo>
                    <a:pt x="1205103" y="879443"/>
                  </a:lnTo>
                  <a:lnTo>
                    <a:pt x="1204913" y="877919"/>
                  </a:lnTo>
                  <a:lnTo>
                    <a:pt x="1207865" y="875919"/>
                  </a:lnTo>
                  <a:lnTo>
                    <a:pt x="1209675" y="877253"/>
                  </a:lnTo>
                  <a:lnTo>
                    <a:pt x="1215390" y="871728"/>
                  </a:lnTo>
                  <a:lnTo>
                    <a:pt x="1216914" y="858774"/>
                  </a:lnTo>
                  <a:lnTo>
                    <a:pt x="1209770" y="853249"/>
                  </a:lnTo>
                  <a:lnTo>
                    <a:pt x="1209770" y="85324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28" name="Volný tvar: obrazec 27">
              <a:extLst>
                <a:ext uri="{FF2B5EF4-FFF2-40B4-BE49-F238E27FC236}">
                  <a16:creationId xmlns:a16="http://schemas.microsoft.com/office/drawing/2014/main" id="{9A832326-DE91-9084-7397-E1D70B5BBD9C}"/>
                </a:ext>
              </a:extLst>
            </p:cNvPr>
            <p:cNvSpPr>
              <a:spLocks noChangeAspect="1"/>
            </p:cNvSpPr>
            <p:nvPr userDrawn="1">
              <p:custDataLst>
                <p:tags r:id="rId4"/>
              </p:custDataLst>
            </p:nvPr>
          </p:nvSpPr>
          <p:spPr>
            <a:xfrm>
              <a:off x="5670423" y="3374230"/>
              <a:ext cx="1073848" cy="1057751"/>
            </a:xfrm>
            <a:custGeom>
              <a:avLst/>
              <a:gdLst>
                <a:gd name="connsiteX0" fmla="*/ 1072801 w 1073848"/>
                <a:gd name="connsiteY0" fmla="*/ 375761 h 1057751"/>
                <a:gd name="connsiteX1" fmla="*/ 1068705 w 1073848"/>
                <a:gd name="connsiteY1" fmla="*/ 368237 h 1057751"/>
                <a:gd name="connsiteX2" fmla="*/ 1057180 w 1073848"/>
                <a:gd name="connsiteY2" fmla="*/ 366522 h 1057751"/>
                <a:gd name="connsiteX3" fmla="*/ 1056989 w 1073848"/>
                <a:gd name="connsiteY3" fmla="*/ 364903 h 1057751"/>
                <a:gd name="connsiteX4" fmla="*/ 1052322 w 1073848"/>
                <a:gd name="connsiteY4" fmla="*/ 365474 h 1057751"/>
                <a:gd name="connsiteX5" fmla="*/ 1050322 w 1073848"/>
                <a:gd name="connsiteY5" fmla="*/ 362521 h 1057751"/>
                <a:gd name="connsiteX6" fmla="*/ 1048512 w 1073848"/>
                <a:gd name="connsiteY6" fmla="*/ 361188 h 1057751"/>
                <a:gd name="connsiteX7" fmla="*/ 1046797 w 1073848"/>
                <a:gd name="connsiteY7" fmla="*/ 359759 h 1057751"/>
                <a:gd name="connsiteX8" fmla="*/ 1045178 w 1073848"/>
                <a:gd name="connsiteY8" fmla="*/ 360045 h 1057751"/>
                <a:gd name="connsiteX9" fmla="*/ 1044607 w 1073848"/>
                <a:gd name="connsiteY9" fmla="*/ 355283 h 1057751"/>
                <a:gd name="connsiteX10" fmla="*/ 1041178 w 1073848"/>
                <a:gd name="connsiteY10" fmla="*/ 354139 h 1057751"/>
                <a:gd name="connsiteX11" fmla="*/ 1042416 w 1073848"/>
                <a:gd name="connsiteY11" fmla="*/ 350711 h 1057751"/>
                <a:gd name="connsiteX12" fmla="*/ 1048703 w 1073848"/>
                <a:gd name="connsiteY12" fmla="*/ 349949 h 1057751"/>
                <a:gd name="connsiteX13" fmla="*/ 1049846 w 1073848"/>
                <a:gd name="connsiteY13" fmla="*/ 346615 h 1057751"/>
                <a:gd name="connsiteX14" fmla="*/ 1053846 w 1073848"/>
                <a:gd name="connsiteY14" fmla="*/ 339662 h 1057751"/>
                <a:gd name="connsiteX15" fmla="*/ 1052989 w 1073848"/>
                <a:gd name="connsiteY15" fmla="*/ 333375 h 1057751"/>
                <a:gd name="connsiteX16" fmla="*/ 1054608 w 1073848"/>
                <a:gd name="connsiteY16" fmla="*/ 333184 h 1057751"/>
                <a:gd name="connsiteX17" fmla="*/ 1055941 w 1073848"/>
                <a:gd name="connsiteY17" fmla="*/ 331375 h 1057751"/>
                <a:gd name="connsiteX18" fmla="*/ 1054798 w 1073848"/>
                <a:gd name="connsiteY18" fmla="*/ 321850 h 1057751"/>
                <a:gd name="connsiteX19" fmla="*/ 1052798 w 1073848"/>
                <a:gd name="connsiteY19" fmla="*/ 318897 h 1057751"/>
                <a:gd name="connsiteX20" fmla="*/ 1043083 w 1073848"/>
                <a:gd name="connsiteY20" fmla="*/ 305753 h 1057751"/>
                <a:gd name="connsiteX21" fmla="*/ 1042511 w 1073848"/>
                <a:gd name="connsiteY21" fmla="*/ 300990 h 1057751"/>
                <a:gd name="connsiteX22" fmla="*/ 1036987 w 1073848"/>
                <a:gd name="connsiteY22" fmla="*/ 295275 h 1057751"/>
                <a:gd name="connsiteX23" fmla="*/ 1030605 w 1073848"/>
                <a:gd name="connsiteY23" fmla="*/ 296132 h 1057751"/>
                <a:gd name="connsiteX24" fmla="*/ 1024890 w 1073848"/>
                <a:gd name="connsiteY24" fmla="*/ 288798 h 1057751"/>
                <a:gd name="connsiteX25" fmla="*/ 1022509 w 1073848"/>
                <a:gd name="connsiteY25" fmla="*/ 282702 h 1057751"/>
                <a:gd name="connsiteX26" fmla="*/ 1015746 w 1073848"/>
                <a:gd name="connsiteY26" fmla="*/ 280321 h 1057751"/>
                <a:gd name="connsiteX27" fmla="*/ 1009459 w 1073848"/>
                <a:gd name="connsiteY27" fmla="*/ 281178 h 1057751"/>
                <a:gd name="connsiteX28" fmla="*/ 1000601 w 1073848"/>
                <a:gd name="connsiteY28" fmla="*/ 274225 h 1057751"/>
                <a:gd name="connsiteX29" fmla="*/ 997648 w 1073848"/>
                <a:gd name="connsiteY29" fmla="*/ 276225 h 1057751"/>
                <a:gd name="connsiteX30" fmla="*/ 990505 w 1073848"/>
                <a:gd name="connsiteY30" fmla="*/ 270700 h 1057751"/>
                <a:gd name="connsiteX31" fmla="*/ 987933 w 1073848"/>
                <a:gd name="connsiteY31" fmla="*/ 275844 h 1057751"/>
                <a:gd name="connsiteX32" fmla="*/ 984790 w 1073848"/>
                <a:gd name="connsiteY32" fmla="*/ 276320 h 1057751"/>
                <a:gd name="connsiteX33" fmla="*/ 979837 w 1073848"/>
                <a:gd name="connsiteY33" fmla="*/ 275272 h 1057751"/>
                <a:gd name="connsiteX34" fmla="*/ 977455 w 1073848"/>
                <a:gd name="connsiteY34" fmla="*/ 269176 h 1057751"/>
                <a:gd name="connsiteX35" fmla="*/ 973931 w 1073848"/>
                <a:gd name="connsiteY35" fmla="*/ 266414 h 1057751"/>
                <a:gd name="connsiteX36" fmla="*/ 967168 w 1073848"/>
                <a:gd name="connsiteY36" fmla="*/ 264128 h 1057751"/>
                <a:gd name="connsiteX37" fmla="*/ 969169 w 1073848"/>
                <a:gd name="connsiteY37" fmla="*/ 254222 h 1057751"/>
                <a:gd name="connsiteX38" fmla="*/ 964025 w 1073848"/>
                <a:gd name="connsiteY38" fmla="*/ 251650 h 1057751"/>
                <a:gd name="connsiteX39" fmla="*/ 958310 w 1073848"/>
                <a:gd name="connsiteY39" fmla="*/ 244412 h 1057751"/>
                <a:gd name="connsiteX40" fmla="*/ 948595 w 1073848"/>
                <a:gd name="connsiteY40" fmla="*/ 231172 h 1057751"/>
                <a:gd name="connsiteX41" fmla="*/ 944785 w 1073848"/>
                <a:gd name="connsiteY41" fmla="*/ 226886 h 1057751"/>
                <a:gd name="connsiteX42" fmla="*/ 936498 w 1073848"/>
                <a:gd name="connsiteY42" fmla="*/ 224695 h 1057751"/>
                <a:gd name="connsiteX43" fmla="*/ 929640 w 1073848"/>
                <a:gd name="connsiteY43" fmla="*/ 220789 h 1057751"/>
                <a:gd name="connsiteX44" fmla="*/ 928211 w 1073848"/>
                <a:gd name="connsiteY44" fmla="*/ 222504 h 1057751"/>
                <a:gd name="connsiteX45" fmla="*/ 926497 w 1073848"/>
                <a:gd name="connsiteY45" fmla="*/ 221171 h 1057751"/>
                <a:gd name="connsiteX46" fmla="*/ 921734 w 1073848"/>
                <a:gd name="connsiteY46" fmla="*/ 221742 h 1057751"/>
                <a:gd name="connsiteX47" fmla="*/ 921353 w 1073848"/>
                <a:gd name="connsiteY47" fmla="*/ 218599 h 1057751"/>
                <a:gd name="connsiteX48" fmla="*/ 916019 w 1073848"/>
                <a:gd name="connsiteY48" fmla="*/ 214503 h 1057751"/>
                <a:gd name="connsiteX49" fmla="*/ 913638 w 1073848"/>
                <a:gd name="connsiteY49" fmla="*/ 208407 h 1057751"/>
                <a:gd name="connsiteX50" fmla="*/ 910495 w 1073848"/>
                <a:gd name="connsiteY50" fmla="*/ 208788 h 1057751"/>
                <a:gd name="connsiteX51" fmla="*/ 909447 w 1073848"/>
                <a:gd name="connsiteY51" fmla="*/ 213741 h 1057751"/>
                <a:gd name="connsiteX52" fmla="*/ 906304 w 1073848"/>
                <a:gd name="connsiteY52" fmla="*/ 214122 h 1057751"/>
                <a:gd name="connsiteX53" fmla="*/ 899160 w 1073848"/>
                <a:gd name="connsiteY53" fmla="*/ 208597 h 1057751"/>
                <a:gd name="connsiteX54" fmla="*/ 895445 w 1073848"/>
                <a:gd name="connsiteY54" fmla="*/ 204311 h 1057751"/>
                <a:gd name="connsiteX55" fmla="*/ 889159 w 1073848"/>
                <a:gd name="connsiteY55" fmla="*/ 205073 h 1057751"/>
                <a:gd name="connsiteX56" fmla="*/ 884777 w 1073848"/>
                <a:gd name="connsiteY56" fmla="*/ 208883 h 1057751"/>
                <a:gd name="connsiteX57" fmla="*/ 881443 w 1073848"/>
                <a:gd name="connsiteY57" fmla="*/ 207645 h 1057751"/>
                <a:gd name="connsiteX58" fmla="*/ 882587 w 1073848"/>
                <a:gd name="connsiteY58" fmla="*/ 204311 h 1057751"/>
                <a:gd name="connsiteX59" fmla="*/ 878681 w 1073848"/>
                <a:gd name="connsiteY59" fmla="*/ 198406 h 1057751"/>
                <a:gd name="connsiteX60" fmla="*/ 874871 w 1073848"/>
                <a:gd name="connsiteY60" fmla="*/ 194024 h 1057751"/>
                <a:gd name="connsiteX61" fmla="*/ 866013 w 1073848"/>
                <a:gd name="connsiteY61" fmla="*/ 200025 h 1057751"/>
                <a:gd name="connsiteX62" fmla="*/ 856202 w 1073848"/>
                <a:gd name="connsiteY62" fmla="*/ 198025 h 1057751"/>
                <a:gd name="connsiteX63" fmla="*/ 856393 w 1073848"/>
                <a:gd name="connsiteY63" fmla="*/ 199644 h 1057751"/>
                <a:gd name="connsiteX64" fmla="*/ 852964 w 1073848"/>
                <a:gd name="connsiteY64" fmla="*/ 198501 h 1057751"/>
                <a:gd name="connsiteX65" fmla="*/ 848868 w 1073848"/>
                <a:gd name="connsiteY65" fmla="*/ 203835 h 1057751"/>
                <a:gd name="connsiteX66" fmla="*/ 843343 w 1073848"/>
                <a:gd name="connsiteY66" fmla="*/ 198120 h 1057751"/>
                <a:gd name="connsiteX67" fmla="*/ 839914 w 1073848"/>
                <a:gd name="connsiteY67" fmla="*/ 184118 h 1057751"/>
                <a:gd name="connsiteX68" fmla="*/ 834390 w 1073848"/>
                <a:gd name="connsiteY68" fmla="*/ 178403 h 1057751"/>
                <a:gd name="connsiteX69" fmla="*/ 834199 w 1073848"/>
                <a:gd name="connsiteY69" fmla="*/ 176784 h 1057751"/>
                <a:gd name="connsiteX70" fmla="*/ 830675 w 1073848"/>
                <a:gd name="connsiteY70" fmla="*/ 174022 h 1057751"/>
                <a:gd name="connsiteX71" fmla="*/ 826865 w 1073848"/>
                <a:gd name="connsiteY71" fmla="*/ 169736 h 1057751"/>
                <a:gd name="connsiteX72" fmla="*/ 825341 w 1073848"/>
                <a:gd name="connsiteY72" fmla="*/ 169926 h 1057751"/>
                <a:gd name="connsiteX73" fmla="*/ 820198 w 1073848"/>
                <a:gd name="connsiteY73" fmla="*/ 167354 h 1057751"/>
                <a:gd name="connsiteX74" fmla="*/ 817055 w 1073848"/>
                <a:gd name="connsiteY74" fmla="*/ 167735 h 1057751"/>
                <a:gd name="connsiteX75" fmla="*/ 813625 w 1073848"/>
                <a:gd name="connsiteY75" fmla="*/ 166592 h 1057751"/>
                <a:gd name="connsiteX76" fmla="*/ 811054 w 1073848"/>
                <a:gd name="connsiteY76" fmla="*/ 171736 h 1057751"/>
                <a:gd name="connsiteX77" fmla="*/ 809339 w 1073848"/>
                <a:gd name="connsiteY77" fmla="*/ 170307 h 1057751"/>
                <a:gd name="connsiteX78" fmla="*/ 802576 w 1073848"/>
                <a:gd name="connsiteY78" fmla="*/ 168021 h 1057751"/>
                <a:gd name="connsiteX79" fmla="*/ 800576 w 1073848"/>
                <a:gd name="connsiteY79" fmla="*/ 165068 h 1057751"/>
                <a:gd name="connsiteX80" fmla="*/ 795909 w 1073848"/>
                <a:gd name="connsiteY80" fmla="*/ 165640 h 1057751"/>
                <a:gd name="connsiteX81" fmla="*/ 790956 w 1073848"/>
                <a:gd name="connsiteY81" fmla="*/ 164687 h 1057751"/>
                <a:gd name="connsiteX82" fmla="*/ 781907 w 1073848"/>
                <a:gd name="connsiteY82" fmla="*/ 156210 h 1057751"/>
                <a:gd name="connsiteX83" fmla="*/ 781240 w 1073848"/>
                <a:gd name="connsiteY83" fmla="*/ 151447 h 1057751"/>
                <a:gd name="connsiteX84" fmla="*/ 782860 w 1073848"/>
                <a:gd name="connsiteY84" fmla="*/ 151257 h 1057751"/>
                <a:gd name="connsiteX85" fmla="*/ 780669 w 1073848"/>
                <a:gd name="connsiteY85" fmla="*/ 146780 h 1057751"/>
                <a:gd name="connsiteX86" fmla="*/ 782003 w 1073848"/>
                <a:gd name="connsiteY86" fmla="*/ 144971 h 1057751"/>
                <a:gd name="connsiteX87" fmla="*/ 783241 w 1073848"/>
                <a:gd name="connsiteY87" fmla="*/ 141637 h 1057751"/>
                <a:gd name="connsiteX88" fmla="*/ 780288 w 1073848"/>
                <a:gd name="connsiteY88" fmla="*/ 143542 h 1057751"/>
                <a:gd name="connsiteX89" fmla="*/ 778288 w 1073848"/>
                <a:gd name="connsiteY89" fmla="*/ 140589 h 1057751"/>
                <a:gd name="connsiteX90" fmla="*/ 773525 w 1073848"/>
                <a:gd name="connsiteY90" fmla="*/ 141256 h 1057751"/>
                <a:gd name="connsiteX91" fmla="*/ 772763 w 1073848"/>
                <a:gd name="connsiteY91" fmla="*/ 147733 h 1057751"/>
                <a:gd name="connsiteX92" fmla="*/ 757047 w 1073848"/>
                <a:gd name="connsiteY92" fmla="*/ 162592 h 1057751"/>
                <a:gd name="connsiteX93" fmla="*/ 755047 w 1073848"/>
                <a:gd name="connsiteY93" fmla="*/ 172403 h 1057751"/>
                <a:gd name="connsiteX94" fmla="*/ 757809 w 1073848"/>
                <a:gd name="connsiteY94" fmla="*/ 181737 h 1057751"/>
                <a:gd name="connsiteX95" fmla="*/ 756285 w 1073848"/>
                <a:gd name="connsiteY95" fmla="*/ 181928 h 1057751"/>
                <a:gd name="connsiteX96" fmla="*/ 754856 w 1073848"/>
                <a:gd name="connsiteY96" fmla="*/ 183737 h 1057751"/>
                <a:gd name="connsiteX97" fmla="*/ 743426 w 1073848"/>
                <a:gd name="connsiteY97" fmla="*/ 181928 h 1057751"/>
                <a:gd name="connsiteX98" fmla="*/ 748379 w 1073848"/>
                <a:gd name="connsiteY98" fmla="*/ 195739 h 1057751"/>
                <a:gd name="connsiteX99" fmla="*/ 740759 w 1073848"/>
                <a:gd name="connsiteY99" fmla="*/ 198311 h 1057751"/>
                <a:gd name="connsiteX100" fmla="*/ 740950 w 1073848"/>
                <a:gd name="connsiteY100" fmla="*/ 199930 h 1057751"/>
                <a:gd name="connsiteX101" fmla="*/ 736187 w 1073848"/>
                <a:gd name="connsiteY101" fmla="*/ 200501 h 1057751"/>
                <a:gd name="connsiteX102" fmla="*/ 731044 w 1073848"/>
                <a:gd name="connsiteY102" fmla="*/ 197929 h 1057751"/>
                <a:gd name="connsiteX103" fmla="*/ 726281 w 1073848"/>
                <a:gd name="connsiteY103" fmla="*/ 198596 h 1057751"/>
                <a:gd name="connsiteX104" fmla="*/ 723329 w 1073848"/>
                <a:gd name="connsiteY104" fmla="*/ 200501 h 1057751"/>
                <a:gd name="connsiteX105" fmla="*/ 720185 w 1073848"/>
                <a:gd name="connsiteY105" fmla="*/ 200978 h 1057751"/>
                <a:gd name="connsiteX106" fmla="*/ 710946 w 1073848"/>
                <a:gd name="connsiteY106" fmla="*/ 190881 h 1057751"/>
                <a:gd name="connsiteX107" fmla="*/ 709136 w 1073848"/>
                <a:gd name="connsiteY107" fmla="*/ 189547 h 1057751"/>
                <a:gd name="connsiteX108" fmla="*/ 708946 w 1073848"/>
                <a:gd name="connsiteY108" fmla="*/ 187928 h 1057751"/>
                <a:gd name="connsiteX109" fmla="*/ 703993 w 1073848"/>
                <a:gd name="connsiteY109" fmla="*/ 186976 h 1057751"/>
                <a:gd name="connsiteX110" fmla="*/ 693515 w 1073848"/>
                <a:gd name="connsiteY110" fmla="*/ 180308 h 1057751"/>
                <a:gd name="connsiteX111" fmla="*/ 685609 w 1073848"/>
                <a:gd name="connsiteY111" fmla="*/ 181261 h 1057751"/>
                <a:gd name="connsiteX112" fmla="*/ 674941 w 1073848"/>
                <a:gd name="connsiteY112" fmla="*/ 173069 h 1057751"/>
                <a:gd name="connsiteX113" fmla="*/ 676084 w 1073848"/>
                <a:gd name="connsiteY113" fmla="*/ 169640 h 1057751"/>
                <a:gd name="connsiteX114" fmla="*/ 670370 w 1073848"/>
                <a:gd name="connsiteY114" fmla="*/ 162401 h 1057751"/>
                <a:gd name="connsiteX115" fmla="*/ 676847 w 1073848"/>
                <a:gd name="connsiteY115" fmla="*/ 150304 h 1057751"/>
                <a:gd name="connsiteX116" fmla="*/ 681418 w 1073848"/>
                <a:gd name="connsiteY116" fmla="*/ 148114 h 1057751"/>
                <a:gd name="connsiteX117" fmla="*/ 681323 w 1073848"/>
                <a:gd name="connsiteY117" fmla="*/ 135350 h 1057751"/>
                <a:gd name="connsiteX118" fmla="*/ 677037 w 1073848"/>
                <a:gd name="connsiteY118" fmla="*/ 139065 h 1057751"/>
                <a:gd name="connsiteX119" fmla="*/ 671131 w 1073848"/>
                <a:gd name="connsiteY119" fmla="*/ 143066 h 1057751"/>
                <a:gd name="connsiteX120" fmla="*/ 668941 w 1073848"/>
                <a:gd name="connsiteY120" fmla="*/ 138493 h 1057751"/>
                <a:gd name="connsiteX121" fmla="*/ 657511 w 1073848"/>
                <a:gd name="connsiteY121" fmla="*/ 136779 h 1057751"/>
                <a:gd name="connsiteX122" fmla="*/ 651129 w 1073848"/>
                <a:gd name="connsiteY122" fmla="*/ 124778 h 1057751"/>
                <a:gd name="connsiteX123" fmla="*/ 647986 w 1073848"/>
                <a:gd name="connsiteY123" fmla="*/ 125158 h 1057751"/>
                <a:gd name="connsiteX124" fmla="*/ 647795 w 1073848"/>
                <a:gd name="connsiteY124" fmla="*/ 123539 h 1057751"/>
                <a:gd name="connsiteX125" fmla="*/ 642652 w 1073848"/>
                <a:gd name="connsiteY125" fmla="*/ 121063 h 1057751"/>
                <a:gd name="connsiteX126" fmla="*/ 640651 w 1073848"/>
                <a:gd name="connsiteY126" fmla="*/ 118015 h 1057751"/>
                <a:gd name="connsiteX127" fmla="*/ 636175 w 1073848"/>
                <a:gd name="connsiteY127" fmla="*/ 120205 h 1057751"/>
                <a:gd name="connsiteX128" fmla="*/ 632365 w 1073848"/>
                <a:gd name="connsiteY128" fmla="*/ 115919 h 1057751"/>
                <a:gd name="connsiteX129" fmla="*/ 629412 w 1073848"/>
                <a:gd name="connsiteY129" fmla="*/ 117920 h 1057751"/>
                <a:gd name="connsiteX130" fmla="*/ 629603 w 1073848"/>
                <a:gd name="connsiteY130" fmla="*/ 119443 h 1057751"/>
                <a:gd name="connsiteX131" fmla="*/ 627888 w 1073848"/>
                <a:gd name="connsiteY131" fmla="*/ 118110 h 1057751"/>
                <a:gd name="connsiteX132" fmla="*/ 623506 w 1073848"/>
                <a:gd name="connsiteY132" fmla="*/ 121825 h 1057751"/>
                <a:gd name="connsiteX133" fmla="*/ 620363 w 1073848"/>
                <a:gd name="connsiteY133" fmla="*/ 122301 h 1057751"/>
                <a:gd name="connsiteX134" fmla="*/ 618363 w 1073848"/>
                <a:gd name="connsiteY134" fmla="*/ 119253 h 1057751"/>
                <a:gd name="connsiteX135" fmla="*/ 618934 w 1073848"/>
                <a:gd name="connsiteY135" fmla="*/ 111252 h 1057751"/>
                <a:gd name="connsiteX136" fmla="*/ 617411 w 1073848"/>
                <a:gd name="connsiteY136" fmla="*/ 111442 h 1057751"/>
                <a:gd name="connsiteX137" fmla="*/ 620744 w 1073848"/>
                <a:gd name="connsiteY137" fmla="*/ 99727 h 1057751"/>
                <a:gd name="connsiteX138" fmla="*/ 623030 w 1073848"/>
                <a:gd name="connsiteY138" fmla="*/ 93059 h 1057751"/>
                <a:gd name="connsiteX139" fmla="*/ 618363 w 1073848"/>
                <a:gd name="connsiteY139" fmla="*/ 93631 h 1057751"/>
                <a:gd name="connsiteX140" fmla="*/ 618744 w 1073848"/>
                <a:gd name="connsiteY140" fmla="*/ 96774 h 1057751"/>
                <a:gd name="connsiteX141" fmla="*/ 613600 w 1073848"/>
                <a:gd name="connsiteY141" fmla="*/ 94202 h 1057751"/>
                <a:gd name="connsiteX142" fmla="*/ 608838 w 1073848"/>
                <a:gd name="connsiteY142" fmla="*/ 94869 h 1057751"/>
                <a:gd name="connsiteX143" fmla="*/ 603504 w 1073848"/>
                <a:gd name="connsiteY143" fmla="*/ 90678 h 1057751"/>
                <a:gd name="connsiteX144" fmla="*/ 594074 w 1073848"/>
                <a:gd name="connsiteY144" fmla="*/ 91916 h 1057751"/>
                <a:gd name="connsiteX145" fmla="*/ 594265 w 1073848"/>
                <a:gd name="connsiteY145" fmla="*/ 93536 h 1057751"/>
                <a:gd name="connsiteX146" fmla="*/ 585788 w 1073848"/>
                <a:gd name="connsiteY146" fmla="*/ 89821 h 1057751"/>
                <a:gd name="connsiteX147" fmla="*/ 587121 w 1073848"/>
                <a:gd name="connsiteY147" fmla="*/ 88011 h 1057751"/>
                <a:gd name="connsiteX148" fmla="*/ 584930 w 1073848"/>
                <a:gd name="connsiteY148" fmla="*/ 83439 h 1057751"/>
                <a:gd name="connsiteX149" fmla="*/ 583216 w 1073848"/>
                <a:gd name="connsiteY149" fmla="*/ 82105 h 1057751"/>
                <a:gd name="connsiteX150" fmla="*/ 580263 w 1073848"/>
                <a:gd name="connsiteY150" fmla="*/ 84106 h 1057751"/>
                <a:gd name="connsiteX151" fmla="*/ 579977 w 1073848"/>
                <a:gd name="connsiteY151" fmla="*/ 82487 h 1057751"/>
                <a:gd name="connsiteX152" fmla="*/ 578453 w 1073848"/>
                <a:gd name="connsiteY152" fmla="*/ 82677 h 1057751"/>
                <a:gd name="connsiteX153" fmla="*/ 576643 w 1073848"/>
                <a:gd name="connsiteY153" fmla="*/ 81343 h 1057751"/>
                <a:gd name="connsiteX154" fmla="*/ 578263 w 1073848"/>
                <a:gd name="connsiteY154" fmla="*/ 81153 h 1057751"/>
                <a:gd name="connsiteX155" fmla="*/ 579406 w 1073848"/>
                <a:gd name="connsiteY155" fmla="*/ 77724 h 1057751"/>
                <a:gd name="connsiteX156" fmla="*/ 577882 w 1073848"/>
                <a:gd name="connsiteY156" fmla="*/ 77914 h 1057751"/>
                <a:gd name="connsiteX157" fmla="*/ 576072 w 1073848"/>
                <a:gd name="connsiteY157" fmla="*/ 76581 h 1057751"/>
                <a:gd name="connsiteX158" fmla="*/ 574453 w 1073848"/>
                <a:gd name="connsiteY158" fmla="*/ 76771 h 1057751"/>
                <a:gd name="connsiteX159" fmla="*/ 573691 w 1073848"/>
                <a:gd name="connsiteY159" fmla="*/ 70485 h 1057751"/>
                <a:gd name="connsiteX160" fmla="*/ 570357 w 1073848"/>
                <a:gd name="connsiteY160" fmla="*/ 69247 h 1057751"/>
                <a:gd name="connsiteX161" fmla="*/ 571500 w 1073848"/>
                <a:gd name="connsiteY161" fmla="*/ 65913 h 1057751"/>
                <a:gd name="connsiteX162" fmla="*/ 567404 w 1073848"/>
                <a:gd name="connsiteY162" fmla="*/ 71247 h 1057751"/>
                <a:gd name="connsiteX163" fmla="*/ 562451 w 1073848"/>
                <a:gd name="connsiteY163" fmla="*/ 70295 h 1057751"/>
                <a:gd name="connsiteX164" fmla="*/ 561880 w 1073848"/>
                <a:gd name="connsiteY164" fmla="*/ 65532 h 1057751"/>
                <a:gd name="connsiteX165" fmla="*/ 557498 w 1073848"/>
                <a:gd name="connsiteY165" fmla="*/ 69342 h 1057751"/>
                <a:gd name="connsiteX166" fmla="*/ 553688 w 1073848"/>
                <a:gd name="connsiteY166" fmla="*/ 64961 h 1057751"/>
                <a:gd name="connsiteX167" fmla="*/ 553307 w 1073848"/>
                <a:gd name="connsiteY167" fmla="*/ 61817 h 1057751"/>
                <a:gd name="connsiteX168" fmla="*/ 556450 w 1073848"/>
                <a:gd name="connsiteY168" fmla="*/ 61436 h 1057751"/>
                <a:gd name="connsiteX169" fmla="*/ 554546 w 1073848"/>
                <a:gd name="connsiteY169" fmla="*/ 58483 h 1057751"/>
                <a:gd name="connsiteX170" fmla="*/ 546640 w 1073848"/>
                <a:gd name="connsiteY170" fmla="*/ 59531 h 1057751"/>
                <a:gd name="connsiteX171" fmla="*/ 546449 w 1073848"/>
                <a:gd name="connsiteY171" fmla="*/ 57912 h 1057751"/>
                <a:gd name="connsiteX172" fmla="*/ 543306 w 1073848"/>
                <a:gd name="connsiteY172" fmla="*/ 58293 h 1057751"/>
                <a:gd name="connsiteX173" fmla="*/ 541496 w 1073848"/>
                <a:gd name="connsiteY173" fmla="*/ 56959 h 1057751"/>
                <a:gd name="connsiteX174" fmla="*/ 537496 w 1073848"/>
                <a:gd name="connsiteY174" fmla="*/ 51054 h 1057751"/>
                <a:gd name="connsiteX175" fmla="*/ 534733 w 1073848"/>
                <a:gd name="connsiteY175" fmla="*/ 54578 h 1057751"/>
                <a:gd name="connsiteX176" fmla="*/ 534162 w 1073848"/>
                <a:gd name="connsiteY176" fmla="*/ 62675 h 1057751"/>
                <a:gd name="connsiteX177" fmla="*/ 527875 w 1073848"/>
                <a:gd name="connsiteY177" fmla="*/ 63437 h 1057751"/>
                <a:gd name="connsiteX178" fmla="*/ 526066 w 1073848"/>
                <a:gd name="connsiteY178" fmla="*/ 62103 h 1057751"/>
                <a:gd name="connsiteX179" fmla="*/ 524732 w 1073848"/>
                <a:gd name="connsiteY179" fmla="*/ 63913 h 1057751"/>
                <a:gd name="connsiteX180" fmla="*/ 520541 w 1073848"/>
                <a:gd name="connsiteY180" fmla="*/ 56388 h 1057751"/>
                <a:gd name="connsiteX181" fmla="*/ 521780 w 1073848"/>
                <a:gd name="connsiteY181" fmla="*/ 53054 h 1057751"/>
                <a:gd name="connsiteX182" fmla="*/ 515398 w 1073848"/>
                <a:gd name="connsiteY182" fmla="*/ 53816 h 1057751"/>
                <a:gd name="connsiteX183" fmla="*/ 515874 w 1073848"/>
                <a:gd name="connsiteY183" fmla="*/ 56959 h 1057751"/>
                <a:gd name="connsiteX184" fmla="*/ 511112 w 1073848"/>
                <a:gd name="connsiteY184" fmla="*/ 57626 h 1057751"/>
                <a:gd name="connsiteX185" fmla="*/ 511302 w 1073848"/>
                <a:gd name="connsiteY185" fmla="*/ 59150 h 1057751"/>
                <a:gd name="connsiteX186" fmla="*/ 508159 w 1073848"/>
                <a:gd name="connsiteY186" fmla="*/ 59531 h 1057751"/>
                <a:gd name="connsiteX187" fmla="*/ 507968 w 1073848"/>
                <a:gd name="connsiteY187" fmla="*/ 58007 h 1057751"/>
                <a:gd name="connsiteX188" fmla="*/ 501587 w 1073848"/>
                <a:gd name="connsiteY188" fmla="*/ 58769 h 1057751"/>
                <a:gd name="connsiteX189" fmla="*/ 498253 w 1073848"/>
                <a:gd name="connsiteY189" fmla="*/ 57626 h 1057751"/>
                <a:gd name="connsiteX190" fmla="*/ 495300 w 1073848"/>
                <a:gd name="connsiteY190" fmla="*/ 59626 h 1057751"/>
                <a:gd name="connsiteX191" fmla="*/ 493300 w 1073848"/>
                <a:gd name="connsiteY191" fmla="*/ 56674 h 1057751"/>
                <a:gd name="connsiteX192" fmla="*/ 490538 w 1073848"/>
                <a:gd name="connsiteY192" fmla="*/ 60198 h 1057751"/>
                <a:gd name="connsiteX193" fmla="*/ 490156 w 1073848"/>
                <a:gd name="connsiteY193" fmla="*/ 57055 h 1057751"/>
                <a:gd name="connsiteX194" fmla="*/ 489204 w 1073848"/>
                <a:gd name="connsiteY194" fmla="*/ 62008 h 1057751"/>
                <a:gd name="connsiteX195" fmla="*/ 487204 w 1073848"/>
                <a:gd name="connsiteY195" fmla="*/ 59055 h 1057751"/>
                <a:gd name="connsiteX196" fmla="*/ 489966 w 1073848"/>
                <a:gd name="connsiteY196" fmla="*/ 55436 h 1057751"/>
                <a:gd name="connsiteX197" fmla="*/ 487775 w 1073848"/>
                <a:gd name="connsiteY197" fmla="*/ 50959 h 1057751"/>
                <a:gd name="connsiteX198" fmla="*/ 489204 w 1073848"/>
                <a:gd name="connsiteY198" fmla="*/ 49149 h 1057751"/>
                <a:gd name="connsiteX199" fmla="*/ 486061 w 1073848"/>
                <a:gd name="connsiteY199" fmla="*/ 49530 h 1057751"/>
                <a:gd name="connsiteX200" fmla="*/ 484251 w 1073848"/>
                <a:gd name="connsiteY200" fmla="*/ 48196 h 1057751"/>
                <a:gd name="connsiteX201" fmla="*/ 481108 w 1073848"/>
                <a:gd name="connsiteY201" fmla="*/ 48578 h 1057751"/>
                <a:gd name="connsiteX202" fmla="*/ 477298 w 1073848"/>
                <a:gd name="connsiteY202" fmla="*/ 44291 h 1057751"/>
                <a:gd name="connsiteX203" fmla="*/ 477107 w 1073848"/>
                <a:gd name="connsiteY203" fmla="*/ 42672 h 1057751"/>
                <a:gd name="connsiteX204" fmla="*/ 478060 w 1073848"/>
                <a:gd name="connsiteY204" fmla="*/ 37719 h 1057751"/>
                <a:gd name="connsiteX205" fmla="*/ 471773 w 1073848"/>
                <a:gd name="connsiteY205" fmla="*/ 38576 h 1057751"/>
                <a:gd name="connsiteX206" fmla="*/ 469773 w 1073848"/>
                <a:gd name="connsiteY206" fmla="*/ 35624 h 1057751"/>
                <a:gd name="connsiteX207" fmla="*/ 469392 w 1073848"/>
                <a:gd name="connsiteY207" fmla="*/ 32480 h 1057751"/>
                <a:gd name="connsiteX208" fmla="*/ 464630 w 1073848"/>
                <a:gd name="connsiteY208" fmla="*/ 33052 h 1057751"/>
                <a:gd name="connsiteX209" fmla="*/ 455390 w 1073848"/>
                <a:gd name="connsiteY209" fmla="*/ 22955 h 1057751"/>
                <a:gd name="connsiteX210" fmla="*/ 448818 w 1073848"/>
                <a:gd name="connsiteY210" fmla="*/ 22193 h 1057751"/>
                <a:gd name="connsiteX211" fmla="*/ 445294 w 1073848"/>
                <a:gd name="connsiteY211" fmla="*/ 19431 h 1057751"/>
                <a:gd name="connsiteX212" fmla="*/ 441579 w 1073848"/>
                <a:gd name="connsiteY212" fmla="*/ 15145 h 1057751"/>
                <a:gd name="connsiteX213" fmla="*/ 437769 w 1073848"/>
                <a:gd name="connsiteY213" fmla="*/ 10763 h 1057751"/>
                <a:gd name="connsiteX214" fmla="*/ 432625 w 1073848"/>
                <a:gd name="connsiteY214" fmla="*/ 8287 h 1057751"/>
                <a:gd name="connsiteX215" fmla="*/ 421957 w 1073848"/>
                <a:gd name="connsiteY215" fmla="*/ 0 h 1057751"/>
                <a:gd name="connsiteX216" fmla="*/ 420624 w 1073848"/>
                <a:gd name="connsiteY216" fmla="*/ 1810 h 1057751"/>
                <a:gd name="connsiteX217" fmla="*/ 421386 w 1073848"/>
                <a:gd name="connsiteY217" fmla="*/ 8096 h 1057751"/>
                <a:gd name="connsiteX218" fmla="*/ 417290 w 1073848"/>
                <a:gd name="connsiteY218" fmla="*/ 13430 h 1057751"/>
                <a:gd name="connsiteX219" fmla="*/ 413480 w 1073848"/>
                <a:gd name="connsiteY219" fmla="*/ 9049 h 1057751"/>
                <a:gd name="connsiteX220" fmla="*/ 405860 w 1073848"/>
                <a:gd name="connsiteY220" fmla="*/ 11716 h 1057751"/>
                <a:gd name="connsiteX221" fmla="*/ 406051 w 1073848"/>
                <a:gd name="connsiteY221" fmla="*/ 13240 h 1057751"/>
                <a:gd name="connsiteX222" fmla="*/ 407765 w 1073848"/>
                <a:gd name="connsiteY222" fmla="*/ 14668 h 1057751"/>
                <a:gd name="connsiteX223" fmla="*/ 406241 w 1073848"/>
                <a:gd name="connsiteY223" fmla="*/ 14859 h 1057751"/>
                <a:gd name="connsiteX224" fmla="*/ 406813 w 1073848"/>
                <a:gd name="connsiteY224" fmla="*/ 19526 h 1057751"/>
                <a:gd name="connsiteX225" fmla="*/ 402336 w 1073848"/>
                <a:gd name="connsiteY225" fmla="*/ 21717 h 1057751"/>
                <a:gd name="connsiteX226" fmla="*/ 399097 w 1073848"/>
                <a:gd name="connsiteY226" fmla="*/ 22193 h 1057751"/>
                <a:gd name="connsiteX227" fmla="*/ 399574 w 1073848"/>
                <a:gd name="connsiteY227" fmla="*/ 25337 h 1057751"/>
                <a:gd name="connsiteX228" fmla="*/ 397955 w 1073848"/>
                <a:gd name="connsiteY228" fmla="*/ 25527 h 1057751"/>
                <a:gd name="connsiteX229" fmla="*/ 393954 w 1073848"/>
                <a:gd name="connsiteY229" fmla="*/ 19621 h 1057751"/>
                <a:gd name="connsiteX230" fmla="*/ 388906 w 1073848"/>
                <a:gd name="connsiteY230" fmla="*/ 17050 h 1057751"/>
                <a:gd name="connsiteX231" fmla="*/ 385953 w 1073848"/>
                <a:gd name="connsiteY231" fmla="*/ 19050 h 1057751"/>
                <a:gd name="connsiteX232" fmla="*/ 376047 w 1073848"/>
                <a:gd name="connsiteY232" fmla="*/ 29908 h 1057751"/>
                <a:gd name="connsiteX233" fmla="*/ 376428 w 1073848"/>
                <a:gd name="connsiteY233" fmla="*/ 33052 h 1057751"/>
                <a:gd name="connsiteX234" fmla="*/ 371570 w 1073848"/>
                <a:gd name="connsiteY234" fmla="*/ 32099 h 1057751"/>
                <a:gd name="connsiteX235" fmla="*/ 368998 w 1073848"/>
                <a:gd name="connsiteY235" fmla="*/ 37243 h 1057751"/>
                <a:gd name="connsiteX236" fmla="*/ 365093 w 1073848"/>
                <a:gd name="connsiteY236" fmla="*/ 44101 h 1057751"/>
                <a:gd name="connsiteX237" fmla="*/ 365665 w 1073848"/>
                <a:gd name="connsiteY237" fmla="*/ 48863 h 1057751"/>
                <a:gd name="connsiteX238" fmla="*/ 367665 w 1073848"/>
                <a:gd name="connsiteY238" fmla="*/ 51816 h 1057751"/>
                <a:gd name="connsiteX239" fmla="*/ 372332 w 1073848"/>
                <a:gd name="connsiteY239" fmla="*/ 51245 h 1057751"/>
                <a:gd name="connsiteX240" fmla="*/ 375475 w 1073848"/>
                <a:gd name="connsiteY240" fmla="*/ 50768 h 1057751"/>
                <a:gd name="connsiteX241" fmla="*/ 374523 w 1073848"/>
                <a:gd name="connsiteY241" fmla="*/ 55721 h 1057751"/>
                <a:gd name="connsiteX242" fmla="*/ 378142 w 1073848"/>
                <a:gd name="connsiteY242" fmla="*/ 58483 h 1057751"/>
                <a:gd name="connsiteX243" fmla="*/ 377095 w 1073848"/>
                <a:gd name="connsiteY243" fmla="*/ 63437 h 1057751"/>
                <a:gd name="connsiteX244" fmla="*/ 382238 w 1073848"/>
                <a:gd name="connsiteY244" fmla="*/ 66008 h 1057751"/>
                <a:gd name="connsiteX245" fmla="*/ 379285 w 1073848"/>
                <a:gd name="connsiteY245" fmla="*/ 68008 h 1057751"/>
                <a:gd name="connsiteX246" fmla="*/ 379762 w 1073848"/>
                <a:gd name="connsiteY246" fmla="*/ 71152 h 1057751"/>
                <a:gd name="connsiteX247" fmla="*/ 376999 w 1073848"/>
                <a:gd name="connsiteY247" fmla="*/ 74676 h 1057751"/>
                <a:gd name="connsiteX248" fmla="*/ 373761 w 1073848"/>
                <a:gd name="connsiteY248" fmla="*/ 75057 h 1057751"/>
                <a:gd name="connsiteX249" fmla="*/ 371094 w 1073848"/>
                <a:gd name="connsiteY249" fmla="*/ 78676 h 1057751"/>
                <a:gd name="connsiteX250" fmla="*/ 371284 w 1073848"/>
                <a:gd name="connsiteY250" fmla="*/ 80200 h 1057751"/>
                <a:gd name="connsiteX251" fmla="*/ 367665 w 1073848"/>
                <a:gd name="connsiteY251" fmla="*/ 77438 h 1057751"/>
                <a:gd name="connsiteX252" fmla="*/ 366141 w 1073848"/>
                <a:gd name="connsiteY252" fmla="*/ 77629 h 1057751"/>
                <a:gd name="connsiteX253" fmla="*/ 364331 w 1073848"/>
                <a:gd name="connsiteY253" fmla="*/ 76295 h 1057751"/>
                <a:gd name="connsiteX254" fmla="*/ 359759 w 1073848"/>
                <a:gd name="connsiteY254" fmla="*/ 78486 h 1057751"/>
                <a:gd name="connsiteX255" fmla="*/ 352711 w 1073848"/>
                <a:gd name="connsiteY255" fmla="*/ 72962 h 1057751"/>
                <a:gd name="connsiteX256" fmla="*/ 353282 w 1073848"/>
                <a:gd name="connsiteY256" fmla="*/ 77724 h 1057751"/>
                <a:gd name="connsiteX257" fmla="*/ 350139 w 1073848"/>
                <a:gd name="connsiteY257" fmla="*/ 78105 h 1057751"/>
                <a:gd name="connsiteX258" fmla="*/ 346615 w 1073848"/>
                <a:gd name="connsiteY258" fmla="*/ 75343 h 1057751"/>
                <a:gd name="connsiteX259" fmla="*/ 345757 w 1073848"/>
                <a:gd name="connsiteY259" fmla="*/ 69056 h 1057751"/>
                <a:gd name="connsiteX260" fmla="*/ 344424 w 1073848"/>
                <a:gd name="connsiteY260" fmla="*/ 70771 h 1057751"/>
                <a:gd name="connsiteX261" fmla="*/ 342614 w 1073848"/>
                <a:gd name="connsiteY261" fmla="*/ 69437 h 1057751"/>
                <a:gd name="connsiteX262" fmla="*/ 340233 w 1073848"/>
                <a:gd name="connsiteY262" fmla="*/ 76200 h 1057751"/>
                <a:gd name="connsiteX263" fmla="*/ 336137 w 1073848"/>
                <a:gd name="connsiteY263" fmla="*/ 81534 h 1057751"/>
                <a:gd name="connsiteX264" fmla="*/ 333756 w 1073848"/>
                <a:gd name="connsiteY264" fmla="*/ 88201 h 1057751"/>
                <a:gd name="connsiteX265" fmla="*/ 335566 w 1073848"/>
                <a:gd name="connsiteY265" fmla="*/ 89630 h 1057751"/>
                <a:gd name="connsiteX266" fmla="*/ 332803 w 1073848"/>
                <a:gd name="connsiteY266" fmla="*/ 93154 h 1057751"/>
                <a:gd name="connsiteX267" fmla="*/ 333565 w 1073848"/>
                <a:gd name="connsiteY267" fmla="*/ 99441 h 1057751"/>
                <a:gd name="connsiteX268" fmla="*/ 332041 w 1073848"/>
                <a:gd name="connsiteY268" fmla="*/ 99632 h 1057751"/>
                <a:gd name="connsiteX269" fmla="*/ 331470 w 1073848"/>
                <a:gd name="connsiteY269" fmla="*/ 94964 h 1057751"/>
                <a:gd name="connsiteX270" fmla="*/ 326517 w 1073848"/>
                <a:gd name="connsiteY270" fmla="*/ 93917 h 1057751"/>
                <a:gd name="connsiteX271" fmla="*/ 319564 w 1073848"/>
                <a:gd name="connsiteY271" fmla="*/ 102870 h 1057751"/>
                <a:gd name="connsiteX272" fmla="*/ 310896 w 1073848"/>
                <a:gd name="connsiteY272" fmla="*/ 97536 h 1057751"/>
                <a:gd name="connsiteX273" fmla="*/ 303466 w 1073848"/>
                <a:gd name="connsiteY273" fmla="*/ 101727 h 1057751"/>
                <a:gd name="connsiteX274" fmla="*/ 296323 w 1073848"/>
                <a:gd name="connsiteY274" fmla="*/ 109061 h 1057751"/>
                <a:gd name="connsiteX275" fmla="*/ 294513 w 1073848"/>
                <a:gd name="connsiteY275" fmla="*/ 107633 h 1057751"/>
                <a:gd name="connsiteX276" fmla="*/ 293180 w 1073848"/>
                <a:gd name="connsiteY276" fmla="*/ 109442 h 1057751"/>
                <a:gd name="connsiteX277" fmla="*/ 288226 w 1073848"/>
                <a:gd name="connsiteY277" fmla="*/ 108395 h 1057751"/>
                <a:gd name="connsiteX278" fmla="*/ 285083 w 1073848"/>
                <a:gd name="connsiteY278" fmla="*/ 108871 h 1057751"/>
                <a:gd name="connsiteX279" fmla="*/ 284702 w 1073848"/>
                <a:gd name="connsiteY279" fmla="*/ 105728 h 1057751"/>
                <a:gd name="connsiteX280" fmla="*/ 283750 w 1073848"/>
                <a:gd name="connsiteY280" fmla="*/ 110585 h 1057751"/>
                <a:gd name="connsiteX281" fmla="*/ 283559 w 1073848"/>
                <a:gd name="connsiteY281" fmla="*/ 109061 h 1057751"/>
                <a:gd name="connsiteX282" fmla="*/ 280321 w 1073848"/>
                <a:gd name="connsiteY282" fmla="*/ 109442 h 1057751"/>
                <a:gd name="connsiteX283" fmla="*/ 275653 w 1073848"/>
                <a:gd name="connsiteY283" fmla="*/ 110014 h 1057751"/>
                <a:gd name="connsiteX284" fmla="*/ 274891 w 1073848"/>
                <a:gd name="connsiteY284" fmla="*/ 116586 h 1057751"/>
                <a:gd name="connsiteX285" fmla="*/ 271272 w 1073848"/>
                <a:gd name="connsiteY285" fmla="*/ 113824 h 1057751"/>
                <a:gd name="connsiteX286" fmla="*/ 269938 w 1073848"/>
                <a:gd name="connsiteY286" fmla="*/ 115633 h 1057751"/>
                <a:gd name="connsiteX287" fmla="*/ 272129 w 1073848"/>
                <a:gd name="connsiteY287" fmla="*/ 120110 h 1057751"/>
                <a:gd name="connsiteX288" fmla="*/ 264414 w 1073848"/>
                <a:gd name="connsiteY288" fmla="*/ 122682 h 1057751"/>
                <a:gd name="connsiteX289" fmla="*/ 264223 w 1073848"/>
                <a:gd name="connsiteY289" fmla="*/ 121158 h 1057751"/>
                <a:gd name="connsiteX290" fmla="*/ 261461 w 1073848"/>
                <a:gd name="connsiteY290" fmla="*/ 124682 h 1057751"/>
                <a:gd name="connsiteX291" fmla="*/ 259461 w 1073848"/>
                <a:gd name="connsiteY291" fmla="*/ 121729 h 1057751"/>
                <a:gd name="connsiteX292" fmla="*/ 256508 w 1073848"/>
                <a:gd name="connsiteY292" fmla="*/ 123730 h 1057751"/>
                <a:gd name="connsiteX293" fmla="*/ 256318 w 1073848"/>
                <a:gd name="connsiteY293" fmla="*/ 122111 h 1057751"/>
                <a:gd name="connsiteX294" fmla="*/ 250031 w 1073848"/>
                <a:gd name="connsiteY294" fmla="*/ 122968 h 1057751"/>
                <a:gd name="connsiteX295" fmla="*/ 249841 w 1073848"/>
                <a:gd name="connsiteY295" fmla="*/ 121349 h 1057751"/>
                <a:gd name="connsiteX296" fmla="*/ 255270 w 1073848"/>
                <a:gd name="connsiteY296" fmla="*/ 114205 h 1057751"/>
                <a:gd name="connsiteX297" fmla="*/ 253365 w 1073848"/>
                <a:gd name="connsiteY297" fmla="*/ 111252 h 1057751"/>
                <a:gd name="connsiteX298" fmla="*/ 250126 w 1073848"/>
                <a:gd name="connsiteY298" fmla="*/ 111728 h 1057751"/>
                <a:gd name="connsiteX299" fmla="*/ 247459 w 1073848"/>
                <a:gd name="connsiteY299" fmla="*/ 115253 h 1057751"/>
                <a:gd name="connsiteX300" fmla="*/ 244030 w 1073848"/>
                <a:gd name="connsiteY300" fmla="*/ 114109 h 1057751"/>
                <a:gd name="connsiteX301" fmla="*/ 241459 w 1073848"/>
                <a:gd name="connsiteY301" fmla="*/ 119253 h 1057751"/>
                <a:gd name="connsiteX302" fmla="*/ 236791 w 1073848"/>
                <a:gd name="connsiteY302" fmla="*/ 119825 h 1057751"/>
                <a:gd name="connsiteX303" fmla="*/ 234982 w 1073848"/>
                <a:gd name="connsiteY303" fmla="*/ 118396 h 1057751"/>
                <a:gd name="connsiteX304" fmla="*/ 231076 w 1073848"/>
                <a:gd name="connsiteY304" fmla="*/ 125349 h 1057751"/>
                <a:gd name="connsiteX305" fmla="*/ 229457 w 1073848"/>
                <a:gd name="connsiteY305" fmla="*/ 125539 h 1057751"/>
                <a:gd name="connsiteX306" fmla="*/ 229934 w 1073848"/>
                <a:gd name="connsiteY306" fmla="*/ 128683 h 1057751"/>
                <a:gd name="connsiteX307" fmla="*/ 233267 w 1073848"/>
                <a:gd name="connsiteY307" fmla="*/ 129921 h 1057751"/>
                <a:gd name="connsiteX308" fmla="*/ 231838 w 1073848"/>
                <a:gd name="connsiteY308" fmla="*/ 131636 h 1057751"/>
                <a:gd name="connsiteX309" fmla="*/ 233839 w 1073848"/>
                <a:gd name="connsiteY309" fmla="*/ 134588 h 1057751"/>
                <a:gd name="connsiteX310" fmla="*/ 226314 w 1073848"/>
                <a:gd name="connsiteY310" fmla="*/ 138779 h 1057751"/>
                <a:gd name="connsiteX311" fmla="*/ 227552 w 1073848"/>
                <a:gd name="connsiteY311" fmla="*/ 148209 h 1057751"/>
                <a:gd name="connsiteX312" fmla="*/ 228409 w 1073848"/>
                <a:gd name="connsiteY312" fmla="*/ 154591 h 1057751"/>
                <a:gd name="connsiteX313" fmla="*/ 214598 w 1073848"/>
                <a:gd name="connsiteY313" fmla="*/ 159544 h 1057751"/>
                <a:gd name="connsiteX314" fmla="*/ 216503 w 1073848"/>
                <a:gd name="connsiteY314" fmla="*/ 162496 h 1057751"/>
                <a:gd name="connsiteX315" fmla="*/ 211264 w 1073848"/>
                <a:gd name="connsiteY315" fmla="*/ 171164 h 1057751"/>
                <a:gd name="connsiteX316" fmla="*/ 209645 w 1073848"/>
                <a:gd name="connsiteY316" fmla="*/ 171355 h 1057751"/>
                <a:gd name="connsiteX317" fmla="*/ 209264 w 1073848"/>
                <a:gd name="connsiteY317" fmla="*/ 168212 h 1057751"/>
                <a:gd name="connsiteX318" fmla="*/ 207931 w 1073848"/>
                <a:gd name="connsiteY318" fmla="*/ 170021 h 1057751"/>
                <a:gd name="connsiteX319" fmla="*/ 207931 w 1073848"/>
                <a:gd name="connsiteY319" fmla="*/ 170021 h 1057751"/>
                <a:gd name="connsiteX320" fmla="*/ 204692 w 1073848"/>
                <a:gd name="connsiteY320" fmla="*/ 170402 h 1057751"/>
                <a:gd name="connsiteX321" fmla="*/ 206502 w 1073848"/>
                <a:gd name="connsiteY321" fmla="*/ 171736 h 1057751"/>
                <a:gd name="connsiteX322" fmla="*/ 203359 w 1073848"/>
                <a:gd name="connsiteY322" fmla="*/ 172212 h 1057751"/>
                <a:gd name="connsiteX323" fmla="*/ 205359 w 1073848"/>
                <a:gd name="connsiteY323" fmla="*/ 175165 h 1057751"/>
                <a:gd name="connsiteX324" fmla="*/ 202597 w 1073848"/>
                <a:gd name="connsiteY324" fmla="*/ 178689 h 1057751"/>
                <a:gd name="connsiteX325" fmla="*/ 201644 w 1073848"/>
                <a:gd name="connsiteY325" fmla="*/ 183642 h 1057751"/>
                <a:gd name="connsiteX326" fmla="*/ 200406 w 1073848"/>
                <a:gd name="connsiteY326" fmla="*/ 186976 h 1057751"/>
                <a:gd name="connsiteX327" fmla="*/ 202597 w 1073848"/>
                <a:gd name="connsiteY327" fmla="*/ 191548 h 1057751"/>
                <a:gd name="connsiteX328" fmla="*/ 200692 w 1073848"/>
                <a:gd name="connsiteY328" fmla="*/ 201359 h 1057751"/>
                <a:gd name="connsiteX329" fmla="*/ 202882 w 1073848"/>
                <a:gd name="connsiteY329" fmla="*/ 205930 h 1057751"/>
                <a:gd name="connsiteX330" fmla="*/ 201835 w 1073848"/>
                <a:gd name="connsiteY330" fmla="*/ 210884 h 1057751"/>
                <a:gd name="connsiteX331" fmla="*/ 205454 w 1073848"/>
                <a:gd name="connsiteY331" fmla="*/ 213646 h 1057751"/>
                <a:gd name="connsiteX332" fmla="*/ 203835 w 1073848"/>
                <a:gd name="connsiteY332" fmla="*/ 213836 h 1057751"/>
                <a:gd name="connsiteX333" fmla="*/ 206407 w 1073848"/>
                <a:gd name="connsiteY333" fmla="*/ 221551 h 1057751"/>
                <a:gd name="connsiteX334" fmla="*/ 209550 w 1073848"/>
                <a:gd name="connsiteY334" fmla="*/ 221075 h 1057751"/>
                <a:gd name="connsiteX335" fmla="*/ 213550 w 1073848"/>
                <a:gd name="connsiteY335" fmla="*/ 214217 h 1057751"/>
                <a:gd name="connsiteX336" fmla="*/ 221456 w 1073848"/>
                <a:gd name="connsiteY336" fmla="*/ 226028 h 1057751"/>
                <a:gd name="connsiteX337" fmla="*/ 229171 w 1073848"/>
                <a:gd name="connsiteY337" fmla="*/ 223457 h 1057751"/>
                <a:gd name="connsiteX338" fmla="*/ 240411 w 1073848"/>
                <a:gd name="connsiteY338" fmla="*/ 223552 h 1057751"/>
                <a:gd name="connsiteX339" fmla="*/ 239363 w 1073848"/>
                <a:gd name="connsiteY339" fmla="*/ 228505 h 1057751"/>
                <a:gd name="connsiteX340" fmla="*/ 243745 w 1073848"/>
                <a:gd name="connsiteY340" fmla="*/ 237554 h 1057751"/>
                <a:gd name="connsiteX341" fmla="*/ 251460 w 1073848"/>
                <a:gd name="connsiteY341" fmla="*/ 247841 h 1057751"/>
                <a:gd name="connsiteX342" fmla="*/ 252127 w 1073848"/>
                <a:gd name="connsiteY342" fmla="*/ 252603 h 1057751"/>
                <a:gd name="connsiteX343" fmla="*/ 249174 w 1073848"/>
                <a:gd name="connsiteY343" fmla="*/ 254508 h 1057751"/>
                <a:gd name="connsiteX344" fmla="*/ 247936 w 1073848"/>
                <a:gd name="connsiteY344" fmla="*/ 257937 h 1057751"/>
                <a:gd name="connsiteX345" fmla="*/ 251746 w 1073848"/>
                <a:gd name="connsiteY345" fmla="*/ 262223 h 1057751"/>
                <a:gd name="connsiteX346" fmla="*/ 248031 w 1073848"/>
                <a:gd name="connsiteY346" fmla="*/ 270700 h 1057751"/>
                <a:gd name="connsiteX347" fmla="*/ 244411 w 1073848"/>
                <a:gd name="connsiteY347" fmla="*/ 267938 h 1057751"/>
                <a:gd name="connsiteX348" fmla="*/ 245078 w 1073848"/>
                <a:gd name="connsiteY348" fmla="*/ 272701 h 1057751"/>
                <a:gd name="connsiteX349" fmla="*/ 243268 w 1073848"/>
                <a:gd name="connsiteY349" fmla="*/ 271367 h 1057751"/>
                <a:gd name="connsiteX350" fmla="*/ 243459 w 1073848"/>
                <a:gd name="connsiteY350" fmla="*/ 272891 h 1057751"/>
                <a:gd name="connsiteX351" fmla="*/ 241840 w 1073848"/>
                <a:gd name="connsiteY351" fmla="*/ 273082 h 1057751"/>
                <a:gd name="connsiteX352" fmla="*/ 237553 w 1073848"/>
                <a:gd name="connsiteY352" fmla="*/ 276892 h 1057751"/>
                <a:gd name="connsiteX353" fmla="*/ 238125 w 1073848"/>
                <a:gd name="connsiteY353" fmla="*/ 281654 h 1057751"/>
                <a:gd name="connsiteX354" fmla="*/ 232029 w 1073848"/>
                <a:gd name="connsiteY354" fmla="*/ 284036 h 1057751"/>
                <a:gd name="connsiteX355" fmla="*/ 231838 w 1073848"/>
                <a:gd name="connsiteY355" fmla="*/ 282416 h 1057751"/>
                <a:gd name="connsiteX356" fmla="*/ 228695 w 1073848"/>
                <a:gd name="connsiteY356" fmla="*/ 282797 h 1057751"/>
                <a:gd name="connsiteX357" fmla="*/ 224123 w 1073848"/>
                <a:gd name="connsiteY357" fmla="*/ 284988 h 1057751"/>
                <a:gd name="connsiteX358" fmla="*/ 222123 w 1073848"/>
                <a:gd name="connsiteY358" fmla="*/ 282035 h 1057751"/>
                <a:gd name="connsiteX359" fmla="*/ 219456 w 1073848"/>
                <a:gd name="connsiteY359" fmla="*/ 285559 h 1057751"/>
                <a:gd name="connsiteX360" fmla="*/ 216979 w 1073848"/>
                <a:gd name="connsiteY360" fmla="*/ 279463 h 1057751"/>
                <a:gd name="connsiteX361" fmla="*/ 210121 w 1073848"/>
                <a:gd name="connsiteY361" fmla="*/ 275558 h 1057751"/>
                <a:gd name="connsiteX362" fmla="*/ 208978 w 1073848"/>
                <a:gd name="connsiteY362" fmla="*/ 278892 h 1057751"/>
                <a:gd name="connsiteX363" fmla="*/ 204025 w 1073848"/>
                <a:gd name="connsiteY363" fmla="*/ 277939 h 1057751"/>
                <a:gd name="connsiteX364" fmla="*/ 204978 w 1073848"/>
                <a:gd name="connsiteY364" fmla="*/ 285845 h 1057751"/>
                <a:gd name="connsiteX365" fmla="*/ 204978 w 1073848"/>
                <a:gd name="connsiteY365" fmla="*/ 285845 h 1057751"/>
                <a:gd name="connsiteX366" fmla="*/ 202025 w 1073848"/>
                <a:gd name="connsiteY366" fmla="*/ 287846 h 1057751"/>
                <a:gd name="connsiteX367" fmla="*/ 198501 w 1073848"/>
                <a:gd name="connsiteY367" fmla="*/ 285083 h 1057751"/>
                <a:gd name="connsiteX368" fmla="*/ 199644 w 1073848"/>
                <a:gd name="connsiteY368" fmla="*/ 281750 h 1057751"/>
                <a:gd name="connsiteX369" fmla="*/ 194977 w 1073848"/>
                <a:gd name="connsiteY369" fmla="*/ 282321 h 1057751"/>
                <a:gd name="connsiteX370" fmla="*/ 195358 w 1073848"/>
                <a:gd name="connsiteY370" fmla="*/ 285464 h 1057751"/>
                <a:gd name="connsiteX371" fmla="*/ 198882 w 1073848"/>
                <a:gd name="connsiteY371" fmla="*/ 288226 h 1057751"/>
                <a:gd name="connsiteX372" fmla="*/ 197929 w 1073848"/>
                <a:gd name="connsiteY372" fmla="*/ 293180 h 1057751"/>
                <a:gd name="connsiteX373" fmla="*/ 193167 w 1073848"/>
                <a:gd name="connsiteY373" fmla="*/ 293751 h 1057751"/>
                <a:gd name="connsiteX374" fmla="*/ 193548 w 1073848"/>
                <a:gd name="connsiteY374" fmla="*/ 296894 h 1057751"/>
                <a:gd name="connsiteX375" fmla="*/ 192214 w 1073848"/>
                <a:gd name="connsiteY375" fmla="*/ 298704 h 1057751"/>
                <a:gd name="connsiteX376" fmla="*/ 191071 w 1073848"/>
                <a:gd name="connsiteY376" fmla="*/ 302038 h 1057751"/>
                <a:gd name="connsiteX377" fmla="*/ 192976 w 1073848"/>
                <a:gd name="connsiteY377" fmla="*/ 304991 h 1057751"/>
                <a:gd name="connsiteX378" fmla="*/ 191643 w 1073848"/>
                <a:gd name="connsiteY378" fmla="*/ 306800 h 1057751"/>
                <a:gd name="connsiteX379" fmla="*/ 191834 w 1073848"/>
                <a:gd name="connsiteY379" fmla="*/ 308324 h 1057751"/>
                <a:gd name="connsiteX380" fmla="*/ 183737 w 1073848"/>
                <a:gd name="connsiteY380" fmla="*/ 307753 h 1057751"/>
                <a:gd name="connsiteX381" fmla="*/ 183166 w 1073848"/>
                <a:gd name="connsiteY381" fmla="*/ 303086 h 1057751"/>
                <a:gd name="connsiteX382" fmla="*/ 180784 w 1073848"/>
                <a:gd name="connsiteY382" fmla="*/ 296989 h 1057751"/>
                <a:gd name="connsiteX383" fmla="*/ 173831 w 1073848"/>
                <a:gd name="connsiteY383" fmla="*/ 292989 h 1057751"/>
                <a:gd name="connsiteX384" fmla="*/ 174212 w 1073848"/>
                <a:gd name="connsiteY384" fmla="*/ 296132 h 1057751"/>
                <a:gd name="connsiteX385" fmla="*/ 172498 w 1073848"/>
                <a:gd name="connsiteY385" fmla="*/ 294799 h 1057751"/>
                <a:gd name="connsiteX386" fmla="*/ 172688 w 1073848"/>
                <a:gd name="connsiteY386" fmla="*/ 296323 h 1057751"/>
                <a:gd name="connsiteX387" fmla="*/ 169545 w 1073848"/>
                <a:gd name="connsiteY387" fmla="*/ 296799 h 1057751"/>
                <a:gd name="connsiteX388" fmla="*/ 164782 w 1073848"/>
                <a:gd name="connsiteY388" fmla="*/ 297371 h 1057751"/>
                <a:gd name="connsiteX389" fmla="*/ 162973 w 1073848"/>
                <a:gd name="connsiteY389" fmla="*/ 296037 h 1057751"/>
                <a:gd name="connsiteX390" fmla="*/ 160972 w 1073848"/>
                <a:gd name="connsiteY390" fmla="*/ 293084 h 1057751"/>
                <a:gd name="connsiteX391" fmla="*/ 160782 w 1073848"/>
                <a:gd name="connsiteY391" fmla="*/ 291465 h 1057751"/>
                <a:gd name="connsiteX392" fmla="*/ 156115 w 1073848"/>
                <a:gd name="connsiteY392" fmla="*/ 292037 h 1057751"/>
                <a:gd name="connsiteX393" fmla="*/ 157067 w 1073848"/>
                <a:gd name="connsiteY393" fmla="*/ 287179 h 1057751"/>
                <a:gd name="connsiteX394" fmla="*/ 158591 w 1073848"/>
                <a:gd name="connsiteY394" fmla="*/ 286893 h 1057751"/>
                <a:gd name="connsiteX395" fmla="*/ 160020 w 1073848"/>
                <a:gd name="connsiteY395" fmla="*/ 285179 h 1057751"/>
                <a:gd name="connsiteX396" fmla="*/ 155257 w 1073848"/>
                <a:gd name="connsiteY396" fmla="*/ 285750 h 1057751"/>
                <a:gd name="connsiteX397" fmla="*/ 154114 w 1073848"/>
                <a:gd name="connsiteY397" fmla="*/ 289084 h 1057751"/>
                <a:gd name="connsiteX398" fmla="*/ 152305 w 1073848"/>
                <a:gd name="connsiteY398" fmla="*/ 287750 h 1057751"/>
                <a:gd name="connsiteX399" fmla="*/ 149161 w 1073848"/>
                <a:gd name="connsiteY399" fmla="*/ 288131 h 1057751"/>
                <a:gd name="connsiteX400" fmla="*/ 150209 w 1073848"/>
                <a:gd name="connsiteY400" fmla="*/ 296037 h 1057751"/>
                <a:gd name="connsiteX401" fmla="*/ 145066 w 1073848"/>
                <a:gd name="connsiteY401" fmla="*/ 293465 h 1057751"/>
                <a:gd name="connsiteX402" fmla="*/ 137350 w 1073848"/>
                <a:gd name="connsiteY402" fmla="*/ 296037 h 1057751"/>
                <a:gd name="connsiteX403" fmla="*/ 135731 w 1073848"/>
                <a:gd name="connsiteY403" fmla="*/ 296228 h 1057751"/>
                <a:gd name="connsiteX404" fmla="*/ 136207 w 1073848"/>
                <a:gd name="connsiteY404" fmla="*/ 299371 h 1057751"/>
                <a:gd name="connsiteX405" fmla="*/ 132969 w 1073848"/>
                <a:gd name="connsiteY405" fmla="*/ 299847 h 1057751"/>
                <a:gd name="connsiteX406" fmla="*/ 129445 w 1073848"/>
                <a:gd name="connsiteY406" fmla="*/ 297085 h 1057751"/>
                <a:gd name="connsiteX407" fmla="*/ 128302 w 1073848"/>
                <a:gd name="connsiteY407" fmla="*/ 300418 h 1057751"/>
                <a:gd name="connsiteX408" fmla="*/ 125158 w 1073848"/>
                <a:gd name="connsiteY408" fmla="*/ 300800 h 1057751"/>
                <a:gd name="connsiteX409" fmla="*/ 121729 w 1073848"/>
                <a:gd name="connsiteY409" fmla="*/ 299657 h 1057751"/>
                <a:gd name="connsiteX410" fmla="*/ 115824 w 1073848"/>
                <a:gd name="connsiteY410" fmla="*/ 303562 h 1057751"/>
                <a:gd name="connsiteX411" fmla="*/ 108585 w 1073848"/>
                <a:gd name="connsiteY411" fmla="*/ 296513 h 1057751"/>
                <a:gd name="connsiteX412" fmla="*/ 104013 w 1073848"/>
                <a:gd name="connsiteY412" fmla="*/ 298704 h 1057751"/>
                <a:gd name="connsiteX413" fmla="*/ 101822 w 1073848"/>
                <a:gd name="connsiteY413" fmla="*/ 294132 h 1057751"/>
                <a:gd name="connsiteX414" fmla="*/ 95726 w 1073848"/>
                <a:gd name="connsiteY414" fmla="*/ 296513 h 1057751"/>
                <a:gd name="connsiteX415" fmla="*/ 94488 w 1073848"/>
                <a:gd name="connsiteY415" fmla="*/ 299942 h 1057751"/>
                <a:gd name="connsiteX416" fmla="*/ 92773 w 1073848"/>
                <a:gd name="connsiteY416" fmla="*/ 298513 h 1057751"/>
                <a:gd name="connsiteX417" fmla="*/ 91345 w 1073848"/>
                <a:gd name="connsiteY417" fmla="*/ 300323 h 1057751"/>
                <a:gd name="connsiteX418" fmla="*/ 89154 w 1073848"/>
                <a:gd name="connsiteY418" fmla="*/ 295751 h 1057751"/>
                <a:gd name="connsiteX419" fmla="*/ 87630 w 1073848"/>
                <a:gd name="connsiteY419" fmla="*/ 295942 h 1057751"/>
                <a:gd name="connsiteX420" fmla="*/ 87820 w 1073848"/>
                <a:gd name="connsiteY420" fmla="*/ 297561 h 1057751"/>
                <a:gd name="connsiteX421" fmla="*/ 82677 w 1073848"/>
                <a:gd name="connsiteY421" fmla="*/ 294989 h 1057751"/>
                <a:gd name="connsiteX422" fmla="*/ 84106 w 1073848"/>
                <a:gd name="connsiteY422" fmla="*/ 293275 h 1057751"/>
                <a:gd name="connsiteX423" fmla="*/ 78772 w 1073848"/>
                <a:gd name="connsiteY423" fmla="*/ 289084 h 1057751"/>
                <a:gd name="connsiteX424" fmla="*/ 78486 w 1073848"/>
                <a:gd name="connsiteY424" fmla="*/ 287560 h 1057751"/>
                <a:gd name="connsiteX425" fmla="*/ 66103 w 1073848"/>
                <a:gd name="connsiteY425" fmla="*/ 290703 h 1057751"/>
                <a:gd name="connsiteX426" fmla="*/ 59817 w 1073848"/>
                <a:gd name="connsiteY426" fmla="*/ 291465 h 1057751"/>
                <a:gd name="connsiteX427" fmla="*/ 54673 w 1073848"/>
                <a:gd name="connsiteY427" fmla="*/ 301752 h 1057751"/>
                <a:gd name="connsiteX428" fmla="*/ 58198 w 1073848"/>
                <a:gd name="connsiteY428" fmla="*/ 304514 h 1057751"/>
                <a:gd name="connsiteX429" fmla="*/ 63151 w 1073848"/>
                <a:gd name="connsiteY429" fmla="*/ 305467 h 1057751"/>
                <a:gd name="connsiteX430" fmla="*/ 67151 w 1073848"/>
                <a:gd name="connsiteY430" fmla="*/ 311372 h 1057751"/>
                <a:gd name="connsiteX431" fmla="*/ 65722 w 1073848"/>
                <a:gd name="connsiteY431" fmla="*/ 313182 h 1057751"/>
                <a:gd name="connsiteX432" fmla="*/ 67913 w 1073848"/>
                <a:gd name="connsiteY432" fmla="*/ 317754 h 1057751"/>
                <a:gd name="connsiteX433" fmla="*/ 66580 w 1073848"/>
                <a:gd name="connsiteY433" fmla="*/ 319468 h 1057751"/>
                <a:gd name="connsiteX434" fmla="*/ 60484 w 1073848"/>
                <a:gd name="connsiteY434" fmla="*/ 321850 h 1057751"/>
                <a:gd name="connsiteX435" fmla="*/ 48958 w 1073848"/>
                <a:gd name="connsiteY435" fmla="*/ 320135 h 1057751"/>
                <a:gd name="connsiteX436" fmla="*/ 46482 w 1073848"/>
                <a:gd name="connsiteY436" fmla="*/ 325279 h 1057751"/>
                <a:gd name="connsiteX437" fmla="*/ 39338 w 1073848"/>
                <a:gd name="connsiteY437" fmla="*/ 319754 h 1057751"/>
                <a:gd name="connsiteX438" fmla="*/ 34576 w 1073848"/>
                <a:gd name="connsiteY438" fmla="*/ 320421 h 1057751"/>
                <a:gd name="connsiteX439" fmla="*/ 31813 w 1073848"/>
                <a:gd name="connsiteY439" fmla="*/ 323945 h 1057751"/>
                <a:gd name="connsiteX440" fmla="*/ 32671 w 1073848"/>
                <a:gd name="connsiteY440" fmla="*/ 330232 h 1057751"/>
                <a:gd name="connsiteX441" fmla="*/ 31242 w 1073848"/>
                <a:gd name="connsiteY441" fmla="*/ 332042 h 1057751"/>
                <a:gd name="connsiteX442" fmla="*/ 29908 w 1073848"/>
                <a:gd name="connsiteY442" fmla="*/ 333756 h 1057751"/>
                <a:gd name="connsiteX443" fmla="*/ 33433 w 1073848"/>
                <a:gd name="connsiteY443" fmla="*/ 336518 h 1057751"/>
                <a:gd name="connsiteX444" fmla="*/ 37624 w 1073848"/>
                <a:gd name="connsiteY444" fmla="*/ 344043 h 1057751"/>
                <a:gd name="connsiteX445" fmla="*/ 34480 w 1073848"/>
                <a:gd name="connsiteY445" fmla="*/ 344424 h 1057751"/>
                <a:gd name="connsiteX446" fmla="*/ 29718 w 1073848"/>
                <a:gd name="connsiteY446" fmla="*/ 345091 h 1057751"/>
                <a:gd name="connsiteX447" fmla="*/ 28384 w 1073848"/>
                <a:gd name="connsiteY447" fmla="*/ 346805 h 1057751"/>
                <a:gd name="connsiteX448" fmla="*/ 29146 w 1073848"/>
                <a:gd name="connsiteY448" fmla="*/ 353187 h 1057751"/>
                <a:gd name="connsiteX449" fmla="*/ 25241 w 1073848"/>
                <a:gd name="connsiteY449" fmla="*/ 360045 h 1057751"/>
                <a:gd name="connsiteX450" fmla="*/ 26956 w 1073848"/>
                <a:gd name="connsiteY450" fmla="*/ 361474 h 1057751"/>
                <a:gd name="connsiteX451" fmla="*/ 30956 w 1073848"/>
                <a:gd name="connsiteY451" fmla="*/ 367379 h 1057751"/>
                <a:gd name="connsiteX452" fmla="*/ 33718 w 1073848"/>
                <a:gd name="connsiteY452" fmla="*/ 376618 h 1057751"/>
                <a:gd name="connsiteX453" fmla="*/ 37338 w 1073848"/>
                <a:gd name="connsiteY453" fmla="*/ 379381 h 1057751"/>
                <a:gd name="connsiteX454" fmla="*/ 36100 w 1073848"/>
                <a:gd name="connsiteY454" fmla="*/ 382714 h 1057751"/>
                <a:gd name="connsiteX455" fmla="*/ 31813 w 1073848"/>
                <a:gd name="connsiteY455" fmla="*/ 386525 h 1057751"/>
                <a:gd name="connsiteX456" fmla="*/ 23527 w 1073848"/>
                <a:gd name="connsiteY456" fmla="*/ 384334 h 1057751"/>
                <a:gd name="connsiteX457" fmla="*/ 20383 w 1073848"/>
                <a:gd name="connsiteY457" fmla="*/ 384715 h 1057751"/>
                <a:gd name="connsiteX458" fmla="*/ 16764 w 1073848"/>
                <a:gd name="connsiteY458" fmla="*/ 381953 h 1057751"/>
                <a:gd name="connsiteX459" fmla="*/ 17145 w 1073848"/>
                <a:gd name="connsiteY459" fmla="*/ 385096 h 1057751"/>
                <a:gd name="connsiteX460" fmla="*/ 12097 w 1073848"/>
                <a:gd name="connsiteY460" fmla="*/ 382619 h 1057751"/>
                <a:gd name="connsiteX461" fmla="*/ 9715 w 1073848"/>
                <a:gd name="connsiteY461" fmla="*/ 389287 h 1057751"/>
                <a:gd name="connsiteX462" fmla="*/ 8763 w 1073848"/>
                <a:gd name="connsiteY462" fmla="*/ 394240 h 1057751"/>
                <a:gd name="connsiteX463" fmla="*/ 15430 w 1073848"/>
                <a:gd name="connsiteY463" fmla="*/ 396621 h 1057751"/>
                <a:gd name="connsiteX464" fmla="*/ 17240 w 1073848"/>
                <a:gd name="connsiteY464" fmla="*/ 397955 h 1057751"/>
                <a:gd name="connsiteX465" fmla="*/ 19240 w 1073848"/>
                <a:gd name="connsiteY465" fmla="*/ 400907 h 1057751"/>
                <a:gd name="connsiteX466" fmla="*/ 19621 w 1073848"/>
                <a:gd name="connsiteY466" fmla="*/ 404050 h 1057751"/>
                <a:gd name="connsiteX467" fmla="*/ 26956 w 1073848"/>
                <a:gd name="connsiteY467" fmla="*/ 411194 h 1057751"/>
                <a:gd name="connsiteX468" fmla="*/ 25336 w 1073848"/>
                <a:gd name="connsiteY468" fmla="*/ 411385 h 1057751"/>
                <a:gd name="connsiteX469" fmla="*/ 25717 w 1073848"/>
                <a:gd name="connsiteY469" fmla="*/ 414528 h 1057751"/>
                <a:gd name="connsiteX470" fmla="*/ 27527 w 1073848"/>
                <a:gd name="connsiteY470" fmla="*/ 415862 h 1057751"/>
                <a:gd name="connsiteX471" fmla="*/ 26956 w 1073848"/>
                <a:gd name="connsiteY471" fmla="*/ 423958 h 1057751"/>
                <a:gd name="connsiteX472" fmla="*/ 29146 w 1073848"/>
                <a:gd name="connsiteY472" fmla="*/ 428530 h 1057751"/>
                <a:gd name="connsiteX473" fmla="*/ 26194 w 1073848"/>
                <a:gd name="connsiteY473" fmla="*/ 430530 h 1057751"/>
                <a:gd name="connsiteX474" fmla="*/ 23813 w 1073848"/>
                <a:gd name="connsiteY474" fmla="*/ 437197 h 1057751"/>
                <a:gd name="connsiteX475" fmla="*/ 20860 w 1073848"/>
                <a:gd name="connsiteY475" fmla="*/ 439198 h 1057751"/>
                <a:gd name="connsiteX476" fmla="*/ 19336 w 1073848"/>
                <a:gd name="connsiteY476" fmla="*/ 439388 h 1057751"/>
                <a:gd name="connsiteX477" fmla="*/ 21431 w 1073848"/>
                <a:gd name="connsiteY477" fmla="*/ 443960 h 1057751"/>
                <a:gd name="connsiteX478" fmla="*/ 24860 w 1073848"/>
                <a:gd name="connsiteY478" fmla="*/ 445103 h 1057751"/>
                <a:gd name="connsiteX479" fmla="*/ 25241 w 1073848"/>
                <a:gd name="connsiteY479" fmla="*/ 448246 h 1057751"/>
                <a:gd name="connsiteX480" fmla="*/ 23146 w 1073848"/>
                <a:gd name="connsiteY480" fmla="*/ 469392 h 1057751"/>
                <a:gd name="connsiteX481" fmla="*/ 18383 w 1073848"/>
                <a:gd name="connsiteY481" fmla="*/ 469963 h 1057751"/>
                <a:gd name="connsiteX482" fmla="*/ 15811 w 1073848"/>
                <a:gd name="connsiteY482" fmla="*/ 475107 h 1057751"/>
                <a:gd name="connsiteX483" fmla="*/ 15621 w 1073848"/>
                <a:gd name="connsiteY483" fmla="*/ 486346 h 1057751"/>
                <a:gd name="connsiteX484" fmla="*/ 11716 w 1073848"/>
                <a:gd name="connsiteY484" fmla="*/ 493300 h 1057751"/>
                <a:gd name="connsiteX485" fmla="*/ 8572 w 1073848"/>
                <a:gd name="connsiteY485" fmla="*/ 493681 h 1057751"/>
                <a:gd name="connsiteX486" fmla="*/ 7429 w 1073848"/>
                <a:gd name="connsiteY486" fmla="*/ 497014 h 1057751"/>
                <a:gd name="connsiteX487" fmla="*/ 7810 w 1073848"/>
                <a:gd name="connsiteY487" fmla="*/ 500158 h 1057751"/>
                <a:gd name="connsiteX488" fmla="*/ 12287 w 1073848"/>
                <a:gd name="connsiteY488" fmla="*/ 498062 h 1057751"/>
                <a:gd name="connsiteX489" fmla="*/ 13716 w 1073848"/>
                <a:gd name="connsiteY489" fmla="*/ 496253 h 1057751"/>
                <a:gd name="connsiteX490" fmla="*/ 16859 w 1073848"/>
                <a:gd name="connsiteY490" fmla="*/ 495871 h 1057751"/>
                <a:gd name="connsiteX491" fmla="*/ 14478 w 1073848"/>
                <a:gd name="connsiteY491" fmla="*/ 502539 h 1057751"/>
                <a:gd name="connsiteX492" fmla="*/ 11525 w 1073848"/>
                <a:gd name="connsiteY492" fmla="*/ 504539 h 1057751"/>
                <a:gd name="connsiteX493" fmla="*/ 12192 w 1073848"/>
                <a:gd name="connsiteY493" fmla="*/ 509302 h 1057751"/>
                <a:gd name="connsiteX494" fmla="*/ 9239 w 1073848"/>
                <a:gd name="connsiteY494" fmla="*/ 511207 h 1057751"/>
                <a:gd name="connsiteX495" fmla="*/ 10192 w 1073848"/>
                <a:gd name="connsiteY495" fmla="*/ 519113 h 1057751"/>
                <a:gd name="connsiteX496" fmla="*/ 9049 w 1073848"/>
                <a:gd name="connsiteY496" fmla="*/ 522446 h 1057751"/>
                <a:gd name="connsiteX497" fmla="*/ 9430 w 1073848"/>
                <a:gd name="connsiteY497" fmla="*/ 525685 h 1057751"/>
                <a:gd name="connsiteX498" fmla="*/ 8477 w 1073848"/>
                <a:gd name="connsiteY498" fmla="*/ 530543 h 1057751"/>
                <a:gd name="connsiteX499" fmla="*/ 5524 w 1073848"/>
                <a:gd name="connsiteY499" fmla="*/ 532543 h 1057751"/>
                <a:gd name="connsiteX500" fmla="*/ 2191 w 1073848"/>
                <a:gd name="connsiteY500" fmla="*/ 531400 h 1057751"/>
                <a:gd name="connsiteX501" fmla="*/ 1143 w 1073848"/>
                <a:gd name="connsiteY501" fmla="*/ 536353 h 1057751"/>
                <a:gd name="connsiteX502" fmla="*/ 4572 w 1073848"/>
                <a:gd name="connsiteY502" fmla="*/ 537496 h 1057751"/>
                <a:gd name="connsiteX503" fmla="*/ 1619 w 1073848"/>
                <a:gd name="connsiteY503" fmla="*/ 539496 h 1057751"/>
                <a:gd name="connsiteX504" fmla="*/ 381 w 1073848"/>
                <a:gd name="connsiteY504" fmla="*/ 542830 h 1057751"/>
                <a:gd name="connsiteX505" fmla="*/ 2381 w 1073848"/>
                <a:gd name="connsiteY505" fmla="*/ 545783 h 1057751"/>
                <a:gd name="connsiteX506" fmla="*/ 2762 w 1073848"/>
                <a:gd name="connsiteY506" fmla="*/ 548926 h 1057751"/>
                <a:gd name="connsiteX507" fmla="*/ 0 w 1073848"/>
                <a:gd name="connsiteY507" fmla="*/ 552545 h 1057751"/>
                <a:gd name="connsiteX508" fmla="*/ 2000 w 1073848"/>
                <a:gd name="connsiteY508" fmla="*/ 555498 h 1057751"/>
                <a:gd name="connsiteX509" fmla="*/ 3619 w 1073848"/>
                <a:gd name="connsiteY509" fmla="*/ 555308 h 1057751"/>
                <a:gd name="connsiteX510" fmla="*/ 12287 w 1073848"/>
                <a:gd name="connsiteY510" fmla="*/ 560546 h 1057751"/>
                <a:gd name="connsiteX511" fmla="*/ 20383 w 1073848"/>
                <a:gd name="connsiteY511" fmla="*/ 561118 h 1057751"/>
                <a:gd name="connsiteX512" fmla="*/ 24289 w 1073848"/>
                <a:gd name="connsiteY512" fmla="*/ 567023 h 1057751"/>
                <a:gd name="connsiteX513" fmla="*/ 25717 w 1073848"/>
                <a:gd name="connsiteY513" fmla="*/ 578072 h 1057751"/>
                <a:gd name="connsiteX514" fmla="*/ 30289 w 1073848"/>
                <a:gd name="connsiteY514" fmla="*/ 575882 h 1057751"/>
                <a:gd name="connsiteX515" fmla="*/ 29337 w 1073848"/>
                <a:gd name="connsiteY515" fmla="*/ 580834 h 1057751"/>
                <a:gd name="connsiteX516" fmla="*/ 25908 w 1073848"/>
                <a:gd name="connsiteY516" fmla="*/ 579692 h 1057751"/>
                <a:gd name="connsiteX517" fmla="*/ 22955 w 1073848"/>
                <a:gd name="connsiteY517" fmla="*/ 581692 h 1057751"/>
                <a:gd name="connsiteX518" fmla="*/ 19050 w 1073848"/>
                <a:gd name="connsiteY518" fmla="*/ 588550 h 1057751"/>
                <a:gd name="connsiteX519" fmla="*/ 17240 w 1073848"/>
                <a:gd name="connsiteY519" fmla="*/ 587216 h 1057751"/>
                <a:gd name="connsiteX520" fmla="*/ 17907 w 1073848"/>
                <a:gd name="connsiteY520" fmla="*/ 591979 h 1057751"/>
                <a:gd name="connsiteX521" fmla="*/ 13144 w 1073848"/>
                <a:gd name="connsiteY521" fmla="*/ 592550 h 1057751"/>
                <a:gd name="connsiteX522" fmla="*/ 13716 w 1073848"/>
                <a:gd name="connsiteY522" fmla="*/ 597313 h 1057751"/>
                <a:gd name="connsiteX523" fmla="*/ 10763 w 1073848"/>
                <a:gd name="connsiteY523" fmla="*/ 599218 h 1057751"/>
                <a:gd name="connsiteX524" fmla="*/ 11239 w 1073848"/>
                <a:gd name="connsiteY524" fmla="*/ 602361 h 1057751"/>
                <a:gd name="connsiteX525" fmla="*/ 13335 w 1073848"/>
                <a:gd name="connsiteY525" fmla="*/ 606933 h 1057751"/>
                <a:gd name="connsiteX526" fmla="*/ 20669 w 1073848"/>
                <a:gd name="connsiteY526" fmla="*/ 613982 h 1057751"/>
                <a:gd name="connsiteX527" fmla="*/ 27432 w 1073848"/>
                <a:gd name="connsiteY527" fmla="*/ 616363 h 1057751"/>
                <a:gd name="connsiteX528" fmla="*/ 27813 w 1073848"/>
                <a:gd name="connsiteY528" fmla="*/ 619506 h 1057751"/>
                <a:gd name="connsiteX529" fmla="*/ 24098 w 1073848"/>
                <a:gd name="connsiteY529" fmla="*/ 627983 h 1057751"/>
                <a:gd name="connsiteX530" fmla="*/ 30766 w 1073848"/>
                <a:gd name="connsiteY530" fmla="*/ 630364 h 1057751"/>
                <a:gd name="connsiteX531" fmla="*/ 39052 w 1073848"/>
                <a:gd name="connsiteY531" fmla="*/ 632555 h 1057751"/>
                <a:gd name="connsiteX532" fmla="*/ 39529 w 1073848"/>
                <a:gd name="connsiteY532" fmla="*/ 635699 h 1057751"/>
                <a:gd name="connsiteX533" fmla="*/ 42863 w 1073848"/>
                <a:gd name="connsiteY533" fmla="*/ 636842 h 1057751"/>
                <a:gd name="connsiteX534" fmla="*/ 41910 w 1073848"/>
                <a:gd name="connsiteY534" fmla="*/ 641795 h 1057751"/>
                <a:gd name="connsiteX535" fmla="*/ 45815 w 1073848"/>
                <a:gd name="connsiteY535" fmla="*/ 647700 h 1057751"/>
                <a:gd name="connsiteX536" fmla="*/ 47625 w 1073848"/>
                <a:gd name="connsiteY536" fmla="*/ 649129 h 1057751"/>
                <a:gd name="connsiteX537" fmla="*/ 50578 w 1073848"/>
                <a:gd name="connsiteY537" fmla="*/ 647129 h 1057751"/>
                <a:gd name="connsiteX538" fmla="*/ 57912 w 1073848"/>
                <a:gd name="connsiteY538" fmla="*/ 654177 h 1057751"/>
                <a:gd name="connsiteX539" fmla="*/ 61817 w 1073848"/>
                <a:gd name="connsiteY539" fmla="*/ 660083 h 1057751"/>
                <a:gd name="connsiteX540" fmla="*/ 62484 w 1073848"/>
                <a:gd name="connsiteY540" fmla="*/ 664845 h 1057751"/>
                <a:gd name="connsiteX541" fmla="*/ 64008 w 1073848"/>
                <a:gd name="connsiteY541" fmla="*/ 664655 h 1057751"/>
                <a:gd name="connsiteX542" fmla="*/ 64198 w 1073848"/>
                <a:gd name="connsiteY542" fmla="*/ 666179 h 1057751"/>
                <a:gd name="connsiteX543" fmla="*/ 72485 w 1073848"/>
                <a:gd name="connsiteY543" fmla="*/ 668369 h 1057751"/>
                <a:gd name="connsiteX544" fmla="*/ 80581 w 1073848"/>
                <a:gd name="connsiteY544" fmla="*/ 656082 h 1057751"/>
                <a:gd name="connsiteX545" fmla="*/ 85153 w 1073848"/>
                <a:gd name="connsiteY545" fmla="*/ 653891 h 1057751"/>
                <a:gd name="connsiteX546" fmla="*/ 89440 w 1073848"/>
                <a:gd name="connsiteY546" fmla="*/ 650176 h 1057751"/>
                <a:gd name="connsiteX547" fmla="*/ 92583 w 1073848"/>
                <a:gd name="connsiteY547" fmla="*/ 649796 h 1057751"/>
                <a:gd name="connsiteX548" fmla="*/ 94012 w 1073848"/>
                <a:gd name="connsiteY548" fmla="*/ 647986 h 1057751"/>
                <a:gd name="connsiteX549" fmla="*/ 99917 w 1073848"/>
                <a:gd name="connsiteY549" fmla="*/ 643985 h 1057751"/>
                <a:gd name="connsiteX550" fmla="*/ 101917 w 1073848"/>
                <a:gd name="connsiteY550" fmla="*/ 646938 h 1057751"/>
                <a:gd name="connsiteX551" fmla="*/ 103251 w 1073848"/>
                <a:gd name="connsiteY551" fmla="*/ 645224 h 1057751"/>
                <a:gd name="connsiteX552" fmla="*/ 102298 w 1073848"/>
                <a:gd name="connsiteY552" fmla="*/ 650176 h 1057751"/>
                <a:gd name="connsiteX553" fmla="*/ 107251 w 1073848"/>
                <a:gd name="connsiteY553" fmla="*/ 651129 h 1057751"/>
                <a:gd name="connsiteX554" fmla="*/ 111538 w 1073848"/>
                <a:gd name="connsiteY554" fmla="*/ 660178 h 1057751"/>
                <a:gd name="connsiteX555" fmla="*/ 113728 w 1073848"/>
                <a:gd name="connsiteY555" fmla="*/ 664750 h 1057751"/>
                <a:gd name="connsiteX556" fmla="*/ 122491 w 1073848"/>
                <a:gd name="connsiteY556" fmla="*/ 669988 h 1057751"/>
                <a:gd name="connsiteX557" fmla="*/ 121063 w 1073848"/>
                <a:gd name="connsiteY557" fmla="*/ 671798 h 1057751"/>
                <a:gd name="connsiteX558" fmla="*/ 126016 w 1073848"/>
                <a:gd name="connsiteY558" fmla="*/ 672751 h 1057751"/>
                <a:gd name="connsiteX559" fmla="*/ 127159 w 1073848"/>
                <a:gd name="connsiteY559" fmla="*/ 669417 h 1057751"/>
                <a:gd name="connsiteX560" fmla="*/ 128968 w 1073848"/>
                <a:gd name="connsiteY560" fmla="*/ 670751 h 1057751"/>
                <a:gd name="connsiteX561" fmla="*/ 137255 w 1073848"/>
                <a:gd name="connsiteY561" fmla="*/ 672941 h 1057751"/>
                <a:gd name="connsiteX562" fmla="*/ 152019 w 1073848"/>
                <a:gd name="connsiteY562" fmla="*/ 675894 h 1057751"/>
                <a:gd name="connsiteX563" fmla="*/ 151447 w 1073848"/>
                <a:gd name="connsiteY563" fmla="*/ 683990 h 1057751"/>
                <a:gd name="connsiteX564" fmla="*/ 147161 w 1073848"/>
                <a:gd name="connsiteY564" fmla="*/ 687705 h 1057751"/>
                <a:gd name="connsiteX565" fmla="*/ 151162 w 1073848"/>
                <a:gd name="connsiteY565" fmla="*/ 693611 h 1057751"/>
                <a:gd name="connsiteX566" fmla="*/ 150114 w 1073848"/>
                <a:gd name="connsiteY566" fmla="*/ 698563 h 1057751"/>
                <a:gd name="connsiteX567" fmla="*/ 137160 w 1073848"/>
                <a:gd name="connsiteY567" fmla="*/ 697039 h 1057751"/>
                <a:gd name="connsiteX568" fmla="*/ 133731 w 1073848"/>
                <a:gd name="connsiteY568" fmla="*/ 695801 h 1057751"/>
                <a:gd name="connsiteX569" fmla="*/ 132207 w 1073848"/>
                <a:gd name="connsiteY569" fmla="*/ 696087 h 1057751"/>
                <a:gd name="connsiteX570" fmla="*/ 136112 w 1073848"/>
                <a:gd name="connsiteY570" fmla="*/ 701993 h 1057751"/>
                <a:gd name="connsiteX571" fmla="*/ 142684 w 1073848"/>
                <a:gd name="connsiteY571" fmla="*/ 702755 h 1057751"/>
                <a:gd name="connsiteX572" fmla="*/ 148209 w 1073848"/>
                <a:gd name="connsiteY572" fmla="*/ 708470 h 1057751"/>
                <a:gd name="connsiteX573" fmla="*/ 153734 w 1073848"/>
                <a:gd name="connsiteY573" fmla="*/ 701326 h 1057751"/>
                <a:gd name="connsiteX574" fmla="*/ 163163 w 1073848"/>
                <a:gd name="connsiteY574" fmla="*/ 700088 h 1057751"/>
                <a:gd name="connsiteX575" fmla="*/ 166497 w 1073848"/>
                <a:gd name="connsiteY575" fmla="*/ 701326 h 1057751"/>
                <a:gd name="connsiteX576" fmla="*/ 168688 w 1073848"/>
                <a:gd name="connsiteY576" fmla="*/ 705803 h 1057751"/>
                <a:gd name="connsiteX577" fmla="*/ 171831 w 1073848"/>
                <a:gd name="connsiteY577" fmla="*/ 705422 h 1057751"/>
                <a:gd name="connsiteX578" fmla="*/ 174403 w 1073848"/>
                <a:gd name="connsiteY578" fmla="*/ 713137 h 1057751"/>
                <a:gd name="connsiteX579" fmla="*/ 176213 w 1073848"/>
                <a:gd name="connsiteY579" fmla="*/ 714470 h 1057751"/>
                <a:gd name="connsiteX580" fmla="*/ 176403 w 1073848"/>
                <a:gd name="connsiteY580" fmla="*/ 716089 h 1057751"/>
                <a:gd name="connsiteX581" fmla="*/ 175069 w 1073848"/>
                <a:gd name="connsiteY581" fmla="*/ 717804 h 1057751"/>
                <a:gd name="connsiteX582" fmla="*/ 177832 w 1073848"/>
                <a:gd name="connsiteY582" fmla="*/ 727138 h 1057751"/>
                <a:gd name="connsiteX583" fmla="*/ 176689 w 1073848"/>
                <a:gd name="connsiteY583" fmla="*/ 730472 h 1057751"/>
                <a:gd name="connsiteX584" fmla="*/ 184975 w 1073848"/>
                <a:gd name="connsiteY584" fmla="*/ 732568 h 1057751"/>
                <a:gd name="connsiteX585" fmla="*/ 191643 w 1073848"/>
                <a:gd name="connsiteY585" fmla="*/ 734949 h 1057751"/>
                <a:gd name="connsiteX586" fmla="*/ 194977 w 1073848"/>
                <a:gd name="connsiteY586" fmla="*/ 736187 h 1057751"/>
                <a:gd name="connsiteX587" fmla="*/ 204121 w 1073848"/>
                <a:gd name="connsiteY587" fmla="*/ 731806 h 1057751"/>
                <a:gd name="connsiteX588" fmla="*/ 213741 w 1073848"/>
                <a:gd name="connsiteY588" fmla="*/ 719328 h 1057751"/>
                <a:gd name="connsiteX589" fmla="*/ 213169 w 1073848"/>
                <a:gd name="connsiteY589" fmla="*/ 714566 h 1057751"/>
                <a:gd name="connsiteX590" fmla="*/ 218027 w 1073848"/>
                <a:gd name="connsiteY590" fmla="*/ 715613 h 1057751"/>
                <a:gd name="connsiteX591" fmla="*/ 224409 w 1073848"/>
                <a:gd name="connsiteY591" fmla="*/ 727615 h 1057751"/>
                <a:gd name="connsiteX592" fmla="*/ 225552 w 1073848"/>
                <a:gd name="connsiteY592" fmla="*/ 724186 h 1057751"/>
                <a:gd name="connsiteX593" fmla="*/ 231934 w 1073848"/>
                <a:gd name="connsiteY593" fmla="*/ 723424 h 1057751"/>
                <a:gd name="connsiteX594" fmla="*/ 240601 w 1073848"/>
                <a:gd name="connsiteY594" fmla="*/ 728758 h 1057751"/>
                <a:gd name="connsiteX595" fmla="*/ 243745 w 1073848"/>
                <a:gd name="connsiteY595" fmla="*/ 728377 h 1057751"/>
                <a:gd name="connsiteX596" fmla="*/ 248888 w 1073848"/>
                <a:gd name="connsiteY596" fmla="*/ 730853 h 1057751"/>
                <a:gd name="connsiteX597" fmla="*/ 250222 w 1073848"/>
                <a:gd name="connsiteY597" fmla="*/ 729139 h 1057751"/>
                <a:gd name="connsiteX598" fmla="*/ 260890 w 1073848"/>
                <a:gd name="connsiteY598" fmla="*/ 737330 h 1057751"/>
                <a:gd name="connsiteX599" fmla="*/ 258223 w 1073848"/>
                <a:gd name="connsiteY599" fmla="*/ 740950 h 1057751"/>
                <a:gd name="connsiteX600" fmla="*/ 259937 w 1073848"/>
                <a:gd name="connsiteY600" fmla="*/ 742283 h 1057751"/>
                <a:gd name="connsiteX601" fmla="*/ 257651 w 1073848"/>
                <a:gd name="connsiteY601" fmla="*/ 749046 h 1057751"/>
                <a:gd name="connsiteX602" fmla="*/ 262128 w 1073848"/>
                <a:gd name="connsiteY602" fmla="*/ 746855 h 1057751"/>
                <a:gd name="connsiteX603" fmla="*/ 261747 w 1073848"/>
                <a:gd name="connsiteY603" fmla="*/ 743712 h 1057751"/>
                <a:gd name="connsiteX604" fmla="*/ 266033 w 1073848"/>
                <a:gd name="connsiteY604" fmla="*/ 739902 h 1057751"/>
                <a:gd name="connsiteX605" fmla="*/ 269462 w 1073848"/>
                <a:gd name="connsiteY605" fmla="*/ 741140 h 1057751"/>
                <a:gd name="connsiteX606" fmla="*/ 271367 w 1073848"/>
                <a:gd name="connsiteY606" fmla="*/ 744093 h 1057751"/>
                <a:gd name="connsiteX607" fmla="*/ 275939 w 1073848"/>
                <a:gd name="connsiteY607" fmla="*/ 741902 h 1057751"/>
                <a:gd name="connsiteX608" fmla="*/ 280035 w 1073848"/>
                <a:gd name="connsiteY608" fmla="*/ 736568 h 1057751"/>
                <a:gd name="connsiteX609" fmla="*/ 286417 w 1073848"/>
                <a:gd name="connsiteY609" fmla="*/ 735711 h 1057751"/>
                <a:gd name="connsiteX610" fmla="*/ 295084 w 1073848"/>
                <a:gd name="connsiteY610" fmla="*/ 741045 h 1057751"/>
                <a:gd name="connsiteX611" fmla="*/ 301180 w 1073848"/>
                <a:gd name="connsiteY611" fmla="*/ 738664 h 1057751"/>
                <a:gd name="connsiteX612" fmla="*/ 300609 w 1073848"/>
                <a:gd name="connsiteY612" fmla="*/ 733901 h 1057751"/>
                <a:gd name="connsiteX613" fmla="*/ 305276 w 1073848"/>
                <a:gd name="connsiteY613" fmla="*/ 733330 h 1057751"/>
                <a:gd name="connsiteX614" fmla="*/ 307276 w 1073848"/>
                <a:gd name="connsiteY614" fmla="*/ 736283 h 1057751"/>
                <a:gd name="connsiteX615" fmla="*/ 310420 w 1073848"/>
                <a:gd name="connsiteY615" fmla="*/ 735901 h 1057751"/>
                <a:gd name="connsiteX616" fmla="*/ 313372 w 1073848"/>
                <a:gd name="connsiteY616" fmla="*/ 733901 h 1057751"/>
                <a:gd name="connsiteX617" fmla="*/ 320135 w 1073848"/>
                <a:gd name="connsiteY617" fmla="*/ 736283 h 1057751"/>
                <a:gd name="connsiteX618" fmla="*/ 323659 w 1073848"/>
                <a:gd name="connsiteY618" fmla="*/ 739045 h 1057751"/>
                <a:gd name="connsiteX619" fmla="*/ 323088 w 1073848"/>
                <a:gd name="connsiteY619" fmla="*/ 747046 h 1057751"/>
                <a:gd name="connsiteX620" fmla="*/ 324326 w 1073848"/>
                <a:gd name="connsiteY620" fmla="*/ 756571 h 1057751"/>
                <a:gd name="connsiteX621" fmla="*/ 326517 w 1073848"/>
                <a:gd name="connsiteY621" fmla="*/ 761047 h 1057751"/>
                <a:gd name="connsiteX622" fmla="*/ 325088 w 1073848"/>
                <a:gd name="connsiteY622" fmla="*/ 762857 h 1057751"/>
                <a:gd name="connsiteX623" fmla="*/ 328517 w 1073848"/>
                <a:gd name="connsiteY623" fmla="*/ 764000 h 1057751"/>
                <a:gd name="connsiteX624" fmla="*/ 324517 w 1073848"/>
                <a:gd name="connsiteY624" fmla="*/ 770954 h 1057751"/>
                <a:gd name="connsiteX625" fmla="*/ 324993 w 1073848"/>
                <a:gd name="connsiteY625" fmla="*/ 774097 h 1057751"/>
                <a:gd name="connsiteX626" fmla="*/ 320992 w 1073848"/>
                <a:gd name="connsiteY626" fmla="*/ 781050 h 1057751"/>
                <a:gd name="connsiteX627" fmla="*/ 321850 w 1073848"/>
                <a:gd name="connsiteY627" fmla="*/ 787337 h 1057751"/>
                <a:gd name="connsiteX628" fmla="*/ 321850 w 1073848"/>
                <a:gd name="connsiteY628" fmla="*/ 787337 h 1057751"/>
                <a:gd name="connsiteX629" fmla="*/ 317849 w 1073848"/>
                <a:gd name="connsiteY629" fmla="*/ 794290 h 1057751"/>
                <a:gd name="connsiteX630" fmla="*/ 321088 w 1073848"/>
                <a:gd name="connsiteY630" fmla="*/ 793813 h 1057751"/>
                <a:gd name="connsiteX631" fmla="*/ 324421 w 1073848"/>
                <a:gd name="connsiteY631" fmla="*/ 795052 h 1057751"/>
                <a:gd name="connsiteX632" fmla="*/ 324993 w 1073848"/>
                <a:gd name="connsiteY632" fmla="*/ 799814 h 1057751"/>
                <a:gd name="connsiteX633" fmla="*/ 327565 w 1073848"/>
                <a:gd name="connsiteY633" fmla="*/ 807434 h 1057751"/>
                <a:gd name="connsiteX634" fmla="*/ 329565 w 1073848"/>
                <a:gd name="connsiteY634" fmla="*/ 810387 h 1057751"/>
                <a:gd name="connsiteX635" fmla="*/ 332708 w 1073848"/>
                <a:gd name="connsiteY635" fmla="*/ 810006 h 1057751"/>
                <a:gd name="connsiteX636" fmla="*/ 330517 w 1073848"/>
                <a:gd name="connsiteY636" fmla="*/ 805434 h 1057751"/>
                <a:gd name="connsiteX637" fmla="*/ 333946 w 1073848"/>
                <a:gd name="connsiteY637" fmla="*/ 806672 h 1057751"/>
                <a:gd name="connsiteX638" fmla="*/ 335470 w 1073848"/>
                <a:gd name="connsiteY638" fmla="*/ 806482 h 1057751"/>
                <a:gd name="connsiteX639" fmla="*/ 334518 w 1073848"/>
                <a:gd name="connsiteY639" fmla="*/ 811435 h 1057751"/>
                <a:gd name="connsiteX640" fmla="*/ 341471 w 1073848"/>
                <a:gd name="connsiteY640" fmla="*/ 815340 h 1057751"/>
                <a:gd name="connsiteX641" fmla="*/ 342614 w 1073848"/>
                <a:gd name="connsiteY641" fmla="*/ 812006 h 1057751"/>
                <a:gd name="connsiteX642" fmla="*/ 346329 w 1073848"/>
                <a:gd name="connsiteY642" fmla="*/ 816293 h 1057751"/>
                <a:gd name="connsiteX643" fmla="*/ 348710 w 1073848"/>
                <a:gd name="connsiteY643" fmla="*/ 822388 h 1057751"/>
                <a:gd name="connsiteX644" fmla="*/ 347758 w 1073848"/>
                <a:gd name="connsiteY644" fmla="*/ 827342 h 1057751"/>
                <a:gd name="connsiteX645" fmla="*/ 354711 w 1073848"/>
                <a:gd name="connsiteY645" fmla="*/ 831247 h 1057751"/>
                <a:gd name="connsiteX646" fmla="*/ 357854 w 1073848"/>
                <a:gd name="connsiteY646" fmla="*/ 830866 h 1057751"/>
                <a:gd name="connsiteX647" fmla="*/ 359378 w 1073848"/>
                <a:gd name="connsiteY647" fmla="*/ 830675 h 1057751"/>
                <a:gd name="connsiteX648" fmla="*/ 366331 w 1073848"/>
                <a:gd name="connsiteY648" fmla="*/ 834580 h 1057751"/>
                <a:gd name="connsiteX649" fmla="*/ 370046 w 1073848"/>
                <a:gd name="connsiteY649" fmla="*/ 838962 h 1057751"/>
                <a:gd name="connsiteX650" fmla="*/ 378619 w 1073848"/>
                <a:gd name="connsiteY650" fmla="*/ 842677 h 1057751"/>
                <a:gd name="connsiteX651" fmla="*/ 377857 w 1073848"/>
                <a:gd name="connsiteY651" fmla="*/ 849154 h 1057751"/>
                <a:gd name="connsiteX652" fmla="*/ 379571 w 1073848"/>
                <a:gd name="connsiteY652" fmla="*/ 850583 h 1057751"/>
                <a:gd name="connsiteX653" fmla="*/ 382143 w 1073848"/>
                <a:gd name="connsiteY653" fmla="*/ 845439 h 1057751"/>
                <a:gd name="connsiteX654" fmla="*/ 384334 w 1073848"/>
                <a:gd name="connsiteY654" fmla="*/ 837152 h 1057751"/>
                <a:gd name="connsiteX655" fmla="*/ 385858 w 1073848"/>
                <a:gd name="connsiteY655" fmla="*/ 836962 h 1057751"/>
                <a:gd name="connsiteX656" fmla="*/ 387286 w 1073848"/>
                <a:gd name="connsiteY656" fmla="*/ 835152 h 1057751"/>
                <a:gd name="connsiteX657" fmla="*/ 390239 w 1073848"/>
                <a:gd name="connsiteY657" fmla="*/ 833152 h 1057751"/>
                <a:gd name="connsiteX658" fmla="*/ 393382 w 1073848"/>
                <a:gd name="connsiteY658" fmla="*/ 832771 h 1057751"/>
                <a:gd name="connsiteX659" fmla="*/ 396907 w 1073848"/>
                <a:gd name="connsiteY659" fmla="*/ 835533 h 1057751"/>
                <a:gd name="connsiteX660" fmla="*/ 404622 w 1073848"/>
                <a:gd name="connsiteY660" fmla="*/ 845725 h 1057751"/>
                <a:gd name="connsiteX661" fmla="*/ 406241 w 1073848"/>
                <a:gd name="connsiteY661" fmla="*/ 845534 h 1057751"/>
                <a:gd name="connsiteX662" fmla="*/ 408241 w 1073848"/>
                <a:gd name="connsiteY662" fmla="*/ 848487 h 1057751"/>
                <a:gd name="connsiteX663" fmla="*/ 409575 w 1073848"/>
                <a:gd name="connsiteY663" fmla="*/ 846772 h 1057751"/>
                <a:gd name="connsiteX664" fmla="*/ 412909 w 1073848"/>
                <a:gd name="connsiteY664" fmla="*/ 847916 h 1057751"/>
                <a:gd name="connsiteX665" fmla="*/ 412528 w 1073848"/>
                <a:gd name="connsiteY665" fmla="*/ 844772 h 1057751"/>
                <a:gd name="connsiteX666" fmla="*/ 423958 w 1073848"/>
                <a:gd name="connsiteY666" fmla="*/ 846487 h 1057751"/>
                <a:gd name="connsiteX667" fmla="*/ 430530 w 1073848"/>
                <a:gd name="connsiteY667" fmla="*/ 847249 h 1057751"/>
                <a:gd name="connsiteX668" fmla="*/ 435388 w 1073848"/>
                <a:gd name="connsiteY668" fmla="*/ 848201 h 1057751"/>
                <a:gd name="connsiteX669" fmla="*/ 442150 w 1073848"/>
                <a:gd name="connsiteY669" fmla="*/ 837819 h 1057751"/>
                <a:gd name="connsiteX670" fmla="*/ 443484 w 1073848"/>
                <a:gd name="connsiteY670" fmla="*/ 836009 h 1057751"/>
                <a:gd name="connsiteX671" fmla="*/ 451580 w 1073848"/>
                <a:gd name="connsiteY671" fmla="*/ 836581 h 1057751"/>
                <a:gd name="connsiteX672" fmla="*/ 455295 w 1073848"/>
                <a:gd name="connsiteY672" fmla="*/ 840867 h 1057751"/>
                <a:gd name="connsiteX673" fmla="*/ 455581 w 1073848"/>
                <a:gd name="connsiteY673" fmla="*/ 842486 h 1057751"/>
                <a:gd name="connsiteX674" fmla="*/ 460438 w 1073848"/>
                <a:gd name="connsiteY674" fmla="*/ 843439 h 1057751"/>
                <a:gd name="connsiteX675" fmla="*/ 463201 w 1073848"/>
                <a:gd name="connsiteY675" fmla="*/ 839914 h 1057751"/>
                <a:gd name="connsiteX676" fmla="*/ 459486 w 1073848"/>
                <a:gd name="connsiteY676" fmla="*/ 835533 h 1057751"/>
                <a:gd name="connsiteX677" fmla="*/ 460438 w 1073848"/>
                <a:gd name="connsiteY677" fmla="*/ 830675 h 1057751"/>
                <a:gd name="connsiteX678" fmla="*/ 463772 w 1073848"/>
                <a:gd name="connsiteY678" fmla="*/ 831818 h 1057751"/>
                <a:gd name="connsiteX679" fmla="*/ 466725 w 1073848"/>
                <a:gd name="connsiteY679" fmla="*/ 829818 h 1057751"/>
                <a:gd name="connsiteX680" fmla="*/ 473869 w 1073848"/>
                <a:gd name="connsiteY680" fmla="*/ 835343 h 1057751"/>
                <a:gd name="connsiteX681" fmla="*/ 473107 w 1073848"/>
                <a:gd name="connsiteY681" fmla="*/ 841820 h 1057751"/>
                <a:gd name="connsiteX682" fmla="*/ 475488 w 1073848"/>
                <a:gd name="connsiteY682" fmla="*/ 835152 h 1057751"/>
                <a:gd name="connsiteX683" fmla="*/ 482155 w 1073848"/>
                <a:gd name="connsiteY683" fmla="*/ 837438 h 1057751"/>
                <a:gd name="connsiteX684" fmla="*/ 483394 w 1073848"/>
                <a:gd name="connsiteY684" fmla="*/ 846963 h 1057751"/>
                <a:gd name="connsiteX685" fmla="*/ 485775 w 1073848"/>
                <a:gd name="connsiteY685" fmla="*/ 853059 h 1057751"/>
                <a:gd name="connsiteX686" fmla="*/ 483965 w 1073848"/>
                <a:gd name="connsiteY686" fmla="*/ 851726 h 1057751"/>
                <a:gd name="connsiteX687" fmla="*/ 476059 w 1073848"/>
                <a:gd name="connsiteY687" fmla="*/ 852678 h 1057751"/>
                <a:gd name="connsiteX688" fmla="*/ 474726 w 1073848"/>
                <a:gd name="connsiteY688" fmla="*/ 854488 h 1057751"/>
                <a:gd name="connsiteX689" fmla="*/ 478250 w 1073848"/>
                <a:gd name="connsiteY689" fmla="*/ 857250 h 1057751"/>
                <a:gd name="connsiteX690" fmla="*/ 487585 w 1073848"/>
                <a:gd name="connsiteY690" fmla="*/ 867251 h 1057751"/>
                <a:gd name="connsiteX691" fmla="*/ 488918 w 1073848"/>
                <a:gd name="connsiteY691" fmla="*/ 865442 h 1057751"/>
                <a:gd name="connsiteX692" fmla="*/ 487204 w 1073848"/>
                <a:gd name="connsiteY692" fmla="*/ 864108 h 1057751"/>
                <a:gd name="connsiteX693" fmla="*/ 490156 w 1073848"/>
                <a:gd name="connsiteY693" fmla="*/ 862108 h 1057751"/>
                <a:gd name="connsiteX694" fmla="*/ 498443 w 1073848"/>
                <a:gd name="connsiteY694" fmla="*/ 864299 h 1057751"/>
                <a:gd name="connsiteX695" fmla="*/ 500348 w 1073848"/>
                <a:gd name="connsiteY695" fmla="*/ 867251 h 1057751"/>
                <a:gd name="connsiteX696" fmla="*/ 495681 w 1073848"/>
                <a:gd name="connsiteY696" fmla="*/ 867823 h 1057751"/>
                <a:gd name="connsiteX697" fmla="*/ 492919 w 1073848"/>
                <a:gd name="connsiteY697" fmla="*/ 871347 h 1057751"/>
                <a:gd name="connsiteX698" fmla="*/ 507778 w 1073848"/>
                <a:gd name="connsiteY698" fmla="*/ 887159 h 1057751"/>
                <a:gd name="connsiteX699" fmla="*/ 499872 w 1073848"/>
                <a:gd name="connsiteY699" fmla="*/ 888111 h 1057751"/>
                <a:gd name="connsiteX700" fmla="*/ 503777 w 1073848"/>
                <a:gd name="connsiteY700" fmla="*/ 894017 h 1057751"/>
                <a:gd name="connsiteX701" fmla="*/ 504444 w 1073848"/>
                <a:gd name="connsiteY701" fmla="*/ 898779 h 1057751"/>
                <a:gd name="connsiteX702" fmla="*/ 501682 w 1073848"/>
                <a:gd name="connsiteY702" fmla="*/ 902399 h 1057751"/>
                <a:gd name="connsiteX703" fmla="*/ 495395 w 1073848"/>
                <a:gd name="connsiteY703" fmla="*/ 903161 h 1057751"/>
                <a:gd name="connsiteX704" fmla="*/ 493586 w 1073848"/>
                <a:gd name="connsiteY704" fmla="*/ 901827 h 1057751"/>
                <a:gd name="connsiteX705" fmla="*/ 492157 w 1073848"/>
                <a:gd name="connsiteY705" fmla="*/ 903542 h 1057751"/>
                <a:gd name="connsiteX706" fmla="*/ 490442 w 1073848"/>
                <a:gd name="connsiteY706" fmla="*/ 902208 h 1057751"/>
                <a:gd name="connsiteX707" fmla="*/ 482536 w 1073848"/>
                <a:gd name="connsiteY707" fmla="*/ 903161 h 1057751"/>
                <a:gd name="connsiteX708" fmla="*/ 472249 w 1073848"/>
                <a:gd name="connsiteY708" fmla="*/ 898112 h 1057751"/>
                <a:gd name="connsiteX709" fmla="*/ 471297 w 1073848"/>
                <a:gd name="connsiteY709" fmla="*/ 902970 h 1057751"/>
                <a:gd name="connsiteX710" fmla="*/ 475202 w 1073848"/>
                <a:gd name="connsiteY710" fmla="*/ 908971 h 1057751"/>
                <a:gd name="connsiteX711" fmla="*/ 474631 w 1073848"/>
                <a:gd name="connsiteY711" fmla="*/ 916972 h 1057751"/>
                <a:gd name="connsiteX712" fmla="*/ 471106 w 1073848"/>
                <a:gd name="connsiteY712" fmla="*/ 914305 h 1057751"/>
                <a:gd name="connsiteX713" fmla="*/ 463391 w 1073848"/>
                <a:gd name="connsiteY713" fmla="*/ 916876 h 1057751"/>
                <a:gd name="connsiteX714" fmla="*/ 465201 w 1073848"/>
                <a:gd name="connsiteY714" fmla="*/ 918210 h 1057751"/>
                <a:gd name="connsiteX715" fmla="*/ 467011 w 1073848"/>
                <a:gd name="connsiteY715" fmla="*/ 919639 h 1057751"/>
                <a:gd name="connsiteX716" fmla="*/ 466153 w 1073848"/>
                <a:gd name="connsiteY716" fmla="*/ 926116 h 1057751"/>
                <a:gd name="connsiteX717" fmla="*/ 471297 w 1073848"/>
                <a:gd name="connsiteY717" fmla="*/ 928688 h 1057751"/>
                <a:gd name="connsiteX718" fmla="*/ 469201 w 1073848"/>
                <a:gd name="connsiteY718" fmla="*/ 936974 h 1057751"/>
                <a:gd name="connsiteX719" fmla="*/ 463105 w 1073848"/>
                <a:gd name="connsiteY719" fmla="*/ 939355 h 1057751"/>
                <a:gd name="connsiteX720" fmla="*/ 455200 w 1073848"/>
                <a:gd name="connsiteY720" fmla="*/ 940308 h 1057751"/>
                <a:gd name="connsiteX721" fmla="*/ 454057 w 1073848"/>
                <a:gd name="connsiteY721" fmla="*/ 943737 h 1057751"/>
                <a:gd name="connsiteX722" fmla="*/ 455962 w 1073848"/>
                <a:gd name="connsiteY722" fmla="*/ 946690 h 1057751"/>
                <a:gd name="connsiteX723" fmla="*/ 454628 w 1073848"/>
                <a:gd name="connsiteY723" fmla="*/ 948404 h 1057751"/>
                <a:gd name="connsiteX724" fmla="*/ 457962 w 1073848"/>
                <a:gd name="connsiteY724" fmla="*/ 949643 h 1057751"/>
                <a:gd name="connsiteX725" fmla="*/ 455390 w 1073848"/>
                <a:gd name="connsiteY725" fmla="*/ 954786 h 1057751"/>
                <a:gd name="connsiteX726" fmla="*/ 457200 w 1073848"/>
                <a:gd name="connsiteY726" fmla="*/ 956120 h 1057751"/>
                <a:gd name="connsiteX727" fmla="*/ 454247 w 1073848"/>
                <a:gd name="connsiteY727" fmla="*/ 958120 h 1057751"/>
                <a:gd name="connsiteX728" fmla="*/ 453104 w 1073848"/>
                <a:gd name="connsiteY728" fmla="*/ 961454 h 1057751"/>
                <a:gd name="connsiteX729" fmla="*/ 448151 w 1073848"/>
                <a:gd name="connsiteY729" fmla="*/ 960501 h 1057751"/>
                <a:gd name="connsiteX730" fmla="*/ 449104 w 1073848"/>
                <a:gd name="connsiteY730" fmla="*/ 968407 h 1057751"/>
                <a:gd name="connsiteX731" fmla="*/ 447389 w 1073848"/>
                <a:gd name="connsiteY731" fmla="*/ 966978 h 1057751"/>
                <a:gd name="connsiteX732" fmla="*/ 443960 w 1073848"/>
                <a:gd name="connsiteY732" fmla="*/ 965835 h 1057751"/>
                <a:gd name="connsiteX733" fmla="*/ 442436 w 1073848"/>
                <a:gd name="connsiteY733" fmla="*/ 966026 h 1057751"/>
                <a:gd name="connsiteX734" fmla="*/ 441484 w 1073848"/>
                <a:gd name="connsiteY734" fmla="*/ 970979 h 1057751"/>
                <a:gd name="connsiteX735" fmla="*/ 438912 w 1073848"/>
                <a:gd name="connsiteY735" fmla="*/ 976122 h 1057751"/>
                <a:gd name="connsiteX736" fmla="*/ 434149 w 1073848"/>
                <a:gd name="connsiteY736" fmla="*/ 976693 h 1057751"/>
                <a:gd name="connsiteX737" fmla="*/ 428053 w 1073848"/>
                <a:gd name="connsiteY737" fmla="*/ 979075 h 1057751"/>
                <a:gd name="connsiteX738" fmla="*/ 430435 w 1073848"/>
                <a:gd name="connsiteY738" fmla="*/ 985171 h 1057751"/>
                <a:gd name="connsiteX739" fmla="*/ 426053 w 1073848"/>
                <a:gd name="connsiteY739" fmla="*/ 988981 h 1057751"/>
                <a:gd name="connsiteX740" fmla="*/ 430435 w 1073848"/>
                <a:gd name="connsiteY740" fmla="*/ 998030 h 1057751"/>
                <a:gd name="connsiteX741" fmla="*/ 432054 w 1073848"/>
                <a:gd name="connsiteY741" fmla="*/ 997839 h 1057751"/>
                <a:gd name="connsiteX742" fmla="*/ 433197 w 1073848"/>
                <a:gd name="connsiteY742" fmla="*/ 994505 h 1057751"/>
                <a:gd name="connsiteX743" fmla="*/ 437959 w 1073848"/>
                <a:gd name="connsiteY743" fmla="*/ 993838 h 1057751"/>
                <a:gd name="connsiteX744" fmla="*/ 441865 w 1073848"/>
                <a:gd name="connsiteY744" fmla="*/ 986980 h 1057751"/>
                <a:gd name="connsiteX745" fmla="*/ 448627 w 1073848"/>
                <a:gd name="connsiteY745" fmla="*/ 989267 h 1057751"/>
                <a:gd name="connsiteX746" fmla="*/ 451961 w 1073848"/>
                <a:gd name="connsiteY746" fmla="*/ 990505 h 1057751"/>
                <a:gd name="connsiteX747" fmla="*/ 454342 w 1073848"/>
                <a:gd name="connsiteY747" fmla="*/ 996601 h 1057751"/>
                <a:gd name="connsiteX748" fmla="*/ 452914 w 1073848"/>
                <a:gd name="connsiteY748" fmla="*/ 998411 h 1057751"/>
                <a:gd name="connsiteX749" fmla="*/ 452152 w 1073848"/>
                <a:gd name="connsiteY749" fmla="*/ 1004888 h 1057751"/>
                <a:gd name="connsiteX750" fmla="*/ 451199 w 1073848"/>
                <a:gd name="connsiteY750" fmla="*/ 1009841 h 1057751"/>
                <a:gd name="connsiteX751" fmla="*/ 453199 w 1073848"/>
                <a:gd name="connsiteY751" fmla="*/ 1012793 h 1057751"/>
                <a:gd name="connsiteX752" fmla="*/ 456724 w 1073848"/>
                <a:gd name="connsiteY752" fmla="*/ 1015555 h 1057751"/>
                <a:gd name="connsiteX753" fmla="*/ 467963 w 1073848"/>
                <a:gd name="connsiteY753" fmla="*/ 1015651 h 1057751"/>
                <a:gd name="connsiteX754" fmla="*/ 471106 w 1073848"/>
                <a:gd name="connsiteY754" fmla="*/ 1015270 h 1057751"/>
                <a:gd name="connsiteX755" fmla="*/ 483013 w 1073848"/>
                <a:gd name="connsiteY755" fmla="*/ 1020223 h 1057751"/>
                <a:gd name="connsiteX756" fmla="*/ 493300 w 1073848"/>
                <a:gd name="connsiteY756" fmla="*/ 1025271 h 1057751"/>
                <a:gd name="connsiteX757" fmla="*/ 492061 w 1073848"/>
                <a:gd name="connsiteY757" fmla="*/ 1028700 h 1057751"/>
                <a:gd name="connsiteX758" fmla="*/ 492538 w 1073848"/>
                <a:gd name="connsiteY758" fmla="*/ 1031843 h 1057751"/>
                <a:gd name="connsiteX759" fmla="*/ 489585 w 1073848"/>
                <a:gd name="connsiteY759" fmla="*/ 1033748 h 1057751"/>
                <a:gd name="connsiteX760" fmla="*/ 488347 w 1073848"/>
                <a:gd name="connsiteY760" fmla="*/ 1037177 h 1057751"/>
                <a:gd name="connsiteX761" fmla="*/ 497300 w 1073848"/>
                <a:gd name="connsiteY761" fmla="*/ 1044035 h 1057751"/>
                <a:gd name="connsiteX762" fmla="*/ 503206 w 1073848"/>
                <a:gd name="connsiteY762" fmla="*/ 1040035 h 1057751"/>
                <a:gd name="connsiteX763" fmla="*/ 500063 w 1073848"/>
                <a:gd name="connsiteY763" fmla="*/ 1040511 h 1057751"/>
                <a:gd name="connsiteX764" fmla="*/ 499586 w 1073848"/>
                <a:gd name="connsiteY764" fmla="*/ 1037368 h 1057751"/>
                <a:gd name="connsiteX765" fmla="*/ 496443 w 1073848"/>
                <a:gd name="connsiteY765" fmla="*/ 1037749 h 1057751"/>
                <a:gd name="connsiteX766" fmla="*/ 493109 w 1073848"/>
                <a:gd name="connsiteY766" fmla="*/ 1036511 h 1057751"/>
                <a:gd name="connsiteX767" fmla="*/ 499396 w 1073848"/>
                <a:gd name="connsiteY767" fmla="*/ 1035749 h 1057751"/>
                <a:gd name="connsiteX768" fmla="*/ 511492 w 1073848"/>
                <a:gd name="connsiteY768" fmla="*/ 1042226 h 1057751"/>
                <a:gd name="connsiteX769" fmla="*/ 508921 w 1073848"/>
                <a:gd name="connsiteY769" fmla="*/ 1034510 h 1057751"/>
                <a:gd name="connsiteX770" fmla="*/ 515017 w 1073848"/>
                <a:gd name="connsiteY770" fmla="*/ 1032129 h 1057751"/>
                <a:gd name="connsiteX771" fmla="*/ 518541 w 1073848"/>
                <a:gd name="connsiteY771" fmla="*/ 1034891 h 1057751"/>
                <a:gd name="connsiteX772" fmla="*/ 520732 w 1073848"/>
                <a:gd name="connsiteY772" fmla="*/ 1039463 h 1057751"/>
                <a:gd name="connsiteX773" fmla="*/ 524065 w 1073848"/>
                <a:gd name="connsiteY773" fmla="*/ 1040606 h 1057751"/>
                <a:gd name="connsiteX774" fmla="*/ 521780 w 1073848"/>
                <a:gd name="connsiteY774" fmla="*/ 1047369 h 1057751"/>
                <a:gd name="connsiteX775" fmla="*/ 523684 w 1073848"/>
                <a:gd name="connsiteY775" fmla="*/ 1050322 h 1057751"/>
                <a:gd name="connsiteX776" fmla="*/ 528828 w 1073848"/>
                <a:gd name="connsiteY776" fmla="*/ 1052893 h 1057751"/>
                <a:gd name="connsiteX777" fmla="*/ 531971 w 1073848"/>
                <a:gd name="connsiteY777" fmla="*/ 1052417 h 1057751"/>
                <a:gd name="connsiteX778" fmla="*/ 534924 w 1073848"/>
                <a:gd name="connsiteY778" fmla="*/ 1050417 h 1057751"/>
                <a:gd name="connsiteX779" fmla="*/ 537305 w 1073848"/>
                <a:gd name="connsiteY779" fmla="*/ 1056608 h 1057751"/>
                <a:gd name="connsiteX780" fmla="*/ 540734 w 1073848"/>
                <a:gd name="connsiteY780" fmla="*/ 1057751 h 1057751"/>
                <a:gd name="connsiteX781" fmla="*/ 543211 w 1073848"/>
                <a:gd name="connsiteY781" fmla="*/ 1052608 h 1057751"/>
                <a:gd name="connsiteX782" fmla="*/ 544449 w 1073848"/>
                <a:gd name="connsiteY782" fmla="*/ 1049274 h 1057751"/>
                <a:gd name="connsiteX783" fmla="*/ 542449 w 1073848"/>
                <a:gd name="connsiteY783" fmla="*/ 1046321 h 1057751"/>
                <a:gd name="connsiteX784" fmla="*/ 548735 w 1073848"/>
                <a:gd name="connsiteY784" fmla="*/ 1045464 h 1057751"/>
                <a:gd name="connsiteX785" fmla="*/ 548164 w 1073848"/>
                <a:gd name="connsiteY785" fmla="*/ 1040797 h 1057751"/>
                <a:gd name="connsiteX786" fmla="*/ 552736 w 1073848"/>
                <a:gd name="connsiteY786" fmla="*/ 1038606 h 1057751"/>
                <a:gd name="connsiteX787" fmla="*/ 554069 w 1073848"/>
                <a:gd name="connsiteY787" fmla="*/ 1036796 h 1057751"/>
                <a:gd name="connsiteX788" fmla="*/ 549688 w 1073848"/>
                <a:gd name="connsiteY788" fmla="*/ 1027747 h 1057751"/>
                <a:gd name="connsiteX789" fmla="*/ 554260 w 1073848"/>
                <a:gd name="connsiteY789" fmla="*/ 1025557 h 1057751"/>
                <a:gd name="connsiteX790" fmla="*/ 557403 w 1073848"/>
                <a:gd name="connsiteY790" fmla="*/ 1025176 h 1057751"/>
                <a:gd name="connsiteX791" fmla="*/ 559403 w 1073848"/>
                <a:gd name="connsiteY791" fmla="*/ 1028129 h 1057751"/>
                <a:gd name="connsiteX792" fmla="*/ 564071 w 1073848"/>
                <a:gd name="connsiteY792" fmla="*/ 1027462 h 1057751"/>
                <a:gd name="connsiteX793" fmla="*/ 564547 w 1073848"/>
                <a:gd name="connsiteY793" fmla="*/ 1030700 h 1057751"/>
                <a:gd name="connsiteX794" fmla="*/ 567499 w 1073848"/>
                <a:gd name="connsiteY794" fmla="*/ 1028700 h 1057751"/>
                <a:gd name="connsiteX795" fmla="*/ 573214 w 1073848"/>
                <a:gd name="connsiteY795" fmla="*/ 1023176 h 1057751"/>
                <a:gd name="connsiteX796" fmla="*/ 582644 w 1073848"/>
                <a:gd name="connsiteY796" fmla="*/ 1021937 h 1057751"/>
                <a:gd name="connsiteX797" fmla="*/ 583025 w 1073848"/>
                <a:gd name="connsiteY797" fmla="*/ 1025080 h 1057751"/>
                <a:gd name="connsiteX798" fmla="*/ 590169 w 1073848"/>
                <a:gd name="connsiteY798" fmla="*/ 1030605 h 1057751"/>
                <a:gd name="connsiteX799" fmla="*/ 592550 w 1073848"/>
                <a:gd name="connsiteY799" fmla="*/ 1036701 h 1057751"/>
                <a:gd name="connsiteX800" fmla="*/ 597884 w 1073848"/>
                <a:gd name="connsiteY800" fmla="*/ 1040892 h 1057751"/>
                <a:gd name="connsiteX801" fmla="*/ 600075 w 1073848"/>
                <a:gd name="connsiteY801" fmla="*/ 1045369 h 1057751"/>
                <a:gd name="connsiteX802" fmla="*/ 602837 w 1073848"/>
                <a:gd name="connsiteY802" fmla="*/ 1041845 h 1057751"/>
                <a:gd name="connsiteX803" fmla="*/ 605980 w 1073848"/>
                <a:gd name="connsiteY803" fmla="*/ 1041463 h 1057751"/>
                <a:gd name="connsiteX804" fmla="*/ 605409 w 1073848"/>
                <a:gd name="connsiteY804" fmla="*/ 1036701 h 1057751"/>
                <a:gd name="connsiteX805" fmla="*/ 607886 w 1073848"/>
                <a:gd name="connsiteY805" fmla="*/ 1031558 h 1057751"/>
                <a:gd name="connsiteX806" fmla="*/ 606171 w 1073848"/>
                <a:gd name="connsiteY806" fmla="*/ 1030129 h 1057751"/>
                <a:gd name="connsiteX807" fmla="*/ 605980 w 1073848"/>
                <a:gd name="connsiteY807" fmla="*/ 1028605 h 1057751"/>
                <a:gd name="connsiteX808" fmla="*/ 604171 w 1073848"/>
                <a:gd name="connsiteY808" fmla="*/ 1027176 h 1057751"/>
                <a:gd name="connsiteX809" fmla="*/ 607505 w 1073848"/>
                <a:gd name="connsiteY809" fmla="*/ 1028414 h 1057751"/>
                <a:gd name="connsiteX810" fmla="*/ 611219 w 1073848"/>
                <a:gd name="connsiteY810" fmla="*/ 1019937 h 1057751"/>
                <a:gd name="connsiteX811" fmla="*/ 616553 w 1073848"/>
                <a:gd name="connsiteY811" fmla="*/ 1024033 h 1057751"/>
                <a:gd name="connsiteX812" fmla="*/ 619315 w 1073848"/>
                <a:gd name="connsiteY812" fmla="*/ 1020509 h 1057751"/>
                <a:gd name="connsiteX813" fmla="*/ 619125 w 1073848"/>
                <a:gd name="connsiteY813" fmla="*/ 1018889 h 1057751"/>
                <a:gd name="connsiteX814" fmla="*/ 619506 w 1073848"/>
                <a:gd name="connsiteY814" fmla="*/ 1009174 h 1057751"/>
                <a:gd name="connsiteX815" fmla="*/ 619315 w 1073848"/>
                <a:gd name="connsiteY815" fmla="*/ 1007650 h 1057751"/>
                <a:gd name="connsiteX816" fmla="*/ 622649 w 1073848"/>
                <a:gd name="connsiteY816" fmla="*/ 1008793 h 1057751"/>
                <a:gd name="connsiteX817" fmla="*/ 635508 w 1073848"/>
                <a:gd name="connsiteY817" fmla="*/ 1008793 h 1057751"/>
                <a:gd name="connsiteX818" fmla="*/ 643033 w 1073848"/>
                <a:gd name="connsiteY818" fmla="*/ 1004602 h 1057751"/>
                <a:gd name="connsiteX819" fmla="*/ 645128 w 1073848"/>
                <a:gd name="connsiteY819" fmla="*/ 996315 h 1057751"/>
                <a:gd name="connsiteX820" fmla="*/ 645128 w 1073848"/>
                <a:gd name="connsiteY820" fmla="*/ 996315 h 1057751"/>
                <a:gd name="connsiteX821" fmla="*/ 649891 w 1073848"/>
                <a:gd name="connsiteY821" fmla="*/ 995743 h 1057751"/>
                <a:gd name="connsiteX822" fmla="*/ 651034 w 1073848"/>
                <a:gd name="connsiteY822" fmla="*/ 992410 h 1057751"/>
                <a:gd name="connsiteX823" fmla="*/ 652653 w 1073848"/>
                <a:gd name="connsiteY823" fmla="*/ 992124 h 1057751"/>
                <a:gd name="connsiteX824" fmla="*/ 652463 w 1073848"/>
                <a:gd name="connsiteY824" fmla="*/ 990600 h 1057751"/>
                <a:gd name="connsiteX825" fmla="*/ 645890 w 1073848"/>
                <a:gd name="connsiteY825" fmla="*/ 989838 h 1057751"/>
                <a:gd name="connsiteX826" fmla="*/ 650081 w 1073848"/>
                <a:gd name="connsiteY826" fmla="*/ 984504 h 1057751"/>
                <a:gd name="connsiteX827" fmla="*/ 651605 w 1073848"/>
                <a:gd name="connsiteY827" fmla="*/ 984313 h 1057751"/>
                <a:gd name="connsiteX828" fmla="*/ 658939 w 1073848"/>
                <a:gd name="connsiteY828" fmla="*/ 978503 h 1057751"/>
                <a:gd name="connsiteX829" fmla="*/ 661511 w 1073848"/>
                <a:gd name="connsiteY829" fmla="*/ 973360 h 1057751"/>
                <a:gd name="connsiteX830" fmla="*/ 668369 w 1073848"/>
                <a:gd name="connsiteY830" fmla="*/ 977360 h 1057751"/>
                <a:gd name="connsiteX831" fmla="*/ 673894 w 1073848"/>
                <a:gd name="connsiteY831" fmla="*/ 970217 h 1057751"/>
                <a:gd name="connsiteX832" fmla="*/ 680847 w 1073848"/>
                <a:gd name="connsiteY832" fmla="*/ 974122 h 1057751"/>
                <a:gd name="connsiteX833" fmla="*/ 683323 w 1073848"/>
                <a:gd name="connsiteY833" fmla="*/ 968978 h 1057751"/>
                <a:gd name="connsiteX834" fmla="*/ 691896 w 1073848"/>
                <a:gd name="connsiteY834" fmla="*/ 972788 h 1057751"/>
                <a:gd name="connsiteX835" fmla="*/ 695039 w 1073848"/>
                <a:gd name="connsiteY835" fmla="*/ 972312 h 1057751"/>
                <a:gd name="connsiteX836" fmla="*/ 695801 w 1073848"/>
                <a:gd name="connsiteY836" fmla="*/ 978694 h 1057751"/>
                <a:gd name="connsiteX837" fmla="*/ 701897 w 1073848"/>
                <a:gd name="connsiteY837" fmla="*/ 976313 h 1057751"/>
                <a:gd name="connsiteX838" fmla="*/ 698373 w 1073848"/>
                <a:gd name="connsiteY838" fmla="*/ 973550 h 1057751"/>
                <a:gd name="connsiteX839" fmla="*/ 701135 w 1073848"/>
                <a:gd name="connsiteY839" fmla="*/ 969931 h 1057751"/>
                <a:gd name="connsiteX840" fmla="*/ 704279 w 1073848"/>
                <a:gd name="connsiteY840" fmla="*/ 969550 h 1057751"/>
                <a:gd name="connsiteX841" fmla="*/ 705898 w 1073848"/>
                <a:gd name="connsiteY841" fmla="*/ 969359 h 1057751"/>
                <a:gd name="connsiteX842" fmla="*/ 703707 w 1073848"/>
                <a:gd name="connsiteY842" fmla="*/ 964787 h 1057751"/>
                <a:gd name="connsiteX843" fmla="*/ 705231 w 1073848"/>
                <a:gd name="connsiteY843" fmla="*/ 964597 h 1057751"/>
                <a:gd name="connsiteX844" fmla="*/ 706660 w 1073848"/>
                <a:gd name="connsiteY844" fmla="*/ 962787 h 1057751"/>
                <a:gd name="connsiteX845" fmla="*/ 703231 w 1073848"/>
                <a:gd name="connsiteY845" fmla="*/ 961644 h 1057751"/>
                <a:gd name="connsiteX846" fmla="*/ 707231 w 1073848"/>
                <a:gd name="connsiteY846" fmla="*/ 954786 h 1057751"/>
                <a:gd name="connsiteX847" fmla="*/ 706564 w 1073848"/>
                <a:gd name="connsiteY847" fmla="*/ 950024 h 1057751"/>
                <a:gd name="connsiteX848" fmla="*/ 709327 w 1073848"/>
                <a:gd name="connsiteY848" fmla="*/ 946404 h 1057751"/>
                <a:gd name="connsiteX849" fmla="*/ 706946 w 1073848"/>
                <a:gd name="connsiteY849" fmla="*/ 940308 h 1057751"/>
                <a:gd name="connsiteX850" fmla="*/ 710374 w 1073848"/>
                <a:gd name="connsiteY850" fmla="*/ 941546 h 1057751"/>
                <a:gd name="connsiteX851" fmla="*/ 715042 w 1073848"/>
                <a:gd name="connsiteY851" fmla="*/ 940880 h 1057751"/>
                <a:gd name="connsiteX852" fmla="*/ 725519 w 1073848"/>
                <a:gd name="connsiteY852" fmla="*/ 947642 h 1057751"/>
                <a:gd name="connsiteX853" fmla="*/ 725710 w 1073848"/>
                <a:gd name="connsiteY853" fmla="*/ 949166 h 1057751"/>
                <a:gd name="connsiteX854" fmla="*/ 721042 w 1073848"/>
                <a:gd name="connsiteY854" fmla="*/ 949738 h 1057751"/>
                <a:gd name="connsiteX855" fmla="*/ 719614 w 1073848"/>
                <a:gd name="connsiteY855" fmla="*/ 951547 h 1057751"/>
                <a:gd name="connsiteX856" fmla="*/ 724567 w 1073848"/>
                <a:gd name="connsiteY856" fmla="*/ 952500 h 1057751"/>
                <a:gd name="connsiteX857" fmla="*/ 727520 w 1073848"/>
                <a:gd name="connsiteY857" fmla="*/ 950595 h 1057751"/>
                <a:gd name="connsiteX858" fmla="*/ 729520 w 1073848"/>
                <a:gd name="connsiteY858" fmla="*/ 953548 h 1057751"/>
                <a:gd name="connsiteX859" fmla="*/ 734949 w 1073848"/>
                <a:gd name="connsiteY859" fmla="*/ 946404 h 1057751"/>
                <a:gd name="connsiteX860" fmla="*/ 743903 w 1073848"/>
                <a:gd name="connsiteY860" fmla="*/ 940403 h 1057751"/>
                <a:gd name="connsiteX861" fmla="*/ 740473 w 1073848"/>
                <a:gd name="connsiteY861" fmla="*/ 939260 h 1057751"/>
                <a:gd name="connsiteX862" fmla="*/ 740473 w 1073848"/>
                <a:gd name="connsiteY862" fmla="*/ 926497 h 1057751"/>
                <a:gd name="connsiteX863" fmla="*/ 750951 w 1073848"/>
                <a:gd name="connsiteY863" fmla="*/ 933164 h 1057751"/>
                <a:gd name="connsiteX864" fmla="*/ 754856 w 1073848"/>
                <a:gd name="connsiteY864" fmla="*/ 926211 h 1057751"/>
                <a:gd name="connsiteX865" fmla="*/ 762190 w 1073848"/>
                <a:gd name="connsiteY865" fmla="*/ 920496 h 1057751"/>
                <a:gd name="connsiteX866" fmla="*/ 764191 w 1073848"/>
                <a:gd name="connsiteY866" fmla="*/ 923449 h 1057751"/>
                <a:gd name="connsiteX867" fmla="*/ 764572 w 1073848"/>
                <a:gd name="connsiteY867" fmla="*/ 926592 h 1057751"/>
                <a:gd name="connsiteX868" fmla="*/ 766763 w 1073848"/>
                <a:gd name="connsiteY868" fmla="*/ 931164 h 1057751"/>
                <a:gd name="connsiteX869" fmla="*/ 770096 w 1073848"/>
                <a:gd name="connsiteY869" fmla="*/ 932307 h 1057751"/>
                <a:gd name="connsiteX870" fmla="*/ 768953 w 1073848"/>
                <a:gd name="connsiteY870" fmla="*/ 935641 h 1057751"/>
                <a:gd name="connsiteX871" fmla="*/ 767524 w 1073848"/>
                <a:gd name="connsiteY871" fmla="*/ 937451 h 1057751"/>
                <a:gd name="connsiteX872" fmla="*/ 769525 w 1073848"/>
                <a:gd name="connsiteY872" fmla="*/ 940403 h 1057751"/>
                <a:gd name="connsiteX873" fmla="*/ 767715 w 1073848"/>
                <a:gd name="connsiteY873" fmla="*/ 938975 h 1057751"/>
                <a:gd name="connsiteX874" fmla="*/ 768096 w 1073848"/>
                <a:gd name="connsiteY874" fmla="*/ 942213 h 1057751"/>
                <a:gd name="connsiteX875" fmla="*/ 771334 w 1073848"/>
                <a:gd name="connsiteY875" fmla="*/ 941737 h 1057751"/>
                <a:gd name="connsiteX876" fmla="*/ 773239 w 1073848"/>
                <a:gd name="connsiteY876" fmla="*/ 944689 h 1057751"/>
                <a:gd name="connsiteX877" fmla="*/ 774668 w 1073848"/>
                <a:gd name="connsiteY877" fmla="*/ 942975 h 1057751"/>
                <a:gd name="connsiteX878" fmla="*/ 774287 w 1073848"/>
                <a:gd name="connsiteY878" fmla="*/ 939832 h 1057751"/>
                <a:gd name="connsiteX879" fmla="*/ 774478 w 1073848"/>
                <a:gd name="connsiteY879" fmla="*/ 941356 h 1057751"/>
                <a:gd name="connsiteX880" fmla="*/ 778002 w 1073848"/>
                <a:gd name="connsiteY880" fmla="*/ 944118 h 1057751"/>
                <a:gd name="connsiteX881" fmla="*/ 774859 w 1073848"/>
                <a:gd name="connsiteY881" fmla="*/ 944499 h 1057751"/>
                <a:gd name="connsiteX882" fmla="*/ 776859 w 1073848"/>
                <a:gd name="connsiteY882" fmla="*/ 947452 h 1057751"/>
                <a:gd name="connsiteX883" fmla="*/ 784003 w 1073848"/>
                <a:gd name="connsiteY883" fmla="*/ 952976 h 1057751"/>
                <a:gd name="connsiteX884" fmla="*/ 790480 w 1073848"/>
                <a:gd name="connsiteY884" fmla="*/ 953738 h 1057751"/>
                <a:gd name="connsiteX885" fmla="*/ 798576 w 1073848"/>
                <a:gd name="connsiteY885" fmla="*/ 954310 h 1057751"/>
                <a:gd name="connsiteX886" fmla="*/ 801529 w 1073848"/>
                <a:gd name="connsiteY886" fmla="*/ 952309 h 1057751"/>
                <a:gd name="connsiteX887" fmla="*/ 804672 w 1073848"/>
                <a:gd name="connsiteY887" fmla="*/ 951929 h 1057751"/>
                <a:gd name="connsiteX888" fmla="*/ 808577 w 1073848"/>
                <a:gd name="connsiteY888" fmla="*/ 945071 h 1057751"/>
                <a:gd name="connsiteX889" fmla="*/ 813340 w 1073848"/>
                <a:gd name="connsiteY889" fmla="*/ 944404 h 1057751"/>
                <a:gd name="connsiteX890" fmla="*/ 814102 w 1073848"/>
                <a:gd name="connsiteY890" fmla="*/ 937927 h 1057751"/>
                <a:gd name="connsiteX891" fmla="*/ 812101 w 1073848"/>
                <a:gd name="connsiteY891" fmla="*/ 934974 h 1057751"/>
                <a:gd name="connsiteX892" fmla="*/ 811721 w 1073848"/>
                <a:gd name="connsiteY892" fmla="*/ 931831 h 1057751"/>
                <a:gd name="connsiteX893" fmla="*/ 814864 w 1073848"/>
                <a:gd name="connsiteY893" fmla="*/ 931355 h 1057751"/>
                <a:gd name="connsiteX894" fmla="*/ 816673 w 1073848"/>
                <a:gd name="connsiteY894" fmla="*/ 932783 h 1057751"/>
                <a:gd name="connsiteX895" fmla="*/ 817245 w 1073848"/>
                <a:gd name="connsiteY895" fmla="*/ 937546 h 1057751"/>
                <a:gd name="connsiteX896" fmla="*/ 822007 w 1073848"/>
                <a:gd name="connsiteY896" fmla="*/ 936879 h 1057751"/>
                <a:gd name="connsiteX897" fmla="*/ 822198 w 1073848"/>
                <a:gd name="connsiteY897" fmla="*/ 938498 h 1057751"/>
                <a:gd name="connsiteX898" fmla="*/ 826961 w 1073848"/>
                <a:gd name="connsiteY898" fmla="*/ 937927 h 1057751"/>
                <a:gd name="connsiteX899" fmla="*/ 828484 w 1073848"/>
                <a:gd name="connsiteY899" fmla="*/ 937641 h 1057751"/>
                <a:gd name="connsiteX900" fmla="*/ 835628 w 1073848"/>
                <a:gd name="connsiteY900" fmla="*/ 943166 h 1057751"/>
                <a:gd name="connsiteX901" fmla="*/ 838962 w 1073848"/>
                <a:gd name="connsiteY901" fmla="*/ 944404 h 1057751"/>
                <a:gd name="connsiteX902" fmla="*/ 840200 w 1073848"/>
                <a:gd name="connsiteY902" fmla="*/ 940975 h 1057751"/>
                <a:gd name="connsiteX903" fmla="*/ 845058 w 1073848"/>
                <a:gd name="connsiteY903" fmla="*/ 942022 h 1057751"/>
                <a:gd name="connsiteX904" fmla="*/ 849058 w 1073848"/>
                <a:gd name="connsiteY904" fmla="*/ 947928 h 1057751"/>
                <a:gd name="connsiteX905" fmla="*/ 852583 w 1073848"/>
                <a:gd name="connsiteY905" fmla="*/ 950690 h 1057751"/>
                <a:gd name="connsiteX906" fmla="*/ 852392 w 1073848"/>
                <a:gd name="connsiteY906" fmla="*/ 949071 h 1057751"/>
                <a:gd name="connsiteX907" fmla="*/ 850011 w 1073848"/>
                <a:gd name="connsiteY907" fmla="*/ 942975 h 1057751"/>
                <a:gd name="connsiteX908" fmla="*/ 851440 w 1073848"/>
                <a:gd name="connsiteY908" fmla="*/ 941165 h 1057751"/>
                <a:gd name="connsiteX909" fmla="*/ 856107 w 1073848"/>
                <a:gd name="connsiteY909" fmla="*/ 940594 h 1057751"/>
                <a:gd name="connsiteX910" fmla="*/ 861250 w 1073848"/>
                <a:gd name="connsiteY910" fmla="*/ 943166 h 1057751"/>
                <a:gd name="connsiteX911" fmla="*/ 862489 w 1073848"/>
                <a:gd name="connsiteY911" fmla="*/ 939737 h 1057751"/>
                <a:gd name="connsiteX912" fmla="*/ 863822 w 1073848"/>
                <a:gd name="connsiteY912" fmla="*/ 938022 h 1057751"/>
                <a:gd name="connsiteX913" fmla="*/ 874109 w 1073848"/>
                <a:gd name="connsiteY913" fmla="*/ 943070 h 1057751"/>
                <a:gd name="connsiteX914" fmla="*/ 875443 w 1073848"/>
                <a:gd name="connsiteY914" fmla="*/ 941356 h 1057751"/>
                <a:gd name="connsiteX915" fmla="*/ 878396 w 1073848"/>
                <a:gd name="connsiteY915" fmla="*/ 939355 h 1057751"/>
                <a:gd name="connsiteX916" fmla="*/ 875062 w 1073848"/>
                <a:gd name="connsiteY916" fmla="*/ 938117 h 1057751"/>
                <a:gd name="connsiteX917" fmla="*/ 878014 w 1073848"/>
                <a:gd name="connsiteY917" fmla="*/ 936212 h 1057751"/>
                <a:gd name="connsiteX918" fmla="*/ 878967 w 1073848"/>
                <a:gd name="connsiteY918" fmla="*/ 931259 h 1057751"/>
                <a:gd name="connsiteX919" fmla="*/ 882205 w 1073848"/>
                <a:gd name="connsiteY919" fmla="*/ 930878 h 1057751"/>
                <a:gd name="connsiteX920" fmla="*/ 884396 w 1073848"/>
                <a:gd name="connsiteY920" fmla="*/ 935355 h 1057751"/>
                <a:gd name="connsiteX921" fmla="*/ 893445 w 1073848"/>
                <a:gd name="connsiteY921" fmla="*/ 930974 h 1057751"/>
                <a:gd name="connsiteX922" fmla="*/ 893064 w 1073848"/>
                <a:gd name="connsiteY922" fmla="*/ 927830 h 1057751"/>
                <a:gd name="connsiteX923" fmla="*/ 889635 w 1073848"/>
                <a:gd name="connsiteY923" fmla="*/ 926687 h 1057751"/>
                <a:gd name="connsiteX924" fmla="*/ 889063 w 1073848"/>
                <a:gd name="connsiteY924" fmla="*/ 921925 h 1057751"/>
                <a:gd name="connsiteX925" fmla="*/ 880586 w 1073848"/>
                <a:gd name="connsiteY925" fmla="*/ 918210 h 1057751"/>
                <a:gd name="connsiteX926" fmla="*/ 886015 w 1073848"/>
                <a:gd name="connsiteY926" fmla="*/ 911066 h 1057751"/>
                <a:gd name="connsiteX927" fmla="*/ 884301 w 1073848"/>
                <a:gd name="connsiteY927" fmla="*/ 909733 h 1057751"/>
                <a:gd name="connsiteX928" fmla="*/ 886015 w 1073848"/>
                <a:gd name="connsiteY928" fmla="*/ 911066 h 1057751"/>
                <a:gd name="connsiteX929" fmla="*/ 896493 w 1073848"/>
                <a:gd name="connsiteY929" fmla="*/ 904970 h 1057751"/>
                <a:gd name="connsiteX930" fmla="*/ 901255 w 1073848"/>
                <a:gd name="connsiteY930" fmla="*/ 904399 h 1057751"/>
                <a:gd name="connsiteX931" fmla="*/ 904018 w 1073848"/>
                <a:gd name="connsiteY931" fmla="*/ 900779 h 1057751"/>
                <a:gd name="connsiteX932" fmla="*/ 908780 w 1073848"/>
                <a:gd name="connsiteY932" fmla="*/ 900208 h 1057751"/>
                <a:gd name="connsiteX933" fmla="*/ 915638 w 1073848"/>
                <a:gd name="connsiteY933" fmla="*/ 904113 h 1057751"/>
                <a:gd name="connsiteX934" fmla="*/ 918400 w 1073848"/>
                <a:gd name="connsiteY934" fmla="*/ 900589 h 1057751"/>
                <a:gd name="connsiteX935" fmla="*/ 923544 w 1073848"/>
                <a:gd name="connsiteY935" fmla="*/ 903161 h 1057751"/>
                <a:gd name="connsiteX936" fmla="*/ 931069 w 1073848"/>
                <a:gd name="connsiteY936" fmla="*/ 898970 h 1057751"/>
                <a:gd name="connsiteX937" fmla="*/ 937927 w 1073848"/>
                <a:gd name="connsiteY937" fmla="*/ 902875 h 1057751"/>
                <a:gd name="connsiteX938" fmla="*/ 942118 w 1073848"/>
                <a:gd name="connsiteY938" fmla="*/ 897541 h 1057751"/>
                <a:gd name="connsiteX939" fmla="*/ 941641 w 1073848"/>
                <a:gd name="connsiteY939" fmla="*/ 894397 h 1057751"/>
                <a:gd name="connsiteX940" fmla="*/ 945832 w 1073848"/>
                <a:gd name="connsiteY940" fmla="*/ 889063 h 1057751"/>
                <a:gd name="connsiteX941" fmla="*/ 950500 w 1073848"/>
                <a:gd name="connsiteY941" fmla="*/ 888492 h 1057751"/>
                <a:gd name="connsiteX942" fmla="*/ 950119 w 1073848"/>
                <a:gd name="connsiteY942" fmla="*/ 885349 h 1057751"/>
                <a:gd name="connsiteX943" fmla="*/ 944213 w 1073848"/>
                <a:gd name="connsiteY943" fmla="*/ 876395 h 1057751"/>
                <a:gd name="connsiteX944" fmla="*/ 945166 w 1073848"/>
                <a:gd name="connsiteY944" fmla="*/ 871538 h 1057751"/>
                <a:gd name="connsiteX945" fmla="*/ 949928 w 1073848"/>
                <a:gd name="connsiteY945" fmla="*/ 870871 h 1057751"/>
                <a:gd name="connsiteX946" fmla="*/ 956405 w 1073848"/>
                <a:gd name="connsiteY946" fmla="*/ 871633 h 1057751"/>
                <a:gd name="connsiteX947" fmla="*/ 960977 w 1073848"/>
                <a:gd name="connsiteY947" fmla="*/ 869442 h 1057751"/>
                <a:gd name="connsiteX948" fmla="*/ 964121 w 1073848"/>
                <a:gd name="connsiteY948" fmla="*/ 869061 h 1057751"/>
                <a:gd name="connsiteX949" fmla="*/ 965263 w 1073848"/>
                <a:gd name="connsiteY949" fmla="*/ 865727 h 1057751"/>
                <a:gd name="connsiteX950" fmla="*/ 969836 w 1073848"/>
                <a:gd name="connsiteY950" fmla="*/ 863537 h 1057751"/>
                <a:gd name="connsiteX951" fmla="*/ 970979 w 1073848"/>
                <a:gd name="connsiteY951" fmla="*/ 860203 h 1057751"/>
                <a:gd name="connsiteX952" fmla="*/ 973741 w 1073848"/>
                <a:gd name="connsiteY952" fmla="*/ 856679 h 1057751"/>
                <a:gd name="connsiteX953" fmla="*/ 976313 w 1073848"/>
                <a:gd name="connsiteY953" fmla="*/ 851535 h 1057751"/>
                <a:gd name="connsiteX954" fmla="*/ 978122 w 1073848"/>
                <a:gd name="connsiteY954" fmla="*/ 852868 h 1057751"/>
                <a:gd name="connsiteX955" fmla="*/ 977837 w 1073848"/>
                <a:gd name="connsiteY955" fmla="*/ 851249 h 1057751"/>
                <a:gd name="connsiteX956" fmla="*/ 980599 w 1073848"/>
                <a:gd name="connsiteY956" fmla="*/ 834962 h 1057751"/>
                <a:gd name="connsiteX957" fmla="*/ 977455 w 1073848"/>
                <a:gd name="connsiteY957" fmla="*/ 835343 h 1057751"/>
                <a:gd name="connsiteX958" fmla="*/ 976884 w 1073848"/>
                <a:gd name="connsiteY958" fmla="*/ 830580 h 1057751"/>
                <a:gd name="connsiteX959" fmla="*/ 968788 w 1073848"/>
                <a:gd name="connsiteY959" fmla="*/ 830009 h 1057751"/>
                <a:gd name="connsiteX960" fmla="*/ 972503 w 1073848"/>
                <a:gd name="connsiteY960" fmla="*/ 821531 h 1057751"/>
                <a:gd name="connsiteX961" fmla="*/ 971836 w 1073848"/>
                <a:gd name="connsiteY961" fmla="*/ 816769 h 1057751"/>
                <a:gd name="connsiteX962" fmla="*/ 968502 w 1073848"/>
                <a:gd name="connsiteY962" fmla="*/ 815626 h 1057751"/>
                <a:gd name="connsiteX963" fmla="*/ 969073 w 1073848"/>
                <a:gd name="connsiteY963" fmla="*/ 820388 h 1057751"/>
                <a:gd name="connsiteX964" fmla="*/ 961834 w 1073848"/>
                <a:gd name="connsiteY964" fmla="*/ 826103 h 1057751"/>
                <a:gd name="connsiteX965" fmla="*/ 956881 w 1073848"/>
                <a:gd name="connsiteY965" fmla="*/ 825151 h 1057751"/>
                <a:gd name="connsiteX966" fmla="*/ 955738 w 1073848"/>
                <a:gd name="connsiteY966" fmla="*/ 828484 h 1057751"/>
                <a:gd name="connsiteX967" fmla="*/ 954119 w 1073848"/>
                <a:gd name="connsiteY967" fmla="*/ 828675 h 1057751"/>
                <a:gd name="connsiteX968" fmla="*/ 956691 w 1073848"/>
                <a:gd name="connsiteY968" fmla="*/ 823532 h 1057751"/>
                <a:gd name="connsiteX969" fmla="*/ 957643 w 1073848"/>
                <a:gd name="connsiteY969" fmla="*/ 818579 h 1057751"/>
                <a:gd name="connsiteX970" fmla="*/ 959453 w 1073848"/>
                <a:gd name="connsiteY970" fmla="*/ 820007 h 1057751"/>
                <a:gd name="connsiteX971" fmla="*/ 962215 w 1073848"/>
                <a:gd name="connsiteY971" fmla="*/ 816388 h 1057751"/>
                <a:gd name="connsiteX972" fmla="*/ 956691 w 1073848"/>
                <a:gd name="connsiteY972" fmla="*/ 810673 h 1057751"/>
                <a:gd name="connsiteX973" fmla="*/ 956024 w 1073848"/>
                <a:gd name="connsiteY973" fmla="*/ 806005 h 1057751"/>
                <a:gd name="connsiteX974" fmla="*/ 953929 w 1073848"/>
                <a:gd name="connsiteY974" fmla="*/ 801434 h 1057751"/>
                <a:gd name="connsiteX975" fmla="*/ 949357 w 1073848"/>
                <a:gd name="connsiteY975" fmla="*/ 803624 h 1057751"/>
                <a:gd name="connsiteX976" fmla="*/ 951929 w 1073848"/>
                <a:gd name="connsiteY976" fmla="*/ 798481 h 1057751"/>
                <a:gd name="connsiteX977" fmla="*/ 946975 w 1073848"/>
                <a:gd name="connsiteY977" fmla="*/ 797528 h 1057751"/>
                <a:gd name="connsiteX978" fmla="*/ 949738 w 1073848"/>
                <a:gd name="connsiteY978" fmla="*/ 793909 h 1057751"/>
                <a:gd name="connsiteX979" fmla="*/ 951643 w 1073848"/>
                <a:gd name="connsiteY979" fmla="*/ 784098 h 1057751"/>
                <a:gd name="connsiteX980" fmla="*/ 959548 w 1073848"/>
                <a:gd name="connsiteY980" fmla="*/ 783050 h 1057751"/>
                <a:gd name="connsiteX981" fmla="*/ 969455 w 1073848"/>
                <a:gd name="connsiteY981" fmla="*/ 785051 h 1057751"/>
                <a:gd name="connsiteX982" fmla="*/ 972217 w 1073848"/>
                <a:gd name="connsiteY982" fmla="*/ 781431 h 1057751"/>
                <a:gd name="connsiteX983" fmla="*/ 971740 w 1073848"/>
                <a:gd name="connsiteY983" fmla="*/ 778288 h 1057751"/>
                <a:gd name="connsiteX984" fmla="*/ 978694 w 1073848"/>
                <a:gd name="connsiteY984" fmla="*/ 782193 h 1057751"/>
                <a:gd name="connsiteX985" fmla="*/ 982408 w 1073848"/>
                <a:gd name="connsiteY985" fmla="*/ 773716 h 1057751"/>
                <a:gd name="connsiteX986" fmla="*/ 977455 w 1073848"/>
                <a:gd name="connsiteY986" fmla="*/ 772763 h 1057751"/>
                <a:gd name="connsiteX987" fmla="*/ 976122 w 1073848"/>
                <a:gd name="connsiteY987" fmla="*/ 761714 h 1057751"/>
                <a:gd name="connsiteX988" fmla="*/ 977265 w 1073848"/>
                <a:gd name="connsiteY988" fmla="*/ 758380 h 1057751"/>
                <a:gd name="connsiteX989" fmla="*/ 979075 w 1073848"/>
                <a:gd name="connsiteY989" fmla="*/ 759714 h 1057751"/>
                <a:gd name="connsiteX990" fmla="*/ 980027 w 1073848"/>
                <a:gd name="connsiteY990" fmla="*/ 754761 h 1057751"/>
                <a:gd name="connsiteX991" fmla="*/ 974503 w 1073848"/>
                <a:gd name="connsiteY991" fmla="*/ 749046 h 1057751"/>
                <a:gd name="connsiteX992" fmla="*/ 970693 w 1073848"/>
                <a:gd name="connsiteY992" fmla="*/ 744760 h 1057751"/>
                <a:gd name="connsiteX993" fmla="*/ 966025 w 1073848"/>
                <a:gd name="connsiteY993" fmla="*/ 745331 h 1057751"/>
                <a:gd name="connsiteX994" fmla="*/ 959263 w 1073848"/>
                <a:gd name="connsiteY994" fmla="*/ 743045 h 1057751"/>
                <a:gd name="connsiteX995" fmla="*/ 954500 w 1073848"/>
                <a:gd name="connsiteY995" fmla="*/ 743617 h 1057751"/>
                <a:gd name="connsiteX996" fmla="*/ 950976 w 1073848"/>
                <a:gd name="connsiteY996" fmla="*/ 740855 h 1057751"/>
                <a:gd name="connsiteX997" fmla="*/ 954691 w 1073848"/>
                <a:gd name="connsiteY997" fmla="*/ 732377 h 1057751"/>
                <a:gd name="connsiteX998" fmla="*/ 952309 w 1073848"/>
                <a:gd name="connsiteY998" fmla="*/ 726281 h 1057751"/>
                <a:gd name="connsiteX999" fmla="*/ 954881 w 1073848"/>
                <a:gd name="connsiteY999" fmla="*/ 721138 h 1057751"/>
                <a:gd name="connsiteX1000" fmla="*/ 959548 w 1073848"/>
                <a:gd name="connsiteY1000" fmla="*/ 707708 h 1057751"/>
                <a:gd name="connsiteX1001" fmla="*/ 963739 w 1073848"/>
                <a:gd name="connsiteY1001" fmla="*/ 702374 h 1057751"/>
                <a:gd name="connsiteX1002" fmla="*/ 963073 w 1073848"/>
                <a:gd name="connsiteY1002" fmla="*/ 697611 h 1057751"/>
                <a:gd name="connsiteX1003" fmla="*/ 965835 w 1073848"/>
                <a:gd name="connsiteY1003" fmla="*/ 694087 h 1057751"/>
                <a:gd name="connsiteX1004" fmla="*/ 967454 w 1073848"/>
                <a:gd name="connsiteY1004" fmla="*/ 693896 h 1057751"/>
                <a:gd name="connsiteX1005" fmla="*/ 973741 w 1073848"/>
                <a:gd name="connsiteY1005" fmla="*/ 693039 h 1057751"/>
                <a:gd name="connsiteX1006" fmla="*/ 975741 w 1073848"/>
                <a:gd name="connsiteY1006" fmla="*/ 695992 h 1057751"/>
                <a:gd name="connsiteX1007" fmla="*/ 978884 w 1073848"/>
                <a:gd name="connsiteY1007" fmla="*/ 695611 h 1057751"/>
                <a:gd name="connsiteX1008" fmla="*/ 980218 w 1073848"/>
                <a:gd name="connsiteY1008" fmla="*/ 693801 h 1057751"/>
                <a:gd name="connsiteX1009" fmla="*/ 984790 w 1073848"/>
                <a:gd name="connsiteY1009" fmla="*/ 691610 h 1057751"/>
                <a:gd name="connsiteX1010" fmla="*/ 986123 w 1073848"/>
                <a:gd name="connsiteY1010" fmla="*/ 689896 h 1057751"/>
                <a:gd name="connsiteX1011" fmla="*/ 989362 w 1073848"/>
                <a:gd name="connsiteY1011" fmla="*/ 689420 h 1057751"/>
                <a:gd name="connsiteX1012" fmla="*/ 988314 w 1073848"/>
                <a:gd name="connsiteY1012" fmla="*/ 681609 h 1057751"/>
                <a:gd name="connsiteX1013" fmla="*/ 981361 w 1073848"/>
                <a:gd name="connsiteY1013" fmla="*/ 677609 h 1057751"/>
                <a:gd name="connsiteX1014" fmla="*/ 982408 w 1073848"/>
                <a:gd name="connsiteY1014" fmla="*/ 672751 h 1057751"/>
                <a:gd name="connsiteX1015" fmla="*/ 979075 w 1073848"/>
                <a:gd name="connsiteY1015" fmla="*/ 671513 h 1057751"/>
                <a:gd name="connsiteX1016" fmla="*/ 978789 w 1073848"/>
                <a:gd name="connsiteY1016" fmla="*/ 669988 h 1057751"/>
                <a:gd name="connsiteX1017" fmla="*/ 969359 w 1073848"/>
                <a:gd name="connsiteY1017" fmla="*/ 671132 h 1057751"/>
                <a:gd name="connsiteX1018" fmla="*/ 967168 w 1073848"/>
                <a:gd name="connsiteY1018" fmla="*/ 666655 h 1057751"/>
                <a:gd name="connsiteX1019" fmla="*/ 966121 w 1073848"/>
                <a:gd name="connsiteY1019" fmla="*/ 658749 h 1057751"/>
                <a:gd name="connsiteX1020" fmla="*/ 968312 w 1073848"/>
                <a:gd name="connsiteY1020" fmla="*/ 650462 h 1057751"/>
                <a:gd name="connsiteX1021" fmla="*/ 969740 w 1073848"/>
                <a:gd name="connsiteY1021" fmla="*/ 648653 h 1057751"/>
                <a:gd name="connsiteX1022" fmla="*/ 971455 w 1073848"/>
                <a:gd name="connsiteY1022" fmla="*/ 650081 h 1057751"/>
                <a:gd name="connsiteX1023" fmla="*/ 979170 w 1073848"/>
                <a:gd name="connsiteY1023" fmla="*/ 647509 h 1057751"/>
                <a:gd name="connsiteX1024" fmla="*/ 978789 w 1073848"/>
                <a:gd name="connsiteY1024" fmla="*/ 644271 h 1057751"/>
                <a:gd name="connsiteX1025" fmla="*/ 983742 w 1073848"/>
                <a:gd name="connsiteY1025" fmla="*/ 645319 h 1057751"/>
                <a:gd name="connsiteX1026" fmla="*/ 983456 w 1073848"/>
                <a:gd name="connsiteY1026" fmla="*/ 643700 h 1057751"/>
                <a:gd name="connsiteX1027" fmla="*/ 979932 w 1073848"/>
                <a:gd name="connsiteY1027" fmla="*/ 640937 h 1057751"/>
                <a:gd name="connsiteX1028" fmla="*/ 982694 w 1073848"/>
                <a:gd name="connsiteY1028" fmla="*/ 637413 h 1057751"/>
                <a:gd name="connsiteX1029" fmla="*/ 987457 w 1073848"/>
                <a:gd name="connsiteY1029" fmla="*/ 636746 h 1057751"/>
                <a:gd name="connsiteX1030" fmla="*/ 990219 w 1073848"/>
                <a:gd name="connsiteY1030" fmla="*/ 633222 h 1057751"/>
                <a:gd name="connsiteX1031" fmla="*/ 989552 w 1073848"/>
                <a:gd name="connsiteY1031" fmla="*/ 628459 h 1057751"/>
                <a:gd name="connsiteX1032" fmla="*/ 992505 w 1073848"/>
                <a:gd name="connsiteY1032" fmla="*/ 626555 h 1057751"/>
                <a:gd name="connsiteX1033" fmla="*/ 988600 w 1073848"/>
                <a:gd name="connsiteY1033" fmla="*/ 620554 h 1057751"/>
                <a:gd name="connsiteX1034" fmla="*/ 989933 w 1073848"/>
                <a:gd name="connsiteY1034" fmla="*/ 618839 h 1057751"/>
                <a:gd name="connsiteX1035" fmla="*/ 989743 w 1073848"/>
                <a:gd name="connsiteY1035" fmla="*/ 617220 h 1057751"/>
                <a:gd name="connsiteX1036" fmla="*/ 989171 w 1073848"/>
                <a:gd name="connsiteY1036" fmla="*/ 612553 h 1057751"/>
                <a:gd name="connsiteX1037" fmla="*/ 990695 w 1073848"/>
                <a:gd name="connsiteY1037" fmla="*/ 612267 h 1057751"/>
                <a:gd name="connsiteX1038" fmla="*/ 998601 w 1073848"/>
                <a:gd name="connsiteY1038" fmla="*/ 611314 h 1057751"/>
                <a:gd name="connsiteX1039" fmla="*/ 1002982 w 1073848"/>
                <a:gd name="connsiteY1039" fmla="*/ 607505 h 1057751"/>
                <a:gd name="connsiteX1040" fmla="*/ 1006316 w 1073848"/>
                <a:gd name="connsiteY1040" fmla="*/ 608743 h 1057751"/>
                <a:gd name="connsiteX1041" fmla="*/ 1017937 w 1073848"/>
                <a:gd name="connsiteY1041" fmla="*/ 599218 h 1057751"/>
                <a:gd name="connsiteX1042" fmla="*/ 1020699 w 1073848"/>
                <a:gd name="connsiteY1042" fmla="*/ 595693 h 1057751"/>
                <a:gd name="connsiteX1043" fmla="*/ 1020032 w 1073848"/>
                <a:gd name="connsiteY1043" fmla="*/ 590931 h 1057751"/>
                <a:gd name="connsiteX1044" fmla="*/ 1021461 w 1073848"/>
                <a:gd name="connsiteY1044" fmla="*/ 589121 h 1057751"/>
                <a:gd name="connsiteX1045" fmla="*/ 1027747 w 1073848"/>
                <a:gd name="connsiteY1045" fmla="*/ 588359 h 1057751"/>
                <a:gd name="connsiteX1046" fmla="*/ 1028605 w 1073848"/>
                <a:gd name="connsiteY1046" fmla="*/ 594646 h 1057751"/>
                <a:gd name="connsiteX1047" fmla="*/ 1031938 w 1073848"/>
                <a:gd name="connsiteY1047" fmla="*/ 595789 h 1057751"/>
                <a:gd name="connsiteX1048" fmla="*/ 1031748 w 1073848"/>
                <a:gd name="connsiteY1048" fmla="*/ 594265 h 1057751"/>
                <a:gd name="connsiteX1049" fmla="*/ 1035844 w 1073848"/>
                <a:gd name="connsiteY1049" fmla="*/ 588931 h 1057751"/>
                <a:gd name="connsiteX1050" fmla="*/ 1035653 w 1073848"/>
                <a:gd name="connsiteY1050" fmla="*/ 587312 h 1057751"/>
                <a:gd name="connsiteX1051" fmla="*/ 1040416 w 1073848"/>
                <a:gd name="connsiteY1051" fmla="*/ 586740 h 1057751"/>
                <a:gd name="connsiteX1052" fmla="*/ 1047655 w 1073848"/>
                <a:gd name="connsiteY1052" fmla="*/ 581025 h 1057751"/>
                <a:gd name="connsiteX1053" fmla="*/ 1048893 w 1073848"/>
                <a:gd name="connsiteY1053" fmla="*/ 577691 h 1057751"/>
                <a:gd name="connsiteX1054" fmla="*/ 1055180 w 1073848"/>
                <a:gd name="connsiteY1054" fmla="*/ 576834 h 1057751"/>
                <a:gd name="connsiteX1055" fmla="*/ 1056132 w 1073848"/>
                <a:gd name="connsiteY1055" fmla="*/ 571881 h 1057751"/>
                <a:gd name="connsiteX1056" fmla="*/ 1052798 w 1073848"/>
                <a:gd name="connsiteY1056" fmla="*/ 570738 h 1057751"/>
                <a:gd name="connsiteX1057" fmla="*/ 1056132 w 1073848"/>
                <a:gd name="connsiteY1057" fmla="*/ 571881 h 1057751"/>
                <a:gd name="connsiteX1058" fmla="*/ 1052417 w 1073848"/>
                <a:gd name="connsiteY1058" fmla="*/ 567595 h 1057751"/>
                <a:gd name="connsiteX1059" fmla="*/ 1052227 w 1073848"/>
                <a:gd name="connsiteY1059" fmla="*/ 565976 h 1057751"/>
                <a:gd name="connsiteX1060" fmla="*/ 1046416 w 1073848"/>
                <a:gd name="connsiteY1060" fmla="*/ 558737 h 1057751"/>
                <a:gd name="connsiteX1061" fmla="*/ 1051941 w 1073848"/>
                <a:gd name="connsiteY1061" fmla="*/ 551593 h 1057751"/>
                <a:gd name="connsiteX1062" fmla="*/ 1048798 w 1073848"/>
                <a:gd name="connsiteY1062" fmla="*/ 551974 h 1057751"/>
                <a:gd name="connsiteX1063" fmla="*/ 1045845 w 1073848"/>
                <a:gd name="connsiteY1063" fmla="*/ 541115 h 1057751"/>
                <a:gd name="connsiteX1064" fmla="*/ 1045559 w 1073848"/>
                <a:gd name="connsiteY1064" fmla="*/ 539591 h 1057751"/>
                <a:gd name="connsiteX1065" fmla="*/ 1048988 w 1073848"/>
                <a:gd name="connsiteY1065" fmla="*/ 540734 h 1057751"/>
                <a:gd name="connsiteX1066" fmla="*/ 1048322 w 1073848"/>
                <a:gd name="connsiteY1066" fmla="*/ 535972 h 1057751"/>
                <a:gd name="connsiteX1067" fmla="*/ 1050512 w 1073848"/>
                <a:gd name="connsiteY1067" fmla="*/ 527685 h 1057751"/>
                <a:gd name="connsiteX1068" fmla="*/ 1049750 w 1073848"/>
                <a:gd name="connsiteY1068" fmla="*/ 521399 h 1057751"/>
                <a:gd name="connsiteX1069" fmla="*/ 1050893 w 1073848"/>
                <a:gd name="connsiteY1069" fmla="*/ 518065 h 1057751"/>
                <a:gd name="connsiteX1070" fmla="*/ 1053656 w 1073848"/>
                <a:gd name="connsiteY1070" fmla="*/ 514445 h 1057751"/>
                <a:gd name="connsiteX1071" fmla="*/ 1052798 w 1073848"/>
                <a:gd name="connsiteY1071" fmla="*/ 508159 h 1057751"/>
                <a:gd name="connsiteX1072" fmla="*/ 1046893 w 1073848"/>
                <a:gd name="connsiteY1072" fmla="*/ 512159 h 1057751"/>
                <a:gd name="connsiteX1073" fmla="*/ 1043559 w 1073848"/>
                <a:gd name="connsiteY1073" fmla="*/ 510921 h 1057751"/>
                <a:gd name="connsiteX1074" fmla="*/ 1041368 w 1073848"/>
                <a:gd name="connsiteY1074" fmla="*/ 506444 h 1057751"/>
                <a:gd name="connsiteX1075" fmla="*/ 1045750 w 1073848"/>
                <a:gd name="connsiteY1075" fmla="*/ 502634 h 1057751"/>
                <a:gd name="connsiteX1076" fmla="*/ 1042130 w 1073848"/>
                <a:gd name="connsiteY1076" fmla="*/ 499872 h 1057751"/>
                <a:gd name="connsiteX1077" fmla="*/ 1043368 w 1073848"/>
                <a:gd name="connsiteY1077" fmla="*/ 496538 h 1057751"/>
                <a:gd name="connsiteX1078" fmla="*/ 1046131 w 1073848"/>
                <a:gd name="connsiteY1078" fmla="*/ 493014 h 1057751"/>
                <a:gd name="connsiteX1079" fmla="*/ 1038415 w 1073848"/>
                <a:gd name="connsiteY1079" fmla="*/ 482727 h 1057751"/>
                <a:gd name="connsiteX1080" fmla="*/ 1039178 w 1073848"/>
                <a:gd name="connsiteY1080" fmla="*/ 476250 h 1057751"/>
                <a:gd name="connsiteX1081" fmla="*/ 1041654 w 1073848"/>
                <a:gd name="connsiteY1081" fmla="*/ 471107 h 1057751"/>
                <a:gd name="connsiteX1082" fmla="*/ 1047559 w 1073848"/>
                <a:gd name="connsiteY1082" fmla="*/ 467106 h 1057751"/>
                <a:gd name="connsiteX1083" fmla="*/ 1049941 w 1073848"/>
                <a:gd name="connsiteY1083" fmla="*/ 460438 h 1057751"/>
                <a:gd name="connsiteX1084" fmla="*/ 1044226 w 1073848"/>
                <a:gd name="connsiteY1084" fmla="*/ 453104 h 1057751"/>
                <a:gd name="connsiteX1085" fmla="*/ 1054703 w 1073848"/>
                <a:gd name="connsiteY1085" fmla="*/ 447008 h 1057751"/>
                <a:gd name="connsiteX1086" fmla="*/ 1055465 w 1073848"/>
                <a:gd name="connsiteY1086" fmla="*/ 440436 h 1057751"/>
                <a:gd name="connsiteX1087" fmla="*/ 1048893 w 1073848"/>
                <a:gd name="connsiteY1087" fmla="*/ 439674 h 1057751"/>
                <a:gd name="connsiteX1088" fmla="*/ 1046893 w 1073848"/>
                <a:gd name="connsiteY1088" fmla="*/ 436721 h 1057751"/>
                <a:gd name="connsiteX1089" fmla="*/ 1046512 w 1073848"/>
                <a:gd name="connsiteY1089" fmla="*/ 433578 h 1057751"/>
                <a:gd name="connsiteX1090" fmla="*/ 1050893 w 1073848"/>
                <a:gd name="connsiteY1090" fmla="*/ 429863 h 1057751"/>
                <a:gd name="connsiteX1091" fmla="*/ 1045940 w 1073848"/>
                <a:gd name="connsiteY1091" fmla="*/ 428911 h 1057751"/>
                <a:gd name="connsiteX1092" fmla="*/ 1044797 w 1073848"/>
                <a:gd name="connsiteY1092" fmla="*/ 432245 h 1057751"/>
                <a:gd name="connsiteX1093" fmla="*/ 1042988 w 1073848"/>
                <a:gd name="connsiteY1093" fmla="*/ 430816 h 1057751"/>
                <a:gd name="connsiteX1094" fmla="*/ 1036034 w 1073848"/>
                <a:gd name="connsiteY1094" fmla="*/ 426911 h 1057751"/>
                <a:gd name="connsiteX1095" fmla="*/ 1033843 w 1073848"/>
                <a:gd name="connsiteY1095" fmla="*/ 422338 h 1057751"/>
                <a:gd name="connsiteX1096" fmla="*/ 1035082 w 1073848"/>
                <a:gd name="connsiteY1096" fmla="*/ 419005 h 1057751"/>
                <a:gd name="connsiteX1097" fmla="*/ 1034891 w 1073848"/>
                <a:gd name="connsiteY1097" fmla="*/ 417481 h 1057751"/>
                <a:gd name="connsiteX1098" fmla="*/ 1029557 w 1073848"/>
                <a:gd name="connsiteY1098" fmla="*/ 413290 h 1057751"/>
                <a:gd name="connsiteX1099" fmla="*/ 1030891 w 1073848"/>
                <a:gd name="connsiteY1099" fmla="*/ 411575 h 1057751"/>
                <a:gd name="connsiteX1100" fmla="*/ 1037177 w 1073848"/>
                <a:gd name="connsiteY1100" fmla="*/ 410718 h 1057751"/>
                <a:gd name="connsiteX1101" fmla="*/ 1039178 w 1073848"/>
                <a:gd name="connsiteY1101" fmla="*/ 413671 h 1057751"/>
                <a:gd name="connsiteX1102" fmla="*/ 1043559 w 1073848"/>
                <a:gd name="connsiteY1102" fmla="*/ 422720 h 1057751"/>
                <a:gd name="connsiteX1103" fmla="*/ 1051274 w 1073848"/>
                <a:gd name="connsiteY1103" fmla="*/ 420148 h 1057751"/>
                <a:gd name="connsiteX1104" fmla="*/ 1054037 w 1073848"/>
                <a:gd name="connsiteY1104" fmla="*/ 416624 h 1057751"/>
                <a:gd name="connsiteX1105" fmla="*/ 1053560 w 1073848"/>
                <a:gd name="connsiteY1105" fmla="*/ 413480 h 1057751"/>
                <a:gd name="connsiteX1106" fmla="*/ 1059466 w 1073848"/>
                <a:gd name="connsiteY1106" fmla="*/ 409480 h 1057751"/>
                <a:gd name="connsiteX1107" fmla="*/ 1063276 w 1073848"/>
                <a:gd name="connsiteY1107" fmla="*/ 401003 h 1057751"/>
                <a:gd name="connsiteX1108" fmla="*/ 1067943 w 1073848"/>
                <a:gd name="connsiteY1108" fmla="*/ 400431 h 1057751"/>
                <a:gd name="connsiteX1109" fmla="*/ 1073848 w 1073848"/>
                <a:gd name="connsiteY1109" fmla="*/ 383572 h 1057751"/>
                <a:gd name="connsiteX1110" fmla="*/ 1072801 w 1073848"/>
                <a:gd name="connsiteY1110" fmla="*/ 375761 h 1057751"/>
                <a:gd name="connsiteX1111" fmla="*/ 1072801 w 1073848"/>
                <a:gd name="connsiteY1111" fmla="*/ 375761 h 1057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</a:cxnLst>
              <a:rect l="l" t="t" r="r" b="b"/>
              <a:pathLst>
                <a:path w="1073848" h="1057751">
                  <a:moveTo>
                    <a:pt x="1072801" y="375761"/>
                  </a:moveTo>
                  <a:lnTo>
                    <a:pt x="1068705" y="368237"/>
                  </a:lnTo>
                  <a:lnTo>
                    <a:pt x="1057180" y="366522"/>
                  </a:lnTo>
                  <a:lnTo>
                    <a:pt x="1056989" y="364903"/>
                  </a:lnTo>
                  <a:lnTo>
                    <a:pt x="1052322" y="365474"/>
                  </a:lnTo>
                  <a:lnTo>
                    <a:pt x="1050322" y="362521"/>
                  </a:lnTo>
                  <a:lnTo>
                    <a:pt x="1048512" y="361188"/>
                  </a:lnTo>
                  <a:lnTo>
                    <a:pt x="1046797" y="359759"/>
                  </a:lnTo>
                  <a:lnTo>
                    <a:pt x="1045178" y="360045"/>
                  </a:lnTo>
                  <a:lnTo>
                    <a:pt x="1044607" y="355283"/>
                  </a:lnTo>
                  <a:lnTo>
                    <a:pt x="1041178" y="354139"/>
                  </a:lnTo>
                  <a:lnTo>
                    <a:pt x="1042416" y="350711"/>
                  </a:lnTo>
                  <a:lnTo>
                    <a:pt x="1048703" y="349949"/>
                  </a:lnTo>
                  <a:lnTo>
                    <a:pt x="1049846" y="346615"/>
                  </a:lnTo>
                  <a:lnTo>
                    <a:pt x="1053846" y="339662"/>
                  </a:lnTo>
                  <a:lnTo>
                    <a:pt x="1052989" y="333375"/>
                  </a:lnTo>
                  <a:lnTo>
                    <a:pt x="1054608" y="333184"/>
                  </a:lnTo>
                  <a:lnTo>
                    <a:pt x="1055941" y="331375"/>
                  </a:lnTo>
                  <a:lnTo>
                    <a:pt x="1054798" y="321850"/>
                  </a:lnTo>
                  <a:lnTo>
                    <a:pt x="1052798" y="318897"/>
                  </a:lnTo>
                  <a:lnTo>
                    <a:pt x="1043083" y="305753"/>
                  </a:lnTo>
                  <a:lnTo>
                    <a:pt x="1042511" y="300990"/>
                  </a:lnTo>
                  <a:lnTo>
                    <a:pt x="1036987" y="295275"/>
                  </a:lnTo>
                  <a:lnTo>
                    <a:pt x="1030605" y="296132"/>
                  </a:lnTo>
                  <a:lnTo>
                    <a:pt x="1024890" y="288798"/>
                  </a:lnTo>
                  <a:lnTo>
                    <a:pt x="1022509" y="282702"/>
                  </a:lnTo>
                  <a:lnTo>
                    <a:pt x="1015746" y="280321"/>
                  </a:lnTo>
                  <a:lnTo>
                    <a:pt x="1009459" y="281178"/>
                  </a:lnTo>
                  <a:lnTo>
                    <a:pt x="1000601" y="274225"/>
                  </a:lnTo>
                  <a:lnTo>
                    <a:pt x="997648" y="276225"/>
                  </a:lnTo>
                  <a:lnTo>
                    <a:pt x="990505" y="270700"/>
                  </a:lnTo>
                  <a:lnTo>
                    <a:pt x="987933" y="275844"/>
                  </a:lnTo>
                  <a:lnTo>
                    <a:pt x="984790" y="276320"/>
                  </a:lnTo>
                  <a:lnTo>
                    <a:pt x="979837" y="275272"/>
                  </a:lnTo>
                  <a:lnTo>
                    <a:pt x="977455" y="269176"/>
                  </a:lnTo>
                  <a:lnTo>
                    <a:pt x="973931" y="266414"/>
                  </a:lnTo>
                  <a:lnTo>
                    <a:pt x="967168" y="264128"/>
                  </a:lnTo>
                  <a:lnTo>
                    <a:pt x="969169" y="254222"/>
                  </a:lnTo>
                  <a:lnTo>
                    <a:pt x="964025" y="251650"/>
                  </a:lnTo>
                  <a:lnTo>
                    <a:pt x="958310" y="244412"/>
                  </a:lnTo>
                  <a:lnTo>
                    <a:pt x="948595" y="231172"/>
                  </a:lnTo>
                  <a:lnTo>
                    <a:pt x="944785" y="226886"/>
                  </a:lnTo>
                  <a:lnTo>
                    <a:pt x="936498" y="224695"/>
                  </a:lnTo>
                  <a:lnTo>
                    <a:pt x="929640" y="220789"/>
                  </a:lnTo>
                  <a:lnTo>
                    <a:pt x="928211" y="222504"/>
                  </a:lnTo>
                  <a:lnTo>
                    <a:pt x="926497" y="221171"/>
                  </a:lnTo>
                  <a:lnTo>
                    <a:pt x="921734" y="221742"/>
                  </a:lnTo>
                  <a:lnTo>
                    <a:pt x="921353" y="218599"/>
                  </a:lnTo>
                  <a:lnTo>
                    <a:pt x="916019" y="214503"/>
                  </a:lnTo>
                  <a:lnTo>
                    <a:pt x="913638" y="208407"/>
                  </a:lnTo>
                  <a:lnTo>
                    <a:pt x="910495" y="208788"/>
                  </a:lnTo>
                  <a:lnTo>
                    <a:pt x="909447" y="213741"/>
                  </a:lnTo>
                  <a:lnTo>
                    <a:pt x="906304" y="214122"/>
                  </a:lnTo>
                  <a:lnTo>
                    <a:pt x="899160" y="208597"/>
                  </a:lnTo>
                  <a:lnTo>
                    <a:pt x="895445" y="204311"/>
                  </a:lnTo>
                  <a:lnTo>
                    <a:pt x="889159" y="205073"/>
                  </a:lnTo>
                  <a:lnTo>
                    <a:pt x="884777" y="208883"/>
                  </a:lnTo>
                  <a:lnTo>
                    <a:pt x="881443" y="207645"/>
                  </a:lnTo>
                  <a:lnTo>
                    <a:pt x="882587" y="204311"/>
                  </a:lnTo>
                  <a:lnTo>
                    <a:pt x="878681" y="198406"/>
                  </a:lnTo>
                  <a:lnTo>
                    <a:pt x="874871" y="194024"/>
                  </a:lnTo>
                  <a:lnTo>
                    <a:pt x="866013" y="200025"/>
                  </a:lnTo>
                  <a:lnTo>
                    <a:pt x="856202" y="198025"/>
                  </a:lnTo>
                  <a:lnTo>
                    <a:pt x="856393" y="199644"/>
                  </a:lnTo>
                  <a:lnTo>
                    <a:pt x="852964" y="198501"/>
                  </a:lnTo>
                  <a:lnTo>
                    <a:pt x="848868" y="203835"/>
                  </a:lnTo>
                  <a:lnTo>
                    <a:pt x="843343" y="198120"/>
                  </a:lnTo>
                  <a:lnTo>
                    <a:pt x="839914" y="184118"/>
                  </a:lnTo>
                  <a:lnTo>
                    <a:pt x="834390" y="178403"/>
                  </a:lnTo>
                  <a:lnTo>
                    <a:pt x="834199" y="176784"/>
                  </a:lnTo>
                  <a:lnTo>
                    <a:pt x="830675" y="174022"/>
                  </a:lnTo>
                  <a:lnTo>
                    <a:pt x="826865" y="169736"/>
                  </a:lnTo>
                  <a:lnTo>
                    <a:pt x="825341" y="169926"/>
                  </a:lnTo>
                  <a:lnTo>
                    <a:pt x="820198" y="167354"/>
                  </a:lnTo>
                  <a:lnTo>
                    <a:pt x="817055" y="167735"/>
                  </a:lnTo>
                  <a:lnTo>
                    <a:pt x="813625" y="166592"/>
                  </a:lnTo>
                  <a:lnTo>
                    <a:pt x="811054" y="171736"/>
                  </a:lnTo>
                  <a:lnTo>
                    <a:pt x="809339" y="170307"/>
                  </a:lnTo>
                  <a:lnTo>
                    <a:pt x="802576" y="168021"/>
                  </a:lnTo>
                  <a:lnTo>
                    <a:pt x="800576" y="165068"/>
                  </a:lnTo>
                  <a:lnTo>
                    <a:pt x="795909" y="165640"/>
                  </a:lnTo>
                  <a:lnTo>
                    <a:pt x="790956" y="164687"/>
                  </a:lnTo>
                  <a:lnTo>
                    <a:pt x="781907" y="156210"/>
                  </a:lnTo>
                  <a:lnTo>
                    <a:pt x="781240" y="151447"/>
                  </a:lnTo>
                  <a:lnTo>
                    <a:pt x="782860" y="151257"/>
                  </a:lnTo>
                  <a:lnTo>
                    <a:pt x="780669" y="146780"/>
                  </a:lnTo>
                  <a:lnTo>
                    <a:pt x="782003" y="144971"/>
                  </a:lnTo>
                  <a:lnTo>
                    <a:pt x="783241" y="141637"/>
                  </a:lnTo>
                  <a:lnTo>
                    <a:pt x="780288" y="143542"/>
                  </a:lnTo>
                  <a:lnTo>
                    <a:pt x="778288" y="140589"/>
                  </a:lnTo>
                  <a:lnTo>
                    <a:pt x="773525" y="141256"/>
                  </a:lnTo>
                  <a:lnTo>
                    <a:pt x="772763" y="147733"/>
                  </a:lnTo>
                  <a:lnTo>
                    <a:pt x="757047" y="162592"/>
                  </a:lnTo>
                  <a:lnTo>
                    <a:pt x="755047" y="172403"/>
                  </a:lnTo>
                  <a:lnTo>
                    <a:pt x="757809" y="181737"/>
                  </a:lnTo>
                  <a:lnTo>
                    <a:pt x="756285" y="181928"/>
                  </a:lnTo>
                  <a:lnTo>
                    <a:pt x="754856" y="183737"/>
                  </a:lnTo>
                  <a:lnTo>
                    <a:pt x="743426" y="181928"/>
                  </a:lnTo>
                  <a:lnTo>
                    <a:pt x="748379" y="195739"/>
                  </a:lnTo>
                  <a:lnTo>
                    <a:pt x="740759" y="198311"/>
                  </a:lnTo>
                  <a:lnTo>
                    <a:pt x="740950" y="199930"/>
                  </a:lnTo>
                  <a:lnTo>
                    <a:pt x="736187" y="200501"/>
                  </a:lnTo>
                  <a:lnTo>
                    <a:pt x="731044" y="197929"/>
                  </a:lnTo>
                  <a:lnTo>
                    <a:pt x="726281" y="198596"/>
                  </a:lnTo>
                  <a:lnTo>
                    <a:pt x="723329" y="200501"/>
                  </a:lnTo>
                  <a:lnTo>
                    <a:pt x="720185" y="200978"/>
                  </a:lnTo>
                  <a:lnTo>
                    <a:pt x="710946" y="190881"/>
                  </a:lnTo>
                  <a:lnTo>
                    <a:pt x="709136" y="189547"/>
                  </a:lnTo>
                  <a:lnTo>
                    <a:pt x="708946" y="187928"/>
                  </a:lnTo>
                  <a:lnTo>
                    <a:pt x="703993" y="186976"/>
                  </a:lnTo>
                  <a:lnTo>
                    <a:pt x="693515" y="180308"/>
                  </a:lnTo>
                  <a:lnTo>
                    <a:pt x="685609" y="181261"/>
                  </a:lnTo>
                  <a:lnTo>
                    <a:pt x="674941" y="173069"/>
                  </a:lnTo>
                  <a:lnTo>
                    <a:pt x="676084" y="169640"/>
                  </a:lnTo>
                  <a:lnTo>
                    <a:pt x="670370" y="162401"/>
                  </a:lnTo>
                  <a:lnTo>
                    <a:pt x="676847" y="150304"/>
                  </a:lnTo>
                  <a:lnTo>
                    <a:pt x="681418" y="148114"/>
                  </a:lnTo>
                  <a:lnTo>
                    <a:pt x="681323" y="135350"/>
                  </a:lnTo>
                  <a:lnTo>
                    <a:pt x="677037" y="139065"/>
                  </a:lnTo>
                  <a:lnTo>
                    <a:pt x="671131" y="143066"/>
                  </a:lnTo>
                  <a:lnTo>
                    <a:pt x="668941" y="138493"/>
                  </a:lnTo>
                  <a:lnTo>
                    <a:pt x="657511" y="136779"/>
                  </a:lnTo>
                  <a:lnTo>
                    <a:pt x="651129" y="124778"/>
                  </a:lnTo>
                  <a:lnTo>
                    <a:pt x="647986" y="125158"/>
                  </a:lnTo>
                  <a:lnTo>
                    <a:pt x="647795" y="123539"/>
                  </a:lnTo>
                  <a:lnTo>
                    <a:pt x="642652" y="121063"/>
                  </a:lnTo>
                  <a:lnTo>
                    <a:pt x="640651" y="118015"/>
                  </a:lnTo>
                  <a:lnTo>
                    <a:pt x="636175" y="120205"/>
                  </a:lnTo>
                  <a:lnTo>
                    <a:pt x="632365" y="115919"/>
                  </a:lnTo>
                  <a:lnTo>
                    <a:pt x="629412" y="117920"/>
                  </a:lnTo>
                  <a:lnTo>
                    <a:pt x="629603" y="119443"/>
                  </a:lnTo>
                  <a:lnTo>
                    <a:pt x="627888" y="118110"/>
                  </a:lnTo>
                  <a:lnTo>
                    <a:pt x="623506" y="121825"/>
                  </a:lnTo>
                  <a:lnTo>
                    <a:pt x="620363" y="122301"/>
                  </a:lnTo>
                  <a:lnTo>
                    <a:pt x="618363" y="119253"/>
                  </a:lnTo>
                  <a:lnTo>
                    <a:pt x="618934" y="111252"/>
                  </a:lnTo>
                  <a:lnTo>
                    <a:pt x="617411" y="111442"/>
                  </a:lnTo>
                  <a:lnTo>
                    <a:pt x="620744" y="99727"/>
                  </a:lnTo>
                  <a:lnTo>
                    <a:pt x="623030" y="93059"/>
                  </a:lnTo>
                  <a:lnTo>
                    <a:pt x="618363" y="93631"/>
                  </a:lnTo>
                  <a:lnTo>
                    <a:pt x="618744" y="96774"/>
                  </a:lnTo>
                  <a:lnTo>
                    <a:pt x="613600" y="94202"/>
                  </a:lnTo>
                  <a:lnTo>
                    <a:pt x="608838" y="94869"/>
                  </a:lnTo>
                  <a:lnTo>
                    <a:pt x="603504" y="90678"/>
                  </a:lnTo>
                  <a:lnTo>
                    <a:pt x="594074" y="91916"/>
                  </a:lnTo>
                  <a:lnTo>
                    <a:pt x="594265" y="93536"/>
                  </a:lnTo>
                  <a:lnTo>
                    <a:pt x="585788" y="89821"/>
                  </a:lnTo>
                  <a:lnTo>
                    <a:pt x="587121" y="88011"/>
                  </a:lnTo>
                  <a:lnTo>
                    <a:pt x="584930" y="83439"/>
                  </a:lnTo>
                  <a:lnTo>
                    <a:pt x="583216" y="82105"/>
                  </a:lnTo>
                  <a:lnTo>
                    <a:pt x="580263" y="84106"/>
                  </a:lnTo>
                  <a:lnTo>
                    <a:pt x="579977" y="82487"/>
                  </a:lnTo>
                  <a:lnTo>
                    <a:pt x="578453" y="82677"/>
                  </a:lnTo>
                  <a:lnTo>
                    <a:pt x="576643" y="81343"/>
                  </a:lnTo>
                  <a:lnTo>
                    <a:pt x="578263" y="81153"/>
                  </a:lnTo>
                  <a:lnTo>
                    <a:pt x="579406" y="77724"/>
                  </a:lnTo>
                  <a:lnTo>
                    <a:pt x="577882" y="77914"/>
                  </a:lnTo>
                  <a:lnTo>
                    <a:pt x="576072" y="76581"/>
                  </a:lnTo>
                  <a:lnTo>
                    <a:pt x="574453" y="76771"/>
                  </a:lnTo>
                  <a:lnTo>
                    <a:pt x="573691" y="70485"/>
                  </a:lnTo>
                  <a:lnTo>
                    <a:pt x="570357" y="69247"/>
                  </a:lnTo>
                  <a:lnTo>
                    <a:pt x="571500" y="65913"/>
                  </a:lnTo>
                  <a:lnTo>
                    <a:pt x="567404" y="71247"/>
                  </a:lnTo>
                  <a:lnTo>
                    <a:pt x="562451" y="70295"/>
                  </a:lnTo>
                  <a:lnTo>
                    <a:pt x="561880" y="65532"/>
                  </a:lnTo>
                  <a:lnTo>
                    <a:pt x="557498" y="69342"/>
                  </a:lnTo>
                  <a:lnTo>
                    <a:pt x="553688" y="64961"/>
                  </a:lnTo>
                  <a:lnTo>
                    <a:pt x="553307" y="61817"/>
                  </a:lnTo>
                  <a:lnTo>
                    <a:pt x="556450" y="61436"/>
                  </a:lnTo>
                  <a:lnTo>
                    <a:pt x="554546" y="58483"/>
                  </a:lnTo>
                  <a:lnTo>
                    <a:pt x="546640" y="59531"/>
                  </a:lnTo>
                  <a:lnTo>
                    <a:pt x="546449" y="57912"/>
                  </a:lnTo>
                  <a:lnTo>
                    <a:pt x="543306" y="58293"/>
                  </a:lnTo>
                  <a:lnTo>
                    <a:pt x="541496" y="56959"/>
                  </a:lnTo>
                  <a:lnTo>
                    <a:pt x="537496" y="51054"/>
                  </a:lnTo>
                  <a:lnTo>
                    <a:pt x="534733" y="54578"/>
                  </a:lnTo>
                  <a:lnTo>
                    <a:pt x="534162" y="62675"/>
                  </a:lnTo>
                  <a:lnTo>
                    <a:pt x="527875" y="63437"/>
                  </a:lnTo>
                  <a:lnTo>
                    <a:pt x="526066" y="62103"/>
                  </a:lnTo>
                  <a:lnTo>
                    <a:pt x="524732" y="63913"/>
                  </a:lnTo>
                  <a:lnTo>
                    <a:pt x="520541" y="56388"/>
                  </a:lnTo>
                  <a:lnTo>
                    <a:pt x="521780" y="53054"/>
                  </a:lnTo>
                  <a:lnTo>
                    <a:pt x="515398" y="53816"/>
                  </a:lnTo>
                  <a:lnTo>
                    <a:pt x="515874" y="56959"/>
                  </a:lnTo>
                  <a:lnTo>
                    <a:pt x="511112" y="57626"/>
                  </a:lnTo>
                  <a:lnTo>
                    <a:pt x="511302" y="59150"/>
                  </a:lnTo>
                  <a:lnTo>
                    <a:pt x="508159" y="59531"/>
                  </a:lnTo>
                  <a:lnTo>
                    <a:pt x="507968" y="58007"/>
                  </a:lnTo>
                  <a:lnTo>
                    <a:pt x="501587" y="58769"/>
                  </a:lnTo>
                  <a:lnTo>
                    <a:pt x="498253" y="57626"/>
                  </a:lnTo>
                  <a:lnTo>
                    <a:pt x="495300" y="59626"/>
                  </a:lnTo>
                  <a:lnTo>
                    <a:pt x="493300" y="56674"/>
                  </a:lnTo>
                  <a:lnTo>
                    <a:pt x="490538" y="60198"/>
                  </a:lnTo>
                  <a:lnTo>
                    <a:pt x="490156" y="57055"/>
                  </a:lnTo>
                  <a:lnTo>
                    <a:pt x="489204" y="62008"/>
                  </a:lnTo>
                  <a:lnTo>
                    <a:pt x="487204" y="59055"/>
                  </a:lnTo>
                  <a:lnTo>
                    <a:pt x="489966" y="55436"/>
                  </a:lnTo>
                  <a:lnTo>
                    <a:pt x="487775" y="50959"/>
                  </a:lnTo>
                  <a:lnTo>
                    <a:pt x="489204" y="49149"/>
                  </a:lnTo>
                  <a:lnTo>
                    <a:pt x="486061" y="49530"/>
                  </a:lnTo>
                  <a:lnTo>
                    <a:pt x="484251" y="48196"/>
                  </a:lnTo>
                  <a:lnTo>
                    <a:pt x="481108" y="48578"/>
                  </a:lnTo>
                  <a:lnTo>
                    <a:pt x="477298" y="44291"/>
                  </a:lnTo>
                  <a:lnTo>
                    <a:pt x="477107" y="42672"/>
                  </a:lnTo>
                  <a:lnTo>
                    <a:pt x="478060" y="37719"/>
                  </a:lnTo>
                  <a:lnTo>
                    <a:pt x="471773" y="38576"/>
                  </a:lnTo>
                  <a:lnTo>
                    <a:pt x="469773" y="35624"/>
                  </a:lnTo>
                  <a:lnTo>
                    <a:pt x="469392" y="32480"/>
                  </a:lnTo>
                  <a:lnTo>
                    <a:pt x="464630" y="33052"/>
                  </a:lnTo>
                  <a:lnTo>
                    <a:pt x="455390" y="22955"/>
                  </a:lnTo>
                  <a:lnTo>
                    <a:pt x="448818" y="22193"/>
                  </a:lnTo>
                  <a:lnTo>
                    <a:pt x="445294" y="19431"/>
                  </a:lnTo>
                  <a:lnTo>
                    <a:pt x="441579" y="15145"/>
                  </a:lnTo>
                  <a:lnTo>
                    <a:pt x="437769" y="10763"/>
                  </a:lnTo>
                  <a:lnTo>
                    <a:pt x="432625" y="8287"/>
                  </a:lnTo>
                  <a:lnTo>
                    <a:pt x="421957" y="0"/>
                  </a:lnTo>
                  <a:lnTo>
                    <a:pt x="420624" y="1810"/>
                  </a:lnTo>
                  <a:lnTo>
                    <a:pt x="421386" y="8096"/>
                  </a:lnTo>
                  <a:lnTo>
                    <a:pt x="417290" y="13430"/>
                  </a:lnTo>
                  <a:lnTo>
                    <a:pt x="413480" y="9049"/>
                  </a:lnTo>
                  <a:lnTo>
                    <a:pt x="405860" y="11716"/>
                  </a:lnTo>
                  <a:lnTo>
                    <a:pt x="406051" y="13240"/>
                  </a:lnTo>
                  <a:lnTo>
                    <a:pt x="407765" y="14668"/>
                  </a:lnTo>
                  <a:lnTo>
                    <a:pt x="406241" y="14859"/>
                  </a:lnTo>
                  <a:lnTo>
                    <a:pt x="406813" y="19526"/>
                  </a:lnTo>
                  <a:lnTo>
                    <a:pt x="402336" y="21717"/>
                  </a:lnTo>
                  <a:lnTo>
                    <a:pt x="399097" y="22193"/>
                  </a:lnTo>
                  <a:lnTo>
                    <a:pt x="399574" y="25337"/>
                  </a:lnTo>
                  <a:lnTo>
                    <a:pt x="397955" y="25527"/>
                  </a:lnTo>
                  <a:lnTo>
                    <a:pt x="393954" y="19621"/>
                  </a:lnTo>
                  <a:lnTo>
                    <a:pt x="388906" y="17050"/>
                  </a:lnTo>
                  <a:lnTo>
                    <a:pt x="385953" y="19050"/>
                  </a:lnTo>
                  <a:lnTo>
                    <a:pt x="376047" y="29908"/>
                  </a:lnTo>
                  <a:lnTo>
                    <a:pt x="376428" y="33052"/>
                  </a:lnTo>
                  <a:lnTo>
                    <a:pt x="371570" y="32099"/>
                  </a:lnTo>
                  <a:lnTo>
                    <a:pt x="368998" y="37243"/>
                  </a:lnTo>
                  <a:lnTo>
                    <a:pt x="365093" y="44101"/>
                  </a:lnTo>
                  <a:lnTo>
                    <a:pt x="365665" y="48863"/>
                  </a:lnTo>
                  <a:lnTo>
                    <a:pt x="367665" y="51816"/>
                  </a:lnTo>
                  <a:lnTo>
                    <a:pt x="372332" y="51245"/>
                  </a:lnTo>
                  <a:lnTo>
                    <a:pt x="375475" y="50768"/>
                  </a:lnTo>
                  <a:lnTo>
                    <a:pt x="374523" y="55721"/>
                  </a:lnTo>
                  <a:lnTo>
                    <a:pt x="378142" y="58483"/>
                  </a:lnTo>
                  <a:lnTo>
                    <a:pt x="377095" y="63437"/>
                  </a:lnTo>
                  <a:lnTo>
                    <a:pt x="382238" y="66008"/>
                  </a:lnTo>
                  <a:lnTo>
                    <a:pt x="379285" y="68008"/>
                  </a:lnTo>
                  <a:lnTo>
                    <a:pt x="379762" y="71152"/>
                  </a:lnTo>
                  <a:lnTo>
                    <a:pt x="376999" y="74676"/>
                  </a:lnTo>
                  <a:lnTo>
                    <a:pt x="373761" y="75057"/>
                  </a:lnTo>
                  <a:lnTo>
                    <a:pt x="371094" y="78676"/>
                  </a:lnTo>
                  <a:lnTo>
                    <a:pt x="371284" y="80200"/>
                  </a:lnTo>
                  <a:lnTo>
                    <a:pt x="367665" y="77438"/>
                  </a:lnTo>
                  <a:lnTo>
                    <a:pt x="366141" y="77629"/>
                  </a:lnTo>
                  <a:lnTo>
                    <a:pt x="364331" y="76295"/>
                  </a:lnTo>
                  <a:lnTo>
                    <a:pt x="359759" y="78486"/>
                  </a:lnTo>
                  <a:lnTo>
                    <a:pt x="352711" y="72962"/>
                  </a:lnTo>
                  <a:lnTo>
                    <a:pt x="353282" y="77724"/>
                  </a:lnTo>
                  <a:lnTo>
                    <a:pt x="350139" y="78105"/>
                  </a:lnTo>
                  <a:lnTo>
                    <a:pt x="346615" y="75343"/>
                  </a:lnTo>
                  <a:lnTo>
                    <a:pt x="345757" y="69056"/>
                  </a:lnTo>
                  <a:lnTo>
                    <a:pt x="344424" y="70771"/>
                  </a:lnTo>
                  <a:lnTo>
                    <a:pt x="342614" y="69437"/>
                  </a:lnTo>
                  <a:lnTo>
                    <a:pt x="340233" y="76200"/>
                  </a:lnTo>
                  <a:lnTo>
                    <a:pt x="336137" y="81534"/>
                  </a:lnTo>
                  <a:lnTo>
                    <a:pt x="333756" y="88201"/>
                  </a:lnTo>
                  <a:lnTo>
                    <a:pt x="335566" y="89630"/>
                  </a:lnTo>
                  <a:lnTo>
                    <a:pt x="332803" y="93154"/>
                  </a:lnTo>
                  <a:lnTo>
                    <a:pt x="333565" y="99441"/>
                  </a:lnTo>
                  <a:lnTo>
                    <a:pt x="332041" y="99632"/>
                  </a:lnTo>
                  <a:lnTo>
                    <a:pt x="331470" y="94964"/>
                  </a:lnTo>
                  <a:lnTo>
                    <a:pt x="326517" y="93917"/>
                  </a:lnTo>
                  <a:lnTo>
                    <a:pt x="319564" y="102870"/>
                  </a:lnTo>
                  <a:lnTo>
                    <a:pt x="310896" y="97536"/>
                  </a:lnTo>
                  <a:lnTo>
                    <a:pt x="303466" y="101727"/>
                  </a:lnTo>
                  <a:lnTo>
                    <a:pt x="296323" y="109061"/>
                  </a:lnTo>
                  <a:lnTo>
                    <a:pt x="294513" y="107633"/>
                  </a:lnTo>
                  <a:lnTo>
                    <a:pt x="293180" y="109442"/>
                  </a:lnTo>
                  <a:lnTo>
                    <a:pt x="288226" y="108395"/>
                  </a:lnTo>
                  <a:lnTo>
                    <a:pt x="285083" y="108871"/>
                  </a:lnTo>
                  <a:lnTo>
                    <a:pt x="284702" y="105728"/>
                  </a:lnTo>
                  <a:lnTo>
                    <a:pt x="283750" y="110585"/>
                  </a:lnTo>
                  <a:lnTo>
                    <a:pt x="283559" y="109061"/>
                  </a:lnTo>
                  <a:lnTo>
                    <a:pt x="280321" y="109442"/>
                  </a:lnTo>
                  <a:lnTo>
                    <a:pt x="275653" y="110014"/>
                  </a:lnTo>
                  <a:lnTo>
                    <a:pt x="274891" y="116586"/>
                  </a:lnTo>
                  <a:lnTo>
                    <a:pt x="271272" y="113824"/>
                  </a:lnTo>
                  <a:lnTo>
                    <a:pt x="269938" y="115633"/>
                  </a:lnTo>
                  <a:lnTo>
                    <a:pt x="272129" y="120110"/>
                  </a:lnTo>
                  <a:lnTo>
                    <a:pt x="264414" y="122682"/>
                  </a:lnTo>
                  <a:lnTo>
                    <a:pt x="264223" y="121158"/>
                  </a:lnTo>
                  <a:lnTo>
                    <a:pt x="261461" y="124682"/>
                  </a:lnTo>
                  <a:lnTo>
                    <a:pt x="259461" y="121729"/>
                  </a:lnTo>
                  <a:lnTo>
                    <a:pt x="256508" y="123730"/>
                  </a:lnTo>
                  <a:lnTo>
                    <a:pt x="256318" y="122111"/>
                  </a:lnTo>
                  <a:lnTo>
                    <a:pt x="250031" y="122968"/>
                  </a:lnTo>
                  <a:lnTo>
                    <a:pt x="249841" y="121349"/>
                  </a:lnTo>
                  <a:lnTo>
                    <a:pt x="255270" y="114205"/>
                  </a:lnTo>
                  <a:lnTo>
                    <a:pt x="253365" y="111252"/>
                  </a:lnTo>
                  <a:lnTo>
                    <a:pt x="250126" y="111728"/>
                  </a:lnTo>
                  <a:lnTo>
                    <a:pt x="247459" y="115253"/>
                  </a:lnTo>
                  <a:lnTo>
                    <a:pt x="244030" y="114109"/>
                  </a:lnTo>
                  <a:lnTo>
                    <a:pt x="241459" y="119253"/>
                  </a:lnTo>
                  <a:lnTo>
                    <a:pt x="236791" y="119825"/>
                  </a:lnTo>
                  <a:lnTo>
                    <a:pt x="234982" y="118396"/>
                  </a:lnTo>
                  <a:lnTo>
                    <a:pt x="231076" y="125349"/>
                  </a:lnTo>
                  <a:lnTo>
                    <a:pt x="229457" y="125539"/>
                  </a:lnTo>
                  <a:lnTo>
                    <a:pt x="229934" y="128683"/>
                  </a:lnTo>
                  <a:lnTo>
                    <a:pt x="233267" y="129921"/>
                  </a:lnTo>
                  <a:lnTo>
                    <a:pt x="231838" y="131636"/>
                  </a:lnTo>
                  <a:lnTo>
                    <a:pt x="233839" y="134588"/>
                  </a:lnTo>
                  <a:lnTo>
                    <a:pt x="226314" y="138779"/>
                  </a:lnTo>
                  <a:lnTo>
                    <a:pt x="227552" y="148209"/>
                  </a:lnTo>
                  <a:lnTo>
                    <a:pt x="228409" y="154591"/>
                  </a:lnTo>
                  <a:lnTo>
                    <a:pt x="214598" y="159544"/>
                  </a:lnTo>
                  <a:lnTo>
                    <a:pt x="216503" y="162496"/>
                  </a:lnTo>
                  <a:lnTo>
                    <a:pt x="211264" y="171164"/>
                  </a:lnTo>
                  <a:lnTo>
                    <a:pt x="209645" y="171355"/>
                  </a:lnTo>
                  <a:lnTo>
                    <a:pt x="209264" y="168212"/>
                  </a:lnTo>
                  <a:lnTo>
                    <a:pt x="207931" y="170021"/>
                  </a:lnTo>
                  <a:lnTo>
                    <a:pt x="207931" y="170021"/>
                  </a:lnTo>
                  <a:lnTo>
                    <a:pt x="204692" y="170402"/>
                  </a:lnTo>
                  <a:lnTo>
                    <a:pt x="206502" y="171736"/>
                  </a:lnTo>
                  <a:lnTo>
                    <a:pt x="203359" y="172212"/>
                  </a:lnTo>
                  <a:lnTo>
                    <a:pt x="205359" y="175165"/>
                  </a:lnTo>
                  <a:lnTo>
                    <a:pt x="202597" y="178689"/>
                  </a:lnTo>
                  <a:lnTo>
                    <a:pt x="201644" y="183642"/>
                  </a:lnTo>
                  <a:lnTo>
                    <a:pt x="200406" y="186976"/>
                  </a:lnTo>
                  <a:lnTo>
                    <a:pt x="202597" y="191548"/>
                  </a:lnTo>
                  <a:lnTo>
                    <a:pt x="200692" y="201359"/>
                  </a:lnTo>
                  <a:lnTo>
                    <a:pt x="202882" y="205930"/>
                  </a:lnTo>
                  <a:lnTo>
                    <a:pt x="201835" y="210884"/>
                  </a:lnTo>
                  <a:lnTo>
                    <a:pt x="205454" y="213646"/>
                  </a:lnTo>
                  <a:lnTo>
                    <a:pt x="203835" y="213836"/>
                  </a:lnTo>
                  <a:lnTo>
                    <a:pt x="206407" y="221551"/>
                  </a:lnTo>
                  <a:lnTo>
                    <a:pt x="209550" y="221075"/>
                  </a:lnTo>
                  <a:lnTo>
                    <a:pt x="213550" y="214217"/>
                  </a:lnTo>
                  <a:lnTo>
                    <a:pt x="221456" y="226028"/>
                  </a:lnTo>
                  <a:lnTo>
                    <a:pt x="229171" y="223457"/>
                  </a:lnTo>
                  <a:lnTo>
                    <a:pt x="240411" y="223552"/>
                  </a:lnTo>
                  <a:lnTo>
                    <a:pt x="239363" y="228505"/>
                  </a:lnTo>
                  <a:lnTo>
                    <a:pt x="243745" y="237554"/>
                  </a:lnTo>
                  <a:lnTo>
                    <a:pt x="251460" y="247841"/>
                  </a:lnTo>
                  <a:lnTo>
                    <a:pt x="252127" y="252603"/>
                  </a:lnTo>
                  <a:lnTo>
                    <a:pt x="249174" y="254508"/>
                  </a:lnTo>
                  <a:lnTo>
                    <a:pt x="247936" y="257937"/>
                  </a:lnTo>
                  <a:lnTo>
                    <a:pt x="251746" y="262223"/>
                  </a:lnTo>
                  <a:lnTo>
                    <a:pt x="248031" y="270700"/>
                  </a:lnTo>
                  <a:lnTo>
                    <a:pt x="244411" y="267938"/>
                  </a:lnTo>
                  <a:lnTo>
                    <a:pt x="245078" y="272701"/>
                  </a:lnTo>
                  <a:lnTo>
                    <a:pt x="243268" y="271367"/>
                  </a:lnTo>
                  <a:lnTo>
                    <a:pt x="243459" y="272891"/>
                  </a:lnTo>
                  <a:lnTo>
                    <a:pt x="241840" y="273082"/>
                  </a:lnTo>
                  <a:lnTo>
                    <a:pt x="237553" y="276892"/>
                  </a:lnTo>
                  <a:lnTo>
                    <a:pt x="238125" y="281654"/>
                  </a:lnTo>
                  <a:lnTo>
                    <a:pt x="232029" y="284036"/>
                  </a:lnTo>
                  <a:lnTo>
                    <a:pt x="231838" y="282416"/>
                  </a:lnTo>
                  <a:lnTo>
                    <a:pt x="228695" y="282797"/>
                  </a:lnTo>
                  <a:lnTo>
                    <a:pt x="224123" y="284988"/>
                  </a:lnTo>
                  <a:lnTo>
                    <a:pt x="222123" y="282035"/>
                  </a:lnTo>
                  <a:lnTo>
                    <a:pt x="219456" y="285559"/>
                  </a:lnTo>
                  <a:lnTo>
                    <a:pt x="216979" y="279463"/>
                  </a:lnTo>
                  <a:lnTo>
                    <a:pt x="210121" y="275558"/>
                  </a:lnTo>
                  <a:lnTo>
                    <a:pt x="208978" y="278892"/>
                  </a:lnTo>
                  <a:lnTo>
                    <a:pt x="204025" y="277939"/>
                  </a:lnTo>
                  <a:lnTo>
                    <a:pt x="204978" y="285845"/>
                  </a:lnTo>
                  <a:lnTo>
                    <a:pt x="204978" y="285845"/>
                  </a:lnTo>
                  <a:lnTo>
                    <a:pt x="202025" y="287846"/>
                  </a:lnTo>
                  <a:lnTo>
                    <a:pt x="198501" y="285083"/>
                  </a:lnTo>
                  <a:lnTo>
                    <a:pt x="199644" y="281750"/>
                  </a:lnTo>
                  <a:lnTo>
                    <a:pt x="194977" y="282321"/>
                  </a:lnTo>
                  <a:lnTo>
                    <a:pt x="195358" y="285464"/>
                  </a:lnTo>
                  <a:lnTo>
                    <a:pt x="198882" y="288226"/>
                  </a:lnTo>
                  <a:lnTo>
                    <a:pt x="197929" y="293180"/>
                  </a:lnTo>
                  <a:lnTo>
                    <a:pt x="193167" y="293751"/>
                  </a:lnTo>
                  <a:lnTo>
                    <a:pt x="193548" y="296894"/>
                  </a:lnTo>
                  <a:lnTo>
                    <a:pt x="192214" y="298704"/>
                  </a:lnTo>
                  <a:lnTo>
                    <a:pt x="191071" y="302038"/>
                  </a:lnTo>
                  <a:lnTo>
                    <a:pt x="192976" y="304991"/>
                  </a:lnTo>
                  <a:lnTo>
                    <a:pt x="191643" y="306800"/>
                  </a:lnTo>
                  <a:lnTo>
                    <a:pt x="191834" y="308324"/>
                  </a:lnTo>
                  <a:lnTo>
                    <a:pt x="183737" y="307753"/>
                  </a:lnTo>
                  <a:lnTo>
                    <a:pt x="183166" y="303086"/>
                  </a:lnTo>
                  <a:lnTo>
                    <a:pt x="180784" y="296989"/>
                  </a:lnTo>
                  <a:lnTo>
                    <a:pt x="173831" y="292989"/>
                  </a:lnTo>
                  <a:lnTo>
                    <a:pt x="174212" y="296132"/>
                  </a:lnTo>
                  <a:lnTo>
                    <a:pt x="172498" y="294799"/>
                  </a:lnTo>
                  <a:lnTo>
                    <a:pt x="172688" y="296323"/>
                  </a:lnTo>
                  <a:lnTo>
                    <a:pt x="169545" y="296799"/>
                  </a:lnTo>
                  <a:lnTo>
                    <a:pt x="164782" y="297371"/>
                  </a:lnTo>
                  <a:lnTo>
                    <a:pt x="162973" y="296037"/>
                  </a:lnTo>
                  <a:lnTo>
                    <a:pt x="160972" y="293084"/>
                  </a:lnTo>
                  <a:lnTo>
                    <a:pt x="160782" y="291465"/>
                  </a:lnTo>
                  <a:lnTo>
                    <a:pt x="156115" y="292037"/>
                  </a:lnTo>
                  <a:lnTo>
                    <a:pt x="157067" y="287179"/>
                  </a:lnTo>
                  <a:lnTo>
                    <a:pt x="158591" y="286893"/>
                  </a:lnTo>
                  <a:lnTo>
                    <a:pt x="160020" y="285179"/>
                  </a:lnTo>
                  <a:lnTo>
                    <a:pt x="155257" y="285750"/>
                  </a:lnTo>
                  <a:lnTo>
                    <a:pt x="154114" y="289084"/>
                  </a:lnTo>
                  <a:lnTo>
                    <a:pt x="152305" y="287750"/>
                  </a:lnTo>
                  <a:lnTo>
                    <a:pt x="149161" y="288131"/>
                  </a:lnTo>
                  <a:lnTo>
                    <a:pt x="150209" y="296037"/>
                  </a:lnTo>
                  <a:lnTo>
                    <a:pt x="145066" y="293465"/>
                  </a:lnTo>
                  <a:lnTo>
                    <a:pt x="137350" y="296037"/>
                  </a:lnTo>
                  <a:lnTo>
                    <a:pt x="135731" y="296228"/>
                  </a:lnTo>
                  <a:lnTo>
                    <a:pt x="136207" y="299371"/>
                  </a:lnTo>
                  <a:lnTo>
                    <a:pt x="132969" y="299847"/>
                  </a:lnTo>
                  <a:lnTo>
                    <a:pt x="129445" y="297085"/>
                  </a:lnTo>
                  <a:lnTo>
                    <a:pt x="128302" y="300418"/>
                  </a:lnTo>
                  <a:lnTo>
                    <a:pt x="125158" y="300800"/>
                  </a:lnTo>
                  <a:lnTo>
                    <a:pt x="121729" y="299657"/>
                  </a:lnTo>
                  <a:lnTo>
                    <a:pt x="115824" y="303562"/>
                  </a:lnTo>
                  <a:lnTo>
                    <a:pt x="108585" y="296513"/>
                  </a:lnTo>
                  <a:lnTo>
                    <a:pt x="104013" y="298704"/>
                  </a:lnTo>
                  <a:lnTo>
                    <a:pt x="101822" y="294132"/>
                  </a:lnTo>
                  <a:lnTo>
                    <a:pt x="95726" y="296513"/>
                  </a:lnTo>
                  <a:lnTo>
                    <a:pt x="94488" y="299942"/>
                  </a:lnTo>
                  <a:lnTo>
                    <a:pt x="92773" y="298513"/>
                  </a:lnTo>
                  <a:lnTo>
                    <a:pt x="91345" y="300323"/>
                  </a:lnTo>
                  <a:lnTo>
                    <a:pt x="89154" y="295751"/>
                  </a:lnTo>
                  <a:lnTo>
                    <a:pt x="87630" y="295942"/>
                  </a:lnTo>
                  <a:lnTo>
                    <a:pt x="87820" y="297561"/>
                  </a:lnTo>
                  <a:lnTo>
                    <a:pt x="82677" y="294989"/>
                  </a:lnTo>
                  <a:lnTo>
                    <a:pt x="84106" y="293275"/>
                  </a:lnTo>
                  <a:lnTo>
                    <a:pt x="78772" y="289084"/>
                  </a:lnTo>
                  <a:lnTo>
                    <a:pt x="78486" y="287560"/>
                  </a:lnTo>
                  <a:lnTo>
                    <a:pt x="66103" y="290703"/>
                  </a:lnTo>
                  <a:lnTo>
                    <a:pt x="59817" y="291465"/>
                  </a:lnTo>
                  <a:lnTo>
                    <a:pt x="54673" y="301752"/>
                  </a:lnTo>
                  <a:lnTo>
                    <a:pt x="58198" y="304514"/>
                  </a:lnTo>
                  <a:lnTo>
                    <a:pt x="63151" y="305467"/>
                  </a:lnTo>
                  <a:lnTo>
                    <a:pt x="67151" y="311372"/>
                  </a:lnTo>
                  <a:lnTo>
                    <a:pt x="65722" y="313182"/>
                  </a:lnTo>
                  <a:lnTo>
                    <a:pt x="67913" y="317754"/>
                  </a:lnTo>
                  <a:lnTo>
                    <a:pt x="66580" y="319468"/>
                  </a:lnTo>
                  <a:lnTo>
                    <a:pt x="60484" y="321850"/>
                  </a:lnTo>
                  <a:lnTo>
                    <a:pt x="48958" y="320135"/>
                  </a:lnTo>
                  <a:lnTo>
                    <a:pt x="46482" y="325279"/>
                  </a:lnTo>
                  <a:lnTo>
                    <a:pt x="39338" y="319754"/>
                  </a:lnTo>
                  <a:lnTo>
                    <a:pt x="34576" y="320421"/>
                  </a:lnTo>
                  <a:lnTo>
                    <a:pt x="31813" y="323945"/>
                  </a:lnTo>
                  <a:lnTo>
                    <a:pt x="32671" y="330232"/>
                  </a:lnTo>
                  <a:lnTo>
                    <a:pt x="31242" y="332042"/>
                  </a:lnTo>
                  <a:lnTo>
                    <a:pt x="29908" y="333756"/>
                  </a:lnTo>
                  <a:lnTo>
                    <a:pt x="33433" y="336518"/>
                  </a:lnTo>
                  <a:lnTo>
                    <a:pt x="37624" y="344043"/>
                  </a:lnTo>
                  <a:lnTo>
                    <a:pt x="34480" y="344424"/>
                  </a:lnTo>
                  <a:lnTo>
                    <a:pt x="29718" y="345091"/>
                  </a:lnTo>
                  <a:lnTo>
                    <a:pt x="28384" y="346805"/>
                  </a:lnTo>
                  <a:lnTo>
                    <a:pt x="29146" y="353187"/>
                  </a:lnTo>
                  <a:lnTo>
                    <a:pt x="25241" y="360045"/>
                  </a:lnTo>
                  <a:lnTo>
                    <a:pt x="26956" y="361474"/>
                  </a:lnTo>
                  <a:lnTo>
                    <a:pt x="30956" y="367379"/>
                  </a:lnTo>
                  <a:lnTo>
                    <a:pt x="33718" y="376618"/>
                  </a:lnTo>
                  <a:lnTo>
                    <a:pt x="37338" y="379381"/>
                  </a:lnTo>
                  <a:lnTo>
                    <a:pt x="36100" y="382714"/>
                  </a:lnTo>
                  <a:lnTo>
                    <a:pt x="31813" y="386525"/>
                  </a:lnTo>
                  <a:lnTo>
                    <a:pt x="23527" y="384334"/>
                  </a:lnTo>
                  <a:lnTo>
                    <a:pt x="20383" y="384715"/>
                  </a:lnTo>
                  <a:lnTo>
                    <a:pt x="16764" y="381953"/>
                  </a:lnTo>
                  <a:lnTo>
                    <a:pt x="17145" y="385096"/>
                  </a:lnTo>
                  <a:lnTo>
                    <a:pt x="12097" y="382619"/>
                  </a:lnTo>
                  <a:lnTo>
                    <a:pt x="9715" y="389287"/>
                  </a:lnTo>
                  <a:lnTo>
                    <a:pt x="8763" y="394240"/>
                  </a:lnTo>
                  <a:lnTo>
                    <a:pt x="15430" y="396621"/>
                  </a:lnTo>
                  <a:lnTo>
                    <a:pt x="17240" y="397955"/>
                  </a:lnTo>
                  <a:lnTo>
                    <a:pt x="19240" y="400907"/>
                  </a:lnTo>
                  <a:lnTo>
                    <a:pt x="19621" y="404050"/>
                  </a:lnTo>
                  <a:lnTo>
                    <a:pt x="26956" y="411194"/>
                  </a:lnTo>
                  <a:lnTo>
                    <a:pt x="25336" y="411385"/>
                  </a:lnTo>
                  <a:lnTo>
                    <a:pt x="25717" y="414528"/>
                  </a:lnTo>
                  <a:lnTo>
                    <a:pt x="27527" y="415862"/>
                  </a:lnTo>
                  <a:lnTo>
                    <a:pt x="26956" y="423958"/>
                  </a:lnTo>
                  <a:lnTo>
                    <a:pt x="29146" y="428530"/>
                  </a:lnTo>
                  <a:lnTo>
                    <a:pt x="26194" y="430530"/>
                  </a:lnTo>
                  <a:lnTo>
                    <a:pt x="23813" y="437197"/>
                  </a:lnTo>
                  <a:lnTo>
                    <a:pt x="20860" y="439198"/>
                  </a:lnTo>
                  <a:lnTo>
                    <a:pt x="19336" y="439388"/>
                  </a:lnTo>
                  <a:lnTo>
                    <a:pt x="21431" y="443960"/>
                  </a:lnTo>
                  <a:lnTo>
                    <a:pt x="24860" y="445103"/>
                  </a:lnTo>
                  <a:lnTo>
                    <a:pt x="25241" y="448246"/>
                  </a:lnTo>
                  <a:lnTo>
                    <a:pt x="23146" y="469392"/>
                  </a:lnTo>
                  <a:lnTo>
                    <a:pt x="18383" y="469963"/>
                  </a:lnTo>
                  <a:lnTo>
                    <a:pt x="15811" y="475107"/>
                  </a:lnTo>
                  <a:lnTo>
                    <a:pt x="15621" y="486346"/>
                  </a:lnTo>
                  <a:lnTo>
                    <a:pt x="11716" y="493300"/>
                  </a:lnTo>
                  <a:lnTo>
                    <a:pt x="8572" y="493681"/>
                  </a:lnTo>
                  <a:lnTo>
                    <a:pt x="7429" y="497014"/>
                  </a:lnTo>
                  <a:lnTo>
                    <a:pt x="7810" y="500158"/>
                  </a:lnTo>
                  <a:lnTo>
                    <a:pt x="12287" y="498062"/>
                  </a:lnTo>
                  <a:lnTo>
                    <a:pt x="13716" y="496253"/>
                  </a:lnTo>
                  <a:lnTo>
                    <a:pt x="16859" y="495871"/>
                  </a:lnTo>
                  <a:lnTo>
                    <a:pt x="14478" y="502539"/>
                  </a:lnTo>
                  <a:lnTo>
                    <a:pt x="11525" y="504539"/>
                  </a:lnTo>
                  <a:lnTo>
                    <a:pt x="12192" y="509302"/>
                  </a:lnTo>
                  <a:lnTo>
                    <a:pt x="9239" y="511207"/>
                  </a:lnTo>
                  <a:lnTo>
                    <a:pt x="10192" y="519113"/>
                  </a:lnTo>
                  <a:lnTo>
                    <a:pt x="9049" y="522446"/>
                  </a:lnTo>
                  <a:lnTo>
                    <a:pt x="9430" y="525685"/>
                  </a:lnTo>
                  <a:lnTo>
                    <a:pt x="8477" y="530543"/>
                  </a:lnTo>
                  <a:lnTo>
                    <a:pt x="5524" y="532543"/>
                  </a:lnTo>
                  <a:lnTo>
                    <a:pt x="2191" y="531400"/>
                  </a:lnTo>
                  <a:lnTo>
                    <a:pt x="1143" y="536353"/>
                  </a:lnTo>
                  <a:lnTo>
                    <a:pt x="4572" y="537496"/>
                  </a:lnTo>
                  <a:lnTo>
                    <a:pt x="1619" y="539496"/>
                  </a:lnTo>
                  <a:lnTo>
                    <a:pt x="381" y="542830"/>
                  </a:lnTo>
                  <a:lnTo>
                    <a:pt x="2381" y="545783"/>
                  </a:lnTo>
                  <a:lnTo>
                    <a:pt x="2762" y="548926"/>
                  </a:lnTo>
                  <a:lnTo>
                    <a:pt x="0" y="552545"/>
                  </a:lnTo>
                  <a:lnTo>
                    <a:pt x="2000" y="555498"/>
                  </a:lnTo>
                  <a:lnTo>
                    <a:pt x="3619" y="555308"/>
                  </a:lnTo>
                  <a:lnTo>
                    <a:pt x="12287" y="560546"/>
                  </a:lnTo>
                  <a:lnTo>
                    <a:pt x="20383" y="561118"/>
                  </a:lnTo>
                  <a:lnTo>
                    <a:pt x="24289" y="567023"/>
                  </a:lnTo>
                  <a:lnTo>
                    <a:pt x="25717" y="578072"/>
                  </a:lnTo>
                  <a:lnTo>
                    <a:pt x="30289" y="575882"/>
                  </a:lnTo>
                  <a:lnTo>
                    <a:pt x="29337" y="580834"/>
                  </a:lnTo>
                  <a:lnTo>
                    <a:pt x="25908" y="579692"/>
                  </a:lnTo>
                  <a:lnTo>
                    <a:pt x="22955" y="581692"/>
                  </a:lnTo>
                  <a:lnTo>
                    <a:pt x="19050" y="588550"/>
                  </a:lnTo>
                  <a:lnTo>
                    <a:pt x="17240" y="587216"/>
                  </a:lnTo>
                  <a:lnTo>
                    <a:pt x="17907" y="591979"/>
                  </a:lnTo>
                  <a:lnTo>
                    <a:pt x="13144" y="592550"/>
                  </a:lnTo>
                  <a:lnTo>
                    <a:pt x="13716" y="597313"/>
                  </a:lnTo>
                  <a:lnTo>
                    <a:pt x="10763" y="599218"/>
                  </a:lnTo>
                  <a:lnTo>
                    <a:pt x="11239" y="602361"/>
                  </a:lnTo>
                  <a:lnTo>
                    <a:pt x="13335" y="606933"/>
                  </a:lnTo>
                  <a:lnTo>
                    <a:pt x="20669" y="613982"/>
                  </a:lnTo>
                  <a:lnTo>
                    <a:pt x="27432" y="616363"/>
                  </a:lnTo>
                  <a:lnTo>
                    <a:pt x="27813" y="619506"/>
                  </a:lnTo>
                  <a:lnTo>
                    <a:pt x="24098" y="627983"/>
                  </a:lnTo>
                  <a:lnTo>
                    <a:pt x="30766" y="630364"/>
                  </a:lnTo>
                  <a:lnTo>
                    <a:pt x="39052" y="632555"/>
                  </a:lnTo>
                  <a:lnTo>
                    <a:pt x="39529" y="635699"/>
                  </a:lnTo>
                  <a:lnTo>
                    <a:pt x="42863" y="636842"/>
                  </a:lnTo>
                  <a:lnTo>
                    <a:pt x="41910" y="641795"/>
                  </a:lnTo>
                  <a:lnTo>
                    <a:pt x="45815" y="647700"/>
                  </a:lnTo>
                  <a:lnTo>
                    <a:pt x="47625" y="649129"/>
                  </a:lnTo>
                  <a:lnTo>
                    <a:pt x="50578" y="647129"/>
                  </a:lnTo>
                  <a:lnTo>
                    <a:pt x="57912" y="654177"/>
                  </a:lnTo>
                  <a:lnTo>
                    <a:pt x="61817" y="660083"/>
                  </a:lnTo>
                  <a:lnTo>
                    <a:pt x="62484" y="664845"/>
                  </a:lnTo>
                  <a:lnTo>
                    <a:pt x="64008" y="664655"/>
                  </a:lnTo>
                  <a:lnTo>
                    <a:pt x="64198" y="666179"/>
                  </a:lnTo>
                  <a:lnTo>
                    <a:pt x="72485" y="668369"/>
                  </a:lnTo>
                  <a:lnTo>
                    <a:pt x="80581" y="656082"/>
                  </a:lnTo>
                  <a:lnTo>
                    <a:pt x="85153" y="653891"/>
                  </a:lnTo>
                  <a:lnTo>
                    <a:pt x="89440" y="650176"/>
                  </a:lnTo>
                  <a:lnTo>
                    <a:pt x="92583" y="649796"/>
                  </a:lnTo>
                  <a:lnTo>
                    <a:pt x="94012" y="647986"/>
                  </a:lnTo>
                  <a:lnTo>
                    <a:pt x="99917" y="643985"/>
                  </a:lnTo>
                  <a:lnTo>
                    <a:pt x="101917" y="646938"/>
                  </a:lnTo>
                  <a:lnTo>
                    <a:pt x="103251" y="645224"/>
                  </a:lnTo>
                  <a:lnTo>
                    <a:pt x="102298" y="650176"/>
                  </a:lnTo>
                  <a:lnTo>
                    <a:pt x="107251" y="651129"/>
                  </a:lnTo>
                  <a:lnTo>
                    <a:pt x="111538" y="660178"/>
                  </a:lnTo>
                  <a:lnTo>
                    <a:pt x="113728" y="664750"/>
                  </a:lnTo>
                  <a:lnTo>
                    <a:pt x="122491" y="669988"/>
                  </a:lnTo>
                  <a:lnTo>
                    <a:pt x="121063" y="671798"/>
                  </a:lnTo>
                  <a:lnTo>
                    <a:pt x="126016" y="672751"/>
                  </a:lnTo>
                  <a:lnTo>
                    <a:pt x="127159" y="669417"/>
                  </a:lnTo>
                  <a:lnTo>
                    <a:pt x="128968" y="670751"/>
                  </a:lnTo>
                  <a:lnTo>
                    <a:pt x="137255" y="672941"/>
                  </a:lnTo>
                  <a:lnTo>
                    <a:pt x="152019" y="675894"/>
                  </a:lnTo>
                  <a:lnTo>
                    <a:pt x="151447" y="683990"/>
                  </a:lnTo>
                  <a:lnTo>
                    <a:pt x="147161" y="687705"/>
                  </a:lnTo>
                  <a:lnTo>
                    <a:pt x="151162" y="693611"/>
                  </a:lnTo>
                  <a:lnTo>
                    <a:pt x="150114" y="698563"/>
                  </a:lnTo>
                  <a:lnTo>
                    <a:pt x="137160" y="697039"/>
                  </a:lnTo>
                  <a:lnTo>
                    <a:pt x="133731" y="695801"/>
                  </a:lnTo>
                  <a:lnTo>
                    <a:pt x="132207" y="696087"/>
                  </a:lnTo>
                  <a:lnTo>
                    <a:pt x="136112" y="701993"/>
                  </a:lnTo>
                  <a:lnTo>
                    <a:pt x="142684" y="702755"/>
                  </a:lnTo>
                  <a:lnTo>
                    <a:pt x="148209" y="708470"/>
                  </a:lnTo>
                  <a:lnTo>
                    <a:pt x="153734" y="701326"/>
                  </a:lnTo>
                  <a:lnTo>
                    <a:pt x="163163" y="700088"/>
                  </a:lnTo>
                  <a:lnTo>
                    <a:pt x="166497" y="701326"/>
                  </a:lnTo>
                  <a:lnTo>
                    <a:pt x="168688" y="705803"/>
                  </a:lnTo>
                  <a:lnTo>
                    <a:pt x="171831" y="705422"/>
                  </a:lnTo>
                  <a:lnTo>
                    <a:pt x="174403" y="713137"/>
                  </a:lnTo>
                  <a:lnTo>
                    <a:pt x="176213" y="714470"/>
                  </a:lnTo>
                  <a:lnTo>
                    <a:pt x="176403" y="716089"/>
                  </a:lnTo>
                  <a:lnTo>
                    <a:pt x="175069" y="717804"/>
                  </a:lnTo>
                  <a:lnTo>
                    <a:pt x="177832" y="727138"/>
                  </a:lnTo>
                  <a:lnTo>
                    <a:pt x="176689" y="730472"/>
                  </a:lnTo>
                  <a:lnTo>
                    <a:pt x="184975" y="732568"/>
                  </a:lnTo>
                  <a:lnTo>
                    <a:pt x="191643" y="734949"/>
                  </a:lnTo>
                  <a:lnTo>
                    <a:pt x="194977" y="736187"/>
                  </a:lnTo>
                  <a:lnTo>
                    <a:pt x="204121" y="731806"/>
                  </a:lnTo>
                  <a:lnTo>
                    <a:pt x="213741" y="719328"/>
                  </a:lnTo>
                  <a:lnTo>
                    <a:pt x="213169" y="714566"/>
                  </a:lnTo>
                  <a:lnTo>
                    <a:pt x="218027" y="715613"/>
                  </a:lnTo>
                  <a:lnTo>
                    <a:pt x="224409" y="727615"/>
                  </a:lnTo>
                  <a:lnTo>
                    <a:pt x="225552" y="724186"/>
                  </a:lnTo>
                  <a:lnTo>
                    <a:pt x="231934" y="723424"/>
                  </a:lnTo>
                  <a:lnTo>
                    <a:pt x="240601" y="728758"/>
                  </a:lnTo>
                  <a:lnTo>
                    <a:pt x="243745" y="728377"/>
                  </a:lnTo>
                  <a:lnTo>
                    <a:pt x="248888" y="730853"/>
                  </a:lnTo>
                  <a:lnTo>
                    <a:pt x="250222" y="729139"/>
                  </a:lnTo>
                  <a:lnTo>
                    <a:pt x="260890" y="737330"/>
                  </a:lnTo>
                  <a:lnTo>
                    <a:pt x="258223" y="740950"/>
                  </a:lnTo>
                  <a:lnTo>
                    <a:pt x="259937" y="742283"/>
                  </a:lnTo>
                  <a:lnTo>
                    <a:pt x="257651" y="749046"/>
                  </a:lnTo>
                  <a:lnTo>
                    <a:pt x="262128" y="746855"/>
                  </a:lnTo>
                  <a:lnTo>
                    <a:pt x="261747" y="743712"/>
                  </a:lnTo>
                  <a:lnTo>
                    <a:pt x="266033" y="739902"/>
                  </a:lnTo>
                  <a:lnTo>
                    <a:pt x="269462" y="741140"/>
                  </a:lnTo>
                  <a:lnTo>
                    <a:pt x="271367" y="744093"/>
                  </a:lnTo>
                  <a:lnTo>
                    <a:pt x="275939" y="741902"/>
                  </a:lnTo>
                  <a:lnTo>
                    <a:pt x="280035" y="736568"/>
                  </a:lnTo>
                  <a:lnTo>
                    <a:pt x="286417" y="735711"/>
                  </a:lnTo>
                  <a:lnTo>
                    <a:pt x="295084" y="741045"/>
                  </a:lnTo>
                  <a:lnTo>
                    <a:pt x="301180" y="738664"/>
                  </a:lnTo>
                  <a:lnTo>
                    <a:pt x="300609" y="733901"/>
                  </a:lnTo>
                  <a:lnTo>
                    <a:pt x="305276" y="733330"/>
                  </a:lnTo>
                  <a:lnTo>
                    <a:pt x="307276" y="736283"/>
                  </a:lnTo>
                  <a:lnTo>
                    <a:pt x="310420" y="735901"/>
                  </a:lnTo>
                  <a:lnTo>
                    <a:pt x="313372" y="733901"/>
                  </a:lnTo>
                  <a:lnTo>
                    <a:pt x="320135" y="736283"/>
                  </a:lnTo>
                  <a:lnTo>
                    <a:pt x="323659" y="739045"/>
                  </a:lnTo>
                  <a:lnTo>
                    <a:pt x="323088" y="747046"/>
                  </a:lnTo>
                  <a:lnTo>
                    <a:pt x="324326" y="756571"/>
                  </a:lnTo>
                  <a:lnTo>
                    <a:pt x="326517" y="761047"/>
                  </a:lnTo>
                  <a:lnTo>
                    <a:pt x="325088" y="762857"/>
                  </a:lnTo>
                  <a:lnTo>
                    <a:pt x="328517" y="764000"/>
                  </a:lnTo>
                  <a:lnTo>
                    <a:pt x="324517" y="770954"/>
                  </a:lnTo>
                  <a:lnTo>
                    <a:pt x="324993" y="774097"/>
                  </a:lnTo>
                  <a:lnTo>
                    <a:pt x="320992" y="781050"/>
                  </a:lnTo>
                  <a:lnTo>
                    <a:pt x="321850" y="787337"/>
                  </a:lnTo>
                  <a:lnTo>
                    <a:pt x="321850" y="787337"/>
                  </a:lnTo>
                  <a:lnTo>
                    <a:pt x="317849" y="794290"/>
                  </a:lnTo>
                  <a:lnTo>
                    <a:pt x="321088" y="793813"/>
                  </a:lnTo>
                  <a:lnTo>
                    <a:pt x="324421" y="795052"/>
                  </a:lnTo>
                  <a:lnTo>
                    <a:pt x="324993" y="799814"/>
                  </a:lnTo>
                  <a:lnTo>
                    <a:pt x="327565" y="807434"/>
                  </a:lnTo>
                  <a:lnTo>
                    <a:pt x="329565" y="810387"/>
                  </a:lnTo>
                  <a:lnTo>
                    <a:pt x="332708" y="810006"/>
                  </a:lnTo>
                  <a:lnTo>
                    <a:pt x="330517" y="805434"/>
                  </a:lnTo>
                  <a:lnTo>
                    <a:pt x="333946" y="806672"/>
                  </a:lnTo>
                  <a:lnTo>
                    <a:pt x="335470" y="806482"/>
                  </a:lnTo>
                  <a:lnTo>
                    <a:pt x="334518" y="811435"/>
                  </a:lnTo>
                  <a:lnTo>
                    <a:pt x="341471" y="815340"/>
                  </a:lnTo>
                  <a:lnTo>
                    <a:pt x="342614" y="812006"/>
                  </a:lnTo>
                  <a:lnTo>
                    <a:pt x="346329" y="816293"/>
                  </a:lnTo>
                  <a:lnTo>
                    <a:pt x="348710" y="822388"/>
                  </a:lnTo>
                  <a:lnTo>
                    <a:pt x="347758" y="827342"/>
                  </a:lnTo>
                  <a:lnTo>
                    <a:pt x="354711" y="831247"/>
                  </a:lnTo>
                  <a:lnTo>
                    <a:pt x="357854" y="830866"/>
                  </a:lnTo>
                  <a:lnTo>
                    <a:pt x="359378" y="830675"/>
                  </a:lnTo>
                  <a:lnTo>
                    <a:pt x="366331" y="834580"/>
                  </a:lnTo>
                  <a:lnTo>
                    <a:pt x="370046" y="838962"/>
                  </a:lnTo>
                  <a:lnTo>
                    <a:pt x="378619" y="842677"/>
                  </a:lnTo>
                  <a:lnTo>
                    <a:pt x="377857" y="849154"/>
                  </a:lnTo>
                  <a:lnTo>
                    <a:pt x="379571" y="850583"/>
                  </a:lnTo>
                  <a:lnTo>
                    <a:pt x="382143" y="845439"/>
                  </a:lnTo>
                  <a:lnTo>
                    <a:pt x="384334" y="837152"/>
                  </a:lnTo>
                  <a:lnTo>
                    <a:pt x="385858" y="836962"/>
                  </a:lnTo>
                  <a:lnTo>
                    <a:pt x="387286" y="835152"/>
                  </a:lnTo>
                  <a:lnTo>
                    <a:pt x="390239" y="833152"/>
                  </a:lnTo>
                  <a:lnTo>
                    <a:pt x="393382" y="832771"/>
                  </a:lnTo>
                  <a:lnTo>
                    <a:pt x="396907" y="835533"/>
                  </a:lnTo>
                  <a:lnTo>
                    <a:pt x="404622" y="845725"/>
                  </a:lnTo>
                  <a:lnTo>
                    <a:pt x="406241" y="845534"/>
                  </a:lnTo>
                  <a:lnTo>
                    <a:pt x="408241" y="848487"/>
                  </a:lnTo>
                  <a:lnTo>
                    <a:pt x="409575" y="846772"/>
                  </a:lnTo>
                  <a:lnTo>
                    <a:pt x="412909" y="847916"/>
                  </a:lnTo>
                  <a:lnTo>
                    <a:pt x="412528" y="844772"/>
                  </a:lnTo>
                  <a:lnTo>
                    <a:pt x="423958" y="846487"/>
                  </a:lnTo>
                  <a:lnTo>
                    <a:pt x="430530" y="847249"/>
                  </a:lnTo>
                  <a:lnTo>
                    <a:pt x="435388" y="848201"/>
                  </a:lnTo>
                  <a:lnTo>
                    <a:pt x="442150" y="837819"/>
                  </a:lnTo>
                  <a:lnTo>
                    <a:pt x="443484" y="836009"/>
                  </a:lnTo>
                  <a:lnTo>
                    <a:pt x="451580" y="836581"/>
                  </a:lnTo>
                  <a:lnTo>
                    <a:pt x="455295" y="840867"/>
                  </a:lnTo>
                  <a:lnTo>
                    <a:pt x="455581" y="842486"/>
                  </a:lnTo>
                  <a:lnTo>
                    <a:pt x="460438" y="843439"/>
                  </a:lnTo>
                  <a:lnTo>
                    <a:pt x="463201" y="839914"/>
                  </a:lnTo>
                  <a:lnTo>
                    <a:pt x="459486" y="835533"/>
                  </a:lnTo>
                  <a:lnTo>
                    <a:pt x="460438" y="830675"/>
                  </a:lnTo>
                  <a:lnTo>
                    <a:pt x="463772" y="831818"/>
                  </a:lnTo>
                  <a:lnTo>
                    <a:pt x="466725" y="829818"/>
                  </a:lnTo>
                  <a:lnTo>
                    <a:pt x="473869" y="835343"/>
                  </a:lnTo>
                  <a:lnTo>
                    <a:pt x="473107" y="841820"/>
                  </a:lnTo>
                  <a:lnTo>
                    <a:pt x="475488" y="835152"/>
                  </a:lnTo>
                  <a:lnTo>
                    <a:pt x="482155" y="837438"/>
                  </a:lnTo>
                  <a:lnTo>
                    <a:pt x="483394" y="846963"/>
                  </a:lnTo>
                  <a:lnTo>
                    <a:pt x="485775" y="853059"/>
                  </a:lnTo>
                  <a:lnTo>
                    <a:pt x="483965" y="851726"/>
                  </a:lnTo>
                  <a:lnTo>
                    <a:pt x="476059" y="852678"/>
                  </a:lnTo>
                  <a:lnTo>
                    <a:pt x="474726" y="854488"/>
                  </a:lnTo>
                  <a:lnTo>
                    <a:pt x="478250" y="857250"/>
                  </a:lnTo>
                  <a:lnTo>
                    <a:pt x="487585" y="867251"/>
                  </a:lnTo>
                  <a:lnTo>
                    <a:pt x="488918" y="865442"/>
                  </a:lnTo>
                  <a:lnTo>
                    <a:pt x="487204" y="864108"/>
                  </a:lnTo>
                  <a:lnTo>
                    <a:pt x="490156" y="862108"/>
                  </a:lnTo>
                  <a:lnTo>
                    <a:pt x="498443" y="864299"/>
                  </a:lnTo>
                  <a:lnTo>
                    <a:pt x="500348" y="867251"/>
                  </a:lnTo>
                  <a:lnTo>
                    <a:pt x="495681" y="867823"/>
                  </a:lnTo>
                  <a:lnTo>
                    <a:pt x="492919" y="871347"/>
                  </a:lnTo>
                  <a:lnTo>
                    <a:pt x="507778" y="887159"/>
                  </a:lnTo>
                  <a:lnTo>
                    <a:pt x="499872" y="888111"/>
                  </a:lnTo>
                  <a:lnTo>
                    <a:pt x="503777" y="894017"/>
                  </a:lnTo>
                  <a:lnTo>
                    <a:pt x="504444" y="898779"/>
                  </a:lnTo>
                  <a:lnTo>
                    <a:pt x="501682" y="902399"/>
                  </a:lnTo>
                  <a:lnTo>
                    <a:pt x="495395" y="903161"/>
                  </a:lnTo>
                  <a:lnTo>
                    <a:pt x="493586" y="901827"/>
                  </a:lnTo>
                  <a:lnTo>
                    <a:pt x="492157" y="903542"/>
                  </a:lnTo>
                  <a:lnTo>
                    <a:pt x="490442" y="902208"/>
                  </a:lnTo>
                  <a:lnTo>
                    <a:pt x="482536" y="903161"/>
                  </a:lnTo>
                  <a:lnTo>
                    <a:pt x="472249" y="898112"/>
                  </a:lnTo>
                  <a:lnTo>
                    <a:pt x="471297" y="902970"/>
                  </a:lnTo>
                  <a:lnTo>
                    <a:pt x="475202" y="908971"/>
                  </a:lnTo>
                  <a:lnTo>
                    <a:pt x="474631" y="916972"/>
                  </a:lnTo>
                  <a:lnTo>
                    <a:pt x="471106" y="914305"/>
                  </a:lnTo>
                  <a:lnTo>
                    <a:pt x="463391" y="916876"/>
                  </a:lnTo>
                  <a:lnTo>
                    <a:pt x="465201" y="918210"/>
                  </a:lnTo>
                  <a:lnTo>
                    <a:pt x="467011" y="919639"/>
                  </a:lnTo>
                  <a:lnTo>
                    <a:pt x="466153" y="926116"/>
                  </a:lnTo>
                  <a:lnTo>
                    <a:pt x="471297" y="928688"/>
                  </a:lnTo>
                  <a:lnTo>
                    <a:pt x="469201" y="936974"/>
                  </a:lnTo>
                  <a:lnTo>
                    <a:pt x="463105" y="939355"/>
                  </a:lnTo>
                  <a:lnTo>
                    <a:pt x="455200" y="940308"/>
                  </a:lnTo>
                  <a:lnTo>
                    <a:pt x="454057" y="943737"/>
                  </a:lnTo>
                  <a:lnTo>
                    <a:pt x="455962" y="946690"/>
                  </a:lnTo>
                  <a:lnTo>
                    <a:pt x="454628" y="948404"/>
                  </a:lnTo>
                  <a:lnTo>
                    <a:pt x="457962" y="949643"/>
                  </a:lnTo>
                  <a:lnTo>
                    <a:pt x="455390" y="954786"/>
                  </a:lnTo>
                  <a:lnTo>
                    <a:pt x="457200" y="956120"/>
                  </a:lnTo>
                  <a:lnTo>
                    <a:pt x="454247" y="958120"/>
                  </a:lnTo>
                  <a:lnTo>
                    <a:pt x="453104" y="961454"/>
                  </a:lnTo>
                  <a:lnTo>
                    <a:pt x="448151" y="960501"/>
                  </a:lnTo>
                  <a:lnTo>
                    <a:pt x="449104" y="968407"/>
                  </a:lnTo>
                  <a:lnTo>
                    <a:pt x="447389" y="966978"/>
                  </a:lnTo>
                  <a:lnTo>
                    <a:pt x="443960" y="965835"/>
                  </a:lnTo>
                  <a:lnTo>
                    <a:pt x="442436" y="966026"/>
                  </a:lnTo>
                  <a:lnTo>
                    <a:pt x="441484" y="970979"/>
                  </a:lnTo>
                  <a:lnTo>
                    <a:pt x="438912" y="976122"/>
                  </a:lnTo>
                  <a:lnTo>
                    <a:pt x="434149" y="976693"/>
                  </a:lnTo>
                  <a:lnTo>
                    <a:pt x="428053" y="979075"/>
                  </a:lnTo>
                  <a:lnTo>
                    <a:pt x="430435" y="985171"/>
                  </a:lnTo>
                  <a:lnTo>
                    <a:pt x="426053" y="988981"/>
                  </a:lnTo>
                  <a:lnTo>
                    <a:pt x="430435" y="998030"/>
                  </a:lnTo>
                  <a:lnTo>
                    <a:pt x="432054" y="997839"/>
                  </a:lnTo>
                  <a:lnTo>
                    <a:pt x="433197" y="994505"/>
                  </a:lnTo>
                  <a:lnTo>
                    <a:pt x="437959" y="993838"/>
                  </a:lnTo>
                  <a:lnTo>
                    <a:pt x="441865" y="986980"/>
                  </a:lnTo>
                  <a:lnTo>
                    <a:pt x="448627" y="989267"/>
                  </a:lnTo>
                  <a:lnTo>
                    <a:pt x="451961" y="990505"/>
                  </a:lnTo>
                  <a:lnTo>
                    <a:pt x="454342" y="996601"/>
                  </a:lnTo>
                  <a:lnTo>
                    <a:pt x="452914" y="998411"/>
                  </a:lnTo>
                  <a:lnTo>
                    <a:pt x="452152" y="1004888"/>
                  </a:lnTo>
                  <a:lnTo>
                    <a:pt x="451199" y="1009841"/>
                  </a:lnTo>
                  <a:lnTo>
                    <a:pt x="453199" y="1012793"/>
                  </a:lnTo>
                  <a:lnTo>
                    <a:pt x="456724" y="1015555"/>
                  </a:lnTo>
                  <a:lnTo>
                    <a:pt x="467963" y="1015651"/>
                  </a:lnTo>
                  <a:lnTo>
                    <a:pt x="471106" y="1015270"/>
                  </a:lnTo>
                  <a:lnTo>
                    <a:pt x="483013" y="1020223"/>
                  </a:lnTo>
                  <a:lnTo>
                    <a:pt x="493300" y="1025271"/>
                  </a:lnTo>
                  <a:lnTo>
                    <a:pt x="492061" y="1028700"/>
                  </a:lnTo>
                  <a:lnTo>
                    <a:pt x="492538" y="1031843"/>
                  </a:lnTo>
                  <a:lnTo>
                    <a:pt x="489585" y="1033748"/>
                  </a:lnTo>
                  <a:lnTo>
                    <a:pt x="488347" y="1037177"/>
                  </a:lnTo>
                  <a:lnTo>
                    <a:pt x="497300" y="1044035"/>
                  </a:lnTo>
                  <a:lnTo>
                    <a:pt x="503206" y="1040035"/>
                  </a:lnTo>
                  <a:lnTo>
                    <a:pt x="500063" y="1040511"/>
                  </a:lnTo>
                  <a:lnTo>
                    <a:pt x="499586" y="1037368"/>
                  </a:lnTo>
                  <a:lnTo>
                    <a:pt x="496443" y="1037749"/>
                  </a:lnTo>
                  <a:lnTo>
                    <a:pt x="493109" y="1036511"/>
                  </a:lnTo>
                  <a:lnTo>
                    <a:pt x="499396" y="1035749"/>
                  </a:lnTo>
                  <a:lnTo>
                    <a:pt x="511492" y="1042226"/>
                  </a:lnTo>
                  <a:lnTo>
                    <a:pt x="508921" y="1034510"/>
                  </a:lnTo>
                  <a:lnTo>
                    <a:pt x="515017" y="1032129"/>
                  </a:lnTo>
                  <a:lnTo>
                    <a:pt x="518541" y="1034891"/>
                  </a:lnTo>
                  <a:lnTo>
                    <a:pt x="520732" y="1039463"/>
                  </a:lnTo>
                  <a:lnTo>
                    <a:pt x="524065" y="1040606"/>
                  </a:lnTo>
                  <a:lnTo>
                    <a:pt x="521780" y="1047369"/>
                  </a:lnTo>
                  <a:lnTo>
                    <a:pt x="523684" y="1050322"/>
                  </a:lnTo>
                  <a:lnTo>
                    <a:pt x="528828" y="1052893"/>
                  </a:lnTo>
                  <a:lnTo>
                    <a:pt x="531971" y="1052417"/>
                  </a:lnTo>
                  <a:lnTo>
                    <a:pt x="534924" y="1050417"/>
                  </a:lnTo>
                  <a:lnTo>
                    <a:pt x="537305" y="1056608"/>
                  </a:lnTo>
                  <a:lnTo>
                    <a:pt x="540734" y="1057751"/>
                  </a:lnTo>
                  <a:lnTo>
                    <a:pt x="543211" y="1052608"/>
                  </a:lnTo>
                  <a:lnTo>
                    <a:pt x="544449" y="1049274"/>
                  </a:lnTo>
                  <a:lnTo>
                    <a:pt x="542449" y="1046321"/>
                  </a:lnTo>
                  <a:lnTo>
                    <a:pt x="548735" y="1045464"/>
                  </a:lnTo>
                  <a:lnTo>
                    <a:pt x="548164" y="1040797"/>
                  </a:lnTo>
                  <a:lnTo>
                    <a:pt x="552736" y="1038606"/>
                  </a:lnTo>
                  <a:lnTo>
                    <a:pt x="554069" y="1036796"/>
                  </a:lnTo>
                  <a:lnTo>
                    <a:pt x="549688" y="1027747"/>
                  </a:lnTo>
                  <a:lnTo>
                    <a:pt x="554260" y="1025557"/>
                  </a:lnTo>
                  <a:lnTo>
                    <a:pt x="557403" y="1025176"/>
                  </a:lnTo>
                  <a:lnTo>
                    <a:pt x="559403" y="1028129"/>
                  </a:lnTo>
                  <a:lnTo>
                    <a:pt x="564071" y="1027462"/>
                  </a:lnTo>
                  <a:lnTo>
                    <a:pt x="564547" y="1030700"/>
                  </a:lnTo>
                  <a:lnTo>
                    <a:pt x="567499" y="1028700"/>
                  </a:lnTo>
                  <a:lnTo>
                    <a:pt x="573214" y="1023176"/>
                  </a:lnTo>
                  <a:lnTo>
                    <a:pt x="582644" y="1021937"/>
                  </a:lnTo>
                  <a:lnTo>
                    <a:pt x="583025" y="1025080"/>
                  </a:lnTo>
                  <a:lnTo>
                    <a:pt x="590169" y="1030605"/>
                  </a:lnTo>
                  <a:lnTo>
                    <a:pt x="592550" y="1036701"/>
                  </a:lnTo>
                  <a:lnTo>
                    <a:pt x="597884" y="1040892"/>
                  </a:lnTo>
                  <a:lnTo>
                    <a:pt x="600075" y="1045369"/>
                  </a:lnTo>
                  <a:lnTo>
                    <a:pt x="602837" y="1041845"/>
                  </a:lnTo>
                  <a:lnTo>
                    <a:pt x="605980" y="1041463"/>
                  </a:lnTo>
                  <a:lnTo>
                    <a:pt x="605409" y="1036701"/>
                  </a:lnTo>
                  <a:lnTo>
                    <a:pt x="607886" y="1031558"/>
                  </a:lnTo>
                  <a:lnTo>
                    <a:pt x="606171" y="1030129"/>
                  </a:lnTo>
                  <a:lnTo>
                    <a:pt x="605980" y="1028605"/>
                  </a:lnTo>
                  <a:lnTo>
                    <a:pt x="604171" y="1027176"/>
                  </a:lnTo>
                  <a:lnTo>
                    <a:pt x="607505" y="1028414"/>
                  </a:lnTo>
                  <a:lnTo>
                    <a:pt x="611219" y="1019937"/>
                  </a:lnTo>
                  <a:lnTo>
                    <a:pt x="616553" y="1024033"/>
                  </a:lnTo>
                  <a:lnTo>
                    <a:pt x="619315" y="1020509"/>
                  </a:lnTo>
                  <a:lnTo>
                    <a:pt x="619125" y="1018889"/>
                  </a:lnTo>
                  <a:lnTo>
                    <a:pt x="619506" y="1009174"/>
                  </a:lnTo>
                  <a:lnTo>
                    <a:pt x="619315" y="1007650"/>
                  </a:lnTo>
                  <a:lnTo>
                    <a:pt x="622649" y="1008793"/>
                  </a:lnTo>
                  <a:lnTo>
                    <a:pt x="635508" y="1008793"/>
                  </a:lnTo>
                  <a:lnTo>
                    <a:pt x="643033" y="1004602"/>
                  </a:lnTo>
                  <a:lnTo>
                    <a:pt x="645128" y="996315"/>
                  </a:lnTo>
                  <a:lnTo>
                    <a:pt x="645128" y="996315"/>
                  </a:lnTo>
                  <a:lnTo>
                    <a:pt x="649891" y="995743"/>
                  </a:lnTo>
                  <a:lnTo>
                    <a:pt x="651034" y="992410"/>
                  </a:lnTo>
                  <a:lnTo>
                    <a:pt x="652653" y="992124"/>
                  </a:lnTo>
                  <a:lnTo>
                    <a:pt x="652463" y="990600"/>
                  </a:lnTo>
                  <a:lnTo>
                    <a:pt x="645890" y="989838"/>
                  </a:lnTo>
                  <a:lnTo>
                    <a:pt x="650081" y="984504"/>
                  </a:lnTo>
                  <a:lnTo>
                    <a:pt x="651605" y="984313"/>
                  </a:lnTo>
                  <a:lnTo>
                    <a:pt x="658939" y="978503"/>
                  </a:lnTo>
                  <a:lnTo>
                    <a:pt x="661511" y="973360"/>
                  </a:lnTo>
                  <a:lnTo>
                    <a:pt x="668369" y="977360"/>
                  </a:lnTo>
                  <a:lnTo>
                    <a:pt x="673894" y="970217"/>
                  </a:lnTo>
                  <a:lnTo>
                    <a:pt x="680847" y="974122"/>
                  </a:lnTo>
                  <a:lnTo>
                    <a:pt x="683323" y="968978"/>
                  </a:lnTo>
                  <a:lnTo>
                    <a:pt x="691896" y="972788"/>
                  </a:lnTo>
                  <a:lnTo>
                    <a:pt x="695039" y="972312"/>
                  </a:lnTo>
                  <a:lnTo>
                    <a:pt x="695801" y="978694"/>
                  </a:lnTo>
                  <a:lnTo>
                    <a:pt x="701897" y="976313"/>
                  </a:lnTo>
                  <a:lnTo>
                    <a:pt x="698373" y="973550"/>
                  </a:lnTo>
                  <a:lnTo>
                    <a:pt x="701135" y="969931"/>
                  </a:lnTo>
                  <a:lnTo>
                    <a:pt x="704279" y="969550"/>
                  </a:lnTo>
                  <a:lnTo>
                    <a:pt x="705898" y="969359"/>
                  </a:lnTo>
                  <a:lnTo>
                    <a:pt x="703707" y="964787"/>
                  </a:lnTo>
                  <a:lnTo>
                    <a:pt x="705231" y="964597"/>
                  </a:lnTo>
                  <a:lnTo>
                    <a:pt x="706660" y="962787"/>
                  </a:lnTo>
                  <a:lnTo>
                    <a:pt x="703231" y="961644"/>
                  </a:lnTo>
                  <a:lnTo>
                    <a:pt x="707231" y="954786"/>
                  </a:lnTo>
                  <a:lnTo>
                    <a:pt x="706564" y="950024"/>
                  </a:lnTo>
                  <a:lnTo>
                    <a:pt x="709327" y="946404"/>
                  </a:lnTo>
                  <a:lnTo>
                    <a:pt x="706946" y="940308"/>
                  </a:lnTo>
                  <a:lnTo>
                    <a:pt x="710374" y="941546"/>
                  </a:lnTo>
                  <a:lnTo>
                    <a:pt x="715042" y="940880"/>
                  </a:lnTo>
                  <a:lnTo>
                    <a:pt x="725519" y="947642"/>
                  </a:lnTo>
                  <a:lnTo>
                    <a:pt x="725710" y="949166"/>
                  </a:lnTo>
                  <a:lnTo>
                    <a:pt x="721042" y="949738"/>
                  </a:lnTo>
                  <a:lnTo>
                    <a:pt x="719614" y="951547"/>
                  </a:lnTo>
                  <a:lnTo>
                    <a:pt x="724567" y="952500"/>
                  </a:lnTo>
                  <a:lnTo>
                    <a:pt x="727520" y="950595"/>
                  </a:lnTo>
                  <a:lnTo>
                    <a:pt x="729520" y="953548"/>
                  </a:lnTo>
                  <a:lnTo>
                    <a:pt x="734949" y="946404"/>
                  </a:lnTo>
                  <a:lnTo>
                    <a:pt x="743903" y="940403"/>
                  </a:lnTo>
                  <a:lnTo>
                    <a:pt x="740473" y="939260"/>
                  </a:lnTo>
                  <a:lnTo>
                    <a:pt x="740473" y="926497"/>
                  </a:lnTo>
                  <a:lnTo>
                    <a:pt x="750951" y="933164"/>
                  </a:lnTo>
                  <a:lnTo>
                    <a:pt x="754856" y="926211"/>
                  </a:lnTo>
                  <a:lnTo>
                    <a:pt x="762190" y="920496"/>
                  </a:lnTo>
                  <a:lnTo>
                    <a:pt x="764191" y="923449"/>
                  </a:lnTo>
                  <a:lnTo>
                    <a:pt x="764572" y="926592"/>
                  </a:lnTo>
                  <a:lnTo>
                    <a:pt x="766763" y="931164"/>
                  </a:lnTo>
                  <a:lnTo>
                    <a:pt x="770096" y="932307"/>
                  </a:lnTo>
                  <a:lnTo>
                    <a:pt x="768953" y="935641"/>
                  </a:lnTo>
                  <a:lnTo>
                    <a:pt x="767524" y="937451"/>
                  </a:lnTo>
                  <a:lnTo>
                    <a:pt x="769525" y="940403"/>
                  </a:lnTo>
                  <a:lnTo>
                    <a:pt x="767715" y="938975"/>
                  </a:lnTo>
                  <a:lnTo>
                    <a:pt x="768096" y="942213"/>
                  </a:lnTo>
                  <a:lnTo>
                    <a:pt x="771334" y="941737"/>
                  </a:lnTo>
                  <a:lnTo>
                    <a:pt x="773239" y="944689"/>
                  </a:lnTo>
                  <a:lnTo>
                    <a:pt x="774668" y="942975"/>
                  </a:lnTo>
                  <a:lnTo>
                    <a:pt x="774287" y="939832"/>
                  </a:lnTo>
                  <a:lnTo>
                    <a:pt x="774478" y="941356"/>
                  </a:lnTo>
                  <a:lnTo>
                    <a:pt x="778002" y="944118"/>
                  </a:lnTo>
                  <a:lnTo>
                    <a:pt x="774859" y="944499"/>
                  </a:lnTo>
                  <a:lnTo>
                    <a:pt x="776859" y="947452"/>
                  </a:lnTo>
                  <a:lnTo>
                    <a:pt x="784003" y="952976"/>
                  </a:lnTo>
                  <a:lnTo>
                    <a:pt x="790480" y="953738"/>
                  </a:lnTo>
                  <a:lnTo>
                    <a:pt x="798576" y="954310"/>
                  </a:lnTo>
                  <a:lnTo>
                    <a:pt x="801529" y="952309"/>
                  </a:lnTo>
                  <a:lnTo>
                    <a:pt x="804672" y="951929"/>
                  </a:lnTo>
                  <a:lnTo>
                    <a:pt x="808577" y="945071"/>
                  </a:lnTo>
                  <a:lnTo>
                    <a:pt x="813340" y="944404"/>
                  </a:lnTo>
                  <a:lnTo>
                    <a:pt x="814102" y="937927"/>
                  </a:lnTo>
                  <a:lnTo>
                    <a:pt x="812101" y="934974"/>
                  </a:lnTo>
                  <a:lnTo>
                    <a:pt x="811721" y="931831"/>
                  </a:lnTo>
                  <a:lnTo>
                    <a:pt x="814864" y="931355"/>
                  </a:lnTo>
                  <a:lnTo>
                    <a:pt x="816673" y="932783"/>
                  </a:lnTo>
                  <a:lnTo>
                    <a:pt x="817245" y="937546"/>
                  </a:lnTo>
                  <a:lnTo>
                    <a:pt x="822007" y="936879"/>
                  </a:lnTo>
                  <a:lnTo>
                    <a:pt x="822198" y="938498"/>
                  </a:lnTo>
                  <a:lnTo>
                    <a:pt x="826961" y="937927"/>
                  </a:lnTo>
                  <a:lnTo>
                    <a:pt x="828484" y="937641"/>
                  </a:lnTo>
                  <a:lnTo>
                    <a:pt x="835628" y="943166"/>
                  </a:lnTo>
                  <a:lnTo>
                    <a:pt x="838962" y="944404"/>
                  </a:lnTo>
                  <a:lnTo>
                    <a:pt x="840200" y="940975"/>
                  </a:lnTo>
                  <a:lnTo>
                    <a:pt x="845058" y="942022"/>
                  </a:lnTo>
                  <a:lnTo>
                    <a:pt x="849058" y="947928"/>
                  </a:lnTo>
                  <a:lnTo>
                    <a:pt x="852583" y="950690"/>
                  </a:lnTo>
                  <a:lnTo>
                    <a:pt x="852392" y="949071"/>
                  </a:lnTo>
                  <a:lnTo>
                    <a:pt x="850011" y="942975"/>
                  </a:lnTo>
                  <a:lnTo>
                    <a:pt x="851440" y="941165"/>
                  </a:lnTo>
                  <a:lnTo>
                    <a:pt x="856107" y="940594"/>
                  </a:lnTo>
                  <a:lnTo>
                    <a:pt x="861250" y="943166"/>
                  </a:lnTo>
                  <a:lnTo>
                    <a:pt x="862489" y="939737"/>
                  </a:lnTo>
                  <a:lnTo>
                    <a:pt x="863822" y="938022"/>
                  </a:lnTo>
                  <a:lnTo>
                    <a:pt x="874109" y="943070"/>
                  </a:lnTo>
                  <a:lnTo>
                    <a:pt x="875443" y="941356"/>
                  </a:lnTo>
                  <a:lnTo>
                    <a:pt x="878396" y="939355"/>
                  </a:lnTo>
                  <a:lnTo>
                    <a:pt x="875062" y="938117"/>
                  </a:lnTo>
                  <a:lnTo>
                    <a:pt x="878014" y="936212"/>
                  </a:lnTo>
                  <a:lnTo>
                    <a:pt x="878967" y="931259"/>
                  </a:lnTo>
                  <a:lnTo>
                    <a:pt x="882205" y="930878"/>
                  </a:lnTo>
                  <a:lnTo>
                    <a:pt x="884396" y="935355"/>
                  </a:lnTo>
                  <a:lnTo>
                    <a:pt x="893445" y="930974"/>
                  </a:lnTo>
                  <a:lnTo>
                    <a:pt x="893064" y="927830"/>
                  </a:lnTo>
                  <a:lnTo>
                    <a:pt x="889635" y="926687"/>
                  </a:lnTo>
                  <a:lnTo>
                    <a:pt x="889063" y="921925"/>
                  </a:lnTo>
                  <a:lnTo>
                    <a:pt x="880586" y="918210"/>
                  </a:lnTo>
                  <a:lnTo>
                    <a:pt x="886015" y="911066"/>
                  </a:lnTo>
                  <a:lnTo>
                    <a:pt x="884301" y="909733"/>
                  </a:lnTo>
                  <a:lnTo>
                    <a:pt x="886015" y="911066"/>
                  </a:lnTo>
                  <a:lnTo>
                    <a:pt x="896493" y="904970"/>
                  </a:lnTo>
                  <a:lnTo>
                    <a:pt x="901255" y="904399"/>
                  </a:lnTo>
                  <a:lnTo>
                    <a:pt x="904018" y="900779"/>
                  </a:lnTo>
                  <a:lnTo>
                    <a:pt x="908780" y="900208"/>
                  </a:lnTo>
                  <a:lnTo>
                    <a:pt x="915638" y="904113"/>
                  </a:lnTo>
                  <a:lnTo>
                    <a:pt x="918400" y="900589"/>
                  </a:lnTo>
                  <a:lnTo>
                    <a:pt x="923544" y="903161"/>
                  </a:lnTo>
                  <a:lnTo>
                    <a:pt x="931069" y="898970"/>
                  </a:lnTo>
                  <a:lnTo>
                    <a:pt x="937927" y="902875"/>
                  </a:lnTo>
                  <a:lnTo>
                    <a:pt x="942118" y="897541"/>
                  </a:lnTo>
                  <a:lnTo>
                    <a:pt x="941641" y="894397"/>
                  </a:lnTo>
                  <a:lnTo>
                    <a:pt x="945832" y="889063"/>
                  </a:lnTo>
                  <a:lnTo>
                    <a:pt x="950500" y="888492"/>
                  </a:lnTo>
                  <a:lnTo>
                    <a:pt x="950119" y="885349"/>
                  </a:lnTo>
                  <a:lnTo>
                    <a:pt x="944213" y="876395"/>
                  </a:lnTo>
                  <a:lnTo>
                    <a:pt x="945166" y="871538"/>
                  </a:lnTo>
                  <a:lnTo>
                    <a:pt x="949928" y="870871"/>
                  </a:lnTo>
                  <a:lnTo>
                    <a:pt x="956405" y="871633"/>
                  </a:lnTo>
                  <a:lnTo>
                    <a:pt x="960977" y="869442"/>
                  </a:lnTo>
                  <a:lnTo>
                    <a:pt x="964121" y="869061"/>
                  </a:lnTo>
                  <a:lnTo>
                    <a:pt x="965263" y="865727"/>
                  </a:lnTo>
                  <a:lnTo>
                    <a:pt x="969836" y="863537"/>
                  </a:lnTo>
                  <a:lnTo>
                    <a:pt x="970979" y="860203"/>
                  </a:lnTo>
                  <a:lnTo>
                    <a:pt x="973741" y="856679"/>
                  </a:lnTo>
                  <a:lnTo>
                    <a:pt x="976313" y="851535"/>
                  </a:lnTo>
                  <a:lnTo>
                    <a:pt x="978122" y="852868"/>
                  </a:lnTo>
                  <a:lnTo>
                    <a:pt x="977837" y="851249"/>
                  </a:lnTo>
                  <a:lnTo>
                    <a:pt x="980599" y="834962"/>
                  </a:lnTo>
                  <a:lnTo>
                    <a:pt x="977455" y="835343"/>
                  </a:lnTo>
                  <a:lnTo>
                    <a:pt x="976884" y="830580"/>
                  </a:lnTo>
                  <a:lnTo>
                    <a:pt x="968788" y="830009"/>
                  </a:lnTo>
                  <a:lnTo>
                    <a:pt x="972503" y="821531"/>
                  </a:lnTo>
                  <a:lnTo>
                    <a:pt x="971836" y="816769"/>
                  </a:lnTo>
                  <a:lnTo>
                    <a:pt x="968502" y="815626"/>
                  </a:lnTo>
                  <a:lnTo>
                    <a:pt x="969073" y="820388"/>
                  </a:lnTo>
                  <a:lnTo>
                    <a:pt x="961834" y="826103"/>
                  </a:lnTo>
                  <a:lnTo>
                    <a:pt x="956881" y="825151"/>
                  </a:lnTo>
                  <a:lnTo>
                    <a:pt x="955738" y="828484"/>
                  </a:lnTo>
                  <a:lnTo>
                    <a:pt x="954119" y="828675"/>
                  </a:lnTo>
                  <a:lnTo>
                    <a:pt x="956691" y="823532"/>
                  </a:lnTo>
                  <a:lnTo>
                    <a:pt x="957643" y="818579"/>
                  </a:lnTo>
                  <a:lnTo>
                    <a:pt x="959453" y="820007"/>
                  </a:lnTo>
                  <a:lnTo>
                    <a:pt x="962215" y="816388"/>
                  </a:lnTo>
                  <a:lnTo>
                    <a:pt x="956691" y="810673"/>
                  </a:lnTo>
                  <a:lnTo>
                    <a:pt x="956024" y="806005"/>
                  </a:lnTo>
                  <a:lnTo>
                    <a:pt x="953929" y="801434"/>
                  </a:lnTo>
                  <a:lnTo>
                    <a:pt x="949357" y="803624"/>
                  </a:lnTo>
                  <a:lnTo>
                    <a:pt x="951929" y="798481"/>
                  </a:lnTo>
                  <a:lnTo>
                    <a:pt x="946975" y="797528"/>
                  </a:lnTo>
                  <a:lnTo>
                    <a:pt x="949738" y="793909"/>
                  </a:lnTo>
                  <a:lnTo>
                    <a:pt x="951643" y="784098"/>
                  </a:lnTo>
                  <a:lnTo>
                    <a:pt x="959548" y="783050"/>
                  </a:lnTo>
                  <a:lnTo>
                    <a:pt x="969455" y="785051"/>
                  </a:lnTo>
                  <a:lnTo>
                    <a:pt x="972217" y="781431"/>
                  </a:lnTo>
                  <a:lnTo>
                    <a:pt x="971740" y="778288"/>
                  </a:lnTo>
                  <a:lnTo>
                    <a:pt x="978694" y="782193"/>
                  </a:lnTo>
                  <a:lnTo>
                    <a:pt x="982408" y="773716"/>
                  </a:lnTo>
                  <a:lnTo>
                    <a:pt x="977455" y="772763"/>
                  </a:lnTo>
                  <a:lnTo>
                    <a:pt x="976122" y="761714"/>
                  </a:lnTo>
                  <a:lnTo>
                    <a:pt x="977265" y="758380"/>
                  </a:lnTo>
                  <a:lnTo>
                    <a:pt x="979075" y="759714"/>
                  </a:lnTo>
                  <a:lnTo>
                    <a:pt x="980027" y="754761"/>
                  </a:lnTo>
                  <a:lnTo>
                    <a:pt x="974503" y="749046"/>
                  </a:lnTo>
                  <a:lnTo>
                    <a:pt x="970693" y="744760"/>
                  </a:lnTo>
                  <a:lnTo>
                    <a:pt x="966025" y="745331"/>
                  </a:lnTo>
                  <a:lnTo>
                    <a:pt x="959263" y="743045"/>
                  </a:lnTo>
                  <a:lnTo>
                    <a:pt x="954500" y="743617"/>
                  </a:lnTo>
                  <a:lnTo>
                    <a:pt x="950976" y="740855"/>
                  </a:lnTo>
                  <a:lnTo>
                    <a:pt x="954691" y="732377"/>
                  </a:lnTo>
                  <a:lnTo>
                    <a:pt x="952309" y="726281"/>
                  </a:lnTo>
                  <a:lnTo>
                    <a:pt x="954881" y="721138"/>
                  </a:lnTo>
                  <a:lnTo>
                    <a:pt x="959548" y="707708"/>
                  </a:lnTo>
                  <a:lnTo>
                    <a:pt x="963739" y="702374"/>
                  </a:lnTo>
                  <a:lnTo>
                    <a:pt x="963073" y="697611"/>
                  </a:lnTo>
                  <a:lnTo>
                    <a:pt x="965835" y="694087"/>
                  </a:lnTo>
                  <a:lnTo>
                    <a:pt x="967454" y="693896"/>
                  </a:lnTo>
                  <a:lnTo>
                    <a:pt x="973741" y="693039"/>
                  </a:lnTo>
                  <a:lnTo>
                    <a:pt x="975741" y="695992"/>
                  </a:lnTo>
                  <a:lnTo>
                    <a:pt x="978884" y="695611"/>
                  </a:lnTo>
                  <a:lnTo>
                    <a:pt x="980218" y="693801"/>
                  </a:lnTo>
                  <a:lnTo>
                    <a:pt x="984790" y="691610"/>
                  </a:lnTo>
                  <a:lnTo>
                    <a:pt x="986123" y="689896"/>
                  </a:lnTo>
                  <a:lnTo>
                    <a:pt x="989362" y="689420"/>
                  </a:lnTo>
                  <a:lnTo>
                    <a:pt x="988314" y="681609"/>
                  </a:lnTo>
                  <a:lnTo>
                    <a:pt x="981361" y="677609"/>
                  </a:lnTo>
                  <a:lnTo>
                    <a:pt x="982408" y="672751"/>
                  </a:lnTo>
                  <a:lnTo>
                    <a:pt x="979075" y="671513"/>
                  </a:lnTo>
                  <a:lnTo>
                    <a:pt x="978789" y="669988"/>
                  </a:lnTo>
                  <a:lnTo>
                    <a:pt x="969359" y="671132"/>
                  </a:lnTo>
                  <a:lnTo>
                    <a:pt x="967168" y="666655"/>
                  </a:lnTo>
                  <a:lnTo>
                    <a:pt x="966121" y="658749"/>
                  </a:lnTo>
                  <a:lnTo>
                    <a:pt x="968312" y="650462"/>
                  </a:lnTo>
                  <a:lnTo>
                    <a:pt x="969740" y="648653"/>
                  </a:lnTo>
                  <a:lnTo>
                    <a:pt x="971455" y="650081"/>
                  </a:lnTo>
                  <a:lnTo>
                    <a:pt x="979170" y="647509"/>
                  </a:lnTo>
                  <a:lnTo>
                    <a:pt x="978789" y="644271"/>
                  </a:lnTo>
                  <a:lnTo>
                    <a:pt x="983742" y="645319"/>
                  </a:lnTo>
                  <a:lnTo>
                    <a:pt x="983456" y="643700"/>
                  </a:lnTo>
                  <a:lnTo>
                    <a:pt x="979932" y="640937"/>
                  </a:lnTo>
                  <a:lnTo>
                    <a:pt x="982694" y="637413"/>
                  </a:lnTo>
                  <a:lnTo>
                    <a:pt x="987457" y="636746"/>
                  </a:lnTo>
                  <a:lnTo>
                    <a:pt x="990219" y="633222"/>
                  </a:lnTo>
                  <a:lnTo>
                    <a:pt x="989552" y="628459"/>
                  </a:lnTo>
                  <a:lnTo>
                    <a:pt x="992505" y="626555"/>
                  </a:lnTo>
                  <a:lnTo>
                    <a:pt x="988600" y="620554"/>
                  </a:lnTo>
                  <a:lnTo>
                    <a:pt x="989933" y="618839"/>
                  </a:lnTo>
                  <a:lnTo>
                    <a:pt x="989743" y="617220"/>
                  </a:lnTo>
                  <a:lnTo>
                    <a:pt x="989171" y="612553"/>
                  </a:lnTo>
                  <a:lnTo>
                    <a:pt x="990695" y="612267"/>
                  </a:lnTo>
                  <a:lnTo>
                    <a:pt x="998601" y="611314"/>
                  </a:lnTo>
                  <a:lnTo>
                    <a:pt x="1002982" y="607505"/>
                  </a:lnTo>
                  <a:lnTo>
                    <a:pt x="1006316" y="608743"/>
                  </a:lnTo>
                  <a:lnTo>
                    <a:pt x="1017937" y="599218"/>
                  </a:lnTo>
                  <a:lnTo>
                    <a:pt x="1020699" y="595693"/>
                  </a:lnTo>
                  <a:lnTo>
                    <a:pt x="1020032" y="590931"/>
                  </a:lnTo>
                  <a:lnTo>
                    <a:pt x="1021461" y="589121"/>
                  </a:lnTo>
                  <a:lnTo>
                    <a:pt x="1027747" y="588359"/>
                  </a:lnTo>
                  <a:lnTo>
                    <a:pt x="1028605" y="594646"/>
                  </a:lnTo>
                  <a:lnTo>
                    <a:pt x="1031938" y="595789"/>
                  </a:lnTo>
                  <a:lnTo>
                    <a:pt x="1031748" y="594265"/>
                  </a:lnTo>
                  <a:lnTo>
                    <a:pt x="1035844" y="588931"/>
                  </a:lnTo>
                  <a:lnTo>
                    <a:pt x="1035653" y="587312"/>
                  </a:lnTo>
                  <a:lnTo>
                    <a:pt x="1040416" y="586740"/>
                  </a:lnTo>
                  <a:lnTo>
                    <a:pt x="1047655" y="581025"/>
                  </a:lnTo>
                  <a:lnTo>
                    <a:pt x="1048893" y="577691"/>
                  </a:lnTo>
                  <a:lnTo>
                    <a:pt x="1055180" y="576834"/>
                  </a:lnTo>
                  <a:lnTo>
                    <a:pt x="1056132" y="571881"/>
                  </a:lnTo>
                  <a:lnTo>
                    <a:pt x="1052798" y="570738"/>
                  </a:lnTo>
                  <a:lnTo>
                    <a:pt x="1056132" y="571881"/>
                  </a:lnTo>
                  <a:lnTo>
                    <a:pt x="1052417" y="567595"/>
                  </a:lnTo>
                  <a:lnTo>
                    <a:pt x="1052227" y="565976"/>
                  </a:lnTo>
                  <a:lnTo>
                    <a:pt x="1046416" y="558737"/>
                  </a:lnTo>
                  <a:lnTo>
                    <a:pt x="1051941" y="551593"/>
                  </a:lnTo>
                  <a:lnTo>
                    <a:pt x="1048798" y="551974"/>
                  </a:lnTo>
                  <a:lnTo>
                    <a:pt x="1045845" y="541115"/>
                  </a:lnTo>
                  <a:lnTo>
                    <a:pt x="1045559" y="539591"/>
                  </a:lnTo>
                  <a:lnTo>
                    <a:pt x="1048988" y="540734"/>
                  </a:lnTo>
                  <a:lnTo>
                    <a:pt x="1048322" y="535972"/>
                  </a:lnTo>
                  <a:lnTo>
                    <a:pt x="1050512" y="527685"/>
                  </a:lnTo>
                  <a:lnTo>
                    <a:pt x="1049750" y="521399"/>
                  </a:lnTo>
                  <a:lnTo>
                    <a:pt x="1050893" y="518065"/>
                  </a:lnTo>
                  <a:lnTo>
                    <a:pt x="1053656" y="514445"/>
                  </a:lnTo>
                  <a:lnTo>
                    <a:pt x="1052798" y="508159"/>
                  </a:lnTo>
                  <a:lnTo>
                    <a:pt x="1046893" y="512159"/>
                  </a:lnTo>
                  <a:lnTo>
                    <a:pt x="1043559" y="510921"/>
                  </a:lnTo>
                  <a:lnTo>
                    <a:pt x="1041368" y="506444"/>
                  </a:lnTo>
                  <a:lnTo>
                    <a:pt x="1045750" y="502634"/>
                  </a:lnTo>
                  <a:lnTo>
                    <a:pt x="1042130" y="499872"/>
                  </a:lnTo>
                  <a:lnTo>
                    <a:pt x="1043368" y="496538"/>
                  </a:lnTo>
                  <a:lnTo>
                    <a:pt x="1046131" y="493014"/>
                  </a:lnTo>
                  <a:lnTo>
                    <a:pt x="1038415" y="482727"/>
                  </a:lnTo>
                  <a:lnTo>
                    <a:pt x="1039178" y="476250"/>
                  </a:lnTo>
                  <a:lnTo>
                    <a:pt x="1041654" y="471107"/>
                  </a:lnTo>
                  <a:lnTo>
                    <a:pt x="1047559" y="467106"/>
                  </a:lnTo>
                  <a:lnTo>
                    <a:pt x="1049941" y="460438"/>
                  </a:lnTo>
                  <a:lnTo>
                    <a:pt x="1044226" y="453104"/>
                  </a:lnTo>
                  <a:lnTo>
                    <a:pt x="1054703" y="447008"/>
                  </a:lnTo>
                  <a:lnTo>
                    <a:pt x="1055465" y="440436"/>
                  </a:lnTo>
                  <a:lnTo>
                    <a:pt x="1048893" y="439674"/>
                  </a:lnTo>
                  <a:lnTo>
                    <a:pt x="1046893" y="436721"/>
                  </a:lnTo>
                  <a:lnTo>
                    <a:pt x="1046512" y="433578"/>
                  </a:lnTo>
                  <a:lnTo>
                    <a:pt x="1050893" y="429863"/>
                  </a:lnTo>
                  <a:lnTo>
                    <a:pt x="1045940" y="428911"/>
                  </a:lnTo>
                  <a:lnTo>
                    <a:pt x="1044797" y="432245"/>
                  </a:lnTo>
                  <a:lnTo>
                    <a:pt x="1042988" y="430816"/>
                  </a:lnTo>
                  <a:lnTo>
                    <a:pt x="1036034" y="426911"/>
                  </a:lnTo>
                  <a:lnTo>
                    <a:pt x="1033843" y="422338"/>
                  </a:lnTo>
                  <a:lnTo>
                    <a:pt x="1035082" y="419005"/>
                  </a:lnTo>
                  <a:lnTo>
                    <a:pt x="1034891" y="417481"/>
                  </a:lnTo>
                  <a:lnTo>
                    <a:pt x="1029557" y="413290"/>
                  </a:lnTo>
                  <a:lnTo>
                    <a:pt x="1030891" y="411575"/>
                  </a:lnTo>
                  <a:lnTo>
                    <a:pt x="1037177" y="410718"/>
                  </a:lnTo>
                  <a:lnTo>
                    <a:pt x="1039178" y="413671"/>
                  </a:lnTo>
                  <a:lnTo>
                    <a:pt x="1043559" y="422720"/>
                  </a:lnTo>
                  <a:lnTo>
                    <a:pt x="1051274" y="420148"/>
                  </a:lnTo>
                  <a:lnTo>
                    <a:pt x="1054037" y="416624"/>
                  </a:lnTo>
                  <a:lnTo>
                    <a:pt x="1053560" y="413480"/>
                  </a:lnTo>
                  <a:lnTo>
                    <a:pt x="1059466" y="409480"/>
                  </a:lnTo>
                  <a:lnTo>
                    <a:pt x="1063276" y="401003"/>
                  </a:lnTo>
                  <a:lnTo>
                    <a:pt x="1067943" y="400431"/>
                  </a:lnTo>
                  <a:lnTo>
                    <a:pt x="1073848" y="383572"/>
                  </a:lnTo>
                  <a:lnTo>
                    <a:pt x="1072801" y="375761"/>
                  </a:lnTo>
                  <a:lnTo>
                    <a:pt x="1072801" y="37576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1" name="Volný tvar: obrazec 30">
              <a:extLst>
                <a:ext uri="{FF2B5EF4-FFF2-40B4-BE49-F238E27FC236}">
                  <a16:creationId xmlns:a16="http://schemas.microsoft.com/office/drawing/2014/main" id="{40359B10-1D36-375E-5EC4-8EDC7A6DD70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7247858" y="3717035"/>
              <a:ext cx="910018" cy="791432"/>
            </a:xfrm>
            <a:custGeom>
              <a:avLst/>
              <a:gdLst>
                <a:gd name="connsiteX0" fmla="*/ 910019 w 910018"/>
                <a:gd name="connsiteY0" fmla="*/ 184690 h 791432"/>
                <a:gd name="connsiteX1" fmla="*/ 904208 w 910018"/>
                <a:gd name="connsiteY1" fmla="*/ 164497 h 791432"/>
                <a:gd name="connsiteX2" fmla="*/ 903637 w 910018"/>
                <a:gd name="connsiteY2" fmla="*/ 159829 h 791432"/>
                <a:gd name="connsiteX3" fmla="*/ 901255 w 910018"/>
                <a:gd name="connsiteY3" fmla="*/ 153734 h 791432"/>
                <a:gd name="connsiteX4" fmla="*/ 896112 w 910018"/>
                <a:gd name="connsiteY4" fmla="*/ 151162 h 791432"/>
                <a:gd name="connsiteX5" fmla="*/ 891350 w 910018"/>
                <a:gd name="connsiteY5" fmla="*/ 151733 h 791432"/>
                <a:gd name="connsiteX6" fmla="*/ 884206 w 910018"/>
                <a:gd name="connsiteY6" fmla="*/ 146209 h 791432"/>
                <a:gd name="connsiteX7" fmla="*/ 879253 w 910018"/>
                <a:gd name="connsiteY7" fmla="*/ 145256 h 791432"/>
                <a:gd name="connsiteX8" fmla="*/ 871442 w 910018"/>
                <a:gd name="connsiteY8" fmla="*/ 146304 h 791432"/>
                <a:gd name="connsiteX9" fmla="*/ 876681 w 910018"/>
                <a:gd name="connsiteY9" fmla="*/ 124777 h 791432"/>
                <a:gd name="connsiteX10" fmla="*/ 871919 w 910018"/>
                <a:gd name="connsiteY10" fmla="*/ 112490 h 791432"/>
                <a:gd name="connsiteX11" fmla="*/ 867156 w 910018"/>
                <a:gd name="connsiteY11" fmla="*/ 113157 h 791432"/>
                <a:gd name="connsiteX12" fmla="*/ 865156 w 910018"/>
                <a:gd name="connsiteY12" fmla="*/ 110204 h 791432"/>
                <a:gd name="connsiteX13" fmla="*/ 866775 w 910018"/>
                <a:gd name="connsiteY13" fmla="*/ 110014 h 791432"/>
                <a:gd name="connsiteX14" fmla="*/ 864775 w 910018"/>
                <a:gd name="connsiteY14" fmla="*/ 106966 h 791432"/>
                <a:gd name="connsiteX15" fmla="*/ 860393 w 910018"/>
                <a:gd name="connsiteY15" fmla="*/ 97917 h 791432"/>
                <a:gd name="connsiteX16" fmla="*/ 854107 w 910018"/>
                <a:gd name="connsiteY16" fmla="*/ 98774 h 791432"/>
                <a:gd name="connsiteX17" fmla="*/ 845439 w 910018"/>
                <a:gd name="connsiteY17" fmla="*/ 93440 h 791432"/>
                <a:gd name="connsiteX18" fmla="*/ 840486 w 910018"/>
                <a:gd name="connsiteY18" fmla="*/ 92488 h 791432"/>
                <a:gd name="connsiteX19" fmla="*/ 834390 w 910018"/>
                <a:gd name="connsiteY19" fmla="*/ 82010 h 791432"/>
                <a:gd name="connsiteX20" fmla="*/ 828770 w 910018"/>
                <a:gd name="connsiteY20" fmla="*/ 76295 h 791432"/>
                <a:gd name="connsiteX21" fmla="*/ 826008 w 910018"/>
                <a:gd name="connsiteY21" fmla="*/ 54197 h 791432"/>
                <a:gd name="connsiteX22" fmla="*/ 822198 w 910018"/>
                <a:gd name="connsiteY22" fmla="*/ 49911 h 791432"/>
                <a:gd name="connsiteX23" fmla="*/ 815530 w 910018"/>
                <a:gd name="connsiteY23" fmla="*/ 47530 h 791432"/>
                <a:gd name="connsiteX24" fmla="*/ 804101 w 910018"/>
                <a:gd name="connsiteY24" fmla="*/ 45815 h 791432"/>
                <a:gd name="connsiteX25" fmla="*/ 799338 w 910018"/>
                <a:gd name="connsiteY25" fmla="*/ 46387 h 791432"/>
                <a:gd name="connsiteX26" fmla="*/ 794195 w 910018"/>
                <a:gd name="connsiteY26" fmla="*/ 56674 h 791432"/>
                <a:gd name="connsiteX27" fmla="*/ 789718 w 910018"/>
                <a:gd name="connsiteY27" fmla="*/ 58864 h 791432"/>
                <a:gd name="connsiteX28" fmla="*/ 769811 w 910018"/>
                <a:gd name="connsiteY28" fmla="*/ 53340 h 791432"/>
                <a:gd name="connsiteX29" fmla="*/ 765810 w 910018"/>
                <a:gd name="connsiteY29" fmla="*/ 47434 h 791432"/>
                <a:gd name="connsiteX30" fmla="*/ 762667 w 910018"/>
                <a:gd name="connsiteY30" fmla="*/ 47815 h 791432"/>
                <a:gd name="connsiteX31" fmla="*/ 753618 w 910018"/>
                <a:gd name="connsiteY31" fmla="*/ 52197 h 791432"/>
                <a:gd name="connsiteX32" fmla="*/ 745046 w 910018"/>
                <a:gd name="connsiteY32" fmla="*/ 48482 h 791432"/>
                <a:gd name="connsiteX33" fmla="*/ 733806 w 910018"/>
                <a:gd name="connsiteY33" fmla="*/ 35528 h 791432"/>
                <a:gd name="connsiteX34" fmla="*/ 729234 w 910018"/>
                <a:gd name="connsiteY34" fmla="*/ 24860 h 791432"/>
                <a:gd name="connsiteX35" fmla="*/ 725710 w 910018"/>
                <a:gd name="connsiteY35" fmla="*/ 22098 h 791432"/>
                <a:gd name="connsiteX36" fmla="*/ 721328 w 910018"/>
                <a:gd name="connsiteY36" fmla="*/ 25908 h 791432"/>
                <a:gd name="connsiteX37" fmla="*/ 705803 w 910018"/>
                <a:gd name="connsiteY37" fmla="*/ 29432 h 791432"/>
                <a:gd name="connsiteX38" fmla="*/ 697802 w 910018"/>
                <a:gd name="connsiteY38" fmla="*/ 17621 h 791432"/>
                <a:gd name="connsiteX39" fmla="*/ 687229 w 910018"/>
                <a:gd name="connsiteY39" fmla="*/ 22193 h 791432"/>
                <a:gd name="connsiteX40" fmla="*/ 680657 w 910018"/>
                <a:gd name="connsiteY40" fmla="*/ 21431 h 791432"/>
                <a:gd name="connsiteX41" fmla="*/ 677704 w 910018"/>
                <a:gd name="connsiteY41" fmla="*/ 23431 h 791432"/>
                <a:gd name="connsiteX42" fmla="*/ 669417 w 910018"/>
                <a:gd name="connsiteY42" fmla="*/ 21241 h 791432"/>
                <a:gd name="connsiteX43" fmla="*/ 665131 w 910018"/>
                <a:gd name="connsiteY43" fmla="*/ 25051 h 791432"/>
                <a:gd name="connsiteX44" fmla="*/ 663512 w 910018"/>
                <a:gd name="connsiteY44" fmla="*/ 25241 h 791432"/>
                <a:gd name="connsiteX45" fmla="*/ 655415 w 910018"/>
                <a:gd name="connsiteY45" fmla="*/ 24670 h 791432"/>
                <a:gd name="connsiteX46" fmla="*/ 647795 w 910018"/>
                <a:gd name="connsiteY46" fmla="*/ 27242 h 791432"/>
                <a:gd name="connsiteX47" fmla="*/ 633794 w 910018"/>
                <a:gd name="connsiteY47" fmla="*/ 30575 h 791432"/>
                <a:gd name="connsiteX48" fmla="*/ 618744 w 910018"/>
                <a:gd name="connsiteY48" fmla="*/ 38957 h 791432"/>
                <a:gd name="connsiteX49" fmla="*/ 612458 w 910018"/>
                <a:gd name="connsiteY49" fmla="*/ 39719 h 791432"/>
                <a:gd name="connsiteX50" fmla="*/ 611124 w 910018"/>
                <a:gd name="connsiteY50" fmla="*/ 41529 h 791432"/>
                <a:gd name="connsiteX51" fmla="*/ 604361 w 910018"/>
                <a:gd name="connsiteY51" fmla="*/ 39148 h 791432"/>
                <a:gd name="connsiteX52" fmla="*/ 604742 w 910018"/>
                <a:gd name="connsiteY52" fmla="*/ 29527 h 791432"/>
                <a:gd name="connsiteX53" fmla="*/ 603313 w 910018"/>
                <a:gd name="connsiteY53" fmla="*/ 18478 h 791432"/>
                <a:gd name="connsiteX54" fmla="*/ 595979 w 910018"/>
                <a:gd name="connsiteY54" fmla="*/ 11335 h 791432"/>
                <a:gd name="connsiteX55" fmla="*/ 590074 w 910018"/>
                <a:gd name="connsiteY55" fmla="*/ 2476 h 791432"/>
                <a:gd name="connsiteX56" fmla="*/ 586930 w 910018"/>
                <a:gd name="connsiteY56" fmla="*/ 2857 h 791432"/>
                <a:gd name="connsiteX57" fmla="*/ 585692 w 910018"/>
                <a:gd name="connsiteY57" fmla="*/ 6286 h 791432"/>
                <a:gd name="connsiteX58" fmla="*/ 578644 w 910018"/>
                <a:gd name="connsiteY58" fmla="*/ 762 h 791432"/>
                <a:gd name="connsiteX59" fmla="*/ 572072 w 910018"/>
                <a:gd name="connsiteY59" fmla="*/ 0 h 791432"/>
                <a:gd name="connsiteX60" fmla="*/ 550069 w 910018"/>
                <a:gd name="connsiteY60" fmla="*/ 2762 h 791432"/>
                <a:gd name="connsiteX61" fmla="*/ 547116 w 910018"/>
                <a:gd name="connsiteY61" fmla="*/ 17621 h 791432"/>
                <a:gd name="connsiteX62" fmla="*/ 538829 w 910018"/>
                <a:gd name="connsiteY62" fmla="*/ 28289 h 791432"/>
                <a:gd name="connsiteX63" fmla="*/ 539210 w 910018"/>
                <a:gd name="connsiteY63" fmla="*/ 31432 h 791432"/>
                <a:gd name="connsiteX64" fmla="*/ 539687 w 910018"/>
                <a:gd name="connsiteY64" fmla="*/ 34576 h 791432"/>
                <a:gd name="connsiteX65" fmla="*/ 530352 w 910018"/>
                <a:gd name="connsiteY65" fmla="*/ 37338 h 791432"/>
                <a:gd name="connsiteX66" fmla="*/ 524828 w 910018"/>
                <a:gd name="connsiteY66" fmla="*/ 31623 h 791432"/>
                <a:gd name="connsiteX67" fmla="*/ 520255 w 910018"/>
                <a:gd name="connsiteY67" fmla="*/ 33814 h 791432"/>
                <a:gd name="connsiteX68" fmla="*/ 518351 w 910018"/>
                <a:gd name="connsiteY68" fmla="*/ 30861 h 791432"/>
                <a:gd name="connsiteX69" fmla="*/ 515207 w 910018"/>
                <a:gd name="connsiteY69" fmla="*/ 31242 h 791432"/>
                <a:gd name="connsiteX70" fmla="*/ 513017 w 910018"/>
                <a:gd name="connsiteY70" fmla="*/ 26765 h 791432"/>
                <a:gd name="connsiteX71" fmla="*/ 505111 w 910018"/>
                <a:gd name="connsiteY71" fmla="*/ 27718 h 791432"/>
                <a:gd name="connsiteX72" fmla="*/ 503111 w 910018"/>
                <a:gd name="connsiteY72" fmla="*/ 24765 h 791432"/>
                <a:gd name="connsiteX73" fmla="*/ 499586 w 910018"/>
                <a:gd name="connsiteY73" fmla="*/ 22003 h 791432"/>
                <a:gd name="connsiteX74" fmla="*/ 496443 w 910018"/>
                <a:gd name="connsiteY74" fmla="*/ 22479 h 791432"/>
                <a:gd name="connsiteX75" fmla="*/ 498348 w 910018"/>
                <a:gd name="connsiteY75" fmla="*/ 25432 h 791432"/>
                <a:gd name="connsiteX76" fmla="*/ 498824 w 910018"/>
                <a:gd name="connsiteY76" fmla="*/ 28575 h 791432"/>
                <a:gd name="connsiteX77" fmla="*/ 497777 w 910018"/>
                <a:gd name="connsiteY77" fmla="*/ 33528 h 791432"/>
                <a:gd name="connsiteX78" fmla="*/ 498253 w 910018"/>
                <a:gd name="connsiteY78" fmla="*/ 36671 h 791432"/>
                <a:gd name="connsiteX79" fmla="*/ 496634 w 910018"/>
                <a:gd name="connsiteY79" fmla="*/ 36862 h 791432"/>
                <a:gd name="connsiteX80" fmla="*/ 497396 w 910018"/>
                <a:gd name="connsiteY80" fmla="*/ 43148 h 791432"/>
                <a:gd name="connsiteX81" fmla="*/ 483680 w 910018"/>
                <a:gd name="connsiteY81" fmla="*/ 48101 h 791432"/>
                <a:gd name="connsiteX82" fmla="*/ 480060 w 910018"/>
                <a:gd name="connsiteY82" fmla="*/ 45339 h 791432"/>
                <a:gd name="connsiteX83" fmla="*/ 477488 w 910018"/>
                <a:gd name="connsiteY83" fmla="*/ 50482 h 791432"/>
                <a:gd name="connsiteX84" fmla="*/ 478155 w 910018"/>
                <a:gd name="connsiteY84" fmla="*/ 55245 h 791432"/>
                <a:gd name="connsiteX85" fmla="*/ 476917 w 910018"/>
                <a:gd name="connsiteY85" fmla="*/ 58579 h 791432"/>
                <a:gd name="connsiteX86" fmla="*/ 467868 w 910018"/>
                <a:gd name="connsiteY86" fmla="*/ 62960 h 791432"/>
                <a:gd name="connsiteX87" fmla="*/ 464915 w 910018"/>
                <a:gd name="connsiteY87" fmla="*/ 64960 h 791432"/>
                <a:gd name="connsiteX88" fmla="*/ 461391 w 910018"/>
                <a:gd name="connsiteY88" fmla="*/ 62198 h 791432"/>
                <a:gd name="connsiteX89" fmla="*/ 461772 w 910018"/>
                <a:gd name="connsiteY89" fmla="*/ 65342 h 791432"/>
                <a:gd name="connsiteX90" fmla="*/ 467678 w 910018"/>
                <a:gd name="connsiteY90" fmla="*/ 74200 h 791432"/>
                <a:gd name="connsiteX91" fmla="*/ 470249 w 910018"/>
                <a:gd name="connsiteY91" fmla="*/ 81915 h 791432"/>
                <a:gd name="connsiteX92" fmla="*/ 465963 w 910018"/>
                <a:gd name="connsiteY92" fmla="*/ 85630 h 791432"/>
                <a:gd name="connsiteX93" fmla="*/ 467773 w 910018"/>
                <a:gd name="connsiteY93" fmla="*/ 87058 h 791432"/>
                <a:gd name="connsiteX94" fmla="*/ 464820 w 910018"/>
                <a:gd name="connsiteY94" fmla="*/ 89059 h 791432"/>
                <a:gd name="connsiteX95" fmla="*/ 463582 w 910018"/>
                <a:gd name="connsiteY95" fmla="*/ 92392 h 791432"/>
                <a:gd name="connsiteX96" fmla="*/ 456152 w 910018"/>
                <a:gd name="connsiteY96" fmla="*/ 96583 h 791432"/>
                <a:gd name="connsiteX97" fmla="*/ 456343 w 910018"/>
                <a:gd name="connsiteY97" fmla="*/ 98107 h 791432"/>
                <a:gd name="connsiteX98" fmla="*/ 460058 w 910018"/>
                <a:gd name="connsiteY98" fmla="*/ 102489 h 791432"/>
                <a:gd name="connsiteX99" fmla="*/ 456152 w 910018"/>
                <a:gd name="connsiteY99" fmla="*/ 109347 h 791432"/>
                <a:gd name="connsiteX100" fmla="*/ 456724 w 910018"/>
                <a:gd name="connsiteY100" fmla="*/ 114109 h 791432"/>
                <a:gd name="connsiteX101" fmla="*/ 457200 w 910018"/>
                <a:gd name="connsiteY101" fmla="*/ 117253 h 791432"/>
                <a:gd name="connsiteX102" fmla="*/ 455581 w 910018"/>
                <a:gd name="connsiteY102" fmla="*/ 117443 h 791432"/>
                <a:gd name="connsiteX103" fmla="*/ 455962 w 910018"/>
                <a:gd name="connsiteY103" fmla="*/ 120586 h 791432"/>
                <a:gd name="connsiteX104" fmla="*/ 452819 w 910018"/>
                <a:gd name="connsiteY104" fmla="*/ 121063 h 791432"/>
                <a:gd name="connsiteX105" fmla="*/ 451009 w 910018"/>
                <a:gd name="connsiteY105" fmla="*/ 119634 h 791432"/>
                <a:gd name="connsiteX106" fmla="*/ 447866 w 910018"/>
                <a:gd name="connsiteY106" fmla="*/ 120015 h 791432"/>
                <a:gd name="connsiteX107" fmla="*/ 447675 w 910018"/>
                <a:gd name="connsiteY107" fmla="*/ 118491 h 791432"/>
                <a:gd name="connsiteX108" fmla="*/ 444532 w 910018"/>
                <a:gd name="connsiteY108" fmla="*/ 118872 h 791432"/>
                <a:gd name="connsiteX109" fmla="*/ 430721 w 910018"/>
                <a:gd name="connsiteY109" fmla="*/ 123825 h 791432"/>
                <a:gd name="connsiteX110" fmla="*/ 429387 w 910018"/>
                <a:gd name="connsiteY110" fmla="*/ 125635 h 791432"/>
                <a:gd name="connsiteX111" fmla="*/ 426149 w 910018"/>
                <a:gd name="connsiteY111" fmla="*/ 126016 h 791432"/>
                <a:gd name="connsiteX112" fmla="*/ 419100 w 910018"/>
                <a:gd name="connsiteY112" fmla="*/ 120491 h 791432"/>
                <a:gd name="connsiteX113" fmla="*/ 414338 w 910018"/>
                <a:gd name="connsiteY113" fmla="*/ 121158 h 791432"/>
                <a:gd name="connsiteX114" fmla="*/ 415766 w 910018"/>
                <a:gd name="connsiteY114" fmla="*/ 119348 h 791432"/>
                <a:gd name="connsiteX115" fmla="*/ 408813 w 910018"/>
                <a:gd name="connsiteY115" fmla="*/ 115443 h 791432"/>
                <a:gd name="connsiteX116" fmla="*/ 408622 w 910018"/>
                <a:gd name="connsiteY116" fmla="*/ 113824 h 791432"/>
                <a:gd name="connsiteX117" fmla="*/ 411194 w 910018"/>
                <a:gd name="connsiteY117" fmla="*/ 108680 h 791432"/>
                <a:gd name="connsiteX118" fmla="*/ 407956 w 910018"/>
                <a:gd name="connsiteY118" fmla="*/ 109061 h 791432"/>
                <a:gd name="connsiteX119" fmla="*/ 405860 w 910018"/>
                <a:gd name="connsiteY119" fmla="*/ 104584 h 791432"/>
                <a:gd name="connsiteX120" fmla="*/ 398907 w 910018"/>
                <a:gd name="connsiteY120" fmla="*/ 100584 h 791432"/>
                <a:gd name="connsiteX121" fmla="*/ 396335 w 910018"/>
                <a:gd name="connsiteY121" fmla="*/ 92964 h 791432"/>
                <a:gd name="connsiteX122" fmla="*/ 392239 w 910018"/>
                <a:gd name="connsiteY122" fmla="*/ 98298 h 791432"/>
                <a:gd name="connsiteX123" fmla="*/ 386810 w 910018"/>
                <a:gd name="connsiteY123" fmla="*/ 94107 h 791432"/>
                <a:gd name="connsiteX124" fmla="*/ 382334 w 910018"/>
                <a:gd name="connsiteY124" fmla="*/ 96298 h 791432"/>
                <a:gd name="connsiteX125" fmla="*/ 382905 w 910018"/>
                <a:gd name="connsiteY125" fmla="*/ 101060 h 791432"/>
                <a:gd name="connsiteX126" fmla="*/ 379952 w 910018"/>
                <a:gd name="connsiteY126" fmla="*/ 103060 h 791432"/>
                <a:gd name="connsiteX127" fmla="*/ 380619 w 910018"/>
                <a:gd name="connsiteY127" fmla="*/ 107728 h 791432"/>
                <a:gd name="connsiteX128" fmla="*/ 379190 w 910018"/>
                <a:gd name="connsiteY128" fmla="*/ 109538 h 791432"/>
                <a:gd name="connsiteX129" fmla="*/ 381762 w 910018"/>
                <a:gd name="connsiteY129" fmla="*/ 117253 h 791432"/>
                <a:gd name="connsiteX130" fmla="*/ 377476 w 910018"/>
                <a:gd name="connsiteY130" fmla="*/ 120967 h 791432"/>
                <a:gd name="connsiteX131" fmla="*/ 372523 w 910018"/>
                <a:gd name="connsiteY131" fmla="*/ 120015 h 791432"/>
                <a:gd name="connsiteX132" fmla="*/ 366141 w 910018"/>
                <a:gd name="connsiteY132" fmla="*/ 108013 h 791432"/>
                <a:gd name="connsiteX133" fmla="*/ 358712 w 910018"/>
                <a:gd name="connsiteY133" fmla="*/ 112204 h 791432"/>
                <a:gd name="connsiteX134" fmla="*/ 358521 w 910018"/>
                <a:gd name="connsiteY134" fmla="*/ 110585 h 791432"/>
                <a:gd name="connsiteX135" fmla="*/ 353759 w 910018"/>
                <a:gd name="connsiteY135" fmla="*/ 111157 h 791432"/>
                <a:gd name="connsiteX136" fmla="*/ 352520 w 910018"/>
                <a:gd name="connsiteY136" fmla="*/ 114586 h 791432"/>
                <a:gd name="connsiteX137" fmla="*/ 348805 w 910018"/>
                <a:gd name="connsiteY137" fmla="*/ 110204 h 791432"/>
                <a:gd name="connsiteX138" fmla="*/ 346043 w 910018"/>
                <a:gd name="connsiteY138" fmla="*/ 113728 h 791432"/>
                <a:gd name="connsiteX139" fmla="*/ 349568 w 910018"/>
                <a:gd name="connsiteY139" fmla="*/ 116491 h 791432"/>
                <a:gd name="connsiteX140" fmla="*/ 348425 w 910018"/>
                <a:gd name="connsiteY140" fmla="*/ 119920 h 791432"/>
                <a:gd name="connsiteX141" fmla="*/ 357378 w 910018"/>
                <a:gd name="connsiteY141" fmla="*/ 126778 h 791432"/>
                <a:gd name="connsiteX142" fmla="*/ 357950 w 910018"/>
                <a:gd name="connsiteY142" fmla="*/ 131540 h 791432"/>
                <a:gd name="connsiteX143" fmla="*/ 358140 w 910018"/>
                <a:gd name="connsiteY143" fmla="*/ 133064 h 791432"/>
                <a:gd name="connsiteX144" fmla="*/ 361855 w 910018"/>
                <a:gd name="connsiteY144" fmla="*/ 137446 h 791432"/>
                <a:gd name="connsiteX145" fmla="*/ 367189 w 910018"/>
                <a:gd name="connsiteY145" fmla="*/ 141542 h 791432"/>
                <a:gd name="connsiteX146" fmla="*/ 364236 w 910018"/>
                <a:gd name="connsiteY146" fmla="*/ 143542 h 791432"/>
                <a:gd name="connsiteX147" fmla="*/ 368237 w 910018"/>
                <a:gd name="connsiteY147" fmla="*/ 149447 h 791432"/>
                <a:gd name="connsiteX148" fmla="*/ 361379 w 910018"/>
                <a:gd name="connsiteY148" fmla="*/ 158305 h 791432"/>
                <a:gd name="connsiteX149" fmla="*/ 356616 w 910018"/>
                <a:gd name="connsiteY149" fmla="*/ 158972 h 791432"/>
                <a:gd name="connsiteX150" fmla="*/ 355854 w 910018"/>
                <a:gd name="connsiteY150" fmla="*/ 165449 h 791432"/>
                <a:gd name="connsiteX151" fmla="*/ 348329 w 910018"/>
                <a:gd name="connsiteY151" fmla="*/ 169640 h 791432"/>
                <a:gd name="connsiteX152" fmla="*/ 343471 w 910018"/>
                <a:gd name="connsiteY152" fmla="*/ 168592 h 791432"/>
                <a:gd name="connsiteX153" fmla="*/ 342043 w 910018"/>
                <a:gd name="connsiteY153" fmla="*/ 170402 h 791432"/>
                <a:gd name="connsiteX154" fmla="*/ 341662 w 910018"/>
                <a:gd name="connsiteY154" fmla="*/ 167259 h 791432"/>
                <a:gd name="connsiteX155" fmla="*/ 340424 w 910018"/>
                <a:gd name="connsiteY155" fmla="*/ 170593 h 791432"/>
                <a:gd name="connsiteX156" fmla="*/ 335566 w 910018"/>
                <a:gd name="connsiteY156" fmla="*/ 169640 h 791432"/>
                <a:gd name="connsiteX157" fmla="*/ 333946 w 910018"/>
                <a:gd name="connsiteY157" fmla="*/ 169831 h 791432"/>
                <a:gd name="connsiteX158" fmla="*/ 333756 w 910018"/>
                <a:gd name="connsiteY158" fmla="*/ 168211 h 791432"/>
                <a:gd name="connsiteX159" fmla="*/ 331946 w 910018"/>
                <a:gd name="connsiteY159" fmla="*/ 166878 h 791432"/>
                <a:gd name="connsiteX160" fmla="*/ 327660 w 910018"/>
                <a:gd name="connsiteY160" fmla="*/ 170688 h 791432"/>
                <a:gd name="connsiteX161" fmla="*/ 328803 w 910018"/>
                <a:gd name="connsiteY161" fmla="*/ 167259 h 791432"/>
                <a:gd name="connsiteX162" fmla="*/ 328422 w 910018"/>
                <a:gd name="connsiteY162" fmla="*/ 164116 h 791432"/>
                <a:gd name="connsiteX163" fmla="*/ 323088 w 910018"/>
                <a:gd name="connsiteY163" fmla="*/ 160020 h 791432"/>
                <a:gd name="connsiteX164" fmla="*/ 319754 w 910018"/>
                <a:gd name="connsiteY164" fmla="*/ 158782 h 791432"/>
                <a:gd name="connsiteX165" fmla="*/ 316802 w 910018"/>
                <a:gd name="connsiteY165" fmla="*/ 160782 h 791432"/>
                <a:gd name="connsiteX166" fmla="*/ 312039 w 910018"/>
                <a:gd name="connsiteY166" fmla="*/ 161449 h 791432"/>
                <a:gd name="connsiteX167" fmla="*/ 310229 w 910018"/>
                <a:gd name="connsiteY167" fmla="*/ 160020 h 791432"/>
                <a:gd name="connsiteX168" fmla="*/ 296418 w 910018"/>
                <a:gd name="connsiteY168" fmla="*/ 164973 h 791432"/>
                <a:gd name="connsiteX169" fmla="*/ 294513 w 910018"/>
                <a:gd name="connsiteY169" fmla="*/ 162020 h 791432"/>
                <a:gd name="connsiteX170" fmla="*/ 290132 w 910018"/>
                <a:gd name="connsiteY170" fmla="*/ 165830 h 791432"/>
                <a:gd name="connsiteX171" fmla="*/ 286988 w 910018"/>
                <a:gd name="connsiteY171" fmla="*/ 166211 h 791432"/>
                <a:gd name="connsiteX172" fmla="*/ 283083 w 910018"/>
                <a:gd name="connsiteY172" fmla="*/ 173069 h 791432"/>
                <a:gd name="connsiteX173" fmla="*/ 279654 w 910018"/>
                <a:gd name="connsiteY173" fmla="*/ 171926 h 791432"/>
                <a:gd name="connsiteX174" fmla="*/ 279463 w 910018"/>
                <a:gd name="connsiteY174" fmla="*/ 170402 h 791432"/>
                <a:gd name="connsiteX175" fmla="*/ 277273 w 910018"/>
                <a:gd name="connsiteY175" fmla="*/ 165830 h 791432"/>
                <a:gd name="connsiteX176" fmla="*/ 274320 w 910018"/>
                <a:gd name="connsiteY176" fmla="*/ 167830 h 791432"/>
                <a:gd name="connsiteX177" fmla="*/ 274606 w 910018"/>
                <a:gd name="connsiteY177" fmla="*/ 169354 h 791432"/>
                <a:gd name="connsiteX178" fmla="*/ 266224 w 910018"/>
                <a:gd name="connsiteY178" fmla="*/ 167259 h 791432"/>
                <a:gd name="connsiteX179" fmla="*/ 273177 w 910018"/>
                <a:gd name="connsiteY179" fmla="*/ 171164 h 791432"/>
                <a:gd name="connsiteX180" fmla="*/ 269081 w 910018"/>
                <a:gd name="connsiteY180" fmla="*/ 176498 h 791432"/>
                <a:gd name="connsiteX181" fmla="*/ 272225 w 910018"/>
                <a:gd name="connsiteY181" fmla="*/ 176117 h 791432"/>
                <a:gd name="connsiteX182" fmla="*/ 274225 w 910018"/>
                <a:gd name="connsiteY182" fmla="*/ 179070 h 791432"/>
                <a:gd name="connsiteX183" fmla="*/ 274034 w 910018"/>
                <a:gd name="connsiteY183" fmla="*/ 190309 h 791432"/>
                <a:gd name="connsiteX184" fmla="*/ 271272 w 910018"/>
                <a:gd name="connsiteY184" fmla="*/ 193834 h 791432"/>
                <a:gd name="connsiteX185" fmla="*/ 269462 w 910018"/>
                <a:gd name="connsiteY185" fmla="*/ 192500 h 791432"/>
                <a:gd name="connsiteX186" fmla="*/ 266510 w 910018"/>
                <a:gd name="connsiteY186" fmla="*/ 194500 h 791432"/>
                <a:gd name="connsiteX187" fmla="*/ 261176 w 910018"/>
                <a:gd name="connsiteY187" fmla="*/ 203168 h 791432"/>
                <a:gd name="connsiteX188" fmla="*/ 245840 w 910018"/>
                <a:gd name="connsiteY188" fmla="*/ 221171 h 791432"/>
                <a:gd name="connsiteX189" fmla="*/ 245650 w 910018"/>
                <a:gd name="connsiteY189" fmla="*/ 219551 h 791432"/>
                <a:gd name="connsiteX190" fmla="*/ 244507 w 910018"/>
                <a:gd name="connsiteY190" fmla="*/ 210121 h 791432"/>
                <a:gd name="connsiteX191" fmla="*/ 238887 w 910018"/>
                <a:gd name="connsiteY191" fmla="*/ 204406 h 791432"/>
                <a:gd name="connsiteX192" fmla="*/ 238887 w 910018"/>
                <a:gd name="connsiteY192" fmla="*/ 204406 h 791432"/>
                <a:gd name="connsiteX193" fmla="*/ 233172 w 910018"/>
                <a:gd name="connsiteY193" fmla="*/ 197072 h 791432"/>
                <a:gd name="connsiteX194" fmla="*/ 226695 w 910018"/>
                <a:gd name="connsiteY194" fmla="*/ 196310 h 791432"/>
                <a:gd name="connsiteX195" fmla="*/ 227838 w 910018"/>
                <a:gd name="connsiteY195" fmla="*/ 192976 h 791432"/>
                <a:gd name="connsiteX196" fmla="*/ 221552 w 910018"/>
                <a:gd name="connsiteY196" fmla="*/ 193834 h 791432"/>
                <a:gd name="connsiteX197" fmla="*/ 218218 w 910018"/>
                <a:gd name="connsiteY197" fmla="*/ 192596 h 791432"/>
                <a:gd name="connsiteX198" fmla="*/ 218408 w 910018"/>
                <a:gd name="connsiteY198" fmla="*/ 194215 h 791432"/>
                <a:gd name="connsiteX199" fmla="*/ 213455 w 910018"/>
                <a:gd name="connsiteY199" fmla="*/ 193262 h 791432"/>
                <a:gd name="connsiteX200" fmla="*/ 215646 w 910018"/>
                <a:gd name="connsiteY200" fmla="*/ 197739 h 791432"/>
                <a:gd name="connsiteX201" fmla="*/ 214217 w 910018"/>
                <a:gd name="connsiteY201" fmla="*/ 199549 h 791432"/>
                <a:gd name="connsiteX202" fmla="*/ 212027 w 910018"/>
                <a:gd name="connsiteY202" fmla="*/ 194977 h 791432"/>
                <a:gd name="connsiteX203" fmla="*/ 202597 w 910018"/>
                <a:gd name="connsiteY203" fmla="*/ 196215 h 791432"/>
                <a:gd name="connsiteX204" fmla="*/ 203549 w 910018"/>
                <a:gd name="connsiteY204" fmla="*/ 191262 h 791432"/>
                <a:gd name="connsiteX205" fmla="*/ 199835 w 910018"/>
                <a:gd name="connsiteY205" fmla="*/ 186976 h 791432"/>
                <a:gd name="connsiteX206" fmla="*/ 196882 w 910018"/>
                <a:gd name="connsiteY206" fmla="*/ 188881 h 791432"/>
                <a:gd name="connsiteX207" fmla="*/ 184976 w 910018"/>
                <a:gd name="connsiteY207" fmla="*/ 184023 h 791432"/>
                <a:gd name="connsiteX208" fmla="*/ 186214 w 910018"/>
                <a:gd name="connsiteY208" fmla="*/ 193453 h 791432"/>
                <a:gd name="connsiteX209" fmla="*/ 182880 w 910018"/>
                <a:gd name="connsiteY209" fmla="*/ 192310 h 791432"/>
                <a:gd name="connsiteX210" fmla="*/ 174974 w 910018"/>
                <a:gd name="connsiteY210" fmla="*/ 193262 h 791432"/>
                <a:gd name="connsiteX211" fmla="*/ 174593 w 910018"/>
                <a:gd name="connsiteY211" fmla="*/ 190119 h 791432"/>
                <a:gd name="connsiteX212" fmla="*/ 175355 w 910018"/>
                <a:gd name="connsiteY212" fmla="*/ 183642 h 791432"/>
                <a:gd name="connsiteX213" fmla="*/ 175546 w 910018"/>
                <a:gd name="connsiteY213" fmla="*/ 172402 h 791432"/>
                <a:gd name="connsiteX214" fmla="*/ 181261 w 910018"/>
                <a:gd name="connsiteY214" fmla="*/ 166878 h 791432"/>
                <a:gd name="connsiteX215" fmla="*/ 180975 w 910018"/>
                <a:gd name="connsiteY215" fmla="*/ 165259 h 791432"/>
                <a:gd name="connsiteX216" fmla="*/ 177832 w 910018"/>
                <a:gd name="connsiteY216" fmla="*/ 165640 h 791432"/>
                <a:gd name="connsiteX217" fmla="*/ 170307 w 910018"/>
                <a:gd name="connsiteY217" fmla="*/ 156972 h 791432"/>
                <a:gd name="connsiteX218" fmla="*/ 170307 w 910018"/>
                <a:gd name="connsiteY218" fmla="*/ 156972 h 791432"/>
                <a:gd name="connsiteX219" fmla="*/ 170783 w 910018"/>
                <a:gd name="connsiteY219" fmla="*/ 160210 h 791432"/>
                <a:gd name="connsiteX220" fmla="*/ 166021 w 910018"/>
                <a:gd name="connsiteY220" fmla="*/ 160782 h 791432"/>
                <a:gd name="connsiteX221" fmla="*/ 166211 w 910018"/>
                <a:gd name="connsiteY221" fmla="*/ 162306 h 791432"/>
                <a:gd name="connsiteX222" fmla="*/ 159925 w 910018"/>
                <a:gd name="connsiteY222" fmla="*/ 163163 h 791432"/>
                <a:gd name="connsiteX223" fmla="*/ 159353 w 910018"/>
                <a:gd name="connsiteY223" fmla="*/ 171259 h 791432"/>
                <a:gd name="connsiteX224" fmla="*/ 156401 w 910018"/>
                <a:gd name="connsiteY224" fmla="*/ 173260 h 791432"/>
                <a:gd name="connsiteX225" fmla="*/ 157925 w 910018"/>
                <a:gd name="connsiteY225" fmla="*/ 172974 h 791432"/>
                <a:gd name="connsiteX226" fmla="*/ 156782 w 910018"/>
                <a:gd name="connsiteY226" fmla="*/ 176403 h 791432"/>
                <a:gd name="connsiteX227" fmla="*/ 154972 w 910018"/>
                <a:gd name="connsiteY227" fmla="*/ 174974 h 791432"/>
                <a:gd name="connsiteX228" fmla="*/ 152210 w 910018"/>
                <a:gd name="connsiteY228" fmla="*/ 178594 h 791432"/>
                <a:gd name="connsiteX229" fmla="*/ 152400 w 910018"/>
                <a:gd name="connsiteY229" fmla="*/ 180118 h 791432"/>
                <a:gd name="connsiteX230" fmla="*/ 151257 w 910018"/>
                <a:gd name="connsiteY230" fmla="*/ 183451 h 791432"/>
                <a:gd name="connsiteX231" fmla="*/ 146495 w 910018"/>
                <a:gd name="connsiteY231" fmla="*/ 184118 h 791432"/>
                <a:gd name="connsiteX232" fmla="*/ 147542 w 910018"/>
                <a:gd name="connsiteY232" fmla="*/ 192024 h 791432"/>
                <a:gd name="connsiteX233" fmla="*/ 145733 w 910018"/>
                <a:gd name="connsiteY233" fmla="*/ 190595 h 791432"/>
                <a:gd name="connsiteX234" fmla="*/ 146399 w 910018"/>
                <a:gd name="connsiteY234" fmla="*/ 195358 h 791432"/>
                <a:gd name="connsiteX235" fmla="*/ 146971 w 910018"/>
                <a:gd name="connsiteY235" fmla="*/ 200120 h 791432"/>
                <a:gd name="connsiteX236" fmla="*/ 149543 w 910018"/>
                <a:gd name="connsiteY236" fmla="*/ 207740 h 791432"/>
                <a:gd name="connsiteX237" fmla="*/ 153543 w 910018"/>
                <a:gd name="connsiteY237" fmla="*/ 213646 h 791432"/>
                <a:gd name="connsiteX238" fmla="*/ 152495 w 910018"/>
                <a:gd name="connsiteY238" fmla="*/ 218599 h 791432"/>
                <a:gd name="connsiteX239" fmla="*/ 159258 w 910018"/>
                <a:gd name="connsiteY239" fmla="*/ 220980 h 791432"/>
                <a:gd name="connsiteX240" fmla="*/ 159449 w 910018"/>
                <a:gd name="connsiteY240" fmla="*/ 222504 h 791432"/>
                <a:gd name="connsiteX241" fmla="*/ 162020 w 910018"/>
                <a:gd name="connsiteY241" fmla="*/ 230219 h 791432"/>
                <a:gd name="connsiteX242" fmla="*/ 160496 w 910018"/>
                <a:gd name="connsiteY242" fmla="*/ 230410 h 791432"/>
                <a:gd name="connsiteX243" fmla="*/ 163068 w 910018"/>
                <a:gd name="connsiteY243" fmla="*/ 238125 h 791432"/>
                <a:gd name="connsiteX244" fmla="*/ 156686 w 910018"/>
                <a:gd name="connsiteY244" fmla="*/ 238887 h 791432"/>
                <a:gd name="connsiteX245" fmla="*/ 155162 w 910018"/>
                <a:gd name="connsiteY245" fmla="*/ 239173 h 791432"/>
                <a:gd name="connsiteX246" fmla="*/ 152019 w 910018"/>
                <a:gd name="connsiteY246" fmla="*/ 239554 h 791432"/>
                <a:gd name="connsiteX247" fmla="*/ 148304 w 910018"/>
                <a:gd name="connsiteY247" fmla="*/ 248031 h 791432"/>
                <a:gd name="connsiteX248" fmla="*/ 143351 w 910018"/>
                <a:gd name="connsiteY248" fmla="*/ 247078 h 791432"/>
                <a:gd name="connsiteX249" fmla="*/ 143732 w 910018"/>
                <a:gd name="connsiteY249" fmla="*/ 250222 h 791432"/>
                <a:gd name="connsiteX250" fmla="*/ 137636 w 910018"/>
                <a:gd name="connsiteY250" fmla="*/ 252603 h 791432"/>
                <a:gd name="connsiteX251" fmla="*/ 135636 w 910018"/>
                <a:gd name="connsiteY251" fmla="*/ 249650 h 791432"/>
                <a:gd name="connsiteX252" fmla="*/ 132874 w 910018"/>
                <a:gd name="connsiteY252" fmla="*/ 266033 h 791432"/>
                <a:gd name="connsiteX253" fmla="*/ 131350 w 910018"/>
                <a:gd name="connsiteY253" fmla="*/ 266224 h 791432"/>
                <a:gd name="connsiteX254" fmla="*/ 130207 w 910018"/>
                <a:gd name="connsiteY254" fmla="*/ 269557 h 791432"/>
                <a:gd name="connsiteX255" fmla="*/ 126968 w 910018"/>
                <a:gd name="connsiteY255" fmla="*/ 269938 h 791432"/>
                <a:gd name="connsiteX256" fmla="*/ 128969 w 910018"/>
                <a:gd name="connsiteY256" fmla="*/ 272891 h 791432"/>
                <a:gd name="connsiteX257" fmla="*/ 125825 w 910018"/>
                <a:gd name="connsiteY257" fmla="*/ 273367 h 791432"/>
                <a:gd name="connsiteX258" fmla="*/ 124682 w 910018"/>
                <a:gd name="connsiteY258" fmla="*/ 276701 h 791432"/>
                <a:gd name="connsiteX259" fmla="*/ 120301 w 910018"/>
                <a:gd name="connsiteY259" fmla="*/ 280416 h 791432"/>
                <a:gd name="connsiteX260" fmla="*/ 119158 w 910018"/>
                <a:gd name="connsiteY260" fmla="*/ 283845 h 791432"/>
                <a:gd name="connsiteX261" fmla="*/ 120968 w 910018"/>
                <a:gd name="connsiteY261" fmla="*/ 285178 h 791432"/>
                <a:gd name="connsiteX262" fmla="*/ 119539 w 910018"/>
                <a:gd name="connsiteY262" fmla="*/ 286988 h 791432"/>
                <a:gd name="connsiteX263" fmla="*/ 110680 w 910018"/>
                <a:gd name="connsiteY263" fmla="*/ 292894 h 791432"/>
                <a:gd name="connsiteX264" fmla="*/ 107347 w 910018"/>
                <a:gd name="connsiteY264" fmla="*/ 291751 h 791432"/>
                <a:gd name="connsiteX265" fmla="*/ 106109 w 910018"/>
                <a:gd name="connsiteY265" fmla="*/ 295084 h 791432"/>
                <a:gd name="connsiteX266" fmla="*/ 97250 w 910018"/>
                <a:gd name="connsiteY266" fmla="*/ 288226 h 791432"/>
                <a:gd name="connsiteX267" fmla="*/ 95917 w 910018"/>
                <a:gd name="connsiteY267" fmla="*/ 289941 h 791432"/>
                <a:gd name="connsiteX268" fmla="*/ 93726 w 910018"/>
                <a:gd name="connsiteY268" fmla="*/ 285464 h 791432"/>
                <a:gd name="connsiteX269" fmla="*/ 92678 w 910018"/>
                <a:gd name="connsiteY269" fmla="*/ 290417 h 791432"/>
                <a:gd name="connsiteX270" fmla="*/ 88202 w 910018"/>
                <a:gd name="connsiteY270" fmla="*/ 292608 h 791432"/>
                <a:gd name="connsiteX271" fmla="*/ 85249 w 910018"/>
                <a:gd name="connsiteY271" fmla="*/ 294513 h 791432"/>
                <a:gd name="connsiteX272" fmla="*/ 76771 w 910018"/>
                <a:gd name="connsiteY272" fmla="*/ 290798 h 791432"/>
                <a:gd name="connsiteX273" fmla="*/ 75343 w 910018"/>
                <a:gd name="connsiteY273" fmla="*/ 292608 h 791432"/>
                <a:gd name="connsiteX274" fmla="*/ 70866 w 910018"/>
                <a:gd name="connsiteY274" fmla="*/ 294799 h 791432"/>
                <a:gd name="connsiteX275" fmla="*/ 66104 w 910018"/>
                <a:gd name="connsiteY275" fmla="*/ 295370 h 791432"/>
                <a:gd name="connsiteX276" fmla="*/ 65151 w 910018"/>
                <a:gd name="connsiteY276" fmla="*/ 300323 h 791432"/>
                <a:gd name="connsiteX277" fmla="*/ 63722 w 910018"/>
                <a:gd name="connsiteY277" fmla="*/ 302133 h 791432"/>
                <a:gd name="connsiteX278" fmla="*/ 56864 w 910018"/>
                <a:gd name="connsiteY278" fmla="*/ 298132 h 791432"/>
                <a:gd name="connsiteX279" fmla="*/ 54483 w 910018"/>
                <a:gd name="connsiteY279" fmla="*/ 292036 h 791432"/>
                <a:gd name="connsiteX280" fmla="*/ 51245 w 910018"/>
                <a:gd name="connsiteY280" fmla="*/ 292417 h 791432"/>
                <a:gd name="connsiteX281" fmla="*/ 48292 w 910018"/>
                <a:gd name="connsiteY281" fmla="*/ 294418 h 791432"/>
                <a:gd name="connsiteX282" fmla="*/ 53912 w 910018"/>
                <a:gd name="connsiteY282" fmla="*/ 300133 h 791432"/>
                <a:gd name="connsiteX283" fmla="*/ 49339 w 910018"/>
                <a:gd name="connsiteY283" fmla="*/ 302323 h 791432"/>
                <a:gd name="connsiteX284" fmla="*/ 44577 w 910018"/>
                <a:gd name="connsiteY284" fmla="*/ 302895 h 791432"/>
                <a:gd name="connsiteX285" fmla="*/ 40291 w 910018"/>
                <a:gd name="connsiteY285" fmla="*/ 306705 h 791432"/>
                <a:gd name="connsiteX286" fmla="*/ 41053 w 910018"/>
                <a:gd name="connsiteY286" fmla="*/ 312992 h 791432"/>
                <a:gd name="connsiteX287" fmla="*/ 42672 w 910018"/>
                <a:gd name="connsiteY287" fmla="*/ 312801 h 791432"/>
                <a:gd name="connsiteX288" fmla="*/ 42101 w 910018"/>
                <a:gd name="connsiteY288" fmla="*/ 320897 h 791432"/>
                <a:gd name="connsiteX289" fmla="*/ 39529 w 910018"/>
                <a:gd name="connsiteY289" fmla="*/ 326041 h 791432"/>
                <a:gd name="connsiteX290" fmla="*/ 39338 w 910018"/>
                <a:gd name="connsiteY290" fmla="*/ 324421 h 791432"/>
                <a:gd name="connsiteX291" fmla="*/ 37719 w 910018"/>
                <a:gd name="connsiteY291" fmla="*/ 324612 h 791432"/>
                <a:gd name="connsiteX292" fmla="*/ 37910 w 910018"/>
                <a:gd name="connsiteY292" fmla="*/ 326231 h 791432"/>
                <a:gd name="connsiteX293" fmla="*/ 36004 w 910018"/>
                <a:gd name="connsiteY293" fmla="*/ 323278 h 791432"/>
                <a:gd name="connsiteX294" fmla="*/ 32576 w 910018"/>
                <a:gd name="connsiteY294" fmla="*/ 322135 h 791432"/>
                <a:gd name="connsiteX295" fmla="*/ 30671 w 910018"/>
                <a:gd name="connsiteY295" fmla="*/ 319183 h 791432"/>
                <a:gd name="connsiteX296" fmla="*/ 27242 w 910018"/>
                <a:gd name="connsiteY296" fmla="*/ 317944 h 791432"/>
                <a:gd name="connsiteX297" fmla="*/ 23336 w 910018"/>
                <a:gd name="connsiteY297" fmla="*/ 324898 h 791432"/>
                <a:gd name="connsiteX298" fmla="*/ 23527 w 910018"/>
                <a:gd name="connsiteY298" fmla="*/ 326422 h 791432"/>
                <a:gd name="connsiteX299" fmla="*/ 21622 w 910018"/>
                <a:gd name="connsiteY299" fmla="*/ 336328 h 791432"/>
                <a:gd name="connsiteX300" fmla="*/ 17050 w 910018"/>
                <a:gd name="connsiteY300" fmla="*/ 338518 h 791432"/>
                <a:gd name="connsiteX301" fmla="*/ 14478 w 910018"/>
                <a:gd name="connsiteY301" fmla="*/ 343662 h 791432"/>
                <a:gd name="connsiteX302" fmla="*/ 8572 w 910018"/>
                <a:gd name="connsiteY302" fmla="*/ 347567 h 791432"/>
                <a:gd name="connsiteX303" fmla="*/ 7811 w 910018"/>
                <a:gd name="connsiteY303" fmla="*/ 354139 h 791432"/>
                <a:gd name="connsiteX304" fmla="*/ 12954 w 910018"/>
                <a:gd name="connsiteY304" fmla="*/ 356711 h 791432"/>
                <a:gd name="connsiteX305" fmla="*/ 15145 w 910018"/>
                <a:gd name="connsiteY305" fmla="*/ 361188 h 791432"/>
                <a:gd name="connsiteX306" fmla="*/ 18860 w 910018"/>
                <a:gd name="connsiteY306" fmla="*/ 365569 h 791432"/>
                <a:gd name="connsiteX307" fmla="*/ 19907 w 910018"/>
                <a:gd name="connsiteY307" fmla="*/ 373475 h 791432"/>
                <a:gd name="connsiteX308" fmla="*/ 13621 w 910018"/>
                <a:gd name="connsiteY308" fmla="*/ 387096 h 791432"/>
                <a:gd name="connsiteX309" fmla="*/ 18955 w 910018"/>
                <a:gd name="connsiteY309" fmla="*/ 391192 h 791432"/>
                <a:gd name="connsiteX310" fmla="*/ 23146 w 910018"/>
                <a:gd name="connsiteY310" fmla="*/ 398717 h 791432"/>
                <a:gd name="connsiteX311" fmla="*/ 26099 w 910018"/>
                <a:gd name="connsiteY311" fmla="*/ 409575 h 791432"/>
                <a:gd name="connsiteX312" fmla="*/ 29432 w 910018"/>
                <a:gd name="connsiteY312" fmla="*/ 410718 h 791432"/>
                <a:gd name="connsiteX313" fmla="*/ 31242 w 910018"/>
                <a:gd name="connsiteY313" fmla="*/ 412051 h 791432"/>
                <a:gd name="connsiteX314" fmla="*/ 32861 w 910018"/>
                <a:gd name="connsiteY314" fmla="*/ 411861 h 791432"/>
                <a:gd name="connsiteX315" fmla="*/ 35052 w 910018"/>
                <a:gd name="connsiteY315" fmla="*/ 416433 h 791432"/>
                <a:gd name="connsiteX316" fmla="*/ 29337 w 910018"/>
                <a:gd name="connsiteY316" fmla="*/ 421957 h 791432"/>
                <a:gd name="connsiteX317" fmla="*/ 27527 w 910018"/>
                <a:gd name="connsiteY317" fmla="*/ 420529 h 791432"/>
                <a:gd name="connsiteX318" fmla="*/ 26765 w 910018"/>
                <a:gd name="connsiteY318" fmla="*/ 427101 h 791432"/>
                <a:gd name="connsiteX319" fmla="*/ 22574 w 910018"/>
                <a:gd name="connsiteY319" fmla="*/ 432435 h 791432"/>
                <a:gd name="connsiteX320" fmla="*/ 27908 w 910018"/>
                <a:gd name="connsiteY320" fmla="*/ 436531 h 791432"/>
                <a:gd name="connsiteX321" fmla="*/ 27337 w 910018"/>
                <a:gd name="connsiteY321" fmla="*/ 431863 h 791432"/>
                <a:gd name="connsiteX322" fmla="*/ 38386 w 910018"/>
                <a:gd name="connsiteY322" fmla="*/ 430435 h 791432"/>
                <a:gd name="connsiteX323" fmla="*/ 40196 w 910018"/>
                <a:gd name="connsiteY323" fmla="*/ 431768 h 791432"/>
                <a:gd name="connsiteX324" fmla="*/ 43339 w 910018"/>
                <a:gd name="connsiteY324" fmla="*/ 431387 h 791432"/>
                <a:gd name="connsiteX325" fmla="*/ 46863 w 910018"/>
                <a:gd name="connsiteY325" fmla="*/ 434150 h 791432"/>
                <a:gd name="connsiteX326" fmla="*/ 51435 w 910018"/>
                <a:gd name="connsiteY326" fmla="*/ 431959 h 791432"/>
                <a:gd name="connsiteX327" fmla="*/ 56579 w 910018"/>
                <a:gd name="connsiteY327" fmla="*/ 421672 h 791432"/>
                <a:gd name="connsiteX328" fmla="*/ 58103 w 910018"/>
                <a:gd name="connsiteY328" fmla="*/ 421481 h 791432"/>
                <a:gd name="connsiteX329" fmla="*/ 62103 w 910018"/>
                <a:gd name="connsiteY329" fmla="*/ 427387 h 791432"/>
                <a:gd name="connsiteX330" fmla="*/ 58769 w 910018"/>
                <a:gd name="connsiteY330" fmla="*/ 439007 h 791432"/>
                <a:gd name="connsiteX331" fmla="*/ 57531 w 910018"/>
                <a:gd name="connsiteY331" fmla="*/ 442436 h 791432"/>
                <a:gd name="connsiteX332" fmla="*/ 59531 w 910018"/>
                <a:gd name="connsiteY332" fmla="*/ 445389 h 791432"/>
                <a:gd name="connsiteX333" fmla="*/ 58007 w 910018"/>
                <a:gd name="connsiteY333" fmla="*/ 445580 h 791432"/>
                <a:gd name="connsiteX334" fmla="*/ 59912 w 910018"/>
                <a:gd name="connsiteY334" fmla="*/ 448532 h 791432"/>
                <a:gd name="connsiteX335" fmla="*/ 55436 w 910018"/>
                <a:gd name="connsiteY335" fmla="*/ 450723 h 791432"/>
                <a:gd name="connsiteX336" fmla="*/ 51911 w 910018"/>
                <a:gd name="connsiteY336" fmla="*/ 473583 h 791432"/>
                <a:gd name="connsiteX337" fmla="*/ 46958 w 910018"/>
                <a:gd name="connsiteY337" fmla="*/ 472630 h 791432"/>
                <a:gd name="connsiteX338" fmla="*/ 45625 w 910018"/>
                <a:gd name="connsiteY338" fmla="*/ 474440 h 791432"/>
                <a:gd name="connsiteX339" fmla="*/ 42291 w 910018"/>
                <a:gd name="connsiteY339" fmla="*/ 473202 h 791432"/>
                <a:gd name="connsiteX340" fmla="*/ 41053 w 910018"/>
                <a:gd name="connsiteY340" fmla="*/ 476536 h 791432"/>
                <a:gd name="connsiteX341" fmla="*/ 39910 w 910018"/>
                <a:gd name="connsiteY341" fmla="*/ 479965 h 791432"/>
                <a:gd name="connsiteX342" fmla="*/ 36767 w 910018"/>
                <a:gd name="connsiteY342" fmla="*/ 480346 h 791432"/>
                <a:gd name="connsiteX343" fmla="*/ 34957 w 910018"/>
                <a:gd name="connsiteY343" fmla="*/ 478917 h 791432"/>
                <a:gd name="connsiteX344" fmla="*/ 28480 w 910018"/>
                <a:gd name="connsiteY344" fmla="*/ 478155 h 791432"/>
                <a:gd name="connsiteX345" fmla="*/ 23908 w 910018"/>
                <a:gd name="connsiteY345" fmla="*/ 480346 h 791432"/>
                <a:gd name="connsiteX346" fmla="*/ 23527 w 910018"/>
                <a:gd name="connsiteY346" fmla="*/ 490061 h 791432"/>
                <a:gd name="connsiteX347" fmla="*/ 20574 w 910018"/>
                <a:gd name="connsiteY347" fmla="*/ 504825 h 791432"/>
                <a:gd name="connsiteX348" fmla="*/ 19050 w 910018"/>
                <a:gd name="connsiteY348" fmla="*/ 505015 h 791432"/>
                <a:gd name="connsiteX349" fmla="*/ 20003 w 910018"/>
                <a:gd name="connsiteY349" fmla="*/ 512921 h 791432"/>
                <a:gd name="connsiteX350" fmla="*/ 15716 w 910018"/>
                <a:gd name="connsiteY350" fmla="*/ 516731 h 791432"/>
                <a:gd name="connsiteX351" fmla="*/ 12383 w 910018"/>
                <a:gd name="connsiteY351" fmla="*/ 515493 h 791432"/>
                <a:gd name="connsiteX352" fmla="*/ 857 w 910018"/>
                <a:gd name="connsiteY352" fmla="*/ 513778 h 791432"/>
                <a:gd name="connsiteX353" fmla="*/ 3143 w 910018"/>
                <a:gd name="connsiteY353" fmla="*/ 531114 h 791432"/>
                <a:gd name="connsiteX354" fmla="*/ 4477 w 910018"/>
                <a:gd name="connsiteY354" fmla="*/ 529400 h 791432"/>
                <a:gd name="connsiteX355" fmla="*/ 6668 w 910018"/>
                <a:gd name="connsiteY355" fmla="*/ 533876 h 791432"/>
                <a:gd name="connsiteX356" fmla="*/ 5905 w 910018"/>
                <a:gd name="connsiteY356" fmla="*/ 540353 h 791432"/>
                <a:gd name="connsiteX357" fmla="*/ 0 w 910018"/>
                <a:gd name="connsiteY357" fmla="*/ 544354 h 791432"/>
                <a:gd name="connsiteX358" fmla="*/ 16383 w 910018"/>
                <a:gd name="connsiteY358" fmla="*/ 547116 h 791432"/>
                <a:gd name="connsiteX359" fmla="*/ 20860 w 910018"/>
                <a:gd name="connsiteY359" fmla="*/ 544925 h 791432"/>
                <a:gd name="connsiteX360" fmla="*/ 24479 w 910018"/>
                <a:gd name="connsiteY360" fmla="*/ 547688 h 791432"/>
                <a:gd name="connsiteX361" fmla="*/ 28385 w 910018"/>
                <a:gd name="connsiteY361" fmla="*/ 540734 h 791432"/>
                <a:gd name="connsiteX362" fmla="*/ 31528 w 910018"/>
                <a:gd name="connsiteY362" fmla="*/ 540353 h 791432"/>
                <a:gd name="connsiteX363" fmla="*/ 34480 w 910018"/>
                <a:gd name="connsiteY363" fmla="*/ 538353 h 791432"/>
                <a:gd name="connsiteX364" fmla="*/ 37910 w 910018"/>
                <a:gd name="connsiteY364" fmla="*/ 539496 h 791432"/>
                <a:gd name="connsiteX365" fmla="*/ 42386 w 910018"/>
                <a:gd name="connsiteY365" fmla="*/ 537401 h 791432"/>
                <a:gd name="connsiteX366" fmla="*/ 53245 w 910018"/>
                <a:gd name="connsiteY366" fmla="*/ 534352 h 791432"/>
                <a:gd name="connsiteX367" fmla="*/ 63532 w 910018"/>
                <a:gd name="connsiteY367" fmla="*/ 526637 h 791432"/>
                <a:gd name="connsiteX368" fmla="*/ 71533 w 910018"/>
                <a:gd name="connsiteY368" fmla="*/ 527209 h 791432"/>
                <a:gd name="connsiteX369" fmla="*/ 73343 w 910018"/>
                <a:gd name="connsiteY369" fmla="*/ 528638 h 791432"/>
                <a:gd name="connsiteX370" fmla="*/ 76962 w 910018"/>
                <a:gd name="connsiteY370" fmla="*/ 544163 h 791432"/>
                <a:gd name="connsiteX371" fmla="*/ 81915 w 910018"/>
                <a:gd name="connsiteY371" fmla="*/ 545116 h 791432"/>
                <a:gd name="connsiteX372" fmla="*/ 83820 w 910018"/>
                <a:gd name="connsiteY372" fmla="*/ 548068 h 791432"/>
                <a:gd name="connsiteX373" fmla="*/ 84487 w 910018"/>
                <a:gd name="connsiteY373" fmla="*/ 552831 h 791432"/>
                <a:gd name="connsiteX374" fmla="*/ 86678 w 910018"/>
                <a:gd name="connsiteY374" fmla="*/ 557403 h 791432"/>
                <a:gd name="connsiteX375" fmla="*/ 86296 w 910018"/>
                <a:gd name="connsiteY375" fmla="*/ 567023 h 791432"/>
                <a:gd name="connsiteX376" fmla="*/ 85344 w 910018"/>
                <a:gd name="connsiteY376" fmla="*/ 571976 h 791432"/>
                <a:gd name="connsiteX377" fmla="*/ 81153 w 910018"/>
                <a:gd name="connsiteY377" fmla="*/ 577310 h 791432"/>
                <a:gd name="connsiteX378" fmla="*/ 81534 w 910018"/>
                <a:gd name="connsiteY378" fmla="*/ 580453 h 791432"/>
                <a:gd name="connsiteX379" fmla="*/ 79248 w 910018"/>
                <a:gd name="connsiteY379" fmla="*/ 587216 h 791432"/>
                <a:gd name="connsiteX380" fmla="*/ 78010 w 910018"/>
                <a:gd name="connsiteY380" fmla="*/ 590550 h 791432"/>
                <a:gd name="connsiteX381" fmla="*/ 80010 w 910018"/>
                <a:gd name="connsiteY381" fmla="*/ 593503 h 791432"/>
                <a:gd name="connsiteX382" fmla="*/ 82963 w 910018"/>
                <a:gd name="connsiteY382" fmla="*/ 591502 h 791432"/>
                <a:gd name="connsiteX383" fmla="*/ 85344 w 910018"/>
                <a:gd name="connsiteY383" fmla="*/ 584835 h 791432"/>
                <a:gd name="connsiteX384" fmla="*/ 101537 w 910018"/>
                <a:gd name="connsiteY384" fmla="*/ 585978 h 791432"/>
                <a:gd name="connsiteX385" fmla="*/ 102679 w 910018"/>
                <a:gd name="connsiteY385" fmla="*/ 595408 h 791432"/>
                <a:gd name="connsiteX386" fmla="*/ 104299 w 910018"/>
                <a:gd name="connsiteY386" fmla="*/ 595217 h 791432"/>
                <a:gd name="connsiteX387" fmla="*/ 108585 w 910018"/>
                <a:gd name="connsiteY387" fmla="*/ 591502 h 791432"/>
                <a:gd name="connsiteX388" fmla="*/ 113538 w 910018"/>
                <a:gd name="connsiteY388" fmla="*/ 592455 h 791432"/>
                <a:gd name="connsiteX389" fmla="*/ 115919 w 910018"/>
                <a:gd name="connsiteY389" fmla="*/ 598551 h 791432"/>
                <a:gd name="connsiteX390" fmla="*/ 119539 w 910018"/>
                <a:gd name="connsiteY390" fmla="*/ 601313 h 791432"/>
                <a:gd name="connsiteX391" fmla="*/ 119539 w 910018"/>
                <a:gd name="connsiteY391" fmla="*/ 614172 h 791432"/>
                <a:gd name="connsiteX392" fmla="*/ 124301 w 910018"/>
                <a:gd name="connsiteY392" fmla="*/ 613505 h 791432"/>
                <a:gd name="connsiteX393" fmla="*/ 127063 w 910018"/>
                <a:gd name="connsiteY393" fmla="*/ 609981 h 791432"/>
                <a:gd name="connsiteX394" fmla="*/ 130588 w 910018"/>
                <a:gd name="connsiteY394" fmla="*/ 612743 h 791432"/>
                <a:gd name="connsiteX395" fmla="*/ 130397 w 910018"/>
                <a:gd name="connsiteY395" fmla="*/ 611124 h 791432"/>
                <a:gd name="connsiteX396" fmla="*/ 136874 w 910018"/>
                <a:gd name="connsiteY396" fmla="*/ 611886 h 791432"/>
                <a:gd name="connsiteX397" fmla="*/ 138303 w 910018"/>
                <a:gd name="connsiteY397" fmla="*/ 610172 h 791432"/>
                <a:gd name="connsiteX398" fmla="*/ 139827 w 910018"/>
                <a:gd name="connsiteY398" fmla="*/ 609981 h 791432"/>
                <a:gd name="connsiteX399" fmla="*/ 143256 w 910018"/>
                <a:gd name="connsiteY399" fmla="*/ 611124 h 791432"/>
                <a:gd name="connsiteX400" fmla="*/ 145352 w 910018"/>
                <a:gd name="connsiteY400" fmla="*/ 615601 h 791432"/>
                <a:gd name="connsiteX401" fmla="*/ 151733 w 910018"/>
                <a:gd name="connsiteY401" fmla="*/ 614839 h 791432"/>
                <a:gd name="connsiteX402" fmla="*/ 155067 w 910018"/>
                <a:gd name="connsiteY402" fmla="*/ 615982 h 791432"/>
                <a:gd name="connsiteX403" fmla="*/ 162592 w 910018"/>
                <a:gd name="connsiteY403" fmla="*/ 611886 h 791432"/>
                <a:gd name="connsiteX404" fmla="*/ 167926 w 910018"/>
                <a:gd name="connsiteY404" fmla="*/ 615982 h 791432"/>
                <a:gd name="connsiteX405" fmla="*/ 166688 w 910018"/>
                <a:gd name="connsiteY405" fmla="*/ 619315 h 791432"/>
                <a:gd name="connsiteX406" fmla="*/ 173641 w 910018"/>
                <a:gd name="connsiteY406" fmla="*/ 623316 h 791432"/>
                <a:gd name="connsiteX407" fmla="*/ 174784 w 910018"/>
                <a:gd name="connsiteY407" fmla="*/ 619887 h 791432"/>
                <a:gd name="connsiteX408" fmla="*/ 180118 w 910018"/>
                <a:gd name="connsiteY408" fmla="*/ 624078 h 791432"/>
                <a:gd name="connsiteX409" fmla="*/ 178022 w 910018"/>
                <a:gd name="connsiteY409" fmla="*/ 632365 h 791432"/>
                <a:gd name="connsiteX410" fmla="*/ 179927 w 910018"/>
                <a:gd name="connsiteY410" fmla="*/ 635318 h 791432"/>
                <a:gd name="connsiteX411" fmla="*/ 178784 w 910018"/>
                <a:gd name="connsiteY411" fmla="*/ 638651 h 791432"/>
                <a:gd name="connsiteX412" fmla="*/ 179165 w 910018"/>
                <a:gd name="connsiteY412" fmla="*/ 641794 h 791432"/>
                <a:gd name="connsiteX413" fmla="*/ 175070 w 910018"/>
                <a:gd name="connsiteY413" fmla="*/ 647128 h 791432"/>
                <a:gd name="connsiteX414" fmla="*/ 176879 w 910018"/>
                <a:gd name="connsiteY414" fmla="*/ 648557 h 791432"/>
                <a:gd name="connsiteX415" fmla="*/ 175641 w 910018"/>
                <a:gd name="connsiteY415" fmla="*/ 651891 h 791432"/>
                <a:gd name="connsiteX416" fmla="*/ 175832 w 910018"/>
                <a:gd name="connsiteY416" fmla="*/ 653415 h 791432"/>
                <a:gd name="connsiteX417" fmla="*/ 177641 w 910018"/>
                <a:gd name="connsiteY417" fmla="*/ 654844 h 791432"/>
                <a:gd name="connsiteX418" fmla="*/ 184404 w 910018"/>
                <a:gd name="connsiteY418" fmla="*/ 657225 h 791432"/>
                <a:gd name="connsiteX419" fmla="*/ 185738 w 910018"/>
                <a:gd name="connsiteY419" fmla="*/ 655415 h 791432"/>
                <a:gd name="connsiteX420" fmla="*/ 189071 w 910018"/>
                <a:gd name="connsiteY420" fmla="*/ 656558 h 791432"/>
                <a:gd name="connsiteX421" fmla="*/ 190500 w 910018"/>
                <a:gd name="connsiteY421" fmla="*/ 654844 h 791432"/>
                <a:gd name="connsiteX422" fmla="*/ 192691 w 910018"/>
                <a:gd name="connsiteY422" fmla="*/ 659321 h 791432"/>
                <a:gd name="connsiteX423" fmla="*/ 194977 w 910018"/>
                <a:gd name="connsiteY423" fmla="*/ 652653 h 791432"/>
                <a:gd name="connsiteX424" fmla="*/ 205835 w 910018"/>
                <a:gd name="connsiteY424" fmla="*/ 649605 h 791432"/>
                <a:gd name="connsiteX425" fmla="*/ 207264 w 910018"/>
                <a:gd name="connsiteY425" fmla="*/ 660654 h 791432"/>
                <a:gd name="connsiteX426" fmla="*/ 214217 w 910018"/>
                <a:gd name="connsiteY426" fmla="*/ 664655 h 791432"/>
                <a:gd name="connsiteX427" fmla="*/ 223457 w 910018"/>
                <a:gd name="connsiteY427" fmla="*/ 674656 h 791432"/>
                <a:gd name="connsiteX428" fmla="*/ 225076 w 910018"/>
                <a:gd name="connsiteY428" fmla="*/ 674465 h 791432"/>
                <a:gd name="connsiteX429" fmla="*/ 234125 w 910018"/>
                <a:gd name="connsiteY429" fmla="*/ 682943 h 791432"/>
                <a:gd name="connsiteX430" fmla="*/ 245936 w 910018"/>
                <a:gd name="connsiteY430" fmla="*/ 675037 h 791432"/>
                <a:gd name="connsiteX431" fmla="*/ 247745 w 910018"/>
                <a:gd name="connsiteY431" fmla="*/ 676370 h 791432"/>
                <a:gd name="connsiteX432" fmla="*/ 250508 w 910018"/>
                <a:gd name="connsiteY432" fmla="*/ 672846 h 791432"/>
                <a:gd name="connsiteX433" fmla="*/ 252317 w 910018"/>
                <a:gd name="connsiteY433" fmla="*/ 674180 h 791432"/>
                <a:gd name="connsiteX434" fmla="*/ 258223 w 910018"/>
                <a:gd name="connsiteY434" fmla="*/ 670274 h 791432"/>
                <a:gd name="connsiteX435" fmla="*/ 258413 w 910018"/>
                <a:gd name="connsiteY435" fmla="*/ 671798 h 791432"/>
                <a:gd name="connsiteX436" fmla="*/ 261366 w 910018"/>
                <a:gd name="connsiteY436" fmla="*/ 669798 h 791432"/>
                <a:gd name="connsiteX437" fmla="*/ 267081 w 910018"/>
                <a:gd name="connsiteY437" fmla="*/ 677132 h 791432"/>
                <a:gd name="connsiteX438" fmla="*/ 280892 w 910018"/>
                <a:gd name="connsiteY438" fmla="*/ 672179 h 791432"/>
                <a:gd name="connsiteX439" fmla="*/ 279845 w 910018"/>
                <a:gd name="connsiteY439" fmla="*/ 664273 h 791432"/>
                <a:gd name="connsiteX440" fmla="*/ 286417 w 910018"/>
                <a:gd name="connsiteY440" fmla="*/ 677894 h 791432"/>
                <a:gd name="connsiteX441" fmla="*/ 288417 w 910018"/>
                <a:gd name="connsiteY441" fmla="*/ 680847 h 791432"/>
                <a:gd name="connsiteX442" fmla="*/ 297275 w 910018"/>
                <a:gd name="connsiteY442" fmla="*/ 674846 h 791432"/>
                <a:gd name="connsiteX443" fmla="*/ 311277 w 910018"/>
                <a:gd name="connsiteY443" fmla="*/ 684276 h 791432"/>
                <a:gd name="connsiteX444" fmla="*/ 320040 w 910018"/>
                <a:gd name="connsiteY444" fmla="*/ 689610 h 791432"/>
                <a:gd name="connsiteX445" fmla="*/ 317278 w 910018"/>
                <a:gd name="connsiteY445" fmla="*/ 693134 h 791432"/>
                <a:gd name="connsiteX446" fmla="*/ 317849 w 910018"/>
                <a:gd name="connsiteY446" fmla="*/ 697897 h 791432"/>
                <a:gd name="connsiteX447" fmla="*/ 310420 w 910018"/>
                <a:gd name="connsiteY447" fmla="*/ 714947 h 791432"/>
                <a:gd name="connsiteX448" fmla="*/ 319088 w 910018"/>
                <a:gd name="connsiteY448" fmla="*/ 720185 h 791432"/>
                <a:gd name="connsiteX449" fmla="*/ 323183 w 910018"/>
                <a:gd name="connsiteY449" fmla="*/ 714851 h 791432"/>
                <a:gd name="connsiteX450" fmla="*/ 327946 w 910018"/>
                <a:gd name="connsiteY450" fmla="*/ 714280 h 791432"/>
                <a:gd name="connsiteX451" fmla="*/ 344138 w 910018"/>
                <a:gd name="connsiteY451" fmla="*/ 728282 h 791432"/>
                <a:gd name="connsiteX452" fmla="*/ 355378 w 910018"/>
                <a:gd name="connsiteY452" fmla="*/ 728377 h 791432"/>
                <a:gd name="connsiteX453" fmla="*/ 367475 w 910018"/>
                <a:gd name="connsiteY453" fmla="*/ 747712 h 791432"/>
                <a:gd name="connsiteX454" fmla="*/ 373666 w 910018"/>
                <a:gd name="connsiteY454" fmla="*/ 758190 h 791432"/>
                <a:gd name="connsiteX455" fmla="*/ 372428 w 910018"/>
                <a:gd name="connsiteY455" fmla="*/ 761524 h 791432"/>
                <a:gd name="connsiteX456" fmla="*/ 376238 w 910018"/>
                <a:gd name="connsiteY456" fmla="*/ 765810 h 791432"/>
                <a:gd name="connsiteX457" fmla="*/ 383858 w 910018"/>
                <a:gd name="connsiteY457" fmla="*/ 763238 h 791432"/>
                <a:gd name="connsiteX458" fmla="*/ 381191 w 910018"/>
                <a:gd name="connsiteY458" fmla="*/ 766858 h 791432"/>
                <a:gd name="connsiteX459" fmla="*/ 382905 w 910018"/>
                <a:gd name="connsiteY459" fmla="*/ 768191 h 791432"/>
                <a:gd name="connsiteX460" fmla="*/ 381381 w 910018"/>
                <a:gd name="connsiteY460" fmla="*/ 768382 h 791432"/>
                <a:gd name="connsiteX461" fmla="*/ 381953 w 910018"/>
                <a:gd name="connsiteY461" fmla="*/ 773144 h 791432"/>
                <a:gd name="connsiteX462" fmla="*/ 389096 w 910018"/>
                <a:gd name="connsiteY462" fmla="*/ 791432 h 791432"/>
                <a:gd name="connsiteX463" fmla="*/ 396812 w 910018"/>
                <a:gd name="connsiteY463" fmla="*/ 788860 h 791432"/>
                <a:gd name="connsiteX464" fmla="*/ 403479 w 910018"/>
                <a:gd name="connsiteY464" fmla="*/ 791242 h 791432"/>
                <a:gd name="connsiteX465" fmla="*/ 409385 w 910018"/>
                <a:gd name="connsiteY465" fmla="*/ 787241 h 791432"/>
                <a:gd name="connsiteX466" fmla="*/ 412623 w 910018"/>
                <a:gd name="connsiteY466" fmla="*/ 786860 h 791432"/>
                <a:gd name="connsiteX467" fmla="*/ 416719 w 910018"/>
                <a:gd name="connsiteY467" fmla="*/ 781526 h 791432"/>
                <a:gd name="connsiteX468" fmla="*/ 419862 w 910018"/>
                <a:gd name="connsiteY468" fmla="*/ 781145 h 791432"/>
                <a:gd name="connsiteX469" fmla="*/ 431292 w 910018"/>
                <a:gd name="connsiteY469" fmla="*/ 782860 h 791432"/>
                <a:gd name="connsiteX470" fmla="*/ 438436 w 910018"/>
                <a:gd name="connsiteY470" fmla="*/ 775526 h 791432"/>
                <a:gd name="connsiteX471" fmla="*/ 440531 w 910018"/>
                <a:gd name="connsiteY471" fmla="*/ 767239 h 791432"/>
                <a:gd name="connsiteX472" fmla="*/ 450818 w 910018"/>
                <a:gd name="connsiteY472" fmla="*/ 759524 h 791432"/>
                <a:gd name="connsiteX473" fmla="*/ 454914 w 910018"/>
                <a:gd name="connsiteY473" fmla="*/ 754190 h 791432"/>
                <a:gd name="connsiteX474" fmla="*/ 456057 w 910018"/>
                <a:gd name="connsiteY474" fmla="*/ 750856 h 791432"/>
                <a:gd name="connsiteX475" fmla="*/ 460438 w 910018"/>
                <a:gd name="connsiteY475" fmla="*/ 747141 h 791432"/>
                <a:gd name="connsiteX476" fmla="*/ 460058 w 910018"/>
                <a:gd name="connsiteY476" fmla="*/ 743902 h 791432"/>
                <a:gd name="connsiteX477" fmla="*/ 465106 w 910018"/>
                <a:gd name="connsiteY477" fmla="*/ 733711 h 791432"/>
                <a:gd name="connsiteX478" fmla="*/ 476345 w 910018"/>
                <a:gd name="connsiteY478" fmla="*/ 721043 h 791432"/>
                <a:gd name="connsiteX479" fmla="*/ 479488 w 910018"/>
                <a:gd name="connsiteY479" fmla="*/ 720566 h 791432"/>
                <a:gd name="connsiteX480" fmla="*/ 484061 w 910018"/>
                <a:gd name="connsiteY480" fmla="*/ 718471 h 791432"/>
                <a:gd name="connsiteX481" fmla="*/ 482632 w 910018"/>
                <a:gd name="connsiteY481" fmla="*/ 707422 h 791432"/>
                <a:gd name="connsiteX482" fmla="*/ 504920 w 910018"/>
                <a:gd name="connsiteY482" fmla="*/ 706184 h 791432"/>
                <a:gd name="connsiteX483" fmla="*/ 508063 w 910018"/>
                <a:gd name="connsiteY483" fmla="*/ 705707 h 791432"/>
                <a:gd name="connsiteX484" fmla="*/ 509492 w 910018"/>
                <a:gd name="connsiteY484" fmla="*/ 703993 h 791432"/>
                <a:gd name="connsiteX485" fmla="*/ 523875 w 910018"/>
                <a:gd name="connsiteY485" fmla="*/ 703707 h 791432"/>
                <a:gd name="connsiteX486" fmla="*/ 533305 w 910018"/>
                <a:gd name="connsiteY486" fmla="*/ 702564 h 791432"/>
                <a:gd name="connsiteX487" fmla="*/ 545211 w 910018"/>
                <a:gd name="connsiteY487" fmla="*/ 707422 h 791432"/>
                <a:gd name="connsiteX488" fmla="*/ 557403 w 910018"/>
                <a:gd name="connsiteY488" fmla="*/ 702659 h 791432"/>
                <a:gd name="connsiteX489" fmla="*/ 557594 w 910018"/>
                <a:gd name="connsiteY489" fmla="*/ 691420 h 791432"/>
                <a:gd name="connsiteX490" fmla="*/ 563499 w 910018"/>
                <a:gd name="connsiteY490" fmla="*/ 674656 h 791432"/>
                <a:gd name="connsiteX491" fmla="*/ 565595 w 910018"/>
                <a:gd name="connsiteY491" fmla="*/ 666369 h 791432"/>
                <a:gd name="connsiteX492" fmla="*/ 566833 w 910018"/>
                <a:gd name="connsiteY492" fmla="*/ 662940 h 791432"/>
                <a:gd name="connsiteX493" fmla="*/ 563975 w 910018"/>
                <a:gd name="connsiteY493" fmla="*/ 653701 h 791432"/>
                <a:gd name="connsiteX494" fmla="*/ 564737 w 910018"/>
                <a:gd name="connsiteY494" fmla="*/ 647224 h 791432"/>
                <a:gd name="connsiteX495" fmla="*/ 568262 w 910018"/>
                <a:gd name="connsiteY495" fmla="*/ 637127 h 791432"/>
                <a:gd name="connsiteX496" fmla="*/ 572262 w 910018"/>
                <a:gd name="connsiteY496" fmla="*/ 630174 h 791432"/>
                <a:gd name="connsiteX497" fmla="*/ 574167 w 910018"/>
                <a:gd name="connsiteY497" fmla="*/ 620363 h 791432"/>
                <a:gd name="connsiteX498" fmla="*/ 571405 w 910018"/>
                <a:gd name="connsiteY498" fmla="*/ 611029 h 791432"/>
                <a:gd name="connsiteX499" fmla="*/ 572357 w 910018"/>
                <a:gd name="connsiteY499" fmla="*/ 606171 h 791432"/>
                <a:gd name="connsiteX500" fmla="*/ 576739 w 910018"/>
                <a:gd name="connsiteY500" fmla="*/ 602361 h 791432"/>
                <a:gd name="connsiteX501" fmla="*/ 579215 w 910018"/>
                <a:gd name="connsiteY501" fmla="*/ 597218 h 791432"/>
                <a:gd name="connsiteX502" fmla="*/ 585121 w 910018"/>
                <a:gd name="connsiteY502" fmla="*/ 593312 h 791432"/>
                <a:gd name="connsiteX503" fmla="*/ 596170 w 910018"/>
                <a:gd name="connsiteY503" fmla="*/ 591884 h 791432"/>
                <a:gd name="connsiteX504" fmla="*/ 599122 w 910018"/>
                <a:gd name="connsiteY504" fmla="*/ 589883 h 791432"/>
                <a:gd name="connsiteX505" fmla="*/ 615601 w 910018"/>
                <a:gd name="connsiteY505" fmla="*/ 592646 h 791432"/>
                <a:gd name="connsiteX506" fmla="*/ 619887 w 910018"/>
                <a:gd name="connsiteY506" fmla="*/ 588835 h 791432"/>
                <a:gd name="connsiteX507" fmla="*/ 622649 w 910018"/>
                <a:gd name="connsiteY507" fmla="*/ 585311 h 791432"/>
                <a:gd name="connsiteX508" fmla="*/ 628936 w 910018"/>
                <a:gd name="connsiteY508" fmla="*/ 584454 h 791432"/>
                <a:gd name="connsiteX509" fmla="*/ 637889 w 910018"/>
                <a:gd name="connsiteY509" fmla="*/ 591407 h 791432"/>
                <a:gd name="connsiteX510" fmla="*/ 649129 w 910018"/>
                <a:gd name="connsiteY510" fmla="*/ 591598 h 791432"/>
                <a:gd name="connsiteX511" fmla="*/ 652272 w 910018"/>
                <a:gd name="connsiteY511" fmla="*/ 591122 h 791432"/>
                <a:gd name="connsiteX512" fmla="*/ 654558 w 910018"/>
                <a:gd name="connsiteY512" fmla="*/ 584454 h 791432"/>
                <a:gd name="connsiteX513" fmla="*/ 662464 w 910018"/>
                <a:gd name="connsiteY513" fmla="*/ 583406 h 791432"/>
                <a:gd name="connsiteX514" fmla="*/ 680466 w 910018"/>
                <a:gd name="connsiteY514" fmla="*/ 573119 h 791432"/>
                <a:gd name="connsiteX515" fmla="*/ 684562 w 910018"/>
                <a:gd name="connsiteY515" fmla="*/ 567785 h 791432"/>
                <a:gd name="connsiteX516" fmla="*/ 690086 w 910018"/>
                <a:gd name="connsiteY516" fmla="*/ 560642 h 791432"/>
                <a:gd name="connsiteX517" fmla="*/ 690848 w 910018"/>
                <a:gd name="connsiteY517" fmla="*/ 554164 h 791432"/>
                <a:gd name="connsiteX518" fmla="*/ 699516 w 910018"/>
                <a:gd name="connsiteY518" fmla="*/ 546640 h 791432"/>
                <a:gd name="connsiteX519" fmla="*/ 697516 w 910018"/>
                <a:gd name="connsiteY519" fmla="*/ 543687 h 791432"/>
                <a:gd name="connsiteX520" fmla="*/ 698468 w 910018"/>
                <a:gd name="connsiteY520" fmla="*/ 538734 h 791432"/>
                <a:gd name="connsiteX521" fmla="*/ 705707 w 910018"/>
                <a:gd name="connsiteY521" fmla="*/ 520160 h 791432"/>
                <a:gd name="connsiteX522" fmla="*/ 712470 w 910018"/>
                <a:gd name="connsiteY522" fmla="*/ 509683 h 791432"/>
                <a:gd name="connsiteX523" fmla="*/ 707612 w 910018"/>
                <a:gd name="connsiteY523" fmla="*/ 484632 h 791432"/>
                <a:gd name="connsiteX524" fmla="*/ 709994 w 910018"/>
                <a:gd name="connsiteY524" fmla="*/ 477964 h 791432"/>
                <a:gd name="connsiteX525" fmla="*/ 711613 w 910018"/>
                <a:gd name="connsiteY525" fmla="*/ 477774 h 791432"/>
                <a:gd name="connsiteX526" fmla="*/ 713327 w 910018"/>
                <a:gd name="connsiteY526" fmla="*/ 479107 h 791432"/>
                <a:gd name="connsiteX527" fmla="*/ 714947 w 910018"/>
                <a:gd name="connsiteY527" fmla="*/ 478917 h 791432"/>
                <a:gd name="connsiteX528" fmla="*/ 712375 w 910018"/>
                <a:gd name="connsiteY528" fmla="*/ 471202 h 791432"/>
                <a:gd name="connsiteX529" fmla="*/ 705231 w 910018"/>
                <a:gd name="connsiteY529" fmla="*/ 465772 h 791432"/>
                <a:gd name="connsiteX530" fmla="*/ 704469 w 910018"/>
                <a:gd name="connsiteY530" fmla="*/ 459391 h 791432"/>
                <a:gd name="connsiteX531" fmla="*/ 706755 w 910018"/>
                <a:gd name="connsiteY531" fmla="*/ 452723 h 791432"/>
                <a:gd name="connsiteX532" fmla="*/ 711137 w 910018"/>
                <a:gd name="connsiteY532" fmla="*/ 448913 h 791432"/>
                <a:gd name="connsiteX533" fmla="*/ 710089 w 910018"/>
                <a:gd name="connsiteY533" fmla="*/ 441007 h 791432"/>
                <a:gd name="connsiteX534" fmla="*/ 711518 w 910018"/>
                <a:gd name="connsiteY534" fmla="*/ 439293 h 791432"/>
                <a:gd name="connsiteX535" fmla="*/ 724662 w 910018"/>
                <a:gd name="connsiteY535" fmla="*/ 429577 h 791432"/>
                <a:gd name="connsiteX536" fmla="*/ 718757 w 910018"/>
                <a:gd name="connsiteY536" fmla="*/ 420719 h 791432"/>
                <a:gd name="connsiteX537" fmla="*/ 718852 w 910018"/>
                <a:gd name="connsiteY537" fmla="*/ 396621 h 791432"/>
                <a:gd name="connsiteX538" fmla="*/ 724567 w 910018"/>
                <a:gd name="connsiteY538" fmla="*/ 391096 h 791432"/>
                <a:gd name="connsiteX539" fmla="*/ 727901 w 910018"/>
                <a:gd name="connsiteY539" fmla="*/ 379476 h 791432"/>
                <a:gd name="connsiteX540" fmla="*/ 729520 w 910018"/>
                <a:gd name="connsiteY540" fmla="*/ 379285 h 791432"/>
                <a:gd name="connsiteX541" fmla="*/ 727901 w 910018"/>
                <a:gd name="connsiteY541" fmla="*/ 366617 h 791432"/>
                <a:gd name="connsiteX542" fmla="*/ 732663 w 910018"/>
                <a:gd name="connsiteY542" fmla="*/ 366046 h 791432"/>
                <a:gd name="connsiteX543" fmla="*/ 731996 w 910018"/>
                <a:gd name="connsiteY543" fmla="*/ 361283 h 791432"/>
                <a:gd name="connsiteX544" fmla="*/ 733997 w 910018"/>
                <a:gd name="connsiteY544" fmla="*/ 351377 h 791432"/>
                <a:gd name="connsiteX545" fmla="*/ 726091 w 910018"/>
                <a:gd name="connsiteY545" fmla="*/ 352425 h 791432"/>
                <a:gd name="connsiteX546" fmla="*/ 727805 w 910018"/>
                <a:gd name="connsiteY546" fmla="*/ 340995 h 791432"/>
                <a:gd name="connsiteX547" fmla="*/ 726186 w 910018"/>
                <a:gd name="connsiteY547" fmla="*/ 328327 h 791432"/>
                <a:gd name="connsiteX548" fmla="*/ 736663 w 910018"/>
                <a:gd name="connsiteY548" fmla="*/ 322231 h 791432"/>
                <a:gd name="connsiteX549" fmla="*/ 737235 w 910018"/>
                <a:gd name="connsiteY549" fmla="*/ 314134 h 791432"/>
                <a:gd name="connsiteX550" fmla="*/ 751808 w 910018"/>
                <a:gd name="connsiteY550" fmla="*/ 302609 h 791432"/>
                <a:gd name="connsiteX551" fmla="*/ 751999 w 910018"/>
                <a:gd name="connsiteY551" fmla="*/ 291370 h 791432"/>
                <a:gd name="connsiteX552" fmla="*/ 751142 w 910018"/>
                <a:gd name="connsiteY552" fmla="*/ 285083 h 791432"/>
                <a:gd name="connsiteX553" fmla="*/ 750951 w 910018"/>
                <a:gd name="connsiteY553" fmla="*/ 283464 h 791432"/>
                <a:gd name="connsiteX554" fmla="*/ 755333 w 910018"/>
                <a:gd name="connsiteY554" fmla="*/ 279749 h 791432"/>
                <a:gd name="connsiteX555" fmla="*/ 758666 w 910018"/>
                <a:gd name="connsiteY555" fmla="*/ 280892 h 791432"/>
                <a:gd name="connsiteX556" fmla="*/ 762953 w 910018"/>
                <a:gd name="connsiteY556" fmla="*/ 277177 h 791432"/>
                <a:gd name="connsiteX557" fmla="*/ 767905 w 910018"/>
                <a:gd name="connsiteY557" fmla="*/ 278130 h 791432"/>
                <a:gd name="connsiteX558" fmla="*/ 770668 w 910018"/>
                <a:gd name="connsiteY558" fmla="*/ 274606 h 791432"/>
                <a:gd name="connsiteX559" fmla="*/ 774002 w 910018"/>
                <a:gd name="connsiteY559" fmla="*/ 275749 h 791432"/>
                <a:gd name="connsiteX560" fmla="*/ 776764 w 910018"/>
                <a:gd name="connsiteY560" fmla="*/ 272225 h 791432"/>
                <a:gd name="connsiteX561" fmla="*/ 792956 w 910018"/>
                <a:gd name="connsiteY561" fmla="*/ 273367 h 791432"/>
                <a:gd name="connsiteX562" fmla="*/ 797528 w 910018"/>
                <a:gd name="connsiteY562" fmla="*/ 271177 h 791432"/>
                <a:gd name="connsiteX563" fmla="*/ 806768 w 910018"/>
                <a:gd name="connsiteY563" fmla="*/ 268319 h 791432"/>
                <a:gd name="connsiteX564" fmla="*/ 811149 w 910018"/>
                <a:gd name="connsiteY564" fmla="*/ 264605 h 791432"/>
                <a:gd name="connsiteX565" fmla="*/ 817245 w 910018"/>
                <a:gd name="connsiteY565" fmla="*/ 262223 h 791432"/>
                <a:gd name="connsiteX566" fmla="*/ 831437 w 910018"/>
                <a:gd name="connsiteY566" fmla="*/ 260413 h 791432"/>
                <a:gd name="connsiteX567" fmla="*/ 832771 w 910018"/>
                <a:gd name="connsiteY567" fmla="*/ 258604 h 791432"/>
                <a:gd name="connsiteX568" fmla="*/ 832390 w 910018"/>
                <a:gd name="connsiteY568" fmla="*/ 255460 h 791432"/>
                <a:gd name="connsiteX569" fmla="*/ 844582 w 910018"/>
                <a:gd name="connsiteY569" fmla="*/ 250698 h 791432"/>
                <a:gd name="connsiteX570" fmla="*/ 851726 w 910018"/>
                <a:gd name="connsiteY570" fmla="*/ 243364 h 791432"/>
                <a:gd name="connsiteX571" fmla="*/ 855059 w 910018"/>
                <a:gd name="connsiteY571" fmla="*/ 244602 h 791432"/>
                <a:gd name="connsiteX572" fmla="*/ 875157 w 910018"/>
                <a:gd name="connsiteY572" fmla="*/ 238792 h 791432"/>
                <a:gd name="connsiteX573" fmla="*/ 885444 w 910018"/>
                <a:gd name="connsiteY573" fmla="*/ 231076 h 791432"/>
                <a:gd name="connsiteX574" fmla="*/ 892683 w 910018"/>
                <a:gd name="connsiteY574" fmla="*/ 212503 h 791432"/>
                <a:gd name="connsiteX575" fmla="*/ 896969 w 910018"/>
                <a:gd name="connsiteY575" fmla="*/ 208788 h 791432"/>
                <a:gd name="connsiteX576" fmla="*/ 903351 w 910018"/>
                <a:gd name="connsiteY576" fmla="*/ 207931 h 791432"/>
                <a:gd name="connsiteX577" fmla="*/ 899160 w 910018"/>
                <a:gd name="connsiteY577" fmla="*/ 200501 h 791432"/>
                <a:gd name="connsiteX578" fmla="*/ 906494 w 910018"/>
                <a:gd name="connsiteY578" fmla="*/ 194691 h 791432"/>
                <a:gd name="connsiteX579" fmla="*/ 910019 w 910018"/>
                <a:gd name="connsiteY579" fmla="*/ 184690 h 791432"/>
                <a:gd name="connsiteX580" fmla="*/ 910019 w 910018"/>
                <a:gd name="connsiteY580" fmla="*/ 184690 h 79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</a:cxnLst>
              <a:rect l="l" t="t" r="r" b="b"/>
              <a:pathLst>
                <a:path w="910018" h="791432">
                  <a:moveTo>
                    <a:pt x="910019" y="184690"/>
                  </a:moveTo>
                  <a:lnTo>
                    <a:pt x="904208" y="164497"/>
                  </a:lnTo>
                  <a:lnTo>
                    <a:pt x="903637" y="159829"/>
                  </a:lnTo>
                  <a:lnTo>
                    <a:pt x="901255" y="153734"/>
                  </a:lnTo>
                  <a:lnTo>
                    <a:pt x="896112" y="151162"/>
                  </a:lnTo>
                  <a:lnTo>
                    <a:pt x="891350" y="151733"/>
                  </a:lnTo>
                  <a:lnTo>
                    <a:pt x="884206" y="146209"/>
                  </a:lnTo>
                  <a:lnTo>
                    <a:pt x="879253" y="145256"/>
                  </a:lnTo>
                  <a:lnTo>
                    <a:pt x="871442" y="146304"/>
                  </a:lnTo>
                  <a:lnTo>
                    <a:pt x="876681" y="124777"/>
                  </a:lnTo>
                  <a:lnTo>
                    <a:pt x="871919" y="112490"/>
                  </a:lnTo>
                  <a:lnTo>
                    <a:pt x="867156" y="113157"/>
                  </a:lnTo>
                  <a:lnTo>
                    <a:pt x="865156" y="110204"/>
                  </a:lnTo>
                  <a:lnTo>
                    <a:pt x="866775" y="110014"/>
                  </a:lnTo>
                  <a:lnTo>
                    <a:pt x="864775" y="106966"/>
                  </a:lnTo>
                  <a:lnTo>
                    <a:pt x="860393" y="97917"/>
                  </a:lnTo>
                  <a:lnTo>
                    <a:pt x="854107" y="98774"/>
                  </a:lnTo>
                  <a:lnTo>
                    <a:pt x="845439" y="93440"/>
                  </a:lnTo>
                  <a:lnTo>
                    <a:pt x="840486" y="92488"/>
                  </a:lnTo>
                  <a:lnTo>
                    <a:pt x="834390" y="82010"/>
                  </a:lnTo>
                  <a:lnTo>
                    <a:pt x="828770" y="76295"/>
                  </a:lnTo>
                  <a:lnTo>
                    <a:pt x="826008" y="54197"/>
                  </a:lnTo>
                  <a:lnTo>
                    <a:pt x="822198" y="49911"/>
                  </a:lnTo>
                  <a:lnTo>
                    <a:pt x="815530" y="47530"/>
                  </a:lnTo>
                  <a:lnTo>
                    <a:pt x="804101" y="45815"/>
                  </a:lnTo>
                  <a:lnTo>
                    <a:pt x="799338" y="46387"/>
                  </a:lnTo>
                  <a:lnTo>
                    <a:pt x="794195" y="56674"/>
                  </a:lnTo>
                  <a:lnTo>
                    <a:pt x="789718" y="58864"/>
                  </a:lnTo>
                  <a:lnTo>
                    <a:pt x="769811" y="53340"/>
                  </a:lnTo>
                  <a:lnTo>
                    <a:pt x="765810" y="47434"/>
                  </a:lnTo>
                  <a:lnTo>
                    <a:pt x="762667" y="47815"/>
                  </a:lnTo>
                  <a:lnTo>
                    <a:pt x="753618" y="52197"/>
                  </a:lnTo>
                  <a:lnTo>
                    <a:pt x="745046" y="48482"/>
                  </a:lnTo>
                  <a:lnTo>
                    <a:pt x="733806" y="35528"/>
                  </a:lnTo>
                  <a:lnTo>
                    <a:pt x="729234" y="24860"/>
                  </a:lnTo>
                  <a:lnTo>
                    <a:pt x="725710" y="22098"/>
                  </a:lnTo>
                  <a:lnTo>
                    <a:pt x="721328" y="25908"/>
                  </a:lnTo>
                  <a:lnTo>
                    <a:pt x="705803" y="29432"/>
                  </a:lnTo>
                  <a:lnTo>
                    <a:pt x="697802" y="17621"/>
                  </a:lnTo>
                  <a:lnTo>
                    <a:pt x="687229" y="22193"/>
                  </a:lnTo>
                  <a:lnTo>
                    <a:pt x="680657" y="21431"/>
                  </a:lnTo>
                  <a:lnTo>
                    <a:pt x="677704" y="23431"/>
                  </a:lnTo>
                  <a:lnTo>
                    <a:pt x="669417" y="21241"/>
                  </a:lnTo>
                  <a:lnTo>
                    <a:pt x="665131" y="25051"/>
                  </a:lnTo>
                  <a:lnTo>
                    <a:pt x="663512" y="25241"/>
                  </a:lnTo>
                  <a:lnTo>
                    <a:pt x="655415" y="24670"/>
                  </a:lnTo>
                  <a:lnTo>
                    <a:pt x="647795" y="27242"/>
                  </a:lnTo>
                  <a:lnTo>
                    <a:pt x="633794" y="30575"/>
                  </a:lnTo>
                  <a:lnTo>
                    <a:pt x="618744" y="38957"/>
                  </a:lnTo>
                  <a:lnTo>
                    <a:pt x="612458" y="39719"/>
                  </a:lnTo>
                  <a:lnTo>
                    <a:pt x="611124" y="41529"/>
                  </a:lnTo>
                  <a:lnTo>
                    <a:pt x="604361" y="39148"/>
                  </a:lnTo>
                  <a:lnTo>
                    <a:pt x="604742" y="29527"/>
                  </a:lnTo>
                  <a:lnTo>
                    <a:pt x="603313" y="18478"/>
                  </a:lnTo>
                  <a:lnTo>
                    <a:pt x="595979" y="11335"/>
                  </a:lnTo>
                  <a:lnTo>
                    <a:pt x="590074" y="2476"/>
                  </a:lnTo>
                  <a:lnTo>
                    <a:pt x="586930" y="2857"/>
                  </a:lnTo>
                  <a:lnTo>
                    <a:pt x="585692" y="6286"/>
                  </a:lnTo>
                  <a:lnTo>
                    <a:pt x="578644" y="762"/>
                  </a:lnTo>
                  <a:lnTo>
                    <a:pt x="572072" y="0"/>
                  </a:lnTo>
                  <a:lnTo>
                    <a:pt x="550069" y="2762"/>
                  </a:lnTo>
                  <a:lnTo>
                    <a:pt x="547116" y="17621"/>
                  </a:lnTo>
                  <a:lnTo>
                    <a:pt x="538829" y="28289"/>
                  </a:lnTo>
                  <a:lnTo>
                    <a:pt x="539210" y="31432"/>
                  </a:lnTo>
                  <a:lnTo>
                    <a:pt x="539687" y="34576"/>
                  </a:lnTo>
                  <a:lnTo>
                    <a:pt x="530352" y="37338"/>
                  </a:lnTo>
                  <a:lnTo>
                    <a:pt x="524828" y="31623"/>
                  </a:lnTo>
                  <a:lnTo>
                    <a:pt x="520255" y="33814"/>
                  </a:lnTo>
                  <a:lnTo>
                    <a:pt x="518351" y="30861"/>
                  </a:lnTo>
                  <a:lnTo>
                    <a:pt x="515207" y="31242"/>
                  </a:lnTo>
                  <a:lnTo>
                    <a:pt x="513017" y="26765"/>
                  </a:lnTo>
                  <a:lnTo>
                    <a:pt x="505111" y="27718"/>
                  </a:lnTo>
                  <a:lnTo>
                    <a:pt x="503111" y="24765"/>
                  </a:lnTo>
                  <a:lnTo>
                    <a:pt x="499586" y="22003"/>
                  </a:lnTo>
                  <a:lnTo>
                    <a:pt x="496443" y="22479"/>
                  </a:lnTo>
                  <a:lnTo>
                    <a:pt x="498348" y="25432"/>
                  </a:lnTo>
                  <a:lnTo>
                    <a:pt x="498824" y="28575"/>
                  </a:lnTo>
                  <a:lnTo>
                    <a:pt x="497777" y="33528"/>
                  </a:lnTo>
                  <a:lnTo>
                    <a:pt x="498253" y="36671"/>
                  </a:lnTo>
                  <a:lnTo>
                    <a:pt x="496634" y="36862"/>
                  </a:lnTo>
                  <a:lnTo>
                    <a:pt x="497396" y="43148"/>
                  </a:lnTo>
                  <a:lnTo>
                    <a:pt x="483680" y="48101"/>
                  </a:lnTo>
                  <a:lnTo>
                    <a:pt x="480060" y="45339"/>
                  </a:lnTo>
                  <a:lnTo>
                    <a:pt x="477488" y="50482"/>
                  </a:lnTo>
                  <a:lnTo>
                    <a:pt x="478155" y="55245"/>
                  </a:lnTo>
                  <a:lnTo>
                    <a:pt x="476917" y="58579"/>
                  </a:lnTo>
                  <a:lnTo>
                    <a:pt x="467868" y="62960"/>
                  </a:lnTo>
                  <a:lnTo>
                    <a:pt x="464915" y="64960"/>
                  </a:lnTo>
                  <a:lnTo>
                    <a:pt x="461391" y="62198"/>
                  </a:lnTo>
                  <a:lnTo>
                    <a:pt x="461772" y="65342"/>
                  </a:lnTo>
                  <a:lnTo>
                    <a:pt x="467678" y="74200"/>
                  </a:lnTo>
                  <a:lnTo>
                    <a:pt x="470249" y="81915"/>
                  </a:lnTo>
                  <a:lnTo>
                    <a:pt x="465963" y="85630"/>
                  </a:lnTo>
                  <a:lnTo>
                    <a:pt x="467773" y="87058"/>
                  </a:lnTo>
                  <a:lnTo>
                    <a:pt x="464820" y="89059"/>
                  </a:lnTo>
                  <a:lnTo>
                    <a:pt x="463582" y="92392"/>
                  </a:lnTo>
                  <a:lnTo>
                    <a:pt x="456152" y="96583"/>
                  </a:lnTo>
                  <a:lnTo>
                    <a:pt x="456343" y="98107"/>
                  </a:lnTo>
                  <a:lnTo>
                    <a:pt x="460058" y="102489"/>
                  </a:lnTo>
                  <a:lnTo>
                    <a:pt x="456152" y="109347"/>
                  </a:lnTo>
                  <a:lnTo>
                    <a:pt x="456724" y="114109"/>
                  </a:lnTo>
                  <a:lnTo>
                    <a:pt x="457200" y="117253"/>
                  </a:lnTo>
                  <a:lnTo>
                    <a:pt x="455581" y="117443"/>
                  </a:lnTo>
                  <a:lnTo>
                    <a:pt x="455962" y="120586"/>
                  </a:lnTo>
                  <a:lnTo>
                    <a:pt x="452819" y="121063"/>
                  </a:lnTo>
                  <a:lnTo>
                    <a:pt x="451009" y="119634"/>
                  </a:lnTo>
                  <a:lnTo>
                    <a:pt x="447866" y="120015"/>
                  </a:lnTo>
                  <a:lnTo>
                    <a:pt x="447675" y="118491"/>
                  </a:lnTo>
                  <a:lnTo>
                    <a:pt x="444532" y="118872"/>
                  </a:lnTo>
                  <a:lnTo>
                    <a:pt x="430721" y="123825"/>
                  </a:lnTo>
                  <a:lnTo>
                    <a:pt x="429387" y="125635"/>
                  </a:lnTo>
                  <a:lnTo>
                    <a:pt x="426149" y="126016"/>
                  </a:lnTo>
                  <a:lnTo>
                    <a:pt x="419100" y="120491"/>
                  </a:lnTo>
                  <a:lnTo>
                    <a:pt x="414338" y="121158"/>
                  </a:lnTo>
                  <a:lnTo>
                    <a:pt x="415766" y="119348"/>
                  </a:lnTo>
                  <a:lnTo>
                    <a:pt x="408813" y="115443"/>
                  </a:lnTo>
                  <a:lnTo>
                    <a:pt x="408622" y="113824"/>
                  </a:lnTo>
                  <a:lnTo>
                    <a:pt x="411194" y="108680"/>
                  </a:lnTo>
                  <a:lnTo>
                    <a:pt x="407956" y="109061"/>
                  </a:lnTo>
                  <a:lnTo>
                    <a:pt x="405860" y="104584"/>
                  </a:lnTo>
                  <a:lnTo>
                    <a:pt x="398907" y="100584"/>
                  </a:lnTo>
                  <a:lnTo>
                    <a:pt x="396335" y="92964"/>
                  </a:lnTo>
                  <a:lnTo>
                    <a:pt x="392239" y="98298"/>
                  </a:lnTo>
                  <a:lnTo>
                    <a:pt x="386810" y="94107"/>
                  </a:lnTo>
                  <a:lnTo>
                    <a:pt x="382334" y="96298"/>
                  </a:lnTo>
                  <a:lnTo>
                    <a:pt x="382905" y="101060"/>
                  </a:lnTo>
                  <a:lnTo>
                    <a:pt x="379952" y="103060"/>
                  </a:lnTo>
                  <a:lnTo>
                    <a:pt x="380619" y="107728"/>
                  </a:lnTo>
                  <a:lnTo>
                    <a:pt x="379190" y="109538"/>
                  </a:lnTo>
                  <a:lnTo>
                    <a:pt x="381762" y="117253"/>
                  </a:lnTo>
                  <a:lnTo>
                    <a:pt x="377476" y="120967"/>
                  </a:lnTo>
                  <a:lnTo>
                    <a:pt x="372523" y="120015"/>
                  </a:lnTo>
                  <a:lnTo>
                    <a:pt x="366141" y="108013"/>
                  </a:lnTo>
                  <a:lnTo>
                    <a:pt x="358712" y="112204"/>
                  </a:lnTo>
                  <a:lnTo>
                    <a:pt x="358521" y="110585"/>
                  </a:lnTo>
                  <a:lnTo>
                    <a:pt x="353759" y="111157"/>
                  </a:lnTo>
                  <a:lnTo>
                    <a:pt x="352520" y="114586"/>
                  </a:lnTo>
                  <a:lnTo>
                    <a:pt x="348805" y="110204"/>
                  </a:lnTo>
                  <a:lnTo>
                    <a:pt x="346043" y="113728"/>
                  </a:lnTo>
                  <a:lnTo>
                    <a:pt x="349568" y="116491"/>
                  </a:lnTo>
                  <a:lnTo>
                    <a:pt x="348425" y="119920"/>
                  </a:lnTo>
                  <a:lnTo>
                    <a:pt x="357378" y="126778"/>
                  </a:lnTo>
                  <a:lnTo>
                    <a:pt x="357950" y="131540"/>
                  </a:lnTo>
                  <a:lnTo>
                    <a:pt x="358140" y="133064"/>
                  </a:lnTo>
                  <a:lnTo>
                    <a:pt x="361855" y="137446"/>
                  </a:lnTo>
                  <a:lnTo>
                    <a:pt x="367189" y="141542"/>
                  </a:lnTo>
                  <a:lnTo>
                    <a:pt x="364236" y="143542"/>
                  </a:lnTo>
                  <a:lnTo>
                    <a:pt x="368237" y="149447"/>
                  </a:lnTo>
                  <a:lnTo>
                    <a:pt x="361379" y="158305"/>
                  </a:lnTo>
                  <a:lnTo>
                    <a:pt x="356616" y="158972"/>
                  </a:lnTo>
                  <a:lnTo>
                    <a:pt x="355854" y="165449"/>
                  </a:lnTo>
                  <a:lnTo>
                    <a:pt x="348329" y="169640"/>
                  </a:lnTo>
                  <a:lnTo>
                    <a:pt x="343471" y="168592"/>
                  </a:lnTo>
                  <a:lnTo>
                    <a:pt x="342043" y="170402"/>
                  </a:lnTo>
                  <a:lnTo>
                    <a:pt x="341662" y="167259"/>
                  </a:lnTo>
                  <a:lnTo>
                    <a:pt x="340424" y="170593"/>
                  </a:lnTo>
                  <a:lnTo>
                    <a:pt x="335566" y="169640"/>
                  </a:lnTo>
                  <a:lnTo>
                    <a:pt x="333946" y="169831"/>
                  </a:lnTo>
                  <a:lnTo>
                    <a:pt x="333756" y="168211"/>
                  </a:lnTo>
                  <a:lnTo>
                    <a:pt x="331946" y="166878"/>
                  </a:lnTo>
                  <a:lnTo>
                    <a:pt x="327660" y="170688"/>
                  </a:lnTo>
                  <a:lnTo>
                    <a:pt x="328803" y="167259"/>
                  </a:lnTo>
                  <a:lnTo>
                    <a:pt x="328422" y="164116"/>
                  </a:lnTo>
                  <a:lnTo>
                    <a:pt x="323088" y="160020"/>
                  </a:lnTo>
                  <a:lnTo>
                    <a:pt x="319754" y="158782"/>
                  </a:lnTo>
                  <a:lnTo>
                    <a:pt x="316802" y="160782"/>
                  </a:lnTo>
                  <a:lnTo>
                    <a:pt x="312039" y="161449"/>
                  </a:lnTo>
                  <a:lnTo>
                    <a:pt x="310229" y="160020"/>
                  </a:lnTo>
                  <a:lnTo>
                    <a:pt x="296418" y="164973"/>
                  </a:lnTo>
                  <a:lnTo>
                    <a:pt x="294513" y="162020"/>
                  </a:lnTo>
                  <a:lnTo>
                    <a:pt x="290132" y="165830"/>
                  </a:lnTo>
                  <a:lnTo>
                    <a:pt x="286988" y="166211"/>
                  </a:lnTo>
                  <a:lnTo>
                    <a:pt x="283083" y="173069"/>
                  </a:lnTo>
                  <a:lnTo>
                    <a:pt x="279654" y="171926"/>
                  </a:lnTo>
                  <a:lnTo>
                    <a:pt x="279463" y="170402"/>
                  </a:lnTo>
                  <a:lnTo>
                    <a:pt x="277273" y="165830"/>
                  </a:lnTo>
                  <a:lnTo>
                    <a:pt x="274320" y="167830"/>
                  </a:lnTo>
                  <a:lnTo>
                    <a:pt x="274606" y="169354"/>
                  </a:lnTo>
                  <a:lnTo>
                    <a:pt x="266224" y="167259"/>
                  </a:lnTo>
                  <a:lnTo>
                    <a:pt x="273177" y="171164"/>
                  </a:lnTo>
                  <a:lnTo>
                    <a:pt x="269081" y="176498"/>
                  </a:lnTo>
                  <a:lnTo>
                    <a:pt x="272225" y="176117"/>
                  </a:lnTo>
                  <a:lnTo>
                    <a:pt x="274225" y="179070"/>
                  </a:lnTo>
                  <a:lnTo>
                    <a:pt x="274034" y="190309"/>
                  </a:lnTo>
                  <a:lnTo>
                    <a:pt x="271272" y="193834"/>
                  </a:lnTo>
                  <a:lnTo>
                    <a:pt x="269462" y="192500"/>
                  </a:lnTo>
                  <a:lnTo>
                    <a:pt x="266510" y="194500"/>
                  </a:lnTo>
                  <a:lnTo>
                    <a:pt x="261176" y="203168"/>
                  </a:lnTo>
                  <a:lnTo>
                    <a:pt x="245840" y="221171"/>
                  </a:lnTo>
                  <a:lnTo>
                    <a:pt x="245650" y="219551"/>
                  </a:lnTo>
                  <a:lnTo>
                    <a:pt x="244507" y="210121"/>
                  </a:lnTo>
                  <a:lnTo>
                    <a:pt x="238887" y="204406"/>
                  </a:lnTo>
                  <a:lnTo>
                    <a:pt x="238887" y="204406"/>
                  </a:lnTo>
                  <a:lnTo>
                    <a:pt x="233172" y="197072"/>
                  </a:lnTo>
                  <a:lnTo>
                    <a:pt x="226695" y="196310"/>
                  </a:lnTo>
                  <a:lnTo>
                    <a:pt x="227838" y="192976"/>
                  </a:lnTo>
                  <a:lnTo>
                    <a:pt x="221552" y="193834"/>
                  </a:lnTo>
                  <a:lnTo>
                    <a:pt x="218218" y="192596"/>
                  </a:lnTo>
                  <a:lnTo>
                    <a:pt x="218408" y="194215"/>
                  </a:lnTo>
                  <a:lnTo>
                    <a:pt x="213455" y="193262"/>
                  </a:lnTo>
                  <a:lnTo>
                    <a:pt x="215646" y="197739"/>
                  </a:lnTo>
                  <a:lnTo>
                    <a:pt x="214217" y="199549"/>
                  </a:lnTo>
                  <a:lnTo>
                    <a:pt x="212027" y="194977"/>
                  </a:lnTo>
                  <a:lnTo>
                    <a:pt x="202597" y="196215"/>
                  </a:lnTo>
                  <a:lnTo>
                    <a:pt x="203549" y="191262"/>
                  </a:lnTo>
                  <a:lnTo>
                    <a:pt x="199835" y="186976"/>
                  </a:lnTo>
                  <a:lnTo>
                    <a:pt x="196882" y="188881"/>
                  </a:lnTo>
                  <a:lnTo>
                    <a:pt x="184976" y="184023"/>
                  </a:lnTo>
                  <a:lnTo>
                    <a:pt x="186214" y="193453"/>
                  </a:lnTo>
                  <a:lnTo>
                    <a:pt x="182880" y="192310"/>
                  </a:lnTo>
                  <a:lnTo>
                    <a:pt x="174974" y="193262"/>
                  </a:lnTo>
                  <a:lnTo>
                    <a:pt x="174593" y="190119"/>
                  </a:lnTo>
                  <a:lnTo>
                    <a:pt x="175355" y="183642"/>
                  </a:lnTo>
                  <a:lnTo>
                    <a:pt x="175546" y="172402"/>
                  </a:lnTo>
                  <a:lnTo>
                    <a:pt x="181261" y="166878"/>
                  </a:lnTo>
                  <a:lnTo>
                    <a:pt x="180975" y="165259"/>
                  </a:lnTo>
                  <a:lnTo>
                    <a:pt x="177832" y="165640"/>
                  </a:lnTo>
                  <a:lnTo>
                    <a:pt x="170307" y="156972"/>
                  </a:lnTo>
                  <a:lnTo>
                    <a:pt x="170307" y="156972"/>
                  </a:lnTo>
                  <a:lnTo>
                    <a:pt x="170783" y="160210"/>
                  </a:lnTo>
                  <a:lnTo>
                    <a:pt x="166021" y="160782"/>
                  </a:lnTo>
                  <a:lnTo>
                    <a:pt x="166211" y="162306"/>
                  </a:lnTo>
                  <a:lnTo>
                    <a:pt x="159925" y="163163"/>
                  </a:lnTo>
                  <a:lnTo>
                    <a:pt x="159353" y="171259"/>
                  </a:lnTo>
                  <a:lnTo>
                    <a:pt x="156401" y="173260"/>
                  </a:lnTo>
                  <a:lnTo>
                    <a:pt x="157925" y="172974"/>
                  </a:lnTo>
                  <a:lnTo>
                    <a:pt x="156782" y="176403"/>
                  </a:lnTo>
                  <a:lnTo>
                    <a:pt x="154972" y="174974"/>
                  </a:lnTo>
                  <a:lnTo>
                    <a:pt x="152210" y="178594"/>
                  </a:lnTo>
                  <a:lnTo>
                    <a:pt x="152400" y="180118"/>
                  </a:lnTo>
                  <a:lnTo>
                    <a:pt x="151257" y="183451"/>
                  </a:lnTo>
                  <a:lnTo>
                    <a:pt x="146495" y="184118"/>
                  </a:lnTo>
                  <a:lnTo>
                    <a:pt x="147542" y="192024"/>
                  </a:lnTo>
                  <a:lnTo>
                    <a:pt x="145733" y="190595"/>
                  </a:lnTo>
                  <a:lnTo>
                    <a:pt x="146399" y="195358"/>
                  </a:lnTo>
                  <a:lnTo>
                    <a:pt x="146971" y="200120"/>
                  </a:lnTo>
                  <a:lnTo>
                    <a:pt x="149543" y="207740"/>
                  </a:lnTo>
                  <a:lnTo>
                    <a:pt x="153543" y="213646"/>
                  </a:lnTo>
                  <a:lnTo>
                    <a:pt x="152495" y="218599"/>
                  </a:lnTo>
                  <a:lnTo>
                    <a:pt x="159258" y="220980"/>
                  </a:lnTo>
                  <a:lnTo>
                    <a:pt x="159449" y="222504"/>
                  </a:lnTo>
                  <a:lnTo>
                    <a:pt x="162020" y="230219"/>
                  </a:lnTo>
                  <a:lnTo>
                    <a:pt x="160496" y="230410"/>
                  </a:lnTo>
                  <a:lnTo>
                    <a:pt x="163068" y="238125"/>
                  </a:lnTo>
                  <a:lnTo>
                    <a:pt x="156686" y="238887"/>
                  </a:lnTo>
                  <a:lnTo>
                    <a:pt x="155162" y="239173"/>
                  </a:lnTo>
                  <a:lnTo>
                    <a:pt x="152019" y="239554"/>
                  </a:lnTo>
                  <a:lnTo>
                    <a:pt x="148304" y="248031"/>
                  </a:lnTo>
                  <a:lnTo>
                    <a:pt x="143351" y="247078"/>
                  </a:lnTo>
                  <a:lnTo>
                    <a:pt x="143732" y="250222"/>
                  </a:lnTo>
                  <a:lnTo>
                    <a:pt x="137636" y="252603"/>
                  </a:lnTo>
                  <a:lnTo>
                    <a:pt x="135636" y="249650"/>
                  </a:lnTo>
                  <a:lnTo>
                    <a:pt x="132874" y="266033"/>
                  </a:lnTo>
                  <a:lnTo>
                    <a:pt x="131350" y="266224"/>
                  </a:lnTo>
                  <a:lnTo>
                    <a:pt x="130207" y="269557"/>
                  </a:lnTo>
                  <a:lnTo>
                    <a:pt x="126968" y="269938"/>
                  </a:lnTo>
                  <a:lnTo>
                    <a:pt x="128969" y="272891"/>
                  </a:lnTo>
                  <a:lnTo>
                    <a:pt x="125825" y="273367"/>
                  </a:lnTo>
                  <a:lnTo>
                    <a:pt x="124682" y="276701"/>
                  </a:lnTo>
                  <a:lnTo>
                    <a:pt x="120301" y="280416"/>
                  </a:lnTo>
                  <a:lnTo>
                    <a:pt x="119158" y="283845"/>
                  </a:lnTo>
                  <a:lnTo>
                    <a:pt x="120968" y="285178"/>
                  </a:lnTo>
                  <a:lnTo>
                    <a:pt x="119539" y="286988"/>
                  </a:lnTo>
                  <a:lnTo>
                    <a:pt x="110680" y="292894"/>
                  </a:lnTo>
                  <a:lnTo>
                    <a:pt x="107347" y="291751"/>
                  </a:lnTo>
                  <a:lnTo>
                    <a:pt x="106109" y="295084"/>
                  </a:lnTo>
                  <a:lnTo>
                    <a:pt x="97250" y="288226"/>
                  </a:lnTo>
                  <a:lnTo>
                    <a:pt x="95917" y="289941"/>
                  </a:lnTo>
                  <a:lnTo>
                    <a:pt x="93726" y="285464"/>
                  </a:lnTo>
                  <a:lnTo>
                    <a:pt x="92678" y="290417"/>
                  </a:lnTo>
                  <a:lnTo>
                    <a:pt x="88202" y="292608"/>
                  </a:lnTo>
                  <a:lnTo>
                    <a:pt x="85249" y="294513"/>
                  </a:lnTo>
                  <a:lnTo>
                    <a:pt x="76771" y="290798"/>
                  </a:lnTo>
                  <a:lnTo>
                    <a:pt x="75343" y="292608"/>
                  </a:lnTo>
                  <a:lnTo>
                    <a:pt x="70866" y="294799"/>
                  </a:lnTo>
                  <a:lnTo>
                    <a:pt x="66104" y="295370"/>
                  </a:lnTo>
                  <a:lnTo>
                    <a:pt x="65151" y="300323"/>
                  </a:lnTo>
                  <a:lnTo>
                    <a:pt x="63722" y="302133"/>
                  </a:lnTo>
                  <a:lnTo>
                    <a:pt x="56864" y="298132"/>
                  </a:lnTo>
                  <a:lnTo>
                    <a:pt x="54483" y="292036"/>
                  </a:lnTo>
                  <a:lnTo>
                    <a:pt x="51245" y="292417"/>
                  </a:lnTo>
                  <a:lnTo>
                    <a:pt x="48292" y="294418"/>
                  </a:lnTo>
                  <a:lnTo>
                    <a:pt x="53912" y="300133"/>
                  </a:lnTo>
                  <a:lnTo>
                    <a:pt x="49339" y="302323"/>
                  </a:lnTo>
                  <a:lnTo>
                    <a:pt x="44577" y="302895"/>
                  </a:lnTo>
                  <a:lnTo>
                    <a:pt x="40291" y="306705"/>
                  </a:lnTo>
                  <a:lnTo>
                    <a:pt x="41053" y="312992"/>
                  </a:lnTo>
                  <a:lnTo>
                    <a:pt x="42672" y="312801"/>
                  </a:lnTo>
                  <a:lnTo>
                    <a:pt x="42101" y="320897"/>
                  </a:lnTo>
                  <a:lnTo>
                    <a:pt x="39529" y="326041"/>
                  </a:lnTo>
                  <a:lnTo>
                    <a:pt x="39338" y="324421"/>
                  </a:lnTo>
                  <a:lnTo>
                    <a:pt x="37719" y="324612"/>
                  </a:lnTo>
                  <a:lnTo>
                    <a:pt x="37910" y="326231"/>
                  </a:lnTo>
                  <a:lnTo>
                    <a:pt x="36004" y="323278"/>
                  </a:lnTo>
                  <a:lnTo>
                    <a:pt x="32576" y="322135"/>
                  </a:lnTo>
                  <a:lnTo>
                    <a:pt x="30671" y="319183"/>
                  </a:lnTo>
                  <a:lnTo>
                    <a:pt x="27242" y="317944"/>
                  </a:lnTo>
                  <a:lnTo>
                    <a:pt x="23336" y="324898"/>
                  </a:lnTo>
                  <a:lnTo>
                    <a:pt x="23527" y="326422"/>
                  </a:lnTo>
                  <a:lnTo>
                    <a:pt x="21622" y="336328"/>
                  </a:lnTo>
                  <a:lnTo>
                    <a:pt x="17050" y="338518"/>
                  </a:lnTo>
                  <a:lnTo>
                    <a:pt x="14478" y="343662"/>
                  </a:lnTo>
                  <a:lnTo>
                    <a:pt x="8572" y="347567"/>
                  </a:lnTo>
                  <a:lnTo>
                    <a:pt x="7811" y="354139"/>
                  </a:lnTo>
                  <a:lnTo>
                    <a:pt x="12954" y="356711"/>
                  </a:lnTo>
                  <a:lnTo>
                    <a:pt x="15145" y="361188"/>
                  </a:lnTo>
                  <a:lnTo>
                    <a:pt x="18860" y="365569"/>
                  </a:lnTo>
                  <a:lnTo>
                    <a:pt x="19907" y="373475"/>
                  </a:lnTo>
                  <a:lnTo>
                    <a:pt x="13621" y="387096"/>
                  </a:lnTo>
                  <a:lnTo>
                    <a:pt x="18955" y="391192"/>
                  </a:lnTo>
                  <a:lnTo>
                    <a:pt x="23146" y="398717"/>
                  </a:lnTo>
                  <a:lnTo>
                    <a:pt x="26099" y="409575"/>
                  </a:lnTo>
                  <a:lnTo>
                    <a:pt x="29432" y="410718"/>
                  </a:lnTo>
                  <a:lnTo>
                    <a:pt x="31242" y="412051"/>
                  </a:lnTo>
                  <a:lnTo>
                    <a:pt x="32861" y="411861"/>
                  </a:lnTo>
                  <a:lnTo>
                    <a:pt x="35052" y="416433"/>
                  </a:lnTo>
                  <a:lnTo>
                    <a:pt x="29337" y="421957"/>
                  </a:lnTo>
                  <a:lnTo>
                    <a:pt x="27527" y="420529"/>
                  </a:lnTo>
                  <a:lnTo>
                    <a:pt x="26765" y="427101"/>
                  </a:lnTo>
                  <a:lnTo>
                    <a:pt x="22574" y="432435"/>
                  </a:lnTo>
                  <a:lnTo>
                    <a:pt x="27908" y="436531"/>
                  </a:lnTo>
                  <a:lnTo>
                    <a:pt x="27337" y="431863"/>
                  </a:lnTo>
                  <a:lnTo>
                    <a:pt x="38386" y="430435"/>
                  </a:lnTo>
                  <a:lnTo>
                    <a:pt x="40196" y="431768"/>
                  </a:lnTo>
                  <a:lnTo>
                    <a:pt x="43339" y="431387"/>
                  </a:lnTo>
                  <a:lnTo>
                    <a:pt x="46863" y="434150"/>
                  </a:lnTo>
                  <a:lnTo>
                    <a:pt x="51435" y="431959"/>
                  </a:lnTo>
                  <a:lnTo>
                    <a:pt x="56579" y="421672"/>
                  </a:lnTo>
                  <a:lnTo>
                    <a:pt x="58103" y="421481"/>
                  </a:lnTo>
                  <a:lnTo>
                    <a:pt x="62103" y="427387"/>
                  </a:lnTo>
                  <a:lnTo>
                    <a:pt x="58769" y="439007"/>
                  </a:lnTo>
                  <a:lnTo>
                    <a:pt x="57531" y="442436"/>
                  </a:lnTo>
                  <a:lnTo>
                    <a:pt x="59531" y="445389"/>
                  </a:lnTo>
                  <a:lnTo>
                    <a:pt x="58007" y="445580"/>
                  </a:lnTo>
                  <a:lnTo>
                    <a:pt x="59912" y="448532"/>
                  </a:lnTo>
                  <a:lnTo>
                    <a:pt x="55436" y="450723"/>
                  </a:lnTo>
                  <a:lnTo>
                    <a:pt x="51911" y="473583"/>
                  </a:lnTo>
                  <a:lnTo>
                    <a:pt x="46958" y="472630"/>
                  </a:lnTo>
                  <a:lnTo>
                    <a:pt x="45625" y="474440"/>
                  </a:lnTo>
                  <a:lnTo>
                    <a:pt x="42291" y="473202"/>
                  </a:lnTo>
                  <a:lnTo>
                    <a:pt x="41053" y="476536"/>
                  </a:lnTo>
                  <a:lnTo>
                    <a:pt x="39910" y="479965"/>
                  </a:lnTo>
                  <a:lnTo>
                    <a:pt x="36767" y="480346"/>
                  </a:lnTo>
                  <a:lnTo>
                    <a:pt x="34957" y="478917"/>
                  </a:lnTo>
                  <a:lnTo>
                    <a:pt x="28480" y="478155"/>
                  </a:lnTo>
                  <a:lnTo>
                    <a:pt x="23908" y="480346"/>
                  </a:lnTo>
                  <a:lnTo>
                    <a:pt x="23527" y="490061"/>
                  </a:lnTo>
                  <a:lnTo>
                    <a:pt x="20574" y="504825"/>
                  </a:lnTo>
                  <a:lnTo>
                    <a:pt x="19050" y="505015"/>
                  </a:lnTo>
                  <a:lnTo>
                    <a:pt x="20003" y="512921"/>
                  </a:lnTo>
                  <a:lnTo>
                    <a:pt x="15716" y="516731"/>
                  </a:lnTo>
                  <a:lnTo>
                    <a:pt x="12383" y="515493"/>
                  </a:lnTo>
                  <a:lnTo>
                    <a:pt x="857" y="513778"/>
                  </a:lnTo>
                  <a:lnTo>
                    <a:pt x="3143" y="531114"/>
                  </a:lnTo>
                  <a:lnTo>
                    <a:pt x="4477" y="529400"/>
                  </a:lnTo>
                  <a:lnTo>
                    <a:pt x="6668" y="533876"/>
                  </a:lnTo>
                  <a:lnTo>
                    <a:pt x="5905" y="540353"/>
                  </a:lnTo>
                  <a:lnTo>
                    <a:pt x="0" y="544354"/>
                  </a:lnTo>
                  <a:lnTo>
                    <a:pt x="16383" y="547116"/>
                  </a:lnTo>
                  <a:lnTo>
                    <a:pt x="20860" y="544925"/>
                  </a:lnTo>
                  <a:lnTo>
                    <a:pt x="24479" y="547688"/>
                  </a:lnTo>
                  <a:lnTo>
                    <a:pt x="28385" y="540734"/>
                  </a:lnTo>
                  <a:lnTo>
                    <a:pt x="31528" y="540353"/>
                  </a:lnTo>
                  <a:lnTo>
                    <a:pt x="34480" y="538353"/>
                  </a:lnTo>
                  <a:lnTo>
                    <a:pt x="37910" y="539496"/>
                  </a:lnTo>
                  <a:lnTo>
                    <a:pt x="42386" y="537401"/>
                  </a:lnTo>
                  <a:lnTo>
                    <a:pt x="53245" y="534352"/>
                  </a:lnTo>
                  <a:lnTo>
                    <a:pt x="63532" y="526637"/>
                  </a:lnTo>
                  <a:lnTo>
                    <a:pt x="71533" y="527209"/>
                  </a:lnTo>
                  <a:lnTo>
                    <a:pt x="73343" y="528638"/>
                  </a:lnTo>
                  <a:lnTo>
                    <a:pt x="76962" y="544163"/>
                  </a:lnTo>
                  <a:lnTo>
                    <a:pt x="81915" y="545116"/>
                  </a:lnTo>
                  <a:lnTo>
                    <a:pt x="83820" y="548068"/>
                  </a:lnTo>
                  <a:lnTo>
                    <a:pt x="84487" y="552831"/>
                  </a:lnTo>
                  <a:lnTo>
                    <a:pt x="86678" y="557403"/>
                  </a:lnTo>
                  <a:lnTo>
                    <a:pt x="86296" y="567023"/>
                  </a:lnTo>
                  <a:lnTo>
                    <a:pt x="85344" y="571976"/>
                  </a:lnTo>
                  <a:lnTo>
                    <a:pt x="81153" y="577310"/>
                  </a:lnTo>
                  <a:lnTo>
                    <a:pt x="81534" y="580453"/>
                  </a:lnTo>
                  <a:lnTo>
                    <a:pt x="79248" y="587216"/>
                  </a:lnTo>
                  <a:lnTo>
                    <a:pt x="78010" y="590550"/>
                  </a:lnTo>
                  <a:lnTo>
                    <a:pt x="80010" y="593503"/>
                  </a:lnTo>
                  <a:lnTo>
                    <a:pt x="82963" y="591502"/>
                  </a:lnTo>
                  <a:lnTo>
                    <a:pt x="85344" y="584835"/>
                  </a:lnTo>
                  <a:lnTo>
                    <a:pt x="101537" y="585978"/>
                  </a:lnTo>
                  <a:lnTo>
                    <a:pt x="102679" y="595408"/>
                  </a:lnTo>
                  <a:lnTo>
                    <a:pt x="104299" y="595217"/>
                  </a:lnTo>
                  <a:lnTo>
                    <a:pt x="108585" y="591502"/>
                  </a:lnTo>
                  <a:lnTo>
                    <a:pt x="113538" y="592455"/>
                  </a:lnTo>
                  <a:lnTo>
                    <a:pt x="115919" y="598551"/>
                  </a:lnTo>
                  <a:lnTo>
                    <a:pt x="119539" y="601313"/>
                  </a:lnTo>
                  <a:lnTo>
                    <a:pt x="119539" y="614172"/>
                  </a:lnTo>
                  <a:lnTo>
                    <a:pt x="124301" y="613505"/>
                  </a:lnTo>
                  <a:lnTo>
                    <a:pt x="127063" y="609981"/>
                  </a:lnTo>
                  <a:lnTo>
                    <a:pt x="130588" y="612743"/>
                  </a:lnTo>
                  <a:lnTo>
                    <a:pt x="130397" y="611124"/>
                  </a:lnTo>
                  <a:lnTo>
                    <a:pt x="136874" y="611886"/>
                  </a:lnTo>
                  <a:lnTo>
                    <a:pt x="138303" y="610172"/>
                  </a:lnTo>
                  <a:lnTo>
                    <a:pt x="139827" y="609981"/>
                  </a:lnTo>
                  <a:lnTo>
                    <a:pt x="143256" y="611124"/>
                  </a:lnTo>
                  <a:lnTo>
                    <a:pt x="145352" y="615601"/>
                  </a:lnTo>
                  <a:lnTo>
                    <a:pt x="151733" y="614839"/>
                  </a:lnTo>
                  <a:lnTo>
                    <a:pt x="155067" y="615982"/>
                  </a:lnTo>
                  <a:lnTo>
                    <a:pt x="162592" y="611886"/>
                  </a:lnTo>
                  <a:lnTo>
                    <a:pt x="167926" y="615982"/>
                  </a:lnTo>
                  <a:lnTo>
                    <a:pt x="166688" y="619315"/>
                  </a:lnTo>
                  <a:lnTo>
                    <a:pt x="173641" y="623316"/>
                  </a:lnTo>
                  <a:lnTo>
                    <a:pt x="174784" y="619887"/>
                  </a:lnTo>
                  <a:lnTo>
                    <a:pt x="180118" y="624078"/>
                  </a:lnTo>
                  <a:lnTo>
                    <a:pt x="178022" y="632365"/>
                  </a:lnTo>
                  <a:lnTo>
                    <a:pt x="179927" y="635318"/>
                  </a:lnTo>
                  <a:lnTo>
                    <a:pt x="178784" y="638651"/>
                  </a:lnTo>
                  <a:lnTo>
                    <a:pt x="179165" y="641794"/>
                  </a:lnTo>
                  <a:lnTo>
                    <a:pt x="175070" y="647128"/>
                  </a:lnTo>
                  <a:lnTo>
                    <a:pt x="176879" y="648557"/>
                  </a:lnTo>
                  <a:lnTo>
                    <a:pt x="175641" y="651891"/>
                  </a:lnTo>
                  <a:lnTo>
                    <a:pt x="175832" y="653415"/>
                  </a:lnTo>
                  <a:lnTo>
                    <a:pt x="177641" y="654844"/>
                  </a:lnTo>
                  <a:lnTo>
                    <a:pt x="184404" y="657225"/>
                  </a:lnTo>
                  <a:lnTo>
                    <a:pt x="185738" y="655415"/>
                  </a:lnTo>
                  <a:lnTo>
                    <a:pt x="189071" y="656558"/>
                  </a:lnTo>
                  <a:lnTo>
                    <a:pt x="190500" y="654844"/>
                  </a:lnTo>
                  <a:lnTo>
                    <a:pt x="192691" y="659321"/>
                  </a:lnTo>
                  <a:lnTo>
                    <a:pt x="194977" y="652653"/>
                  </a:lnTo>
                  <a:lnTo>
                    <a:pt x="205835" y="649605"/>
                  </a:lnTo>
                  <a:lnTo>
                    <a:pt x="207264" y="660654"/>
                  </a:lnTo>
                  <a:lnTo>
                    <a:pt x="214217" y="664655"/>
                  </a:lnTo>
                  <a:lnTo>
                    <a:pt x="223457" y="674656"/>
                  </a:lnTo>
                  <a:lnTo>
                    <a:pt x="225076" y="674465"/>
                  </a:lnTo>
                  <a:lnTo>
                    <a:pt x="234125" y="682943"/>
                  </a:lnTo>
                  <a:lnTo>
                    <a:pt x="245936" y="675037"/>
                  </a:lnTo>
                  <a:lnTo>
                    <a:pt x="247745" y="676370"/>
                  </a:lnTo>
                  <a:lnTo>
                    <a:pt x="250508" y="672846"/>
                  </a:lnTo>
                  <a:lnTo>
                    <a:pt x="252317" y="674180"/>
                  </a:lnTo>
                  <a:lnTo>
                    <a:pt x="258223" y="670274"/>
                  </a:lnTo>
                  <a:lnTo>
                    <a:pt x="258413" y="671798"/>
                  </a:lnTo>
                  <a:lnTo>
                    <a:pt x="261366" y="669798"/>
                  </a:lnTo>
                  <a:lnTo>
                    <a:pt x="267081" y="677132"/>
                  </a:lnTo>
                  <a:lnTo>
                    <a:pt x="280892" y="672179"/>
                  </a:lnTo>
                  <a:lnTo>
                    <a:pt x="279845" y="664273"/>
                  </a:lnTo>
                  <a:lnTo>
                    <a:pt x="286417" y="677894"/>
                  </a:lnTo>
                  <a:lnTo>
                    <a:pt x="288417" y="680847"/>
                  </a:lnTo>
                  <a:lnTo>
                    <a:pt x="297275" y="674846"/>
                  </a:lnTo>
                  <a:lnTo>
                    <a:pt x="311277" y="684276"/>
                  </a:lnTo>
                  <a:lnTo>
                    <a:pt x="320040" y="689610"/>
                  </a:lnTo>
                  <a:lnTo>
                    <a:pt x="317278" y="693134"/>
                  </a:lnTo>
                  <a:lnTo>
                    <a:pt x="317849" y="697897"/>
                  </a:lnTo>
                  <a:lnTo>
                    <a:pt x="310420" y="714947"/>
                  </a:lnTo>
                  <a:lnTo>
                    <a:pt x="319088" y="720185"/>
                  </a:lnTo>
                  <a:lnTo>
                    <a:pt x="323183" y="714851"/>
                  </a:lnTo>
                  <a:lnTo>
                    <a:pt x="327946" y="714280"/>
                  </a:lnTo>
                  <a:lnTo>
                    <a:pt x="344138" y="728282"/>
                  </a:lnTo>
                  <a:lnTo>
                    <a:pt x="355378" y="728377"/>
                  </a:lnTo>
                  <a:lnTo>
                    <a:pt x="367475" y="747712"/>
                  </a:lnTo>
                  <a:lnTo>
                    <a:pt x="373666" y="758190"/>
                  </a:lnTo>
                  <a:lnTo>
                    <a:pt x="372428" y="761524"/>
                  </a:lnTo>
                  <a:lnTo>
                    <a:pt x="376238" y="765810"/>
                  </a:lnTo>
                  <a:lnTo>
                    <a:pt x="383858" y="763238"/>
                  </a:lnTo>
                  <a:lnTo>
                    <a:pt x="381191" y="766858"/>
                  </a:lnTo>
                  <a:lnTo>
                    <a:pt x="382905" y="768191"/>
                  </a:lnTo>
                  <a:lnTo>
                    <a:pt x="381381" y="768382"/>
                  </a:lnTo>
                  <a:lnTo>
                    <a:pt x="381953" y="773144"/>
                  </a:lnTo>
                  <a:lnTo>
                    <a:pt x="389096" y="791432"/>
                  </a:lnTo>
                  <a:lnTo>
                    <a:pt x="396812" y="788860"/>
                  </a:lnTo>
                  <a:lnTo>
                    <a:pt x="403479" y="791242"/>
                  </a:lnTo>
                  <a:lnTo>
                    <a:pt x="409385" y="787241"/>
                  </a:lnTo>
                  <a:lnTo>
                    <a:pt x="412623" y="786860"/>
                  </a:lnTo>
                  <a:lnTo>
                    <a:pt x="416719" y="781526"/>
                  </a:lnTo>
                  <a:lnTo>
                    <a:pt x="419862" y="781145"/>
                  </a:lnTo>
                  <a:lnTo>
                    <a:pt x="431292" y="782860"/>
                  </a:lnTo>
                  <a:lnTo>
                    <a:pt x="438436" y="775526"/>
                  </a:lnTo>
                  <a:lnTo>
                    <a:pt x="440531" y="767239"/>
                  </a:lnTo>
                  <a:lnTo>
                    <a:pt x="450818" y="759524"/>
                  </a:lnTo>
                  <a:lnTo>
                    <a:pt x="454914" y="754190"/>
                  </a:lnTo>
                  <a:lnTo>
                    <a:pt x="456057" y="750856"/>
                  </a:lnTo>
                  <a:lnTo>
                    <a:pt x="460438" y="747141"/>
                  </a:lnTo>
                  <a:lnTo>
                    <a:pt x="460058" y="743902"/>
                  </a:lnTo>
                  <a:lnTo>
                    <a:pt x="465106" y="733711"/>
                  </a:lnTo>
                  <a:lnTo>
                    <a:pt x="476345" y="721043"/>
                  </a:lnTo>
                  <a:lnTo>
                    <a:pt x="479488" y="720566"/>
                  </a:lnTo>
                  <a:lnTo>
                    <a:pt x="484061" y="718471"/>
                  </a:lnTo>
                  <a:lnTo>
                    <a:pt x="482632" y="707422"/>
                  </a:lnTo>
                  <a:lnTo>
                    <a:pt x="504920" y="706184"/>
                  </a:lnTo>
                  <a:lnTo>
                    <a:pt x="508063" y="705707"/>
                  </a:lnTo>
                  <a:lnTo>
                    <a:pt x="509492" y="703993"/>
                  </a:lnTo>
                  <a:lnTo>
                    <a:pt x="523875" y="703707"/>
                  </a:lnTo>
                  <a:lnTo>
                    <a:pt x="533305" y="702564"/>
                  </a:lnTo>
                  <a:lnTo>
                    <a:pt x="545211" y="707422"/>
                  </a:lnTo>
                  <a:lnTo>
                    <a:pt x="557403" y="702659"/>
                  </a:lnTo>
                  <a:lnTo>
                    <a:pt x="557594" y="691420"/>
                  </a:lnTo>
                  <a:lnTo>
                    <a:pt x="563499" y="674656"/>
                  </a:lnTo>
                  <a:lnTo>
                    <a:pt x="565595" y="666369"/>
                  </a:lnTo>
                  <a:lnTo>
                    <a:pt x="566833" y="662940"/>
                  </a:lnTo>
                  <a:lnTo>
                    <a:pt x="563975" y="653701"/>
                  </a:lnTo>
                  <a:lnTo>
                    <a:pt x="564737" y="647224"/>
                  </a:lnTo>
                  <a:lnTo>
                    <a:pt x="568262" y="637127"/>
                  </a:lnTo>
                  <a:lnTo>
                    <a:pt x="572262" y="630174"/>
                  </a:lnTo>
                  <a:lnTo>
                    <a:pt x="574167" y="620363"/>
                  </a:lnTo>
                  <a:lnTo>
                    <a:pt x="571405" y="611029"/>
                  </a:lnTo>
                  <a:lnTo>
                    <a:pt x="572357" y="606171"/>
                  </a:lnTo>
                  <a:lnTo>
                    <a:pt x="576739" y="602361"/>
                  </a:lnTo>
                  <a:lnTo>
                    <a:pt x="579215" y="597218"/>
                  </a:lnTo>
                  <a:lnTo>
                    <a:pt x="585121" y="593312"/>
                  </a:lnTo>
                  <a:lnTo>
                    <a:pt x="596170" y="591884"/>
                  </a:lnTo>
                  <a:lnTo>
                    <a:pt x="599122" y="589883"/>
                  </a:lnTo>
                  <a:lnTo>
                    <a:pt x="615601" y="592646"/>
                  </a:lnTo>
                  <a:lnTo>
                    <a:pt x="619887" y="588835"/>
                  </a:lnTo>
                  <a:lnTo>
                    <a:pt x="622649" y="585311"/>
                  </a:lnTo>
                  <a:lnTo>
                    <a:pt x="628936" y="584454"/>
                  </a:lnTo>
                  <a:lnTo>
                    <a:pt x="637889" y="591407"/>
                  </a:lnTo>
                  <a:lnTo>
                    <a:pt x="649129" y="591598"/>
                  </a:lnTo>
                  <a:lnTo>
                    <a:pt x="652272" y="591122"/>
                  </a:lnTo>
                  <a:lnTo>
                    <a:pt x="654558" y="584454"/>
                  </a:lnTo>
                  <a:lnTo>
                    <a:pt x="662464" y="583406"/>
                  </a:lnTo>
                  <a:lnTo>
                    <a:pt x="680466" y="573119"/>
                  </a:lnTo>
                  <a:lnTo>
                    <a:pt x="684562" y="567785"/>
                  </a:lnTo>
                  <a:lnTo>
                    <a:pt x="690086" y="560642"/>
                  </a:lnTo>
                  <a:lnTo>
                    <a:pt x="690848" y="554164"/>
                  </a:lnTo>
                  <a:lnTo>
                    <a:pt x="699516" y="546640"/>
                  </a:lnTo>
                  <a:lnTo>
                    <a:pt x="697516" y="543687"/>
                  </a:lnTo>
                  <a:lnTo>
                    <a:pt x="698468" y="538734"/>
                  </a:lnTo>
                  <a:lnTo>
                    <a:pt x="705707" y="520160"/>
                  </a:lnTo>
                  <a:lnTo>
                    <a:pt x="712470" y="509683"/>
                  </a:lnTo>
                  <a:lnTo>
                    <a:pt x="707612" y="484632"/>
                  </a:lnTo>
                  <a:lnTo>
                    <a:pt x="709994" y="477964"/>
                  </a:lnTo>
                  <a:lnTo>
                    <a:pt x="711613" y="477774"/>
                  </a:lnTo>
                  <a:lnTo>
                    <a:pt x="713327" y="479107"/>
                  </a:lnTo>
                  <a:lnTo>
                    <a:pt x="714947" y="478917"/>
                  </a:lnTo>
                  <a:lnTo>
                    <a:pt x="712375" y="471202"/>
                  </a:lnTo>
                  <a:lnTo>
                    <a:pt x="705231" y="465772"/>
                  </a:lnTo>
                  <a:lnTo>
                    <a:pt x="704469" y="459391"/>
                  </a:lnTo>
                  <a:lnTo>
                    <a:pt x="706755" y="452723"/>
                  </a:lnTo>
                  <a:lnTo>
                    <a:pt x="711137" y="448913"/>
                  </a:lnTo>
                  <a:lnTo>
                    <a:pt x="710089" y="441007"/>
                  </a:lnTo>
                  <a:lnTo>
                    <a:pt x="711518" y="439293"/>
                  </a:lnTo>
                  <a:lnTo>
                    <a:pt x="724662" y="429577"/>
                  </a:lnTo>
                  <a:lnTo>
                    <a:pt x="718757" y="420719"/>
                  </a:lnTo>
                  <a:lnTo>
                    <a:pt x="718852" y="396621"/>
                  </a:lnTo>
                  <a:lnTo>
                    <a:pt x="724567" y="391096"/>
                  </a:lnTo>
                  <a:lnTo>
                    <a:pt x="727901" y="379476"/>
                  </a:lnTo>
                  <a:lnTo>
                    <a:pt x="729520" y="379285"/>
                  </a:lnTo>
                  <a:lnTo>
                    <a:pt x="727901" y="366617"/>
                  </a:lnTo>
                  <a:lnTo>
                    <a:pt x="732663" y="366046"/>
                  </a:lnTo>
                  <a:lnTo>
                    <a:pt x="731996" y="361283"/>
                  </a:lnTo>
                  <a:lnTo>
                    <a:pt x="733997" y="351377"/>
                  </a:lnTo>
                  <a:lnTo>
                    <a:pt x="726091" y="352425"/>
                  </a:lnTo>
                  <a:lnTo>
                    <a:pt x="727805" y="340995"/>
                  </a:lnTo>
                  <a:lnTo>
                    <a:pt x="726186" y="328327"/>
                  </a:lnTo>
                  <a:lnTo>
                    <a:pt x="736663" y="322231"/>
                  </a:lnTo>
                  <a:lnTo>
                    <a:pt x="737235" y="314134"/>
                  </a:lnTo>
                  <a:lnTo>
                    <a:pt x="751808" y="302609"/>
                  </a:lnTo>
                  <a:lnTo>
                    <a:pt x="751999" y="291370"/>
                  </a:lnTo>
                  <a:lnTo>
                    <a:pt x="751142" y="285083"/>
                  </a:lnTo>
                  <a:lnTo>
                    <a:pt x="750951" y="283464"/>
                  </a:lnTo>
                  <a:lnTo>
                    <a:pt x="755333" y="279749"/>
                  </a:lnTo>
                  <a:lnTo>
                    <a:pt x="758666" y="280892"/>
                  </a:lnTo>
                  <a:lnTo>
                    <a:pt x="762953" y="277177"/>
                  </a:lnTo>
                  <a:lnTo>
                    <a:pt x="767905" y="278130"/>
                  </a:lnTo>
                  <a:lnTo>
                    <a:pt x="770668" y="274606"/>
                  </a:lnTo>
                  <a:lnTo>
                    <a:pt x="774002" y="275749"/>
                  </a:lnTo>
                  <a:lnTo>
                    <a:pt x="776764" y="272225"/>
                  </a:lnTo>
                  <a:lnTo>
                    <a:pt x="792956" y="273367"/>
                  </a:lnTo>
                  <a:lnTo>
                    <a:pt x="797528" y="271177"/>
                  </a:lnTo>
                  <a:lnTo>
                    <a:pt x="806768" y="268319"/>
                  </a:lnTo>
                  <a:lnTo>
                    <a:pt x="811149" y="264605"/>
                  </a:lnTo>
                  <a:lnTo>
                    <a:pt x="817245" y="262223"/>
                  </a:lnTo>
                  <a:lnTo>
                    <a:pt x="831437" y="260413"/>
                  </a:lnTo>
                  <a:lnTo>
                    <a:pt x="832771" y="258604"/>
                  </a:lnTo>
                  <a:lnTo>
                    <a:pt x="832390" y="255460"/>
                  </a:lnTo>
                  <a:lnTo>
                    <a:pt x="844582" y="250698"/>
                  </a:lnTo>
                  <a:lnTo>
                    <a:pt x="851726" y="243364"/>
                  </a:lnTo>
                  <a:lnTo>
                    <a:pt x="855059" y="244602"/>
                  </a:lnTo>
                  <a:lnTo>
                    <a:pt x="875157" y="238792"/>
                  </a:lnTo>
                  <a:lnTo>
                    <a:pt x="885444" y="231076"/>
                  </a:lnTo>
                  <a:lnTo>
                    <a:pt x="892683" y="212503"/>
                  </a:lnTo>
                  <a:lnTo>
                    <a:pt x="896969" y="208788"/>
                  </a:lnTo>
                  <a:lnTo>
                    <a:pt x="903351" y="207931"/>
                  </a:lnTo>
                  <a:lnTo>
                    <a:pt x="899160" y="200501"/>
                  </a:lnTo>
                  <a:lnTo>
                    <a:pt x="906494" y="194691"/>
                  </a:lnTo>
                  <a:lnTo>
                    <a:pt x="910019" y="184690"/>
                  </a:lnTo>
                  <a:lnTo>
                    <a:pt x="910019" y="18469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2" name="Volný tvar: obrazec 31">
              <a:extLst>
                <a:ext uri="{FF2B5EF4-FFF2-40B4-BE49-F238E27FC236}">
                  <a16:creationId xmlns:a16="http://schemas.microsoft.com/office/drawing/2014/main" id="{7D556AE7-7305-AB3C-9A03-250D7BB69053}"/>
                </a:ext>
              </a:extLst>
            </p:cNvPr>
            <p:cNvSpPr>
              <a:spLocks noChangeAspect="1"/>
            </p:cNvSpPr>
            <p:nvPr userDrawn="1">
              <p:custDataLst>
                <p:tags r:id="rId5"/>
              </p:custDataLst>
            </p:nvPr>
          </p:nvSpPr>
          <p:spPr>
            <a:xfrm>
              <a:off x="4709541" y="3644550"/>
              <a:ext cx="1468659" cy="1218057"/>
            </a:xfrm>
            <a:custGeom>
              <a:avLst/>
              <a:gdLst>
                <a:gd name="connsiteX0" fmla="*/ 1468660 w 1468659"/>
                <a:gd name="connsiteY0" fmla="*/ 616839 h 1218057"/>
                <a:gd name="connsiteX1" fmla="*/ 1453801 w 1468659"/>
                <a:gd name="connsiteY1" fmla="*/ 601027 h 1218057"/>
                <a:gd name="connsiteX2" fmla="*/ 1456563 w 1468659"/>
                <a:gd name="connsiteY2" fmla="*/ 597503 h 1218057"/>
                <a:gd name="connsiteX3" fmla="*/ 1461230 w 1468659"/>
                <a:gd name="connsiteY3" fmla="*/ 596932 h 1218057"/>
                <a:gd name="connsiteX4" fmla="*/ 1459325 w 1468659"/>
                <a:gd name="connsiteY4" fmla="*/ 593979 h 1218057"/>
                <a:gd name="connsiteX5" fmla="*/ 1451039 w 1468659"/>
                <a:gd name="connsiteY5" fmla="*/ 591788 h 1218057"/>
                <a:gd name="connsiteX6" fmla="*/ 1448086 w 1468659"/>
                <a:gd name="connsiteY6" fmla="*/ 593788 h 1218057"/>
                <a:gd name="connsiteX7" fmla="*/ 1449800 w 1468659"/>
                <a:gd name="connsiteY7" fmla="*/ 595122 h 1218057"/>
                <a:gd name="connsiteX8" fmla="*/ 1448467 w 1468659"/>
                <a:gd name="connsiteY8" fmla="*/ 596932 h 1218057"/>
                <a:gd name="connsiteX9" fmla="*/ 1439132 w 1468659"/>
                <a:gd name="connsiteY9" fmla="*/ 586930 h 1218057"/>
                <a:gd name="connsiteX10" fmla="*/ 1435608 w 1468659"/>
                <a:gd name="connsiteY10" fmla="*/ 584168 h 1218057"/>
                <a:gd name="connsiteX11" fmla="*/ 1436942 w 1468659"/>
                <a:gd name="connsiteY11" fmla="*/ 582359 h 1218057"/>
                <a:gd name="connsiteX12" fmla="*/ 1444847 w 1468659"/>
                <a:gd name="connsiteY12" fmla="*/ 581406 h 1218057"/>
                <a:gd name="connsiteX13" fmla="*/ 1446657 w 1468659"/>
                <a:gd name="connsiteY13" fmla="*/ 582739 h 1218057"/>
                <a:gd name="connsiteX14" fmla="*/ 1444276 w 1468659"/>
                <a:gd name="connsiteY14" fmla="*/ 576643 h 1218057"/>
                <a:gd name="connsiteX15" fmla="*/ 1443038 w 1468659"/>
                <a:gd name="connsiteY15" fmla="*/ 567118 h 1218057"/>
                <a:gd name="connsiteX16" fmla="*/ 1436370 w 1468659"/>
                <a:gd name="connsiteY16" fmla="*/ 564832 h 1218057"/>
                <a:gd name="connsiteX17" fmla="*/ 1433989 w 1468659"/>
                <a:gd name="connsiteY17" fmla="*/ 571500 h 1218057"/>
                <a:gd name="connsiteX18" fmla="*/ 1434751 w 1468659"/>
                <a:gd name="connsiteY18" fmla="*/ 565023 h 1218057"/>
                <a:gd name="connsiteX19" fmla="*/ 1427607 w 1468659"/>
                <a:gd name="connsiteY19" fmla="*/ 559498 h 1218057"/>
                <a:gd name="connsiteX20" fmla="*/ 1424654 w 1468659"/>
                <a:gd name="connsiteY20" fmla="*/ 561499 h 1218057"/>
                <a:gd name="connsiteX21" fmla="*/ 1421321 w 1468659"/>
                <a:gd name="connsiteY21" fmla="*/ 560356 h 1218057"/>
                <a:gd name="connsiteX22" fmla="*/ 1420368 w 1468659"/>
                <a:gd name="connsiteY22" fmla="*/ 565213 h 1218057"/>
                <a:gd name="connsiteX23" fmla="*/ 1424083 w 1468659"/>
                <a:gd name="connsiteY23" fmla="*/ 569595 h 1218057"/>
                <a:gd name="connsiteX24" fmla="*/ 1421321 w 1468659"/>
                <a:gd name="connsiteY24" fmla="*/ 573119 h 1218057"/>
                <a:gd name="connsiteX25" fmla="*/ 1416463 w 1468659"/>
                <a:gd name="connsiteY25" fmla="*/ 572167 h 1218057"/>
                <a:gd name="connsiteX26" fmla="*/ 1416177 w 1468659"/>
                <a:gd name="connsiteY26" fmla="*/ 570547 h 1218057"/>
                <a:gd name="connsiteX27" fmla="*/ 1412462 w 1468659"/>
                <a:gd name="connsiteY27" fmla="*/ 566261 h 1218057"/>
                <a:gd name="connsiteX28" fmla="*/ 1404366 w 1468659"/>
                <a:gd name="connsiteY28" fmla="*/ 565690 h 1218057"/>
                <a:gd name="connsiteX29" fmla="*/ 1403033 w 1468659"/>
                <a:gd name="connsiteY29" fmla="*/ 567500 h 1218057"/>
                <a:gd name="connsiteX30" fmla="*/ 1396270 w 1468659"/>
                <a:gd name="connsiteY30" fmla="*/ 577882 h 1218057"/>
                <a:gd name="connsiteX31" fmla="*/ 1391412 w 1468659"/>
                <a:gd name="connsiteY31" fmla="*/ 576929 h 1218057"/>
                <a:gd name="connsiteX32" fmla="*/ 1384840 w 1468659"/>
                <a:gd name="connsiteY32" fmla="*/ 576167 h 1218057"/>
                <a:gd name="connsiteX33" fmla="*/ 1373410 w 1468659"/>
                <a:gd name="connsiteY33" fmla="*/ 574453 h 1218057"/>
                <a:gd name="connsiteX34" fmla="*/ 1373791 w 1468659"/>
                <a:gd name="connsiteY34" fmla="*/ 577596 h 1218057"/>
                <a:gd name="connsiteX35" fmla="*/ 1370457 w 1468659"/>
                <a:gd name="connsiteY35" fmla="*/ 576453 h 1218057"/>
                <a:gd name="connsiteX36" fmla="*/ 1369123 w 1468659"/>
                <a:gd name="connsiteY36" fmla="*/ 578168 h 1218057"/>
                <a:gd name="connsiteX37" fmla="*/ 1367123 w 1468659"/>
                <a:gd name="connsiteY37" fmla="*/ 575215 h 1218057"/>
                <a:gd name="connsiteX38" fmla="*/ 1365504 w 1468659"/>
                <a:gd name="connsiteY38" fmla="*/ 575405 h 1218057"/>
                <a:gd name="connsiteX39" fmla="*/ 1357789 w 1468659"/>
                <a:gd name="connsiteY39" fmla="*/ 565213 h 1218057"/>
                <a:gd name="connsiteX40" fmla="*/ 1354264 w 1468659"/>
                <a:gd name="connsiteY40" fmla="*/ 562451 h 1218057"/>
                <a:gd name="connsiteX41" fmla="*/ 1351121 w 1468659"/>
                <a:gd name="connsiteY41" fmla="*/ 562832 h 1218057"/>
                <a:gd name="connsiteX42" fmla="*/ 1348168 w 1468659"/>
                <a:gd name="connsiteY42" fmla="*/ 564832 h 1218057"/>
                <a:gd name="connsiteX43" fmla="*/ 1346740 w 1468659"/>
                <a:gd name="connsiteY43" fmla="*/ 566642 h 1218057"/>
                <a:gd name="connsiteX44" fmla="*/ 1345216 w 1468659"/>
                <a:gd name="connsiteY44" fmla="*/ 566833 h 1218057"/>
                <a:gd name="connsiteX45" fmla="*/ 1343025 w 1468659"/>
                <a:gd name="connsiteY45" fmla="*/ 575119 h 1218057"/>
                <a:gd name="connsiteX46" fmla="*/ 1340453 w 1468659"/>
                <a:gd name="connsiteY46" fmla="*/ 580263 h 1218057"/>
                <a:gd name="connsiteX47" fmla="*/ 1338739 w 1468659"/>
                <a:gd name="connsiteY47" fmla="*/ 578834 h 1218057"/>
                <a:gd name="connsiteX48" fmla="*/ 1339501 w 1468659"/>
                <a:gd name="connsiteY48" fmla="*/ 572357 h 1218057"/>
                <a:gd name="connsiteX49" fmla="*/ 1330928 w 1468659"/>
                <a:gd name="connsiteY49" fmla="*/ 568643 h 1218057"/>
                <a:gd name="connsiteX50" fmla="*/ 1327214 w 1468659"/>
                <a:gd name="connsiteY50" fmla="*/ 564261 h 1218057"/>
                <a:gd name="connsiteX51" fmla="*/ 1320260 w 1468659"/>
                <a:gd name="connsiteY51" fmla="*/ 560356 h 1218057"/>
                <a:gd name="connsiteX52" fmla="*/ 1318736 w 1468659"/>
                <a:gd name="connsiteY52" fmla="*/ 560546 h 1218057"/>
                <a:gd name="connsiteX53" fmla="*/ 1315593 w 1468659"/>
                <a:gd name="connsiteY53" fmla="*/ 560927 h 1218057"/>
                <a:gd name="connsiteX54" fmla="*/ 1308640 w 1468659"/>
                <a:gd name="connsiteY54" fmla="*/ 557022 h 1218057"/>
                <a:gd name="connsiteX55" fmla="*/ 1309592 w 1468659"/>
                <a:gd name="connsiteY55" fmla="*/ 552069 h 1218057"/>
                <a:gd name="connsiteX56" fmla="*/ 1307211 w 1468659"/>
                <a:gd name="connsiteY56" fmla="*/ 545973 h 1218057"/>
                <a:gd name="connsiteX57" fmla="*/ 1303496 w 1468659"/>
                <a:gd name="connsiteY57" fmla="*/ 541687 h 1218057"/>
                <a:gd name="connsiteX58" fmla="*/ 1302353 w 1468659"/>
                <a:gd name="connsiteY58" fmla="*/ 545021 h 1218057"/>
                <a:gd name="connsiteX59" fmla="*/ 1295400 w 1468659"/>
                <a:gd name="connsiteY59" fmla="*/ 541115 h 1218057"/>
                <a:gd name="connsiteX60" fmla="*/ 1296352 w 1468659"/>
                <a:gd name="connsiteY60" fmla="*/ 536162 h 1218057"/>
                <a:gd name="connsiteX61" fmla="*/ 1294829 w 1468659"/>
                <a:gd name="connsiteY61" fmla="*/ 536353 h 1218057"/>
                <a:gd name="connsiteX62" fmla="*/ 1291400 w 1468659"/>
                <a:gd name="connsiteY62" fmla="*/ 535114 h 1218057"/>
                <a:gd name="connsiteX63" fmla="*/ 1293590 w 1468659"/>
                <a:gd name="connsiteY63" fmla="*/ 539686 h 1218057"/>
                <a:gd name="connsiteX64" fmla="*/ 1290447 w 1468659"/>
                <a:gd name="connsiteY64" fmla="*/ 540068 h 1218057"/>
                <a:gd name="connsiteX65" fmla="*/ 1288447 w 1468659"/>
                <a:gd name="connsiteY65" fmla="*/ 537115 h 1218057"/>
                <a:gd name="connsiteX66" fmla="*/ 1285875 w 1468659"/>
                <a:gd name="connsiteY66" fmla="*/ 529495 h 1218057"/>
                <a:gd name="connsiteX67" fmla="*/ 1285304 w 1468659"/>
                <a:gd name="connsiteY67" fmla="*/ 524732 h 1218057"/>
                <a:gd name="connsiteX68" fmla="*/ 1281970 w 1468659"/>
                <a:gd name="connsiteY68" fmla="*/ 523494 h 1218057"/>
                <a:gd name="connsiteX69" fmla="*/ 1278731 w 1468659"/>
                <a:gd name="connsiteY69" fmla="*/ 523970 h 1218057"/>
                <a:gd name="connsiteX70" fmla="*/ 1282732 w 1468659"/>
                <a:gd name="connsiteY70" fmla="*/ 517017 h 1218057"/>
                <a:gd name="connsiteX71" fmla="*/ 1282732 w 1468659"/>
                <a:gd name="connsiteY71" fmla="*/ 517017 h 1218057"/>
                <a:gd name="connsiteX72" fmla="*/ 1281875 w 1468659"/>
                <a:gd name="connsiteY72" fmla="*/ 510730 h 1218057"/>
                <a:gd name="connsiteX73" fmla="*/ 1285875 w 1468659"/>
                <a:gd name="connsiteY73" fmla="*/ 503777 h 1218057"/>
                <a:gd name="connsiteX74" fmla="*/ 1285399 w 1468659"/>
                <a:gd name="connsiteY74" fmla="*/ 500634 h 1218057"/>
                <a:gd name="connsiteX75" fmla="*/ 1289399 w 1468659"/>
                <a:gd name="connsiteY75" fmla="*/ 493681 h 1218057"/>
                <a:gd name="connsiteX76" fmla="*/ 1285970 w 1468659"/>
                <a:gd name="connsiteY76" fmla="*/ 492538 h 1218057"/>
                <a:gd name="connsiteX77" fmla="*/ 1287399 w 1468659"/>
                <a:gd name="connsiteY77" fmla="*/ 490728 h 1218057"/>
                <a:gd name="connsiteX78" fmla="*/ 1285208 w 1468659"/>
                <a:gd name="connsiteY78" fmla="*/ 486251 h 1218057"/>
                <a:gd name="connsiteX79" fmla="*/ 1283970 w 1468659"/>
                <a:gd name="connsiteY79" fmla="*/ 476726 h 1218057"/>
                <a:gd name="connsiteX80" fmla="*/ 1284542 w 1468659"/>
                <a:gd name="connsiteY80" fmla="*/ 468725 h 1218057"/>
                <a:gd name="connsiteX81" fmla="*/ 1281017 w 1468659"/>
                <a:gd name="connsiteY81" fmla="*/ 465963 h 1218057"/>
                <a:gd name="connsiteX82" fmla="*/ 1274255 w 1468659"/>
                <a:gd name="connsiteY82" fmla="*/ 463582 h 1218057"/>
                <a:gd name="connsiteX83" fmla="*/ 1271302 w 1468659"/>
                <a:gd name="connsiteY83" fmla="*/ 465582 h 1218057"/>
                <a:gd name="connsiteX84" fmla="*/ 1268159 w 1468659"/>
                <a:gd name="connsiteY84" fmla="*/ 465963 h 1218057"/>
                <a:gd name="connsiteX85" fmla="*/ 1266158 w 1468659"/>
                <a:gd name="connsiteY85" fmla="*/ 463010 h 1218057"/>
                <a:gd name="connsiteX86" fmla="*/ 1261491 w 1468659"/>
                <a:gd name="connsiteY86" fmla="*/ 463582 h 1218057"/>
                <a:gd name="connsiteX87" fmla="*/ 1262063 w 1468659"/>
                <a:gd name="connsiteY87" fmla="*/ 468344 h 1218057"/>
                <a:gd name="connsiteX88" fmla="*/ 1255967 w 1468659"/>
                <a:gd name="connsiteY88" fmla="*/ 470725 h 1218057"/>
                <a:gd name="connsiteX89" fmla="*/ 1247299 w 1468659"/>
                <a:gd name="connsiteY89" fmla="*/ 465392 h 1218057"/>
                <a:gd name="connsiteX90" fmla="*/ 1240917 w 1468659"/>
                <a:gd name="connsiteY90" fmla="*/ 466249 h 1218057"/>
                <a:gd name="connsiteX91" fmla="*/ 1236821 w 1468659"/>
                <a:gd name="connsiteY91" fmla="*/ 471583 h 1218057"/>
                <a:gd name="connsiteX92" fmla="*/ 1232249 w 1468659"/>
                <a:gd name="connsiteY92" fmla="*/ 473773 h 1218057"/>
                <a:gd name="connsiteX93" fmla="*/ 1230344 w 1468659"/>
                <a:gd name="connsiteY93" fmla="*/ 470821 h 1218057"/>
                <a:gd name="connsiteX94" fmla="*/ 1226915 w 1468659"/>
                <a:gd name="connsiteY94" fmla="*/ 469582 h 1218057"/>
                <a:gd name="connsiteX95" fmla="*/ 1222629 w 1468659"/>
                <a:gd name="connsiteY95" fmla="*/ 473392 h 1218057"/>
                <a:gd name="connsiteX96" fmla="*/ 1223010 w 1468659"/>
                <a:gd name="connsiteY96" fmla="*/ 476536 h 1218057"/>
                <a:gd name="connsiteX97" fmla="*/ 1218533 w 1468659"/>
                <a:gd name="connsiteY97" fmla="*/ 478726 h 1218057"/>
                <a:gd name="connsiteX98" fmla="*/ 1220819 w 1468659"/>
                <a:gd name="connsiteY98" fmla="*/ 471964 h 1218057"/>
                <a:gd name="connsiteX99" fmla="*/ 1219105 w 1468659"/>
                <a:gd name="connsiteY99" fmla="*/ 470630 h 1218057"/>
                <a:gd name="connsiteX100" fmla="*/ 1221772 w 1468659"/>
                <a:gd name="connsiteY100" fmla="*/ 467011 h 1218057"/>
                <a:gd name="connsiteX101" fmla="*/ 1211104 w 1468659"/>
                <a:gd name="connsiteY101" fmla="*/ 458819 h 1218057"/>
                <a:gd name="connsiteX102" fmla="*/ 1209770 w 1468659"/>
                <a:gd name="connsiteY102" fmla="*/ 460534 h 1218057"/>
                <a:gd name="connsiteX103" fmla="*/ 1204627 w 1468659"/>
                <a:gd name="connsiteY103" fmla="*/ 458057 h 1218057"/>
                <a:gd name="connsiteX104" fmla="*/ 1201484 w 1468659"/>
                <a:gd name="connsiteY104" fmla="*/ 458438 h 1218057"/>
                <a:gd name="connsiteX105" fmla="*/ 1192816 w 1468659"/>
                <a:gd name="connsiteY105" fmla="*/ 453104 h 1218057"/>
                <a:gd name="connsiteX106" fmla="*/ 1186434 w 1468659"/>
                <a:gd name="connsiteY106" fmla="*/ 453866 h 1218057"/>
                <a:gd name="connsiteX107" fmla="*/ 1185291 w 1468659"/>
                <a:gd name="connsiteY107" fmla="*/ 457295 h 1218057"/>
                <a:gd name="connsiteX108" fmla="*/ 1178909 w 1468659"/>
                <a:gd name="connsiteY108" fmla="*/ 445294 h 1218057"/>
                <a:gd name="connsiteX109" fmla="*/ 1174052 w 1468659"/>
                <a:gd name="connsiteY109" fmla="*/ 444246 h 1218057"/>
                <a:gd name="connsiteX110" fmla="*/ 1174623 w 1468659"/>
                <a:gd name="connsiteY110" fmla="*/ 449009 h 1218057"/>
                <a:gd name="connsiteX111" fmla="*/ 1165003 w 1468659"/>
                <a:gd name="connsiteY111" fmla="*/ 461486 h 1218057"/>
                <a:gd name="connsiteX112" fmla="*/ 1155859 w 1468659"/>
                <a:gd name="connsiteY112" fmla="*/ 465868 h 1218057"/>
                <a:gd name="connsiteX113" fmla="*/ 1152525 w 1468659"/>
                <a:gd name="connsiteY113" fmla="*/ 464630 h 1218057"/>
                <a:gd name="connsiteX114" fmla="*/ 1145858 w 1468659"/>
                <a:gd name="connsiteY114" fmla="*/ 462248 h 1218057"/>
                <a:gd name="connsiteX115" fmla="*/ 1137571 w 1468659"/>
                <a:gd name="connsiteY115" fmla="*/ 460153 h 1218057"/>
                <a:gd name="connsiteX116" fmla="*/ 1138714 w 1468659"/>
                <a:gd name="connsiteY116" fmla="*/ 456819 h 1218057"/>
                <a:gd name="connsiteX117" fmla="*/ 1135952 w 1468659"/>
                <a:gd name="connsiteY117" fmla="*/ 447484 h 1218057"/>
                <a:gd name="connsiteX118" fmla="*/ 1137285 w 1468659"/>
                <a:gd name="connsiteY118" fmla="*/ 445770 h 1218057"/>
                <a:gd name="connsiteX119" fmla="*/ 1137095 w 1468659"/>
                <a:gd name="connsiteY119" fmla="*/ 444151 h 1218057"/>
                <a:gd name="connsiteX120" fmla="*/ 1135285 w 1468659"/>
                <a:gd name="connsiteY120" fmla="*/ 442817 h 1218057"/>
                <a:gd name="connsiteX121" fmla="*/ 1132713 w 1468659"/>
                <a:gd name="connsiteY121" fmla="*/ 435102 h 1218057"/>
                <a:gd name="connsiteX122" fmla="*/ 1129570 w 1468659"/>
                <a:gd name="connsiteY122" fmla="*/ 435483 h 1218057"/>
                <a:gd name="connsiteX123" fmla="*/ 1127379 w 1468659"/>
                <a:gd name="connsiteY123" fmla="*/ 431006 h 1218057"/>
                <a:gd name="connsiteX124" fmla="*/ 1124045 w 1468659"/>
                <a:gd name="connsiteY124" fmla="*/ 429768 h 1218057"/>
                <a:gd name="connsiteX125" fmla="*/ 1114616 w 1468659"/>
                <a:gd name="connsiteY125" fmla="*/ 431006 h 1218057"/>
                <a:gd name="connsiteX126" fmla="*/ 1109091 w 1468659"/>
                <a:gd name="connsiteY126" fmla="*/ 438150 h 1218057"/>
                <a:gd name="connsiteX127" fmla="*/ 1103567 w 1468659"/>
                <a:gd name="connsiteY127" fmla="*/ 432435 h 1218057"/>
                <a:gd name="connsiteX128" fmla="*/ 1096994 w 1468659"/>
                <a:gd name="connsiteY128" fmla="*/ 431673 h 1218057"/>
                <a:gd name="connsiteX129" fmla="*/ 1093089 w 1468659"/>
                <a:gd name="connsiteY129" fmla="*/ 425767 h 1218057"/>
                <a:gd name="connsiteX130" fmla="*/ 1094613 w 1468659"/>
                <a:gd name="connsiteY130" fmla="*/ 425482 h 1218057"/>
                <a:gd name="connsiteX131" fmla="*/ 1098042 w 1468659"/>
                <a:gd name="connsiteY131" fmla="*/ 426720 h 1218057"/>
                <a:gd name="connsiteX132" fmla="*/ 1110996 w 1468659"/>
                <a:gd name="connsiteY132" fmla="*/ 428244 h 1218057"/>
                <a:gd name="connsiteX133" fmla="*/ 1112044 w 1468659"/>
                <a:gd name="connsiteY133" fmla="*/ 423291 h 1218057"/>
                <a:gd name="connsiteX134" fmla="*/ 1108043 w 1468659"/>
                <a:gd name="connsiteY134" fmla="*/ 417385 h 1218057"/>
                <a:gd name="connsiteX135" fmla="*/ 1112330 w 1468659"/>
                <a:gd name="connsiteY135" fmla="*/ 413671 h 1218057"/>
                <a:gd name="connsiteX136" fmla="*/ 1112901 w 1468659"/>
                <a:gd name="connsiteY136" fmla="*/ 405575 h 1218057"/>
                <a:gd name="connsiteX137" fmla="*/ 1098137 w 1468659"/>
                <a:gd name="connsiteY137" fmla="*/ 402622 h 1218057"/>
                <a:gd name="connsiteX138" fmla="*/ 1089851 w 1468659"/>
                <a:gd name="connsiteY138" fmla="*/ 400431 h 1218057"/>
                <a:gd name="connsiteX139" fmla="*/ 1088041 w 1468659"/>
                <a:gd name="connsiteY139" fmla="*/ 399097 h 1218057"/>
                <a:gd name="connsiteX140" fmla="*/ 1086898 w 1468659"/>
                <a:gd name="connsiteY140" fmla="*/ 402431 h 1218057"/>
                <a:gd name="connsiteX141" fmla="*/ 1081945 w 1468659"/>
                <a:gd name="connsiteY141" fmla="*/ 401479 h 1218057"/>
                <a:gd name="connsiteX142" fmla="*/ 1083373 w 1468659"/>
                <a:gd name="connsiteY142" fmla="*/ 399669 h 1218057"/>
                <a:gd name="connsiteX143" fmla="*/ 1074610 w 1468659"/>
                <a:gd name="connsiteY143" fmla="*/ 394430 h 1218057"/>
                <a:gd name="connsiteX144" fmla="*/ 1072420 w 1468659"/>
                <a:gd name="connsiteY144" fmla="*/ 389858 h 1218057"/>
                <a:gd name="connsiteX145" fmla="*/ 1068134 w 1468659"/>
                <a:gd name="connsiteY145" fmla="*/ 380809 h 1218057"/>
                <a:gd name="connsiteX146" fmla="*/ 1063181 w 1468659"/>
                <a:gd name="connsiteY146" fmla="*/ 379857 h 1218057"/>
                <a:gd name="connsiteX147" fmla="*/ 1064133 w 1468659"/>
                <a:gd name="connsiteY147" fmla="*/ 374904 h 1218057"/>
                <a:gd name="connsiteX148" fmla="*/ 1062800 w 1468659"/>
                <a:gd name="connsiteY148" fmla="*/ 376618 h 1218057"/>
                <a:gd name="connsiteX149" fmla="*/ 1060799 w 1468659"/>
                <a:gd name="connsiteY149" fmla="*/ 373666 h 1218057"/>
                <a:gd name="connsiteX150" fmla="*/ 1054894 w 1468659"/>
                <a:gd name="connsiteY150" fmla="*/ 377666 h 1218057"/>
                <a:gd name="connsiteX151" fmla="*/ 1053465 w 1468659"/>
                <a:gd name="connsiteY151" fmla="*/ 379476 h 1218057"/>
                <a:gd name="connsiteX152" fmla="*/ 1050322 w 1468659"/>
                <a:gd name="connsiteY152" fmla="*/ 379857 h 1218057"/>
                <a:gd name="connsiteX153" fmla="*/ 1046035 w 1468659"/>
                <a:gd name="connsiteY153" fmla="*/ 383572 h 1218057"/>
                <a:gd name="connsiteX154" fmla="*/ 1041463 w 1468659"/>
                <a:gd name="connsiteY154" fmla="*/ 385763 h 1218057"/>
                <a:gd name="connsiteX155" fmla="*/ 1033367 w 1468659"/>
                <a:gd name="connsiteY155" fmla="*/ 398050 h 1218057"/>
                <a:gd name="connsiteX156" fmla="*/ 1025080 w 1468659"/>
                <a:gd name="connsiteY156" fmla="*/ 395859 h 1218057"/>
                <a:gd name="connsiteX157" fmla="*/ 1024890 w 1468659"/>
                <a:gd name="connsiteY157" fmla="*/ 394335 h 1218057"/>
                <a:gd name="connsiteX158" fmla="*/ 1023366 w 1468659"/>
                <a:gd name="connsiteY158" fmla="*/ 394525 h 1218057"/>
                <a:gd name="connsiteX159" fmla="*/ 1022699 w 1468659"/>
                <a:gd name="connsiteY159" fmla="*/ 389763 h 1218057"/>
                <a:gd name="connsiteX160" fmla="*/ 1018794 w 1468659"/>
                <a:gd name="connsiteY160" fmla="*/ 383857 h 1218057"/>
                <a:gd name="connsiteX161" fmla="*/ 1011460 w 1468659"/>
                <a:gd name="connsiteY161" fmla="*/ 376809 h 1218057"/>
                <a:gd name="connsiteX162" fmla="*/ 1008507 w 1468659"/>
                <a:gd name="connsiteY162" fmla="*/ 378809 h 1218057"/>
                <a:gd name="connsiteX163" fmla="*/ 1006697 w 1468659"/>
                <a:gd name="connsiteY163" fmla="*/ 377380 h 1218057"/>
                <a:gd name="connsiteX164" fmla="*/ 1002792 w 1468659"/>
                <a:gd name="connsiteY164" fmla="*/ 371475 h 1218057"/>
                <a:gd name="connsiteX165" fmla="*/ 1003745 w 1468659"/>
                <a:gd name="connsiteY165" fmla="*/ 366522 h 1218057"/>
                <a:gd name="connsiteX166" fmla="*/ 1000411 w 1468659"/>
                <a:gd name="connsiteY166" fmla="*/ 365379 h 1218057"/>
                <a:gd name="connsiteX167" fmla="*/ 999934 w 1468659"/>
                <a:gd name="connsiteY167" fmla="*/ 362236 h 1218057"/>
                <a:gd name="connsiteX168" fmla="*/ 991648 w 1468659"/>
                <a:gd name="connsiteY168" fmla="*/ 360045 h 1218057"/>
                <a:gd name="connsiteX169" fmla="*/ 984980 w 1468659"/>
                <a:gd name="connsiteY169" fmla="*/ 357664 h 1218057"/>
                <a:gd name="connsiteX170" fmla="*/ 988695 w 1468659"/>
                <a:gd name="connsiteY170" fmla="*/ 349186 h 1218057"/>
                <a:gd name="connsiteX171" fmla="*/ 988314 w 1468659"/>
                <a:gd name="connsiteY171" fmla="*/ 346043 h 1218057"/>
                <a:gd name="connsiteX172" fmla="*/ 981551 w 1468659"/>
                <a:gd name="connsiteY172" fmla="*/ 343662 h 1218057"/>
                <a:gd name="connsiteX173" fmla="*/ 974217 w 1468659"/>
                <a:gd name="connsiteY173" fmla="*/ 336613 h 1218057"/>
                <a:gd name="connsiteX174" fmla="*/ 972122 w 1468659"/>
                <a:gd name="connsiteY174" fmla="*/ 332042 h 1218057"/>
                <a:gd name="connsiteX175" fmla="*/ 971645 w 1468659"/>
                <a:gd name="connsiteY175" fmla="*/ 328898 h 1218057"/>
                <a:gd name="connsiteX176" fmla="*/ 974598 w 1468659"/>
                <a:gd name="connsiteY176" fmla="*/ 326993 h 1218057"/>
                <a:gd name="connsiteX177" fmla="*/ 974026 w 1468659"/>
                <a:gd name="connsiteY177" fmla="*/ 322231 h 1218057"/>
                <a:gd name="connsiteX178" fmla="*/ 978789 w 1468659"/>
                <a:gd name="connsiteY178" fmla="*/ 321659 h 1218057"/>
                <a:gd name="connsiteX179" fmla="*/ 978122 w 1468659"/>
                <a:gd name="connsiteY179" fmla="*/ 316897 h 1218057"/>
                <a:gd name="connsiteX180" fmla="*/ 979932 w 1468659"/>
                <a:gd name="connsiteY180" fmla="*/ 318230 h 1218057"/>
                <a:gd name="connsiteX181" fmla="*/ 983837 w 1468659"/>
                <a:gd name="connsiteY181" fmla="*/ 311372 h 1218057"/>
                <a:gd name="connsiteX182" fmla="*/ 986790 w 1468659"/>
                <a:gd name="connsiteY182" fmla="*/ 309372 h 1218057"/>
                <a:gd name="connsiteX183" fmla="*/ 990219 w 1468659"/>
                <a:gd name="connsiteY183" fmla="*/ 310515 h 1218057"/>
                <a:gd name="connsiteX184" fmla="*/ 991172 w 1468659"/>
                <a:gd name="connsiteY184" fmla="*/ 305562 h 1218057"/>
                <a:gd name="connsiteX185" fmla="*/ 986600 w 1468659"/>
                <a:gd name="connsiteY185" fmla="*/ 307753 h 1218057"/>
                <a:gd name="connsiteX186" fmla="*/ 985171 w 1468659"/>
                <a:gd name="connsiteY186" fmla="*/ 296704 h 1218057"/>
                <a:gd name="connsiteX187" fmla="*/ 981266 w 1468659"/>
                <a:gd name="connsiteY187" fmla="*/ 290798 h 1218057"/>
                <a:gd name="connsiteX188" fmla="*/ 973169 w 1468659"/>
                <a:gd name="connsiteY188" fmla="*/ 290227 h 1218057"/>
                <a:gd name="connsiteX189" fmla="*/ 964501 w 1468659"/>
                <a:gd name="connsiteY189" fmla="*/ 284988 h 1218057"/>
                <a:gd name="connsiteX190" fmla="*/ 962882 w 1468659"/>
                <a:gd name="connsiteY190" fmla="*/ 285179 h 1218057"/>
                <a:gd name="connsiteX191" fmla="*/ 960882 w 1468659"/>
                <a:gd name="connsiteY191" fmla="*/ 282226 h 1218057"/>
                <a:gd name="connsiteX192" fmla="*/ 963644 w 1468659"/>
                <a:gd name="connsiteY192" fmla="*/ 278606 h 1218057"/>
                <a:gd name="connsiteX193" fmla="*/ 963263 w 1468659"/>
                <a:gd name="connsiteY193" fmla="*/ 275463 h 1218057"/>
                <a:gd name="connsiteX194" fmla="*/ 961263 w 1468659"/>
                <a:gd name="connsiteY194" fmla="*/ 272510 h 1218057"/>
                <a:gd name="connsiteX195" fmla="*/ 962501 w 1468659"/>
                <a:gd name="connsiteY195" fmla="*/ 269176 h 1218057"/>
                <a:gd name="connsiteX196" fmla="*/ 965454 w 1468659"/>
                <a:gd name="connsiteY196" fmla="*/ 267176 h 1218057"/>
                <a:gd name="connsiteX197" fmla="*/ 962025 w 1468659"/>
                <a:gd name="connsiteY197" fmla="*/ 266033 h 1218057"/>
                <a:gd name="connsiteX198" fmla="*/ 963073 w 1468659"/>
                <a:gd name="connsiteY198" fmla="*/ 261080 h 1218057"/>
                <a:gd name="connsiteX199" fmla="*/ 966406 w 1468659"/>
                <a:gd name="connsiteY199" fmla="*/ 262223 h 1218057"/>
                <a:gd name="connsiteX200" fmla="*/ 969359 w 1468659"/>
                <a:gd name="connsiteY200" fmla="*/ 260223 h 1218057"/>
                <a:gd name="connsiteX201" fmla="*/ 970312 w 1468659"/>
                <a:gd name="connsiteY201" fmla="*/ 255365 h 1218057"/>
                <a:gd name="connsiteX202" fmla="*/ 969931 w 1468659"/>
                <a:gd name="connsiteY202" fmla="*/ 252127 h 1218057"/>
                <a:gd name="connsiteX203" fmla="*/ 971074 w 1468659"/>
                <a:gd name="connsiteY203" fmla="*/ 248793 h 1218057"/>
                <a:gd name="connsiteX204" fmla="*/ 970121 w 1468659"/>
                <a:gd name="connsiteY204" fmla="*/ 240887 h 1218057"/>
                <a:gd name="connsiteX205" fmla="*/ 973074 w 1468659"/>
                <a:gd name="connsiteY205" fmla="*/ 238982 h 1218057"/>
                <a:gd name="connsiteX206" fmla="*/ 972407 w 1468659"/>
                <a:gd name="connsiteY206" fmla="*/ 234220 h 1218057"/>
                <a:gd name="connsiteX207" fmla="*/ 975360 w 1468659"/>
                <a:gd name="connsiteY207" fmla="*/ 232219 h 1218057"/>
                <a:gd name="connsiteX208" fmla="*/ 977741 w 1468659"/>
                <a:gd name="connsiteY208" fmla="*/ 225552 h 1218057"/>
                <a:gd name="connsiteX209" fmla="*/ 974598 w 1468659"/>
                <a:gd name="connsiteY209" fmla="*/ 225933 h 1218057"/>
                <a:gd name="connsiteX210" fmla="*/ 973169 w 1468659"/>
                <a:gd name="connsiteY210" fmla="*/ 227743 h 1218057"/>
                <a:gd name="connsiteX211" fmla="*/ 968693 w 1468659"/>
                <a:gd name="connsiteY211" fmla="*/ 229838 h 1218057"/>
                <a:gd name="connsiteX212" fmla="*/ 968312 w 1468659"/>
                <a:gd name="connsiteY212" fmla="*/ 226695 h 1218057"/>
                <a:gd name="connsiteX213" fmla="*/ 969455 w 1468659"/>
                <a:gd name="connsiteY213" fmla="*/ 223361 h 1218057"/>
                <a:gd name="connsiteX214" fmla="*/ 972598 w 1468659"/>
                <a:gd name="connsiteY214" fmla="*/ 222980 h 1218057"/>
                <a:gd name="connsiteX215" fmla="*/ 976503 w 1468659"/>
                <a:gd name="connsiteY215" fmla="*/ 216027 h 1218057"/>
                <a:gd name="connsiteX216" fmla="*/ 976693 w 1468659"/>
                <a:gd name="connsiteY216" fmla="*/ 204788 h 1218057"/>
                <a:gd name="connsiteX217" fmla="*/ 979265 w 1468659"/>
                <a:gd name="connsiteY217" fmla="*/ 199644 h 1218057"/>
                <a:gd name="connsiteX218" fmla="*/ 984028 w 1468659"/>
                <a:gd name="connsiteY218" fmla="*/ 199072 h 1218057"/>
                <a:gd name="connsiteX219" fmla="*/ 986123 w 1468659"/>
                <a:gd name="connsiteY219" fmla="*/ 177927 h 1218057"/>
                <a:gd name="connsiteX220" fmla="*/ 985742 w 1468659"/>
                <a:gd name="connsiteY220" fmla="*/ 174784 h 1218057"/>
                <a:gd name="connsiteX221" fmla="*/ 982313 w 1468659"/>
                <a:gd name="connsiteY221" fmla="*/ 173641 h 1218057"/>
                <a:gd name="connsiteX222" fmla="*/ 980218 w 1468659"/>
                <a:gd name="connsiteY222" fmla="*/ 169069 h 1218057"/>
                <a:gd name="connsiteX223" fmla="*/ 981742 w 1468659"/>
                <a:gd name="connsiteY223" fmla="*/ 168878 h 1218057"/>
                <a:gd name="connsiteX224" fmla="*/ 984695 w 1468659"/>
                <a:gd name="connsiteY224" fmla="*/ 166878 h 1218057"/>
                <a:gd name="connsiteX225" fmla="*/ 987076 w 1468659"/>
                <a:gd name="connsiteY225" fmla="*/ 160210 h 1218057"/>
                <a:gd name="connsiteX226" fmla="*/ 990029 w 1468659"/>
                <a:gd name="connsiteY226" fmla="*/ 158210 h 1218057"/>
                <a:gd name="connsiteX227" fmla="*/ 987838 w 1468659"/>
                <a:gd name="connsiteY227" fmla="*/ 153638 h 1218057"/>
                <a:gd name="connsiteX228" fmla="*/ 988409 w 1468659"/>
                <a:gd name="connsiteY228" fmla="*/ 145542 h 1218057"/>
                <a:gd name="connsiteX229" fmla="*/ 986600 w 1468659"/>
                <a:gd name="connsiteY229" fmla="*/ 144209 h 1218057"/>
                <a:gd name="connsiteX230" fmla="*/ 986218 w 1468659"/>
                <a:gd name="connsiteY230" fmla="*/ 141065 h 1218057"/>
                <a:gd name="connsiteX231" fmla="*/ 987838 w 1468659"/>
                <a:gd name="connsiteY231" fmla="*/ 140875 h 1218057"/>
                <a:gd name="connsiteX232" fmla="*/ 980504 w 1468659"/>
                <a:gd name="connsiteY232" fmla="*/ 133731 h 1218057"/>
                <a:gd name="connsiteX233" fmla="*/ 980122 w 1468659"/>
                <a:gd name="connsiteY233" fmla="*/ 130588 h 1218057"/>
                <a:gd name="connsiteX234" fmla="*/ 978122 w 1468659"/>
                <a:gd name="connsiteY234" fmla="*/ 127635 h 1218057"/>
                <a:gd name="connsiteX235" fmla="*/ 976313 w 1468659"/>
                <a:gd name="connsiteY235" fmla="*/ 126301 h 1218057"/>
                <a:gd name="connsiteX236" fmla="*/ 969645 w 1468659"/>
                <a:gd name="connsiteY236" fmla="*/ 123920 h 1218057"/>
                <a:gd name="connsiteX237" fmla="*/ 970597 w 1468659"/>
                <a:gd name="connsiteY237" fmla="*/ 118967 h 1218057"/>
                <a:gd name="connsiteX238" fmla="*/ 972979 w 1468659"/>
                <a:gd name="connsiteY238" fmla="*/ 112300 h 1218057"/>
                <a:gd name="connsiteX239" fmla="*/ 978027 w 1468659"/>
                <a:gd name="connsiteY239" fmla="*/ 114776 h 1218057"/>
                <a:gd name="connsiteX240" fmla="*/ 977646 w 1468659"/>
                <a:gd name="connsiteY240" fmla="*/ 111633 h 1218057"/>
                <a:gd name="connsiteX241" fmla="*/ 981266 w 1468659"/>
                <a:gd name="connsiteY241" fmla="*/ 114395 h 1218057"/>
                <a:gd name="connsiteX242" fmla="*/ 984409 w 1468659"/>
                <a:gd name="connsiteY242" fmla="*/ 114014 h 1218057"/>
                <a:gd name="connsiteX243" fmla="*/ 992696 w 1468659"/>
                <a:gd name="connsiteY243" fmla="*/ 116205 h 1218057"/>
                <a:gd name="connsiteX244" fmla="*/ 996982 w 1468659"/>
                <a:gd name="connsiteY244" fmla="*/ 112395 h 1218057"/>
                <a:gd name="connsiteX245" fmla="*/ 998220 w 1468659"/>
                <a:gd name="connsiteY245" fmla="*/ 109061 h 1218057"/>
                <a:gd name="connsiteX246" fmla="*/ 994601 w 1468659"/>
                <a:gd name="connsiteY246" fmla="*/ 106299 h 1218057"/>
                <a:gd name="connsiteX247" fmla="*/ 991838 w 1468659"/>
                <a:gd name="connsiteY247" fmla="*/ 97060 h 1218057"/>
                <a:gd name="connsiteX248" fmla="*/ 987838 w 1468659"/>
                <a:gd name="connsiteY248" fmla="*/ 91154 h 1218057"/>
                <a:gd name="connsiteX249" fmla="*/ 986123 w 1468659"/>
                <a:gd name="connsiteY249" fmla="*/ 89725 h 1218057"/>
                <a:gd name="connsiteX250" fmla="*/ 990029 w 1468659"/>
                <a:gd name="connsiteY250" fmla="*/ 82867 h 1218057"/>
                <a:gd name="connsiteX251" fmla="*/ 985266 w 1468659"/>
                <a:gd name="connsiteY251" fmla="*/ 83439 h 1218057"/>
                <a:gd name="connsiteX252" fmla="*/ 984313 w 1468659"/>
                <a:gd name="connsiteY252" fmla="*/ 88392 h 1218057"/>
                <a:gd name="connsiteX253" fmla="*/ 982789 w 1468659"/>
                <a:gd name="connsiteY253" fmla="*/ 88582 h 1218057"/>
                <a:gd name="connsiteX254" fmla="*/ 977646 w 1468659"/>
                <a:gd name="connsiteY254" fmla="*/ 86011 h 1218057"/>
                <a:gd name="connsiteX255" fmla="*/ 975074 w 1468659"/>
                <a:gd name="connsiteY255" fmla="*/ 91154 h 1218057"/>
                <a:gd name="connsiteX256" fmla="*/ 970121 w 1468659"/>
                <a:gd name="connsiteY256" fmla="*/ 90202 h 1218057"/>
                <a:gd name="connsiteX257" fmla="*/ 967740 w 1468659"/>
                <a:gd name="connsiteY257" fmla="*/ 84106 h 1218057"/>
                <a:gd name="connsiteX258" fmla="*/ 960596 w 1468659"/>
                <a:gd name="connsiteY258" fmla="*/ 78581 h 1218057"/>
                <a:gd name="connsiteX259" fmla="*/ 964978 w 1468659"/>
                <a:gd name="connsiteY259" fmla="*/ 74771 h 1218057"/>
                <a:gd name="connsiteX260" fmla="*/ 959834 w 1468659"/>
                <a:gd name="connsiteY260" fmla="*/ 72200 h 1218057"/>
                <a:gd name="connsiteX261" fmla="*/ 957834 w 1468659"/>
                <a:gd name="connsiteY261" fmla="*/ 69247 h 1218057"/>
                <a:gd name="connsiteX262" fmla="*/ 959263 w 1468659"/>
                <a:gd name="connsiteY262" fmla="*/ 67532 h 1218057"/>
                <a:gd name="connsiteX263" fmla="*/ 957453 w 1468659"/>
                <a:gd name="connsiteY263" fmla="*/ 66104 h 1218057"/>
                <a:gd name="connsiteX264" fmla="*/ 955643 w 1468659"/>
                <a:gd name="connsiteY264" fmla="*/ 64770 h 1218057"/>
                <a:gd name="connsiteX265" fmla="*/ 954214 w 1468659"/>
                <a:gd name="connsiteY265" fmla="*/ 53721 h 1218057"/>
                <a:gd name="connsiteX266" fmla="*/ 949928 w 1468659"/>
                <a:gd name="connsiteY266" fmla="*/ 57436 h 1218057"/>
                <a:gd name="connsiteX267" fmla="*/ 951071 w 1468659"/>
                <a:gd name="connsiteY267" fmla="*/ 54102 h 1218057"/>
                <a:gd name="connsiteX268" fmla="*/ 950690 w 1468659"/>
                <a:gd name="connsiteY268" fmla="*/ 50959 h 1218057"/>
                <a:gd name="connsiteX269" fmla="*/ 949071 w 1468659"/>
                <a:gd name="connsiteY269" fmla="*/ 51149 h 1218057"/>
                <a:gd name="connsiteX270" fmla="*/ 950500 w 1468659"/>
                <a:gd name="connsiteY270" fmla="*/ 49339 h 1218057"/>
                <a:gd name="connsiteX271" fmla="*/ 949928 w 1468659"/>
                <a:gd name="connsiteY271" fmla="*/ 44672 h 1218057"/>
                <a:gd name="connsiteX272" fmla="*/ 944975 w 1468659"/>
                <a:gd name="connsiteY272" fmla="*/ 43625 h 1218057"/>
                <a:gd name="connsiteX273" fmla="*/ 948118 w 1468659"/>
                <a:gd name="connsiteY273" fmla="*/ 43243 h 1218057"/>
                <a:gd name="connsiteX274" fmla="*/ 951262 w 1468659"/>
                <a:gd name="connsiteY274" fmla="*/ 42863 h 1218057"/>
                <a:gd name="connsiteX275" fmla="*/ 951071 w 1468659"/>
                <a:gd name="connsiteY275" fmla="*/ 41243 h 1218057"/>
                <a:gd name="connsiteX276" fmla="*/ 944309 w 1468659"/>
                <a:gd name="connsiteY276" fmla="*/ 38957 h 1218057"/>
                <a:gd name="connsiteX277" fmla="*/ 943927 w 1468659"/>
                <a:gd name="connsiteY277" fmla="*/ 35814 h 1218057"/>
                <a:gd name="connsiteX278" fmla="*/ 942975 w 1468659"/>
                <a:gd name="connsiteY278" fmla="*/ 40672 h 1218057"/>
                <a:gd name="connsiteX279" fmla="*/ 939832 w 1468659"/>
                <a:gd name="connsiteY279" fmla="*/ 41148 h 1218057"/>
                <a:gd name="connsiteX280" fmla="*/ 937831 w 1468659"/>
                <a:gd name="connsiteY280" fmla="*/ 38195 h 1218057"/>
                <a:gd name="connsiteX281" fmla="*/ 934879 w 1468659"/>
                <a:gd name="connsiteY281" fmla="*/ 40100 h 1218057"/>
                <a:gd name="connsiteX282" fmla="*/ 931355 w 1468659"/>
                <a:gd name="connsiteY282" fmla="*/ 50197 h 1218057"/>
                <a:gd name="connsiteX283" fmla="*/ 933164 w 1468659"/>
                <a:gd name="connsiteY283" fmla="*/ 51625 h 1218057"/>
                <a:gd name="connsiteX284" fmla="*/ 931735 w 1468659"/>
                <a:gd name="connsiteY284" fmla="*/ 53340 h 1218057"/>
                <a:gd name="connsiteX285" fmla="*/ 928402 w 1468659"/>
                <a:gd name="connsiteY285" fmla="*/ 52197 h 1218057"/>
                <a:gd name="connsiteX286" fmla="*/ 927830 w 1468659"/>
                <a:gd name="connsiteY286" fmla="*/ 47434 h 1218057"/>
                <a:gd name="connsiteX287" fmla="*/ 924020 w 1468659"/>
                <a:gd name="connsiteY287" fmla="*/ 43148 h 1218057"/>
                <a:gd name="connsiteX288" fmla="*/ 922496 w 1468659"/>
                <a:gd name="connsiteY288" fmla="*/ 43339 h 1218057"/>
                <a:gd name="connsiteX289" fmla="*/ 917353 w 1468659"/>
                <a:gd name="connsiteY289" fmla="*/ 40767 h 1218057"/>
                <a:gd name="connsiteX290" fmla="*/ 911543 w 1468659"/>
                <a:gd name="connsiteY290" fmla="*/ 33528 h 1218057"/>
                <a:gd name="connsiteX291" fmla="*/ 906971 w 1468659"/>
                <a:gd name="connsiteY291" fmla="*/ 22860 h 1218057"/>
                <a:gd name="connsiteX292" fmla="*/ 900684 w 1468659"/>
                <a:gd name="connsiteY292" fmla="*/ 23622 h 1218057"/>
                <a:gd name="connsiteX293" fmla="*/ 884110 w 1468659"/>
                <a:gd name="connsiteY293" fmla="*/ 19336 h 1218057"/>
                <a:gd name="connsiteX294" fmla="*/ 881729 w 1468659"/>
                <a:gd name="connsiteY294" fmla="*/ 13240 h 1218057"/>
                <a:gd name="connsiteX295" fmla="*/ 872395 w 1468659"/>
                <a:gd name="connsiteY295" fmla="*/ 3143 h 1218057"/>
                <a:gd name="connsiteX296" fmla="*/ 873823 w 1468659"/>
                <a:gd name="connsiteY296" fmla="*/ 1429 h 1218057"/>
                <a:gd name="connsiteX297" fmla="*/ 872014 w 1468659"/>
                <a:gd name="connsiteY297" fmla="*/ 0 h 1218057"/>
                <a:gd name="connsiteX298" fmla="*/ 871252 w 1468659"/>
                <a:gd name="connsiteY298" fmla="*/ 6572 h 1218057"/>
                <a:gd name="connsiteX299" fmla="*/ 870490 w 1468659"/>
                <a:gd name="connsiteY299" fmla="*/ 13049 h 1218057"/>
                <a:gd name="connsiteX300" fmla="*/ 862584 w 1468659"/>
                <a:gd name="connsiteY300" fmla="*/ 14097 h 1218057"/>
                <a:gd name="connsiteX301" fmla="*/ 862775 w 1468659"/>
                <a:gd name="connsiteY301" fmla="*/ 15621 h 1218057"/>
                <a:gd name="connsiteX302" fmla="*/ 859822 w 1468659"/>
                <a:gd name="connsiteY302" fmla="*/ 17621 h 1218057"/>
                <a:gd name="connsiteX303" fmla="*/ 860012 w 1468659"/>
                <a:gd name="connsiteY303" fmla="*/ 19240 h 1218057"/>
                <a:gd name="connsiteX304" fmla="*/ 858298 w 1468659"/>
                <a:gd name="connsiteY304" fmla="*/ 17812 h 1218057"/>
                <a:gd name="connsiteX305" fmla="*/ 855535 w 1468659"/>
                <a:gd name="connsiteY305" fmla="*/ 21336 h 1218057"/>
                <a:gd name="connsiteX306" fmla="*/ 855726 w 1468659"/>
                <a:gd name="connsiteY306" fmla="*/ 22955 h 1218057"/>
                <a:gd name="connsiteX307" fmla="*/ 858869 w 1468659"/>
                <a:gd name="connsiteY307" fmla="*/ 22574 h 1218057"/>
                <a:gd name="connsiteX308" fmla="*/ 858298 w 1468659"/>
                <a:gd name="connsiteY308" fmla="*/ 30671 h 1218057"/>
                <a:gd name="connsiteX309" fmla="*/ 846677 w 1468659"/>
                <a:gd name="connsiteY309" fmla="*/ 27337 h 1218057"/>
                <a:gd name="connsiteX310" fmla="*/ 847058 w 1468659"/>
                <a:gd name="connsiteY310" fmla="*/ 30480 h 1218057"/>
                <a:gd name="connsiteX311" fmla="*/ 848868 w 1468659"/>
                <a:gd name="connsiteY311" fmla="*/ 31813 h 1218057"/>
                <a:gd name="connsiteX312" fmla="*/ 844105 w 1468659"/>
                <a:gd name="connsiteY312" fmla="*/ 32480 h 1218057"/>
                <a:gd name="connsiteX313" fmla="*/ 845630 w 1468659"/>
                <a:gd name="connsiteY313" fmla="*/ 32290 h 1218057"/>
                <a:gd name="connsiteX314" fmla="*/ 847630 w 1468659"/>
                <a:gd name="connsiteY314" fmla="*/ 35242 h 1218057"/>
                <a:gd name="connsiteX315" fmla="*/ 846296 w 1468659"/>
                <a:gd name="connsiteY315" fmla="*/ 36957 h 1218057"/>
                <a:gd name="connsiteX316" fmla="*/ 849630 w 1468659"/>
                <a:gd name="connsiteY316" fmla="*/ 38195 h 1218057"/>
                <a:gd name="connsiteX317" fmla="*/ 847058 w 1468659"/>
                <a:gd name="connsiteY317" fmla="*/ 43339 h 1218057"/>
                <a:gd name="connsiteX318" fmla="*/ 848868 w 1468659"/>
                <a:gd name="connsiteY318" fmla="*/ 44672 h 1218057"/>
                <a:gd name="connsiteX319" fmla="*/ 845725 w 1468659"/>
                <a:gd name="connsiteY319" fmla="*/ 45053 h 1218057"/>
                <a:gd name="connsiteX320" fmla="*/ 844487 w 1468659"/>
                <a:gd name="connsiteY320" fmla="*/ 48482 h 1218057"/>
                <a:gd name="connsiteX321" fmla="*/ 842963 w 1468659"/>
                <a:gd name="connsiteY321" fmla="*/ 48673 h 1218057"/>
                <a:gd name="connsiteX322" fmla="*/ 842201 w 1468659"/>
                <a:gd name="connsiteY322" fmla="*/ 55150 h 1218057"/>
                <a:gd name="connsiteX323" fmla="*/ 840581 w 1468659"/>
                <a:gd name="connsiteY323" fmla="*/ 55340 h 1218057"/>
                <a:gd name="connsiteX324" fmla="*/ 839438 w 1468659"/>
                <a:gd name="connsiteY324" fmla="*/ 58674 h 1218057"/>
                <a:gd name="connsiteX325" fmla="*/ 840962 w 1468659"/>
                <a:gd name="connsiteY325" fmla="*/ 58483 h 1218057"/>
                <a:gd name="connsiteX326" fmla="*/ 841438 w 1468659"/>
                <a:gd name="connsiteY326" fmla="*/ 61627 h 1218057"/>
                <a:gd name="connsiteX327" fmla="*/ 846296 w 1468659"/>
                <a:gd name="connsiteY327" fmla="*/ 62675 h 1218057"/>
                <a:gd name="connsiteX328" fmla="*/ 844010 w 1468659"/>
                <a:gd name="connsiteY328" fmla="*/ 69342 h 1218057"/>
                <a:gd name="connsiteX329" fmla="*/ 846010 w 1468659"/>
                <a:gd name="connsiteY329" fmla="*/ 72295 h 1218057"/>
                <a:gd name="connsiteX330" fmla="*/ 848963 w 1468659"/>
                <a:gd name="connsiteY330" fmla="*/ 70294 h 1218057"/>
                <a:gd name="connsiteX331" fmla="*/ 849344 w 1468659"/>
                <a:gd name="connsiteY331" fmla="*/ 73533 h 1218057"/>
                <a:gd name="connsiteX332" fmla="*/ 847725 w 1468659"/>
                <a:gd name="connsiteY332" fmla="*/ 73723 h 1218057"/>
                <a:gd name="connsiteX333" fmla="*/ 852868 w 1468659"/>
                <a:gd name="connsiteY333" fmla="*/ 76200 h 1218057"/>
                <a:gd name="connsiteX334" fmla="*/ 853250 w 1468659"/>
                <a:gd name="connsiteY334" fmla="*/ 79438 h 1218057"/>
                <a:gd name="connsiteX335" fmla="*/ 848773 w 1468659"/>
                <a:gd name="connsiteY335" fmla="*/ 81534 h 1218057"/>
                <a:gd name="connsiteX336" fmla="*/ 853440 w 1468659"/>
                <a:gd name="connsiteY336" fmla="*/ 80963 h 1218057"/>
                <a:gd name="connsiteX337" fmla="*/ 852106 w 1468659"/>
                <a:gd name="connsiteY337" fmla="*/ 82772 h 1218057"/>
                <a:gd name="connsiteX338" fmla="*/ 847534 w 1468659"/>
                <a:gd name="connsiteY338" fmla="*/ 84963 h 1218057"/>
                <a:gd name="connsiteX339" fmla="*/ 844201 w 1468659"/>
                <a:gd name="connsiteY339" fmla="*/ 83725 h 1218057"/>
                <a:gd name="connsiteX340" fmla="*/ 842867 w 1468659"/>
                <a:gd name="connsiteY340" fmla="*/ 85534 h 1218057"/>
                <a:gd name="connsiteX341" fmla="*/ 843058 w 1468659"/>
                <a:gd name="connsiteY341" fmla="*/ 87154 h 1218057"/>
                <a:gd name="connsiteX342" fmla="*/ 835343 w 1468659"/>
                <a:gd name="connsiteY342" fmla="*/ 89725 h 1218057"/>
                <a:gd name="connsiteX343" fmla="*/ 835533 w 1468659"/>
                <a:gd name="connsiteY343" fmla="*/ 91250 h 1218057"/>
                <a:gd name="connsiteX344" fmla="*/ 832390 w 1468659"/>
                <a:gd name="connsiteY344" fmla="*/ 91726 h 1218057"/>
                <a:gd name="connsiteX345" fmla="*/ 832009 w 1468659"/>
                <a:gd name="connsiteY345" fmla="*/ 88487 h 1218057"/>
                <a:gd name="connsiteX346" fmla="*/ 825722 w 1468659"/>
                <a:gd name="connsiteY346" fmla="*/ 89344 h 1218057"/>
                <a:gd name="connsiteX347" fmla="*/ 822293 w 1468659"/>
                <a:gd name="connsiteY347" fmla="*/ 88106 h 1218057"/>
                <a:gd name="connsiteX348" fmla="*/ 820960 w 1468659"/>
                <a:gd name="connsiteY348" fmla="*/ 89916 h 1218057"/>
                <a:gd name="connsiteX349" fmla="*/ 821341 w 1468659"/>
                <a:gd name="connsiteY349" fmla="*/ 93059 h 1218057"/>
                <a:gd name="connsiteX350" fmla="*/ 816578 w 1468659"/>
                <a:gd name="connsiteY350" fmla="*/ 93726 h 1218057"/>
                <a:gd name="connsiteX351" fmla="*/ 815054 w 1468659"/>
                <a:gd name="connsiteY351" fmla="*/ 93917 h 1218057"/>
                <a:gd name="connsiteX352" fmla="*/ 814102 w 1468659"/>
                <a:gd name="connsiteY352" fmla="*/ 98869 h 1218057"/>
                <a:gd name="connsiteX353" fmla="*/ 806958 w 1468659"/>
                <a:gd name="connsiteY353" fmla="*/ 106108 h 1218057"/>
                <a:gd name="connsiteX354" fmla="*/ 803624 w 1468659"/>
                <a:gd name="connsiteY354" fmla="*/ 104965 h 1218057"/>
                <a:gd name="connsiteX355" fmla="*/ 802481 w 1468659"/>
                <a:gd name="connsiteY355" fmla="*/ 108299 h 1218057"/>
                <a:gd name="connsiteX356" fmla="*/ 797528 w 1468659"/>
                <a:gd name="connsiteY356" fmla="*/ 107347 h 1218057"/>
                <a:gd name="connsiteX357" fmla="*/ 794766 w 1468659"/>
                <a:gd name="connsiteY357" fmla="*/ 110871 h 1218057"/>
                <a:gd name="connsiteX358" fmla="*/ 795147 w 1468659"/>
                <a:gd name="connsiteY358" fmla="*/ 114109 h 1218057"/>
                <a:gd name="connsiteX359" fmla="*/ 790384 w 1468659"/>
                <a:gd name="connsiteY359" fmla="*/ 114681 h 1218057"/>
                <a:gd name="connsiteX360" fmla="*/ 796195 w 1468659"/>
                <a:gd name="connsiteY360" fmla="*/ 121920 h 1218057"/>
                <a:gd name="connsiteX361" fmla="*/ 793433 w 1468659"/>
                <a:gd name="connsiteY361" fmla="*/ 125539 h 1218057"/>
                <a:gd name="connsiteX362" fmla="*/ 792671 w 1468659"/>
                <a:gd name="connsiteY362" fmla="*/ 132017 h 1218057"/>
                <a:gd name="connsiteX363" fmla="*/ 791242 w 1468659"/>
                <a:gd name="connsiteY363" fmla="*/ 133826 h 1218057"/>
                <a:gd name="connsiteX364" fmla="*/ 784765 w 1468659"/>
                <a:gd name="connsiteY364" fmla="*/ 133064 h 1218057"/>
                <a:gd name="connsiteX365" fmla="*/ 782764 w 1468659"/>
                <a:gd name="connsiteY365" fmla="*/ 130111 h 1218057"/>
                <a:gd name="connsiteX366" fmla="*/ 783908 w 1468659"/>
                <a:gd name="connsiteY366" fmla="*/ 126682 h 1218057"/>
                <a:gd name="connsiteX367" fmla="*/ 781145 w 1468659"/>
                <a:gd name="connsiteY367" fmla="*/ 117443 h 1218057"/>
                <a:gd name="connsiteX368" fmla="*/ 776192 w 1468659"/>
                <a:gd name="connsiteY368" fmla="*/ 116491 h 1218057"/>
                <a:gd name="connsiteX369" fmla="*/ 762572 w 1468659"/>
                <a:gd name="connsiteY369" fmla="*/ 110204 h 1218057"/>
                <a:gd name="connsiteX370" fmla="*/ 748760 w 1468659"/>
                <a:gd name="connsiteY370" fmla="*/ 115157 h 1218057"/>
                <a:gd name="connsiteX371" fmla="*/ 745617 w 1468659"/>
                <a:gd name="connsiteY371" fmla="*/ 115538 h 1218057"/>
                <a:gd name="connsiteX372" fmla="*/ 743426 w 1468659"/>
                <a:gd name="connsiteY372" fmla="*/ 111061 h 1218057"/>
                <a:gd name="connsiteX373" fmla="*/ 738759 w 1468659"/>
                <a:gd name="connsiteY373" fmla="*/ 111633 h 1218057"/>
                <a:gd name="connsiteX374" fmla="*/ 738283 w 1468659"/>
                <a:gd name="connsiteY374" fmla="*/ 108490 h 1218057"/>
                <a:gd name="connsiteX375" fmla="*/ 741235 w 1468659"/>
                <a:gd name="connsiteY375" fmla="*/ 106489 h 1218057"/>
                <a:gd name="connsiteX376" fmla="*/ 744379 w 1468659"/>
                <a:gd name="connsiteY376" fmla="*/ 106108 h 1218057"/>
                <a:gd name="connsiteX377" fmla="*/ 745426 w 1468659"/>
                <a:gd name="connsiteY377" fmla="*/ 101155 h 1218057"/>
                <a:gd name="connsiteX378" fmla="*/ 748189 w 1468659"/>
                <a:gd name="connsiteY378" fmla="*/ 97631 h 1218057"/>
                <a:gd name="connsiteX379" fmla="*/ 748760 w 1468659"/>
                <a:gd name="connsiteY379" fmla="*/ 89535 h 1218057"/>
                <a:gd name="connsiteX380" fmla="*/ 748284 w 1468659"/>
                <a:gd name="connsiteY380" fmla="*/ 86392 h 1218057"/>
                <a:gd name="connsiteX381" fmla="*/ 746760 w 1468659"/>
                <a:gd name="connsiteY381" fmla="*/ 86582 h 1218057"/>
                <a:gd name="connsiteX382" fmla="*/ 745331 w 1468659"/>
                <a:gd name="connsiteY382" fmla="*/ 88297 h 1218057"/>
                <a:gd name="connsiteX383" fmla="*/ 744379 w 1468659"/>
                <a:gd name="connsiteY383" fmla="*/ 93250 h 1218057"/>
                <a:gd name="connsiteX384" fmla="*/ 741426 w 1468659"/>
                <a:gd name="connsiteY384" fmla="*/ 95250 h 1218057"/>
                <a:gd name="connsiteX385" fmla="*/ 736473 w 1468659"/>
                <a:gd name="connsiteY385" fmla="*/ 94297 h 1218057"/>
                <a:gd name="connsiteX386" fmla="*/ 736949 w 1468659"/>
                <a:gd name="connsiteY386" fmla="*/ 97441 h 1218057"/>
                <a:gd name="connsiteX387" fmla="*/ 733711 w 1468659"/>
                <a:gd name="connsiteY387" fmla="*/ 97822 h 1218057"/>
                <a:gd name="connsiteX388" fmla="*/ 734568 w 1468659"/>
                <a:gd name="connsiteY388" fmla="*/ 91345 h 1218057"/>
                <a:gd name="connsiteX389" fmla="*/ 729425 w 1468659"/>
                <a:gd name="connsiteY389" fmla="*/ 101632 h 1218057"/>
                <a:gd name="connsiteX390" fmla="*/ 724472 w 1468659"/>
                <a:gd name="connsiteY390" fmla="*/ 100584 h 1218057"/>
                <a:gd name="connsiteX391" fmla="*/ 725900 w 1468659"/>
                <a:gd name="connsiteY391" fmla="*/ 98869 h 1218057"/>
                <a:gd name="connsiteX392" fmla="*/ 724281 w 1468659"/>
                <a:gd name="connsiteY392" fmla="*/ 99060 h 1218057"/>
                <a:gd name="connsiteX393" fmla="*/ 722947 w 1468659"/>
                <a:gd name="connsiteY393" fmla="*/ 100775 h 1218057"/>
                <a:gd name="connsiteX394" fmla="*/ 720947 w 1468659"/>
                <a:gd name="connsiteY394" fmla="*/ 97822 h 1218057"/>
                <a:gd name="connsiteX395" fmla="*/ 719518 w 1468659"/>
                <a:gd name="connsiteY395" fmla="*/ 99631 h 1218057"/>
                <a:gd name="connsiteX396" fmla="*/ 717804 w 1468659"/>
                <a:gd name="connsiteY396" fmla="*/ 98298 h 1218057"/>
                <a:gd name="connsiteX397" fmla="*/ 712851 w 1468659"/>
                <a:gd name="connsiteY397" fmla="*/ 97250 h 1218057"/>
                <a:gd name="connsiteX398" fmla="*/ 710851 w 1468659"/>
                <a:gd name="connsiteY398" fmla="*/ 94297 h 1218057"/>
                <a:gd name="connsiteX399" fmla="*/ 707898 w 1468659"/>
                <a:gd name="connsiteY399" fmla="*/ 96298 h 1218057"/>
                <a:gd name="connsiteX400" fmla="*/ 705136 w 1468659"/>
                <a:gd name="connsiteY400" fmla="*/ 99917 h 1218057"/>
                <a:gd name="connsiteX401" fmla="*/ 702945 w 1468659"/>
                <a:gd name="connsiteY401" fmla="*/ 95345 h 1218057"/>
                <a:gd name="connsiteX402" fmla="*/ 701612 w 1468659"/>
                <a:gd name="connsiteY402" fmla="*/ 97155 h 1218057"/>
                <a:gd name="connsiteX403" fmla="*/ 701135 w 1468659"/>
                <a:gd name="connsiteY403" fmla="*/ 94012 h 1218057"/>
                <a:gd name="connsiteX404" fmla="*/ 696659 w 1468659"/>
                <a:gd name="connsiteY404" fmla="*/ 96107 h 1218057"/>
                <a:gd name="connsiteX405" fmla="*/ 696468 w 1468659"/>
                <a:gd name="connsiteY405" fmla="*/ 94583 h 1218057"/>
                <a:gd name="connsiteX406" fmla="*/ 693134 w 1468659"/>
                <a:gd name="connsiteY406" fmla="*/ 93440 h 1218057"/>
                <a:gd name="connsiteX407" fmla="*/ 695420 w 1468659"/>
                <a:gd name="connsiteY407" fmla="*/ 86677 h 1218057"/>
                <a:gd name="connsiteX408" fmla="*/ 693706 w 1468659"/>
                <a:gd name="connsiteY408" fmla="*/ 85344 h 1218057"/>
                <a:gd name="connsiteX409" fmla="*/ 688943 w 1468659"/>
                <a:gd name="connsiteY409" fmla="*/ 85915 h 1218057"/>
                <a:gd name="connsiteX410" fmla="*/ 686181 w 1468659"/>
                <a:gd name="connsiteY410" fmla="*/ 89440 h 1218057"/>
                <a:gd name="connsiteX411" fmla="*/ 681228 w 1468659"/>
                <a:gd name="connsiteY411" fmla="*/ 88487 h 1218057"/>
                <a:gd name="connsiteX412" fmla="*/ 672560 w 1468659"/>
                <a:gd name="connsiteY412" fmla="*/ 83153 h 1218057"/>
                <a:gd name="connsiteX413" fmla="*/ 667798 w 1468659"/>
                <a:gd name="connsiteY413" fmla="*/ 83820 h 1218057"/>
                <a:gd name="connsiteX414" fmla="*/ 669608 w 1468659"/>
                <a:gd name="connsiteY414" fmla="*/ 85154 h 1218057"/>
                <a:gd name="connsiteX415" fmla="*/ 667226 w 1468659"/>
                <a:gd name="connsiteY415" fmla="*/ 91916 h 1218057"/>
                <a:gd name="connsiteX416" fmla="*/ 661130 w 1468659"/>
                <a:gd name="connsiteY416" fmla="*/ 94297 h 1218057"/>
                <a:gd name="connsiteX417" fmla="*/ 663130 w 1468659"/>
                <a:gd name="connsiteY417" fmla="*/ 97250 h 1218057"/>
                <a:gd name="connsiteX418" fmla="*/ 666274 w 1468659"/>
                <a:gd name="connsiteY418" fmla="*/ 96774 h 1218057"/>
                <a:gd name="connsiteX419" fmla="*/ 664845 w 1468659"/>
                <a:gd name="connsiteY419" fmla="*/ 98584 h 1218057"/>
                <a:gd name="connsiteX420" fmla="*/ 663321 w 1468659"/>
                <a:gd name="connsiteY420" fmla="*/ 98774 h 1218057"/>
                <a:gd name="connsiteX421" fmla="*/ 659511 w 1468659"/>
                <a:gd name="connsiteY421" fmla="*/ 94488 h 1218057"/>
                <a:gd name="connsiteX422" fmla="*/ 658368 w 1468659"/>
                <a:gd name="connsiteY422" fmla="*/ 97822 h 1218057"/>
                <a:gd name="connsiteX423" fmla="*/ 654844 w 1468659"/>
                <a:gd name="connsiteY423" fmla="*/ 95059 h 1218057"/>
                <a:gd name="connsiteX424" fmla="*/ 654368 w 1468659"/>
                <a:gd name="connsiteY424" fmla="*/ 91916 h 1218057"/>
                <a:gd name="connsiteX425" fmla="*/ 652843 w 1468659"/>
                <a:gd name="connsiteY425" fmla="*/ 92107 h 1218057"/>
                <a:gd name="connsiteX426" fmla="*/ 650653 w 1468659"/>
                <a:gd name="connsiteY426" fmla="*/ 87535 h 1218057"/>
                <a:gd name="connsiteX427" fmla="*/ 645890 w 1468659"/>
                <a:gd name="connsiteY427" fmla="*/ 88201 h 1218057"/>
                <a:gd name="connsiteX428" fmla="*/ 644938 w 1468659"/>
                <a:gd name="connsiteY428" fmla="*/ 80296 h 1218057"/>
                <a:gd name="connsiteX429" fmla="*/ 638556 w 1468659"/>
                <a:gd name="connsiteY429" fmla="*/ 81058 h 1218057"/>
                <a:gd name="connsiteX430" fmla="*/ 637413 w 1468659"/>
                <a:gd name="connsiteY430" fmla="*/ 84487 h 1218057"/>
                <a:gd name="connsiteX431" fmla="*/ 634270 w 1468659"/>
                <a:gd name="connsiteY431" fmla="*/ 84868 h 1218057"/>
                <a:gd name="connsiteX432" fmla="*/ 626173 w 1468659"/>
                <a:gd name="connsiteY432" fmla="*/ 71438 h 1218057"/>
                <a:gd name="connsiteX433" fmla="*/ 623030 w 1468659"/>
                <a:gd name="connsiteY433" fmla="*/ 71818 h 1218057"/>
                <a:gd name="connsiteX434" fmla="*/ 619220 w 1468659"/>
                <a:gd name="connsiteY434" fmla="*/ 67532 h 1218057"/>
                <a:gd name="connsiteX435" fmla="*/ 621601 w 1468659"/>
                <a:gd name="connsiteY435" fmla="*/ 73628 h 1218057"/>
                <a:gd name="connsiteX436" fmla="*/ 620077 w 1468659"/>
                <a:gd name="connsiteY436" fmla="*/ 73819 h 1218057"/>
                <a:gd name="connsiteX437" fmla="*/ 616458 w 1468659"/>
                <a:gd name="connsiteY437" fmla="*/ 71056 h 1218057"/>
                <a:gd name="connsiteX438" fmla="*/ 615125 w 1468659"/>
                <a:gd name="connsiteY438" fmla="*/ 72866 h 1218057"/>
                <a:gd name="connsiteX439" fmla="*/ 616648 w 1468659"/>
                <a:gd name="connsiteY439" fmla="*/ 72676 h 1218057"/>
                <a:gd name="connsiteX440" fmla="*/ 621030 w 1468659"/>
                <a:gd name="connsiteY440" fmla="*/ 81725 h 1218057"/>
                <a:gd name="connsiteX441" fmla="*/ 619697 w 1468659"/>
                <a:gd name="connsiteY441" fmla="*/ 83534 h 1218057"/>
                <a:gd name="connsiteX442" fmla="*/ 621411 w 1468659"/>
                <a:gd name="connsiteY442" fmla="*/ 84868 h 1218057"/>
                <a:gd name="connsiteX443" fmla="*/ 618649 w 1468659"/>
                <a:gd name="connsiteY443" fmla="*/ 88487 h 1218057"/>
                <a:gd name="connsiteX444" fmla="*/ 620649 w 1468659"/>
                <a:gd name="connsiteY444" fmla="*/ 91440 h 1218057"/>
                <a:gd name="connsiteX445" fmla="*/ 625412 w 1468659"/>
                <a:gd name="connsiteY445" fmla="*/ 90773 h 1218057"/>
                <a:gd name="connsiteX446" fmla="*/ 623983 w 1468659"/>
                <a:gd name="connsiteY446" fmla="*/ 92583 h 1218057"/>
                <a:gd name="connsiteX447" fmla="*/ 620649 w 1468659"/>
                <a:gd name="connsiteY447" fmla="*/ 91440 h 1218057"/>
                <a:gd name="connsiteX448" fmla="*/ 621030 w 1468659"/>
                <a:gd name="connsiteY448" fmla="*/ 94583 h 1218057"/>
                <a:gd name="connsiteX449" fmla="*/ 619506 w 1468659"/>
                <a:gd name="connsiteY449" fmla="*/ 94774 h 1218057"/>
                <a:gd name="connsiteX450" fmla="*/ 616934 w 1468659"/>
                <a:gd name="connsiteY450" fmla="*/ 87058 h 1218057"/>
                <a:gd name="connsiteX451" fmla="*/ 613791 w 1468659"/>
                <a:gd name="connsiteY451" fmla="*/ 87439 h 1218057"/>
                <a:gd name="connsiteX452" fmla="*/ 610172 w 1468659"/>
                <a:gd name="connsiteY452" fmla="*/ 84677 h 1218057"/>
                <a:gd name="connsiteX453" fmla="*/ 605504 w 1468659"/>
                <a:gd name="connsiteY453" fmla="*/ 85344 h 1218057"/>
                <a:gd name="connsiteX454" fmla="*/ 604266 w 1468659"/>
                <a:gd name="connsiteY454" fmla="*/ 88678 h 1218057"/>
                <a:gd name="connsiteX455" fmla="*/ 600932 w 1468659"/>
                <a:gd name="connsiteY455" fmla="*/ 87535 h 1218057"/>
                <a:gd name="connsiteX456" fmla="*/ 601123 w 1468659"/>
                <a:gd name="connsiteY456" fmla="*/ 89059 h 1218057"/>
                <a:gd name="connsiteX457" fmla="*/ 599504 w 1468659"/>
                <a:gd name="connsiteY457" fmla="*/ 89249 h 1218057"/>
                <a:gd name="connsiteX458" fmla="*/ 601504 w 1468659"/>
                <a:gd name="connsiteY458" fmla="*/ 92202 h 1218057"/>
                <a:gd name="connsiteX459" fmla="*/ 599980 w 1468659"/>
                <a:gd name="connsiteY459" fmla="*/ 92392 h 1218057"/>
                <a:gd name="connsiteX460" fmla="*/ 600170 w 1468659"/>
                <a:gd name="connsiteY460" fmla="*/ 94012 h 1218057"/>
                <a:gd name="connsiteX461" fmla="*/ 598360 w 1468659"/>
                <a:gd name="connsiteY461" fmla="*/ 92678 h 1218057"/>
                <a:gd name="connsiteX462" fmla="*/ 598551 w 1468659"/>
                <a:gd name="connsiteY462" fmla="*/ 94202 h 1218057"/>
                <a:gd name="connsiteX463" fmla="*/ 597218 w 1468659"/>
                <a:gd name="connsiteY463" fmla="*/ 96012 h 1218057"/>
                <a:gd name="connsiteX464" fmla="*/ 595217 w 1468659"/>
                <a:gd name="connsiteY464" fmla="*/ 93059 h 1218057"/>
                <a:gd name="connsiteX465" fmla="*/ 593884 w 1468659"/>
                <a:gd name="connsiteY465" fmla="*/ 94774 h 1218057"/>
                <a:gd name="connsiteX466" fmla="*/ 591502 w 1468659"/>
                <a:gd name="connsiteY466" fmla="*/ 101536 h 1218057"/>
                <a:gd name="connsiteX467" fmla="*/ 589883 w 1468659"/>
                <a:gd name="connsiteY467" fmla="*/ 101727 h 1218057"/>
                <a:gd name="connsiteX468" fmla="*/ 591122 w 1468659"/>
                <a:gd name="connsiteY468" fmla="*/ 98393 h 1218057"/>
                <a:gd name="connsiteX469" fmla="*/ 587693 w 1468659"/>
                <a:gd name="connsiteY469" fmla="*/ 97155 h 1218057"/>
                <a:gd name="connsiteX470" fmla="*/ 584930 w 1468659"/>
                <a:gd name="connsiteY470" fmla="*/ 100775 h 1218057"/>
                <a:gd name="connsiteX471" fmla="*/ 583978 w 1468659"/>
                <a:gd name="connsiteY471" fmla="*/ 105727 h 1218057"/>
                <a:gd name="connsiteX472" fmla="*/ 582454 w 1468659"/>
                <a:gd name="connsiteY472" fmla="*/ 105918 h 1218057"/>
                <a:gd name="connsiteX473" fmla="*/ 581787 w 1468659"/>
                <a:gd name="connsiteY473" fmla="*/ 101155 h 1218057"/>
                <a:gd name="connsiteX474" fmla="*/ 578644 w 1468659"/>
                <a:gd name="connsiteY474" fmla="*/ 101536 h 1218057"/>
                <a:gd name="connsiteX475" fmla="*/ 578263 w 1468659"/>
                <a:gd name="connsiteY475" fmla="*/ 98393 h 1218057"/>
                <a:gd name="connsiteX476" fmla="*/ 574929 w 1468659"/>
                <a:gd name="connsiteY476" fmla="*/ 97250 h 1218057"/>
                <a:gd name="connsiteX477" fmla="*/ 567595 w 1468659"/>
                <a:gd name="connsiteY477" fmla="*/ 102965 h 1218057"/>
                <a:gd name="connsiteX478" fmla="*/ 564261 w 1468659"/>
                <a:gd name="connsiteY478" fmla="*/ 101822 h 1218057"/>
                <a:gd name="connsiteX479" fmla="*/ 562451 w 1468659"/>
                <a:gd name="connsiteY479" fmla="*/ 100393 h 1218057"/>
                <a:gd name="connsiteX480" fmla="*/ 565595 w 1468659"/>
                <a:gd name="connsiteY480" fmla="*/ 100013 h 1218057"/>
                <a:gd name="connsiteX481" fmla="*/ 567023 w 1468659"/>
                <a:gd name="connsiteY481" fmla="*/ 98203 h 1218057"/>
                <a:gd name="connsiteX482" fmla="*/ 564833 w 1468659"/>
                <a:gd name="connsiteY482" fmla="*/ 93726 h 1218057"/>
                <a:gd name="connsiteX483" fmla="*/ 567595 w 1468659"/>
                <a:gd name="connsiteY483" fmla="*/ 90106 h 1218057"/>
                <a:gd name="connsiteX484" fmla="*/ 567214 w 1468659"/>
                <a:gd name="connsiteY484" fmla="*/ 86963 h 1218057"/>
                <a:gd name="connsiteX485" fmla="*/ 564071 w 1468659"/>
                <a:gd name="connsiteY485" fmla="*/ 87344 h 1218057"/>
                <a:gd name="connsiteX486" fmla="*/ 562261 w 1468659"/>
                <a:gd name="connsiteY486" fmla="*/ 86011 h 1218057"/>
                <a:gd name="connsiteX487" fmla="*/ 560451 w 1468659"/>
                <a:gd name="connsiteY487" fmla="*/ 84677 h 1218057"/>
                <a:gd name="connsiteX488" fmla="*/ 560451 w 1468659"/>
                <a:gd name="connsiteY488" fmla="*/ 84677 h 1218057"/>
                <a:gd name="connsiteX489" fmla="*/ 558260 w 1468659"/>
                <a:gd name="connsiteY489" fmla="*/ 80105 h 1218057"/>
                <a:gd name="connsiteX490" fmla="*/ 556927 w 1468659"/>
                <a:gd name="connsiteY490" fmla="*/ 81915 h 1218057"/>
                <a:gd name="connsiteX491" fmla="*/ 549783 w 1468659"/>
                <a:gd name="connsiteY491" fmla="*/ 76390 h 1218057"/>
                <a:gd name="connsiteX492" fmla="*/ 544068 w 1468659"/>
                <a:gd name="connsiteY492" fmla="*/ 81915 h 1218057"/>
                <a:gd name="connsiteX493" fmla="*/ 541877 w 1468659"/>
                <a:gd name="connsiteY493" fmla="*/ 77343 h 1218057"/>
                <a:gd name="connsiteX494" fmla="*/ 540544 w 1468659"/>
                <a:gd name="connsiteY494" fmla="*/ 79153 h 1218057"/>
                <a:gd name="connsiteX495" fmla="*/ 540353 w 1468659"/>
                <a:gd name="connsiteY495" fmla="*/ 77629 h 1218057"/>
                <a:gd name="connsiteX496" fmla="*/ 538543 w 1468659"/>
                <a:gd name="connsiteY496" fmla="*/ 76200 h 1218057"/>
                <a:gd name="connsiteX497" fmla="*/ 539115 w 1468659"/>
                <a:gd name="connsiteY497" fmla="*/ 68104 h 1218057"/>
                <a:gd name="connsiteX498" fmla="*/ 540448 w 1468659"/>
                <a:gd name="connsiteY498" fmla="*/ 66294 h 1218057"/>
                <a:gd name="connsiteX499" fmla="*/ 535114 w 1468659"/>
                <a:gd name="connsiteY499" fmla="*/ 62198 h 1218057"/>
                <a:gd name="connsiteX500" fmla="*/ 528638 w 1468659"/>
                <a:gd name="connsiteY500" fmla="*/ 61436 h 1218057"/>
                <a:gd name="connsiteX501" fmla="*/ 528256 w 1468659"/>
                <a:gd name="connsiteY501" fmla="*/ 58293 h 1218057"/>
                <a:gd name="connsiteX502" fmla="*/ 523684 w 1468659"/>
                <a:gd name="connsiteY502" fmla="*/ 60484 h 1218057"/>
                <a:gd name="connsiteX503" fmla="*/ 521303 w 1468659"/>
                <a:gd name="connsiteY503" fmla="*/ 54292 h 1218057"/>
                <a:gd name="connsiteX504" fmla="*/ 515588 w 1468659"/>
                <a:gd name="connsiteY504" fmla="*/ 59912 h 1218057"/>
                <a:gd name="connsiteX505" fmla="*/ 512445 w 1468659"/>
                <a:gd name="connsiteY505" fmla="*/ 60293 h 1218057"/>
                <a:gd name="connsiteX506" fmla="*/ 501587 w 1468659"/>
                <a:gd name="connsiteY506" fmla="*/ 63246 h 1218057"/>
                <a:gd name="connsiteX507" fmla="*/ 499396 w 1468659"/>
                <a:gd name="connsiteY507" fmla="*/ 58769 h 1218057"/>
                <a:gd name="connsiteX508" fmla="*/ 496634 w 1468659"/>
                <a:gd name="connsiteY508" fmla="*/ 62293 h 1218057"/>
                <a:gd name="connsiteX509" fmla="*/ 493490 w 1468659"/>
                <a:gd name="connsiteY509" fmla="*/ 62675 h 1218057"/>
                <a:gd name="connsiteX510" fmla="*/ 492157 w 1468659"/>
                <a:gd name="connsiteY510" fmla="*/ 64484 h 1218057"/>
                <a:gd name="connsiteX511" fmla="*/ 492538 w 1468659"/>
                <a:gd name="connsiteY511" fmla="*/ 67627 h 1218057"/>
                <a:gd name="connsiteX512" fmla="*/ 493585 w 1468659"/>
                <a:gd name="connsiteY512" fmla="*/ 75533 h 1218057"/>
                <a:gd name="connsiteX513" fmla="*/ 489013 w 1468659"/>
                <a:gd name="connsiteY513" fmla="*/ 77724 h 1218057"/>
                <a:gd name="connsiteX514" fmla="*/ 489395 w 1468659"/>
                <a:gd name="connsiteY514" fmla="*/ 80867 h 1218057"/>
                <a:gd name="connsiteX515" fmla="*/ 485108 w 1468659"/>
                <a:gd name="connsiteY515" fmla="*/ 84582 h 1218057"/>
                <a:gd name="connsiteX516" fmla="*/ 481965 w 1468659"/>
                <a:gd name="connsiteY516" fmla="*/ 85058 h 1218057"/>
                <a:gd name="connsiteX517" fmla="*/ 482346 w 1468659"/>
                <a:gd name="connsiteY517" fmla="*/ 88201 h 1218057"/>
                <a:gd name="connsiteX518" fmla="*/ 485299 w 1468659"/>
                <a:gd name="connsiteY518" fmla="*/ 86201 h 1218057"/>
                <a:gd name="connsiteX519" fmla="*/ 479584 w 1468659"/>
                <a:gd name="connsiteY519" fmla="*/ 91726 h 1218057"/>
                <a:gd name="connsiteX520" fmla="*/ 480155 w 1468659"/>
                <a:gd name="connsiteY520" fmla="*/ 96488 h 1218057"/>
                <a:gd name="connsiteX521" fmla="*/ 475297 w 1468659"/>
                <a:gd name="connsiteY521" fmla="*/ 95536 h 1218057"/>
                <a:gd name="connsiteX522" fmla="*/ 474821 w 1468659"/>
                <a:gd name="connsiteY522" fmla="*/ 92297 h 1218057"/>
                <a:gd name="connsiteX523" fmla="*/ 477774 w 1468659"/>
                <a:gd name="connsiteY523" fmla="*/ 90392 h 1218057"/>
                <a:gd name="connsiteX524" fmla="*/ 476059 w 1468659"/>
                <a:gd name="connsiteY524" fmla="*/ 88963 h 1218057"/>
                <a:gd name="connsiteX525" fmla="*/ 469868 w 1468659"/>
                <a:gd name="connsiteY525" fmla="*/ 91345 h 1218057"/>
                <a:gd name="connsiteX526" fmla="*/ 462058 w 1468659"/>
                <a:gd name="connsiteY526" fmla="*/ 92392 h 1218057"/>
                <a:gd name="connsiteX527" fmla="*/ 459105 w 1468659"/>
                <a:gd name="connsiteY527" fmla="*/ 94393 h 1218057"/>
                <a:gd name="connsiteX528" fmla="*/ 455676 w 1468659"/>
                <a:gd name="connsiteY528" fmla="*/ 93154 h 1218057"/>
                <a:gd name="connsiteX529" fmla="*/ 450818 w 1468659"/>
                <a:gd name="connsiteY529" fmla="*/ 92202 h 1218057"/>
                <a:gd name="connsiteX530" fmla="*/ 444437 w 1468659"/>
                <a:gd name="connsiteY530" fmla="*/ 92964 h 1218057"/>
                <a:gd name="connsiteX531" fmla="*/ 441293 w 1468659"/>
                <a:gd name="connsiteY531" fmla="*/ 93440 h 1218057"/>
                <a:gd name="connsiteX532" fmla="*/ 440150 w 1468659"/>
                <a:gd name="connsiteY532" fmla="*/ 96774 h 1218057"/>
                <a:gd name="connsiteX533" fmla="*/ 433006 w 1468659"/>
                <a:gd name="connsiteY533" fmla="*/ 91250 h 1218057"/>
                <a:gd name="connsiteX534" fmla="*/ 428244 w 1468659"/>
                <a:gd name="connsiteY534" fmla="*/ 91821 h 1218057"/>
                <a:gd name="connsiteX535" fmla="*/ 419957 w 1468659"/>
                <a:gd name="connsiteY535" fmla="*/ 89725 h 1218057"/>
                <a:gd name="connsiteX536" fmla="*/ 421196 w 1468659"/>
                <a:gd name="connsiteY536" fmla="*/ 99155 h 1218057"/>
                <a:gd name="connsiteX537" fmla="*/ 416052 w 1468659"/>
                <a:gd name="connsiteY537" fmla="*/ 96583 h 1218057"/>
                <a:gd name="connsiteX538" fmla="*/ 411480 w 1468659"/>
                <a:gd name="connsiteY538" fmla="*/ 98774 h 1218057"/>
                <a:gd name="connsiteX539" fmla="*/ 409766 w 1468659"/>
                <a:gd name="connsiteY539" fmla="*/ 97441 h 1218057"/>
                <a:gd name="connsiteX540" fmla="*/ 409384 w 1468659"/>
                <a:gd name="connsiteY540" fmla="*/ 94297 h 1218057"/>
                <a:gd name="connsiteX541" fmla="*/ 410527 w 1468659"/>
                <a:gd name="connsiteY541" fmla="*/ 90868 h 1218057"/>
                <a:gd name="connsiteX542" fmla="*/ 408527 w 1468659"/>
                <a:gd name="connsiteY542" fmla="*/ 87916 h 1218057"/>
                <a:gd name="connsiteX543" fmla="*/ 405384 w 1468659"/>
                <a:gd name="connsiteY543" fmla="*/ 88392 h 1218057"/>
                <a:gd name="connsiteX544" fmla="*/ 406146 w 1468659"/>
                <a:gd name="connsiteY544" fmla="*/ 94679 h 1218057"/>
                <a:gd name="connsiteX545" fmla="*/ 405003 w 1468659"/>
                <a:gd name="connsiteY545" fmla="*/ 98012 h 1218057"/>
                <a:gd name="connsiteX546" fmla="*/ 398526 w 1468659"/>
                <a:gd name="connsiteY546" fmla="*/ 97250 h 1218057"/>
                <a:gd name="connsiteX547" fmla="*/ 397097 w 1468659"/>
                <a:gd name="connsiteY547" fmla="*/ 99060 h 1218057"/>
                <a:gd name="connsiteX548" fmla="*/ 395097 w 1468659"/>
                <a:gd name="connsiteY548" fmla="*/ 96107 h 1218057"/>
                <a:gd name="connsiteX549" fmla="*/ 388810 w 1468659"/>
                <a:gd name="connsiteY549" fmla="*/ 96869 h 1218057"/>
                <a:gd name="connsiteX550" fmla="*/ 388620 w 1468659"/>
                <a:gd name="connsiteY550" fmla="*/ 95345 h 1218057"/>
                <a:gd name="connsiteX551" fmla="*/ 385667 w 1468659"/>
                <a:gd name="connsiteY551" fmla="*/ 97250 h 1218057"/>
                <a:gd name="connsiteX552" fmla="*/ 383667 w 1468659"/>
                <a:gd name="connsiteY552" fmla="*/ 94297 h 1218057"/>
                <a:gd name="connsiteX553" fmla="*/ 382143 w 1468659"/>
                <a:gd name="connsiteY553" fmla="*/ 94488 h 1218057"/>
                <a:gd name="connsiteX554" fmla="*/ 379762 w 1468659"/>
                <a:gd name="connsiteY554" fmla="*/ 88392 h 1218057"/>
                <a:gd name="connsiteX555" fmla="*/ 380714 w 1468659"/>
                <a:gd name="connsiteY555" fmla="*/ 83439 h 1218057"/>
                <a:gd name="connsiteX556" fmla="*/ 382048 w 1468659"/>
                <a:gd name="connsiteY556" fmla="*/ 81725 h 1218057"/>
                <a:gd name="connsiteX557" fmla="*/ 381286 w 1468659"/>
                <a:gd name="connsiteY557" fmla="*/ 75343 h 1218057"/>
                <a:gd name="connsiteX558" fmla="*/ 380905 w 1468659"/>
                <a:gd name="connsiteY558" fmla="*/ 72200 h 1218057"/>
                <a:gd name="connsiteX559" fmla="*/ 382238 w 1468659"/>
                <a:gd name="connsiteY559" fmla="*/ 70485 h 1218057"/>
                <a:gd name="connsiteX560" fmla="*/ 381857 w 1468659"/>
                <a:gd name="connsiteY560" fmla="*/ 67342 h 1218057"/>
                <a:gd name="connsiteX561" fmla="*/ 386620 w 1468659"/>
                <a:gd name="connsiteY561" fmla="*/ 66675 h 1218057"/>
                <a:gd name="connsiteX562" fmla="*/ 381667 w 1468659"/>
                <a:gd name="connsiteY562" fmla="*/ 65722 h 1218057"/>
                <a:gd name="connsiteX563" fmla="*/ 376142 w 1468659"/>
                <a:gd name="connsiteY563" fmla="*/ 60007 h 1218057"/>
                <a:gd name="connsiteX564" fmla="*/ 374713 w 1468659"/>
                <a:gd name="connsiteY564" fmla="*/ 61817 h 1218057"/>
                <a:gd name="connsiteX565" fmla="*/ 365284 w 1468659"/>
                <a:gd name="connsiteY565" fmla="*/ 62960 h 1218057"/>
                <a:gd name="connsiteX566" fmla="*/ 361950 w 1468659"/>
                <a:gd name="connsiteY566" fmla="*/ 61817 h 1218057"/>
                <a:gd name="connsiteX567" fmla="*/ 357950 w 1468659"/>
                <a:gd name="connsiteY567" fmla="*/ 68771 h 1218057"/>
                <a:gd name="connsiteX568" fmla="*/ 357759 w 1468659"/>
                <a:gd name="connsiteY568" fmla="*/ 67151 h 1218057"/>
                <a:gd name="connsiteX569" fmla="*/ 352044 w 1468659"/>
                <a:gd name="connsiteY569" fmla="*/ 72676 h 1218057"/>
                <a:gd name="connsiteX570" fmla="*/ 350330 w 1468659"/>
                <a:gd name="connsiteY570" fmla="*/ 71342 h 1218057"/>
                <a:gd name="connsiteX571" fmla="*/ 348901 w 1468659"/>
                <a:gd name="connsiteY571" fmla="*/ 73057 h 1218057"/>
                <a:gd name="connsiteX572" fmla="*/ 342233 w 1468659"/>
                <a:gd name="connsiteY572" fmla="*/ 70771 h 1218057"/>
                <a:gd name="connsiteX573" fmla="*/ 341471 w 1468659"/>
                <a:gd name="connsiteY573" fmla="*/ 77248 h 1218057"/>
                <a:gd name="connsiteX574" fmla="*/ 345376 w 1468659"/>
                <a:gd name="connsiteY574" fmla="*/ 83153 h 1218057"/>
                <a:gd name="connsiteX575" fmla="*/ 342614 w 1468659"/>
                <a:gd name="connsiteY575" fmla="*/ 86773 h 1218057"/>
                <a:gd name="connsiteX576" fmla="*/ 342233 w 1468659"/>
                <a:gd name="connsiteY576" fmla="*/ 83534 h 1218057"/>
                <a:gd name="connsiteX577" fmla="*/ 341471 w 1468659"/>
                <a:gd name="connsiteY577" fmla="*/ 90106 h 1218057"/>
                <a:gd name="connsiteX578" fmla="*/ 340042 w 1468659"/>
                <a:gd name="connsiteY578" fmla="*/ 91821 h 1218057"/>
                <a:gd name="connsiteX579" fmla="*/ 340519 w 1468659"/>
                <a:gd name="connsiteY579" fmla="*/ 95059 h 1218057"/>
                <a:gd name="connsiteX580" fmla="*/ 338900 w 1468659"/>
                <a:gd name="connsiteY580" fmla="*/ 95250 h 1218057"/>
                <a:gd name="connsiteX581" fmla="*/ 337566 w 1468659"/>
                <a:gd name="connsiteY581" fmla="*/ 96964 h 1218057"/>
                <a:gd name="connsiteX582" fmla="*/ 335566 w 1468659"/>
                <a:gd name="connsiteY582" fmla="*/ 94012 h 1218057"/>
                <a:gd name="connsiteX583" fmla="*/ 333946 w 1468659"/>
                <a:gd name="connsiteY583" fmla="*/ 94202 h 1218057"/>
                <a:gd name="connsiteX584" fmla="*/ 334327 w 1468659"/>
                <a:gd name="connsiteY584" fmla="*/ 97441 h 1218057"/>
                <a:gd name="connsiteX585" fmla="*/ 332804 w 1468659"/>
                <a:gd name="connsiteY585" fmla="*/ 97631 h 1218057"/>
                <a:gd name="connsiteX586" fmla="*/ 336709 w 1468659"/>
                <a:gd name="connsiteY586" fmla="*/ 103537 h 1218057"/>
                <a:gd name="connsiteX587" fmla="*/ 333566 w 1468659"/>
                <a:gd name="connsiteY587" fmla="*/ 103918 h 1218057"/>
                <a:gd name="connsiteX588" fmla="*/ 334042 w 1468659"/>
                <a:gd name="connsiteY588" fmla="*/ 107061 h 1218057"/>
                <a:gd name="connsiteX589" fmla="*/ 330803 w 1468659"/>
                <a:gd name="connsiteY589" fmla="*/ 107442 h 1218057"/>
                <a:gd name="connsiteX590" fmla="*/ 330041 w 1468659"/>
                <a:gd name="connsiteY590" fmla="*/ 101155 h 1218057"/>
                <a:gd name="connsiteX591" fmla="*/ 326898 w 1468659"/>
                <a:gd name="connsiteY591" fmla="*/ 101536 h 1218057"/>
                <a:gd name="connsiteX592" fmla="*/ 324707 w 1468659"/>
                <a:gd name="connsiteY592" fmla="*/ 97060 h 1218057"/>
                <a:gd name="connsiteX593" fmla="*/ 322135 w 1468659"/>
                <a:gd name="connsiteY593" fmla="*/ 102203 h 1218057"/>
                <a:gd name="connsiteX594" fmla="*/ 320612 w 1468659"/>
                <a:gd name="connsiteY594" fmla="*/ 102394 h 1218057"/>
                <a:gd name="connsiteX595" fmla="*/ 320992 w 1468659"/>
                <a:gd name="connsiteY595" fmla="*/ 105537 h 1218057"/>
                <a:gd name="connsiteX596" fmla="*/ 318230 w 1468659"/>
                <a:gd name="connsiteY596" fmla="*/ 109061 h 1218057"/>
                <a:gd name="connsiteX597" fmla="*/ 318611 w 1468659"/>
                <a:gd name="connsiteY597" fmla="*/ 112204 h 1218057"/>
                <a:gd name="connsiteX598" fmla="*/ 318992 w 1468659"/>
                <a:gd name="connsiteY598" fmla="*/ 115443 h 1218057"/>
                <a:gd name="connsiteX599" fmla="*/ 309372 w 1468659"/>
                <a:gd name="connsiteY599" fmla="*/ 115062 h 1218057"/>
                <a:gd name="connsiteX600" fmla="*/ 302609 w 1468659"/>
                <a:gd name="connsiteY600" fmla="*/ 112681 h 1218057"/>
                <a:gd name="connsiteX601" fmla="*/ 302038 w 1468659"/>
                <a:gd name="connsiteY601" fmla="*/ 107918 h 1218057"/>
                <a:gd name="connsiteX602" fmla="*/ 298704 w 1468659"/>
                <a:gd name="connsiteY602" fmla="*/ 106775 h 1218057"/>
                <a:gd name="connsiteX603" fmla="*/ 290036 w 1468659"/>
                <a:gd name="connsiteY603" fmla="*/ 114300 h 1218057"/>
                <a:gd name="connsiteX604" fmla="*/ 290989 w 1468659"/>
                <a:gd name="connsiteY604" fmla="*/ 122206 h 1218057"/>
                <a:gd name="connsiteX605" fmla="*/ 290989 w 1468659"/>
                <a:gd name="connsiteY605" fmla="*/ 122206 h 1218057"/>
                <a:gd name="connsiteX606" fmla="*/ 289465 w 1468659"/>
                <a:gd name="connsiteY606" fmla="*/ 122396 h 1218057"/>
                <a:gd name="connsiteX607" fmla="*/ 285083 w 1468659"/>
                <a:gd name="connsiteY607" fmla="*/ 126111 h 1218057"/>
                <a:gd name="connsiteX608" fmla="*/ 284702 w 1468659"/>
                <a:gd name="connsiteY608" fmla="*/ 122968 h 1218057"/>
                <a:gd name="connsiteX609" fmla="*/ 275463 w 1468659"/>
                <a:gd name="connsiteY609" fmla="*/ 125730 h 1218057"/>
                <a:gd name="connsiteX610" fmla="*/ 273463 w 1468659"/>
                <a:gd name="connsiteY610" fmla="*/ 122777 h 1218057"/>
                <a:gd name="connsiteX611" fmla="*/ 268700 w 1468659"/>
                <a:gd name="connsiteY611" fmla="*/ 123444 h 1218057"/>
                <a:gd name="connsiteX612" fmla="*/ 268129 w 1468659"/>
                <a:gd name="connsiteY612" fmla="*/ 118681 h 1218057"/>
                <a:gd name="connsiteX613" fmla="*/ 264605 w 1468659"/>
                <a:gd name="connsiteY613" fmla="*/ 115919 h 1218057"/>
                <a:gd name="connsiteX614" fmla="*/ 263366 w 1468659"/>
                <a:gd name="connsiteY614" fmla="*/ 119253 h 1218057"/>
                <a:gd name="connsiteX615" fmla="*/ 257080 w 1468659"/>
                <a:gd name="connsiteY615" fmla="*/ 120110 h 1218057"/>
                <a:gd name="connsiteX616" fmla="*/ 261366 w 1468659"/>
                <a:gd name="connsiteY616" fmla="*/ 116300 h 1218057"/>
                <a:gd name="connsiteX617" fmla="*/ 260985 w 1468659"/>
                <a:gd name="connsiteY617" fmla="*/ 113157 h 1218057"/>
                <a:gd name="connsiteX618" fmla="*/ 263938 w 1468659"/>
                <a:gd name="connsiteY618" fmla="*/ 111157 h 1218057"/>
                <a:gd name="connsiteX619" fmla="*/ 256032 w 1468659"/>
                <a:gd name="connsiteY619" fmla="*/ 112204 h 1218057"/>
                <a:gd name="connsiteX620" fmla="*/ 254698 w 1468659"/>
                <a:gd name="connsiteY620" fmla="*/ 114014 h 1218057"/>
                <a:gd name="connsiteX621" fmla="*/ 251174 w 1468659"/>
                <a:gd name="connsiteY621" fmla="*/ 111252 h 1218057"/>
                <a:gd name="connsiteX622" fmla="*/ 248984 w 1468659"/>
                <a:gd name="connsiteY622" fmla="*/ 106680 h 1218057"/>
                <a:gd name="connsiteX623" fmla="*/ 249746 w 1468659"/>
                <a:gd name="connsiteY623" fmla="*/ 100203 h 1218057"/>
                <a:gd name="connsiteX624" fmla="*/ 239649 w 1468659"/>
                <a:gd name="connsiteY624" fmla="*/ 96679 h 1218057"/>
                <a:gd name="connsiteX625" fmla="*/ 235077 w 1468659"/>
                <a:gd name="connsiteY625" fmla="*/ 98869 h 1218057"/>
                <a:gd name="connsiteX626" fmla="*/ 235363 w 1468659"/>
                <a:gd name="connsiteY626" fmla="*/ 100393 h 1218057"/>
                <a:gd name="connsiteX627" fmla="*/ 238696 w 1468659"/>
                <a:gd name="connsiteY627" fmla="*/ 101536 h 1218057"/>
                <a:gd name="connsiteX628" fmla="*/ 234125 w 1468659"/>
                <a:gd name="connsiteY628" fmla="*/ 103727 h 1218057"/>
                <a:gd name="connsiteX629" fmla="*/ 230410 w 1468659"/>
                <a:gd name="connsiteY629" fmla="*/ 112204 h 1218057"/>
                <a:gd name="connsiteX630" fmla="*/ 227076 w 1468659"/>
                <a:gd name="connsiteY630" fmla="*/ 111061 h 1218057"/>
                <a:gd name="connsiteX631" fmla="*/ 227267 w 1468659"/>
                <a:gd name="connsiteY631" fmla="*/ 112681 h 1218057"/>
                <a:gd name="connsiteX632" fmla="*/ 225457 w 1468659"/>
                <a:gd name="connsiteY632" fmla="*/ 111252 h 1218057"/>
                <a:gd name="connsiteX633" fmla="*/ 222694 w 1468659"/>
                <a:gd name="connsiteY633" fmla="*/ 114871 h 1218057"/>
                <a:gd name="connsiteX634" fmla="*/ 220790 w 1468659"/>
                <a:gd name="connsiteY634" fmla="*/ 111919 h 1218057"/>
                <a:gd name="connsiteX635" fmla="*/ 222123 w 1468659"/>
                <a:gd name="connsiteY635" fmla="*/ 110109 h 1218057"/>
                <a:gd name="connsiteX636" fmla="*/ 220504 w 1468659"/>
                <a:gd name="connsiteY636" fmla="*/ 110300 h 1218057"/>
                <a:gd name="connsiteX637" fmla="*/ 219170 w 1468659"/>
                <a:gd name="connsiteY637" fmla="*/ 112109 h 1218057"/>
                <a:gd name="connsiteX638" fmla="*/ 217742 w 1468659"/>
                <a:gd name="connsiteY638" fmla="*/ 113824 h 1218057"/>
                <a:gd name="connsiteX639" fmla="*/ 216408 w 1468659"/>
                <a:gd name="connsiteY639" fmla="*/ 102775 h 1218057"/>
                <a:gd name="connsiteX640" fmla="*/ 214979 w 1468659"/>
                <a:gd name="connsiteY640" fmla="*/ 104584 h 1218057"/>
                <a:gd name="connsiteX641" fmla="*/ 213265 w 1468659"/>
                <a:gd name="connsiteY641" fmla="*/ 103251 h 1218057"/>
                <a:gd name="connsiteX642" fmla="*/ 210407 w 1468659"/>
                <a:gd name="connsiteY642" fmla="*/ 93917 h 1218057"/>
                <a:gd name="connsiteX643" fmla="*/ 207264 w 1468659"/>
                <a:gd name="connsiteY643" fmla="*/ 94393 h 1218057"/>
                <a:gd name="connsiteX644" fmla="*/ 209264 w 1468659"/>
                <a:gd name="connsiteY644" fmla="*/ 97346 h 1218057"/>
                <a:gd name="connsiteX645" fmla="*/ 202978 w 1468659"/>
                <a:gd name="connsiteY645" fmla="*/ 98107 h 1218057"/>
                <a:gd name="connsiteX646" fmla="*/ 203740 w 1468659"/>
                <a:gd name="connsiteY646" fmla="*/ 104394 h 1218057"/>
                <a:gd name="connsiteX647" fmla="*/ 198977 w 1468659"/>
                <a:gd name="connsiteY647" fmla="*/ 105061 h 1218057"/>
                <a:gd name="connsiteX648" fmla="*/ 199453 w 1468659"/>
                <a:gd name="connsiteY648" fmla="*/ 108204 h 1218057"/>
                <a:gd name="connsiteX649" fmla="*/ 192500 w 1468659"/>
                <a:gd name="connsiteY649" fmla="*/ 104299 h 1218057"/>
                <a:gd name="connsiteX650" fmla="*/ 186023 w 1468659"/>
                <a:gd name="connsiteY650" fmla="*/ 103442 h 1218057"/>
                <a:gd name="connsiteX651" fmla="*/ 182499 w 1468659"/>
                <a:gd name="connsiteY651" fmla="*/ 113538 h 1218057"/>
                <a:gd name="connsiteX652" fmla="*/ 180880 w 1468659"/>
                <a:gd name="connsiteY652" fmla="*/ 113729 h 1218057"/>
                <a:gd name="connsiteX653" fmla="*/ 180880 w 1468659"/>
                <a:gd name="connsiteY653" fmla="*/ 113729 h 1218057"/>
                <a:gd name="connsiteX654" fmla="*/ 170974 w 1468659"/>
                <a:gd name="connsiteY654" fmla="*/ 111823 h 1218057"/>
                <a:gd name="connsiteX655" fmla="*/ 169259 w 1468659"/>
                <a:gd name="connsiteY655" fmla="*/ 110395 h 1218057"/>
                <a:gd name="connsiteX656" fmla="*/ 165925 w 1468659"/>
                <a:gd name="connsiteY656" fmla="*/ 109252 h 1218057"/>
                <a:gd name="connsiteX657" fmla="*/ 164687 w 1468659"/>
                <a:gd name="connsiteY657" fmla="*/ 112585 h 1218057"/>
                <a:gd name="connsiteX658" fmla="*/ 160401 w 1468659"/>
                <a:gd name="connsiteY658" fmla="*/ 116396 h 1218057"/>
                <a:gd name="connsiteX659" fmla="*/ 159163 w 1468659"/>
                <a:gd name="connsiteY659" fmla="*/ 119729 h 1218057"/>
                <a:gd name="connsiteX660" fmla="*/ 164306 w 1468659"/>
                <a:gd name="connsiteY660" fmla="*/ 122301 h 1218057"/>
                <a:gd name="connsiteX661" fmla="*/ 164782 w 1468659"/>
                <a:gd name="connsiteY661" fmla="*/ 125444 h 1218057"/>
                <a:gd name="connsiteX662" fmla="*/ 163544 w 1468659"/>
                <a:gd name="connsiteY662" fmla="*/ 128778 h 1218057"/>
                <a:gd name="connsiteX663" fmla="*/ 160211 w 1468659"/>
                <a:gd name="connsiteY663" fmla="*/ 127635 h 1218057"/>
                <a:gd name="connsiteX664" fmla="*/ 159067 w 1468659"/>
                <a:gd name="connsiteY664" fmla="*/ 130969 h 1218057"/>
                <a:gd name="connsiteX665" fmla="*/ 155829 w 1468659"/>
                <a:gd name="connsiteY665" fmla="*/ 131350 h 1218057"/>
                <a:gd name="connsiteX666" fmla="*/ 157829 w 1468659"/>
                <a:gd name="connsiteY666" fmla="*/ 134302 h 1218057"/>
                <a:gd name="connsiteX667" fmla="*/ 156496 w 1468659"/>
                <a:gd name="connsiteY667" fmla="*/ 136112 h 1218057"/>
                <a:gd name="connsiteX668" fmla="*/ 157258 w 1468659"/>
                <a:gd name="connsiteY668" fmla="*/ 142399 h 1218057"/>
                <a:gd name="connsiteX669" fmla="*/ 160592 w 1468659"/>
                <a:gd name="connsiteY669" fmla="*/ 143637 h 1218057"/>
                <a:gd name="connsiteX670" fmla="*/ 163830 w 1468659"/>
                <a:gd name="connsiteY670" fmla="*/ 143161 h 1218057"/>
                <a:gd name="connsiteX671" fmla="*/ 164021 w 1468659"/>
                <a:gd name="connsiteY671" fmla="*/ 144780 h 1218057"/>
                <a:gd name="connsiteX672" fmla="*/ 163830 w 1468659"/>
                <a:gd name="connsiteY672" fmla="*/ 143161 h 1218057"/>
                <a:gd name="connsiteX673" fmla="*/ 170307 w 1468659"/>
                <a:gd name="connsiteY673" fmla="*/ 144018 h 1218057"/>
                <a:gd name="connsiteX674" fmla="*/ 170497 w 1468659"/>
                <a:gd name="connsiteY674" fmla="*/ 145542 h 1218057"/>
                <a:gd name="connsiteX675" fmla="*/ 164021 w 1468659"/>
                <a:gd name="connsiteY675" fmla="*/ 144780 h 1218057"/>
                <a:gd name="connsiteX676" fmla="*/ 165925 w 1468659"/>
                <a:gd name="connsiteY676" fmla="*/ 147733 h 1218057"/>
                <a:gd name="connsiteX677" fmla="*/ 164782 w 1468659"/>
                <a:gd name="connsiteY677" fmla="*/ 151067 h 1218057"/>
                <a:gd name="connsiteX678" fmla="*/ 165925 w 1468659"/>
                <a:gd name="connsiteY678" fmla="*/ 147733 h 1218057"/>
                <a:gd name="connsiteX679" fmla="*/ 167545 w 1468659"/>
                <a:gd name="connsiteY679" fmla="*/ 147542 h 1218057"/>
                <a:gd name="connsiteX680" fmla="*/ 167926 w 1468659"/>
                <a:gd name="connsiteY680" fmla="*/ 150685 h 1218057"/>
                <a:gd name="connsiteX681" fmla="*/ 165163 w 1468659"/>
                <a:gd name="connsiteY681" fmla="*/ 154210 h 1218057"/>
                <a:gd name="connsiteX682" fmla="*/ 168402 w 1468659"/>
                <a:gd name="connsiteY682" fmla="*/ 153829 h 1218057"/>
                <a:gd name="connsiteX683" fmla="*/ 167164 w 1468659"/>
                <a:gd name="connsiteY683" fmla="*/ 157163 h 1218057"/>
                <a:gd name="connsiteX684" fmla="*/ 169545 w 1468659"/>
                <a:gd name="connsiteY684" fmla="*/ 163354 h 1218057"/>
                <a:gd name="connsiteX685" fmla="*/ 166592 w 1468659"/>
                <a:gd name="connsiteY685" fmla="*/ 165259 h 1218057"/>
                <a:gd name="connsiteX686" fmla="*/ 165640 w 1468659"/>
                <a:gd name="connsiteY686" fmla="*/ 170212 h 1218057"/>
                <a:gd name="connsiteX687" fmla="*/ 168973 w 1468659"/>
                <a:gd name="connsiteY687" fmla="*/ 171355 h 1218057"/>
                <a:gd name="connsiteX688" fmla="*/ 167640 w 1468659"/>
                <a:gd name="connsiteY688" fmla="*/ 173164 h 1218057"/>
                <a:gd name="connsiteX689" fmla="*/ 168021 w 1468659"/>
                <a:gd name="connsiteY689" fmla="*/ 176308 h 1218057"/>
                <a:gd name="connsiteX690" fmla="*/ 166878 w 1468659"/>
                <a:gd name="connsiteY690" fmla="*/ 179642 h 1218057"/>
                <a:gd name="connsiteX691" fmla="*/ 168592 w 1468659"/>
                <a:gd name="connsiteY691" fmla="*/ 181070 h 1218057"/>
                <a:gd name="connsiteX692" fmla="*/ 170783 w 1468659"/>
                <a:gd name="connsiteY692" fmla="*/ 185642 h 1218057"/>
                <a:gd name="connsiteX693" fmla="*/ 172402 w 1468659"/>
                <a:gd name="connsiteY693" fmla="*/ 185452 h 1218057"/>
                <a:gd name="connsiteX694" fmla="*/ 172784 w 1468659"/>
                <a:gd name="connsiteY694" fmla="*/ 188595 h 1218057"/>
                <a:gd name="connsiteX695" fmla="*/ 174593 w 1468659"/>
                <a:gd name="connsiteY695" fmla="*/ 189929 h 1218057"/>
                <a:gd name="connsiteX696" fmla="*/ 174974 w 1468659"/>
                <a:gd name="connsiteY696" fmla="*/ 193072 h 1218057"/>
                <a:gd name="connsiteX697" fmla="*/ 178117 w 1468659"/>
                <a:gd name="connsiteY697" fmla="*/ 192691 h 1218057"/>
                <a:gd name="connsiteX698" fmla="*/ 178308 w 1468659"/>
                <a:gd name="connsiteY698" fmla="*/ 194310 h 1218057"/>
                <a:gd name="connsiteX699" fmla="*/ 175165 w 1468659"/>
                <a:gd name="connsiteY699" fmla="*/ 194691 h 1218057"/>
                <a:gd name="connsiteX700" fmla="*/ 177165 w 1468659"/>
                <a:gd name="connsiteY700" fmla="*/ 197644 h 1218057"/>
                <a:gd name="connsiteX701" fmla="*/ 185261 w 1468659"/>
                <a:gd name="connsiteY701" fmla="*/ 198215 h 1218057"/>
                <a:gd name="connsiteX702" fmla="*/ 185452 w 1468659"/>
                <a:gd name="connsiteY702" fmla="*/ 199739 h 1218057"/>
                <a:gd name="connsiteX703" fmla="*/ 182309 w 1468659"/>
                <a:gd name="connsiteY703" fmla="*/ 200215 h 1218057"/>
                <a:gd name="connsiteX704" fmla="*/ 175736 w 1468659"/>
                <a:gd name="connsiteY704" fmla="*/ 199358 h 1218057"/>
                <a:gd name="connsiteX705" fmla="*/ 173165 w 1468659"/>
                <a:gd name="connsiteY705" fmla="*/ 204502 h 1218057"/>
                <a:gd name="connsiteX706" fmla="*/ 174974 w 1468659"/>
                <a:gd name="connsiteY706" fmla="*/ 205930 h 1218057"/>
                <a:gd name="connsiteX707" fmla="*/ 173450 w 1468659"/>
                <a:gd name="connsiteY707" fmla="*/ 206121 h 1218057"/>
                <a:gd name="connsiteX708" fmla="*/ 169450 w 1468659"/>
                <a:gd name="connsiteY708" fmla="*/ 213074 h 1218057"/>
                <a:gd name="connsiteX709" fmla="*/ 166306 w 1468659"/>
                <a:gd name="connsiteY709" fmla="*/ 213455 h 1218057"/>
                <a:gd name="connsiteX710" fmla="*/ 168116 w 1468659"/>
                <a:gd name="connsiteY710" fmla="*/ 214789 h 1218057"/>
                <a:gd name="connsiteX711" fmla="*/ 165544 w 1468659"/>
                <a:gd name="connsiteY711" fmla="*/ 219932 h 1218057"/>
                <a:gd name="connsiteX712" fmla="*/ 166402 w 1468659"/>
                <a:gd name="connsiteY712" fmla="*/ 226219 h 1218057"/>
                <a:gd name="connsiteX713" fmla="*/ 168116 w 1468659"/>
                <a:gd name="connsiteY713" fmla="*/ 227647 h 1218057"/>
                <a:gd name="connsiteX714" fmla="*/ 164211 w 1468659"/>
                <a:gd name="connsiteY714" fmla="*/ 234505 h 1218057"/>
                <a:gd name="connsiteX715" fmla="*/ 162592 w 1468659"/>
                <a:gd name="connsiteY715" fmla="*/ 234791 h 1218057"/>
                <a:gd name="connsiteX716" fmla="*/ 163068 w 1468659"/>
                <a:gd name="connsiteY716" fmla="*/ 237934 h 1218057"/>
                <a:gd name="connsiteX717" fmla="*/ 164592 w 1468659"/>
                <a:gd name="connsiteY717" fmla="*/ 237744 h 1218057"/>
                <a:gd name="connsiteX718" fmla="*/ 163259 w 1468659"/>
                <a:gd name="connsiteY718" fmla="*/ 239459 h 1218057"/>
                <a:gd name="connsiteX719" fmla="*/ 164782 w 1468659"/>
                <a:gd name="connsiteY719" fmla="*/ 239268 h 1218057"/>
                <a:gd name="connsiteX720" fmla="*/ 163449 w 1468659"/>
                <a:gd name="connsiteY720" fmla="*/ 241078 h 1218057"/>
                <a:gd name="connsiteX721" fmla="*/ 167354 w 1468659"/>
                <a:gd name="connsiteY721" fmla="*/ 246983 h 1218057"/>
                <a:gd name="connsiteX722" fmla="*/ 166402 w 1468659"/>
                <a:gd name="connsiteY722" fmla="*/ 251936 h 1218057"/>
                <a:gd name="connsiteX723" fmla="*/ 171926 w 1468659"/>
                <a:gd name="connsiteY723" fmla="*/ 257651 h 1218057"/>
                <a:gd name="connsiteX724" fmla="*/ 173926 w 1468659"/>
                <a:gd name="connsiteY724" fmla="*/ 260604 h 1218057"/>
                <a:gd name="connsiteX725" fmla="*/ 170974 w 1468659"/>
                <a:gd name="connsiteY725" fmla="*/ 262604 h 1218057"/>
                <a:gd name="connsiteX726" fmla="*/ 174307 w 1468659"/>
                <a:gd name="connsiteY726" fmla="*/ 263747 h 1218057"/>
                <a:gd name="connsiteX727" fmla="*/ 171164 w 1468659"/>
                <a:gd name="connsiteY727" fmla="*/ 264128 h 1218057"/>
                <a:gd name="connsiteX728" fmla="*/ 171355 w 1468659"/>
                <a:gd name="connsiteY728" fmla="*/ 265747 h 1218057"/>
                <a:gd name="connsiteX729" fmla="*/ 174498 w 1468659"/>
                <a:gd name="connsiteY729" fmla="*/ 265271 h 1218057"/>
                <a:gd name="connsiteX730" fmla="*/ 178308 w 1468659"/>
                <a:gd name="connsiteY730" fmla="*/ 269653 h 1218057"/>
                <a:gd name="connsiteX731" fmla="*/ 181261 w 1468659"/>
                <a:gd name="connsiteY731" fmla="*/ 267652 h 1218057"/>
                <a:gd name="connsiteX732" fmla="*/ 180118 w 1468659"/>
                <a:gd name="connsiteY732" fmla="*/ 270986 h 1218057"/>
                <a:gd name="connsiteX733" fmla="*/ 183451 w 1468659"/>
                <a:gd name="connsiteY733" fmla="*/ 272225 h 1218057"/>
                <a:gd name="connsiteX734" fmla="*/ 182690 w 1468659"/>
                <a:gd name="connsiteY734" fmla="*/ 278701 h 1218057"/>
                <a:gd name="connsiteX735" fmla="*/ 184594 w 1468659"/>
                <a:gd name="connsiteY735" fmla="*/ 281654 h 1218057"/>
                <a:gd name="connsiteX736" fmla="*/ 181261 w 1468659"/>
                <a:gd name="connsiteY736" fmla="*/ 280511 h 1218057"/>
                <a:gd name="connsiteX737" fmla="*/ 181642 w 1468659"/>
                <a:gd name="connsiteY737" fmla="*/ 283655 h 1218057"/>
                <a:gd name="connsiteX738" fmla="*/ 180118 w 1468659"/>
                <a:gd name="connsiteY738" fmla="*/ 283845 h 1218057"/>
                <a:gd name="connsiteX739" fmla="*/ 176022 w 1468659"/>
                <a:gd name="connsiteY739" fmla="*/ 289179 h 1218057"/>
                <a:gd name="connsiteX740" fmla="*/ 177736 w 1468659"/>
                <a:gd name="connsiteY740" fmla="*/ 290513 h 1218057"/>
                <a:gd name="connsiteX741" fmla="*/ 180308 w 1468659"/>
                <a:gd name="connsiteY741" fmla="*/ 285464 h 1218057"/>
                <a:gd name="connsiteX742" fmla="*/ 181356 w 1468659"/>
                <a:gd name="connsiteY742" fmla="*/ 293275 h 1218057"/>
                <a:gd name="connsiteX743" fmla="*/ 183071 w 1468659"/>
                <a:gd name="connsiteY743" fmla="*/ 294704 h 1218057"/>
                <a:gd name="connsiteX744" fmla="*/ 175165 w 1468659"/>
                <a:gd name="connsiteY744" fmla="*/ 295656 h 1218057"/>
                <a:gd name="connsiteX745" fmla="*/ 171450 w 1468659"/>
                <a:gd name="connsiteY745" fmla="*/ 304229 h 1218057"/>
                <a:gd name="connsiteX746" fmla="*/ 169164 w 1468659"/>
                <a:gd name="connsiteY746" fmla="*/ 310896 h 1218057"/>
                <a:gd name="connsiteX747" fmla="*/ 171069 w 1468659"/>
                <a:gd name="connsiteY747" fmla="*/ 313849 h 1218057"/>
                <a:gd name="connsiteX748" fmla="*/ 167926 w 1468659"/>
                <a:gd name="connsiteY748" fmla="*/ 314230 h 1218057"/>
                <a:gd name="connsiteX749" fmla="*/ 170497 w 1468659"/>
                <a:gd name="connsiteY749" fmla="*/ 321945 h 1218057"/>
                <a:gd name="connsiteX750" fmla="*/ 169354 w 1468659"/>
                <a:gd name="connsiteY750" fmla="*/ 325279 h 1218057"/>
                <a:gd name="connsiteX751" fmla="*/ 168021 w 1468659"/>
                <a:gd name="connsiteY751" fmla="*/ 327088 h 1218057"/>
                <a:gd name="connsiteX752" fmla="*/ 159639 w 1468659"/>
                <a:gd name="connsiteY752" fmla="*/ 324898 h 1218057"/>
                <a:gd name="connsiteX753" fmla="*/ 155162 w 1468659"/>
                <a:gd name="connsiteY753" fmla="*/ 327088 h 1218057"/>
                <a:gd name="connsiteX754" fmla="*/ 154210 w 1468659"/>
                <a:gd name="connsiteY754" fmla="*/ 332042 h 1218057"/>
                <a:gd name="connsiteX755" fmla="*/ 151067 w 1468659"/>
                <a:gd name="connsiteY755" fmla="*/ 332422 h 1218057"/>
                <a:gd name="connsiteX756" fmla="*/ 146494 w 1468659"/>
                <a:gd name="connsiteY756" fmla="*/ 334613 h 1218057"/>
                <a:gd name="connsiteX757" fmla="*/ 144494 w 1468659"/>
                <a:gd name="connsiteY757" fmla="*/ 344519 h 1218057"/>
                <a:gd name="connsiteX758" fmla="*/ 136017 w 1468659"/>
                <a:gd name="connsiteY758" fmla="*/ 340805 h 1218057"/>
                <a:gd name="connsiteX759" fmla="*/ 139065 w 1468659"/>
                <a:gd name="connsiteY759" fmla="*/ 351663 h 1218057"/>
                <a:gd name="connsiteX760" fmla="*/ 136112 w 1468659"/>
                <a:gd name="connsiteY760" fmla="*/ 353568 h 1218057"/>
                <a:gd name="connsiteX761" fmla="*/ 134493 w 1468659"/>
                <a:gd name="connsiteY761" fmla="*/ 353759 h 1218057"/>
                <a:gd name="connsiteX762" fmla="*/ 138684 w 1468659"/>
                <a:gd name="connsiteY762" fmla="*/ 361283 h 1218057"/>
                <a:gd name="connsiteX763" fmla="*/ 141827 w 1468659"/>
                <a:gd name="connsiteY763" fmla="*/ 360902 h 1218057"/>
                <a:gd name="connsiteX764" fmla="*/ 145161 w 1468659"/>
                <a:gd name="connsiteY764" fmla="*/ 362045 h 1218057"/>
                <a:gd name="connsiteX765" fmla="*/ 144399 w 1468659"/>
                <a:gd name="connsiteY765" fmla="*/ 368617 h 1218057"/>
                <a:gd name="connsiteX766" fmla="*/ 141446 w 1468659"/>
                <a:gd name="connsiteY766" fmla="*/ 370522 h 1218057"/>
                <a:gd name="connsiteX767" fmla="*/ 140684 w 1468659"/>
                <a:gd name="connsiteY767" fmla="*/ 377095 h 1218057"/>
                <a:gd name="connsiteX768" fmla="*/ 137541 w 1468659"/>
                <a:gd name="connsiteY768" fmla="*/ 377476 h 1218057"/>
                <a:gd name="connsiteX769" fmla="*/ 134398 w 1468659"/>
                <a:gd name="connsiteY769" fmla="*/ 377857 h 1218057"/>
                <a:gd name="connsiteX770" fmla="*/ 130588 w 1468659"/>
                <a:gd name="connsiteY770" fmla="*/ 373571 h 1218057"/>
                <a:gd name="connsiteX771" fmla="*/ 126111 w 1468659"/>
                <a:gd name="connsiteY771" fmla="*/ 375761 h 1218057"/>
                <a:gd name="connsiteX772" fmla="*/ 119539 w 1468659"/>
                <a:gd name="connsiteY772" fmla="*/ 374999 h 1218057"/>
                <a:gd name="connsiteX773" fmla="*/ 118205 w 1468659"/>
                <a:gd name="connsiteY773" fmla="*/ 376714 h 1218057"/>
                <a:gd name="connsiteX774" fmla="*/ 121729 w 1468659"/>
                <a:gd name="connsiteY774" fmla="*/ 379476 h 1218057"/>
                <a:gd name="connsiteX775" fmla="*/ 121348 w 1468659"/>
                <a:gd name="connsiteY775" fmla="*/ 389192 h 1218057"/>
                <a:gd name="connsiteX776" fmla="*/ 124301 w 1468659"/>
                <a:gd name="connsiteY776" fmla="*/ 400050 h 1218057"/>
                <a:gd name="connsiteX777" fmla="*/ 127540 w 1468659"/>
                <a:gd name="connsiteY777" fmla="*/ 399574 h 1218057"/>
                <a:gd name="connsiteX778" fmla="*/ 129254 w 1468659"/>
                <a:gd name="connsiteY778" fmla="*/ 401002 h 1218057"/>
                <a:gd name="connsiteX779" fmla="*/ 138970 w 1468659"/>
                <a:gd name="connsiteY779" fmla="*/ 401384 h 1218057"/>
                <a:gd name="connsiteX780" fmla="*/ 141922 w 1468659"/>
                <a:gd name="connsiteY780" fmla="*/ 399383 h 1218057"/>
                <a:gd name="connsiteX781" fmla="*/ 143923 w 1468659"/>
                <a:gd name="connsiteY781" fmla="*/ 402336 h 1218057"/>
                <a:gd name="connsiteX782" fmla="*/ 140684 w 1468659"/>
                <a:gd name="connsiteY782" fmla="*/ 402717 h 1218057"/>
                <a:gd name="connsiteX783" fmla="*/ 133636 w 1468659"/>
                <a:gd name="connsiteY783" fmla="*/ 410051 h 1218057"/>
                <a:gd name="connsiteX784" fmla="*/ 133826 w 1468659"/>
                <a:gd name="connsiteY784" fmla="*/ 411575 h 1218057"/>
                <a:gd name="connsiteX785" fmla="*/ 137827 w 1468659"/>
                <a:gd name="connsiteY785" fmla="*/ 417576 h 1218057"/>
                <a:gd name="connsiteX786" fmla="*/ 136207 w 1468659"/>
                <a:gd name="connsiteY786" fmla="*/ 417767 h 1218057"/>
                <a:gd name="connsiteX787" fmla="*/ 129730 w 1468659"/>
                <a:gd name="connsiteY787" fmla="*/ 417005 h 1218057"/>
                <a:gd name="connsiteX788" fmla="*/ 129540 w 1468659"/>
                <a:gd name="connsiteY788" fmla="*/ 415385 h 1218057"/>
                <a:gd name="connsiteX789" fmla="*/ 124396 w 1468659"/>
                <a:gd name="connsiteY789" fmla="*/ 412813 h 1218057"/>
                <a:gd name="connsiteX790" fmla="*/ 123444 w 1468659"/>
                <a:gd name="connsiteY790" fmla="*/ 417767 h 1218057"/>
                <a:gd name="connsiteX791" fmla="*/ 125158 w 1468659"/>
                <a:gd name="connsiteY791" fmla="*/ 419100 h 1218057"/>
                <a:gd name="connsiteX792" fmla="*/ 126016 w 1468659"/>
                <a:gd name="connsiteY792" fmla="*/ 425482 h 1218057"/>
                <a:gd name="connsiteX793" fmla="*/ 119253 w 1468659"/>
                <a:gd name="connsiteY793" fmla="*/ 423100 h 1218057"/>
                <a:gd name="connsiteX794" fmla="*/ 113538 w 1468659"/>
                <a:gd name="connsiteY794" fmla="*/ 428625 h 1218057"/>
                <a:gd name="connsiteX795" fmla="*/ 115348 w 1468659"/>
                <a:gd name="connsiteY795" fmla="*/ 430054 h 1218057"/>
                <a:gd name="connsiteX796" fmla="*/ 115729 w 1468659"/>
                <a:gd name="connsiteY796" fmla="*/ 433197 h 1218057"/>
                <a:gd name="connsiteX797" fmla="*/ 112395 w 1468659"/>
                <a:gd name="connsiteY797" fmla="*/ 431959 h 1218057"/>
                <a:gd name="connsiteX798" fmla="*/ 110966 w 1468659"/>
                <a:gd name="connsiteY798" fmla="*/ 433768 h 1218057"/>
                <a:gd name="connsiteX799" fmla="*/ 111633 w 1468659"/>
                <a:gd name="connsiteY799" fmla="*/ 438531 h 1218057"/>
                <a:gd name="connsiteX800" fmla="*/ 114776 w 1468659"/>
                <a:gd name="connsiteY800" fmla="*/ 438150 h 1218057"/>
                <a:gd name="connsiteX801" fmla="*/ 113157 w 1468659"/>
                <a:gd name="connsiteY801" fmla="*/ 438340 h 1218057"/>
                <a:gd name="connsiteX802" fmla="*/ 114014 w 1468659"/>
                <a:gd name="connsiteY802" fmla="*/ 444627 h 1218057"/>
                <a:gd name="connsiteX803" fmla="*/ 116776 w 1468659"/>
                <a:gd name="connsiteY803" fmla="*/ 441103 h 1218057"/>
                <a:gd name="connsiteX804" fmla="*/ 116396 w 1468659"/>
                <a:gd name="connsiteY804" fmla="*/ 450723 h 1218057"/>
                <a:gd name="connsiteX805" fmla="*/ 124682 w 1468659"/>
                <a:gd name="connsiteY805" fmla="*/ 452914 h 1218057"/>
                <a:gd name="connsiteX806" fmla="*/ 126206 w 1468659"/>
                <a:gd name="connsiteY806" fmla="*/ 452723 h 1218057"/>
                <a:gd name="connsiteX807" fmla="*/ 125063 w 1468659"/>
                <a:gd name="connsiteY807" fmla="*/ 456057 h 1218057"/>
                <a:gd name="connsiteX808" fmla="*/ 128397 w 1468659"/>
                <a:gd name="connsiteY808" fmla="*/ 457200 h 1218057"/>
                <a:gd name="connsiteX809" fmla="*/ 129445 w 1468659"/>
                <a:gd name="connsiteY809" fmla="*/ 465106 h 1218057"/>
                <a:gd name="connsiteX810" fmla="*/ 132017 w 1468659"/>
                <a:gd name="connsiteY810" fmla="*/ 472821 h 1218057"/>
                <a:gd name="connsiteX811" fmla="*/ 127730 w 1468659"/>
                <a:gd name="connsiteY811" fmla="*/ 476536 h 1218057"/>
                <a:gd name="connsiteX812" fmla="*/ 122587 w 1468659"/>
                <a:gd name="connsiteY812" fmla="*/ 473964 h 1218057"/>
                <a:gd name="connsiteX813" fmla="*/ 119348 w 1468659"/>
                <a:gd name="connsiteY813" fmla="*/ 474440 h 1218057"/>
                <a:gd name="connsiteX814" fmla="*/ 112490 w 1468659"/>
                <a:gd name="connsiteY814" fmla="*/ 483298 h 1218057"/>
                <a:gd name="connsiteX815" fmla="*/ 113157 w 1468659"/>
                <a:gd name="connsiteY815" fmla="*/ 500825 h 1218057"/>
                <a:gd name="connsiteX816" fmla="*/ 113347 w 1468659"/>
                <a:gd name="connsiteY816" fmla="*/ 502444 h 1218057"/>
                <a:gd name="connsiteX817" fmla="*/ 108775 w 1468659"/>
                <a:gd name="connsiteY817" fmla="*/ 504634 h 1218057"/>
                <a:gd name="connsiteX818" fmla="*/ 110776 w 1468659"/>
                <a:gd name="connsiteY818" fmla="*/ 507587 h 1218057"/>
                <a:gd name="connsiteX819" fmla="*/ 112204 w 1468659"/>
                <a:gd name="connsiteY819" fmla="*/ 505777 h 1218057"/>
                <a:gd name="connsiteX820" fmla="*/ 112395 w 1468659"/>
                <a:gd name="connsiteY820" fmla="*/ 507397 h 1218057"/>
                <a:gd name="connsiteX821" fmla="*/ 115348 w 1468659"/>
                <a:gd name="connsiteY821" fmla="*/ 505396 h 1218057"/>
                <a:gd name="connsiteX822" fmla="*/ 115538 w 1468659"/>
                <a:gd name="connsiteY822" fmla="*/ 507016 h 1218057"/>
                <a:gd name="connsiteX823" fmla="*/ 112776 w 1468659"/>
                <a:gd name="connsiteY823" fmla="*/ 510540 h 1218057"/>
                <a:gd name="connsiteX824" fmla="*/ 111633 w 1468659"/>
                <a:gd name="connsiteY824" fmla="*/ 513874 h 1218057"/>
                <a:gd name="connsiteX825" fmla="*/ 110966 w 1468659"/>
                <a:gd name="connsiteY825" fmla="*/ 509111 h 1218057"/>
                <a:gd name="connsiteX826" fmla="*/ 109442 w 1468659"/>
                <a:gd name="connsiteY826" fmla="*/ 509397 h 1218057"/>
                <a:gd name="connsiteX827" fmla="*/ 105823 w 1468659"/>
                <a:gd name="connsiteY827" fmla="*/ 506635 h 1218057"/>
                <a:gd name="connsiteX828" fmla="*/ 103061 w 1468659"/>
                <a:gd name="connsiteY828" fmla="*/ 510159 h 1218057"/>
                <a:gd name="connsiteX829" fmla="*/ 101346 w 1468659"/>
                <a:gd name="connsiteY829" fmla="*/ 508825 h 1218057"/>
                <a:gd name="connsiteX830" fmla="*/ 96965 w 1468659"/>
                <a:gd name="connsiteY830" fmla="*/ 512540 h 1218057"/>
                <a:gd name="connsiteX831" fmla="*/ 88868 w 1468659"/>
                <a:gd name="connsiteY831" fmla="*/ 511969 h 1218057"/>
                <a:gd name="connsiteX832" fmla="*/ 89535 w 1468659"/>
                <a:gd name="connsiteY832" fmla="*/ 516731 h 1218057"/>
                <a:gd name="connsiteX833" fmla="*/ 86582 w 1468659"/>
                <a:gd name="connsiteY833" fmla="*/ 518731 h 1218057"/>
                <a:gd name="connsiteX834" fmla="*/ 86963 w 1468659"/>
                <a:gd name="connsiteY834" fmla="*/ 521875 h 1218057"/>
                <a:gd name="connsiteX835" fmla="*/ 84011 w 1468659"/>
                <a:gd name="connsiteY835" fmla="*/ 523780 h 1218057"/>
                <a:gd name="connsiteX836" fmla="*/ 79057 w 1468659"/>
                <a:gd name="connsiteY836" fmla="*/ 522827 h 1218057"/>
                <a:gd name="connsiteX837" fmla="*/ 78105 w 1468659"/>
                <a:gd name="connsiteY837" fmla="*/ 527780 h 1218057"/>
                <a:gd name="connsiteX838" fmla="*/ 68008 w 1468659"/>
                <a:gd name="connsiteY838" fmla="*/ 537115 h 1218057"/>
                <a:gd name="connsiteX839" fmla="*/ 66103 w 1468659"/>
                <a:gd name="connsiteY839" fmla="*/ 534162 h 1218057"/>
                <a:gd name="connsiteX840" fmla="*/ 64103 w 1468659"/>
                <a:gd name="connsiteY840" fmla="*/ 531209 h 1218057"/>
                <a:gd name="connsiteX841" fmla="*/ 59341 w 1468659"/>
                <a:gd name="connsiteY841" fmla="*/ 531781 h 1218057"/>
                <a:gd name="connsiteX842" fmla="*/ 50863 w 1468659"/>
                <a:gd name="connsiteY842" fmla="*/ 528066 h 1218057"/>
                <a:gd name="connsiteX843" fmla="*/ 53816 w 1468659"/>
                <a:gd name="connsiteY843" fmla="*/ 526066 h 1218057"/>
                <a:gd name="connsiteX844" fmla="*/ 53626 w 1468659"/>
                <a:gd name="connsiteY844" fmla="*/ 524447 h 1218057"/>
                <a:gd name="connsiteX845" fmla="*/ 40576 w 1468659"/>
                <a:gd name="connsiteY845" fmla="*/ 522922 h 1218057"/>
                <a:gd name="connsiteX846" fmla="*/ 39243 w 1468659"/>
                <a:gd name="connsiteY846" fmla="*/ 524732 h 1218057"/>
                <a:gd name="connsiteX847" fmla="*/ 39433 w 1468659"/>
                <a:gd name="connsiteY847" fmla="*/ 526256 h 1218057"/>
                <a:gd name="connsiteX848" fmla="*/ 46101 w 1468659"/>
                <a:gd name="connsiteY848" fmla="*/ 528638 h 1218057"/>
                <a:gd name="connsiteX849" fmla="*/ 48101 w 1468659"/>
                <a:gd name="connsiteY849" fmla="*/ 531590 h 1218057"/>
                <a:gd name="connsiteX850" fmla="*/ 46768 w 1468659"/>
                <a:gd name="connsiteY850" fmla="*/ 533400 h 1218057"/>
                <a:gd name="connsiteX851" fmla="*/ 43720 w 1468659"/>
                <a:gd name="connsiteY851" fmla="*/ 535400 h 1218057"/>
                <a:gd name="connsiteX852" fmla="*/ 41434 w 1468659"/>
                <a:gd name="connsiteY852" fmla="*/ 542068 h 1218057"/>
                <a:gd name="connsiteX853" fmla="*/ 41624 w 1468659"/>
                <a:gd name="connsiteY853" fmla="*/ 543687 h 1218057"/>
                <a:gd name="connsiteX854" fmla="*/ 40481 w 1468659"/>
                <a:gd name="connsiteY854" fmla="*/ 547021 h 1218057"/>
                <a:gd name="connsiteX855" fmla="*/ 39433 w 1468659"/>
                <a:gd name="connsiteY855" fmla="*/ 551974 h 1218057"/>
                <a:gd name="connsiteX856" fmla="*/ 42863 w 1468659"/>
                <a:gd name="connsiteY856" fmla="*/ 553117 h 1218057"/>
                <a:gd name="connsiteX857" fmla="*/ 44386 w 1468659"/>
                <a:gd name="connsiteY857" fmla="*/ 565785 h 1218057"/>
                <a:gd name="connsiteX858" fmla="*/ 43244 w 1468659"/>
                <a:gd name="connsiteY858" fmla="*/ 569119 h 1218057"/>
                <a:gd name="connsiteX859" fmla="*/ 32385 w 1468659"/>
                <a:gd name="connsiteY859" fmla="*/ 572072 h 1218057"/>
                <a:gd name="connsiteX860" fmla="*/ 32575 w 1468659"/>
                <a:gd name="connsiteY860" fmla="*/ 573691 h 1218057"/>
                <a:gd name="connsiteX861" fmla="*/ 35433 w 1468659"/>
                <a:gd name="connsiteY861" fmla="*/ 582930 h 1218057"/>
                <a:gd name="connsiteX862" fmla="*/ 42481 w 1468659"/>
                <a:gd name="connsiteY862" fmla="*/ 588455 h 1218057"/>
                <a:gd name="connsiteX863" fmla="*/ 44482 w 1468659"/>
                <a:gd name="connsiteY863" fmla="*/ 591407 h 1218057"/>
                <a:gd name="connsiteX864" fmla="*/ 42386 w 1468659"/>
                <a:gd name="connsiteY864" fmla="*/ 599694 h 1218057"/>
                <a:gd name="connsiteX865" fmla="*/ 50292 w 1468659"/>
                <a:gd name="connsiteY865" fmla="*/ 611505 h 1218057"/>
                <a:gd name="connsiteX866" fmla="*/ 51054 w 1468659"/>
                <a:gd name="connsiteY866" fmla="*/ 617792 h 1218057"/>
                <a:gd name="connsiteX867" fmla="*/ 49911 w 1468659"/>
                <a:gd name="connsiteY867" fmla="*/ 621221 h 1218057"/>
                <a:gd name="connsiteX868" fmla="*/ 47720 w 1468659"/>
                <a:gd name="connsiteY868" fmla="*/ 629507 h 1218057"/>
                <a:gd name="connsiteX869" fmla="*/ 34957 w 1468659"/>
                <a:gd name="connsiteY869" fmla="*/ 642366 h 1218057"/>
                <a:gd name="connsiteX870" fmla="*/ 31147 w 1468659"/>
                <a:gd name="connsiteY870" fmla="*/ 637984 h 1218057"/>
                <a:gd name="connsiteX871" fmla="*/ 27813 w 1468659"/>
                <a:gd name="connsiteY871" fmla="*/ 636842 h 1218057"/>
                <a:gd name="connsiteX872" fmla="*/ 25813 w 1468659"/>
                <a:gd name="connsiteY872" fmla="*/ 633889 h 1218057"/>
                <a:gd name="connsiteX873" fmla="*/ 24289 w 1468659"/>
                <a:gd name="connsiteY873" fmla="*/ 634079 h 1218057"/>
                <a:gd name="connsiteX874" fmla="*/ 24670 w 1468659"/>
                <a:gd name="connsiteY874" fmla="*/ 637222 h 1218057"/>
                <a:gd name="connsiteX875" fmla="*/ 15049 w 1468659"/>
                <a:gd name="connsiteY875" fmla="*/ 649700 h 1218057"/>
                <a:gd name="connsiteX876" fmla="*/ 13240 w 1468659"/>
                <a:gd name="connsiteY876" fmla="*/ 661130 h 1218057"/>
                <a:gd name="connsiteX877" fmla="*/ 5048 w 1468659"/>
                <a:gd name="connsiteY877" fmla="*/ 671798 h 1218057"/>
                <a:gd name="connsiteX878" fmla="*/ 7048 w 1468659"/>
                <a:gd name="connsiteY878" fmla="*/ 674751 h 1218057"/>
                <a:gd name="connsiteX879" fmla="*/ 6191 w 1468659"/>
                <a:gd name="connsiteY879" fmla="*/ 681228 h 1218057"/>
                <a:gd name="connsiteX880" fmla="*/ 6858 w 1468659"/>
                <a:gd name="connsiteY880" fmla="*/ 685990 h 1218057"/>
                <a:gd name="connsiteX881" fmla="*/ 1524 w 1468659"/>
                <a:gd name="connsiteY881" fmla="*/ 694658 h 1218057"/>
                <a:gd name="connsiteX882" fmla="*/ 2096 w 1468659"/>
                <a:gd name="connsiteY882" fmla="*/ 699421 h 1218057"/>
                <a:gd name="connsiteX883" fmla="*/ 0 w 1468659"/>
                <a:gd name="connsiteY883" fmla="*/ 707707 h 1218057"/>
                <a:gd name="connsiteX884" fmla="*/ 3905 w 1468659"/>
                <a:gd name="connsiteY884" fmla="*/ 713613 h 1218057"/>
                <a:gd name="connsiteX885" fmla="*/ 10668 w 1468659"/>
                <a:gd name="connsiteY885" fmla="*/ 715994 h 1218057"/>
                <a:gd name="connsiteX886" fmla="*/ 9715 w 1468659"/>
                <a:gd name="connsiteY886" fmla="*/ 720947 h 1218057"/>
                <a:gd name="connsiteX887" fmla="*/ 10668 w 1468659"/>
                <a:gd name="connsiteY887" fmla="*/ 728853 h 1218057"/>
                <a:gd name="connsiteX888" fmla="*/ 15621 w 1468659"/>
                <a:gd name="connsiteY888" fmla="*/ 729805 h 1218057"/>
                <a:gd name="connsiteX889" fmla="*/ 18383 w 1468659"/>
                <a:gd name="connsiteY889" fmla="*/ 726186 h 1218057"/>
                <a:gd name="connsiteX890" fmla="*/ 25527 w 1468659"/>
                <a:gd name="connsiteY890" fmla="*/ 731710 h 1218057"/>
                <a:gd name="connsiteX891" fmla="*/ 28289 w 1468659"/>
                <a:gd name="connsiteY891" fmla="*/ 728186 h 1218057"/>
                <a:gd name="connsiteX892" fmla="*/ 31242 w 1468659"/>
                <a:gd name="connsiteY892" fmla="*/ 726186 h 1218057"/>
                <a:gd name="connsiteX893" fmla="*/ 38957 w 1468659"/>
                <a:gd name="connsiteY893" fmla="*/ 736473 h 1218057"/>
                <a:gd name="connsiteX894" fmla="*/ 36767 w 1468659"/>
                <a:gd name="connsiteY894" fmla="*/ 744760 h 1218057"/>
                <a:gd name="connsiteX895" fmla="*/ 40957 w 1468659"/>
                <a:gd name="connsiteY895" fmla="*/ 752189 h 1218057"/>
                <a:gd name="connsiteX896" fmla="*/ 52006 w 1468659"/>
                <a:gd name="connsiteY896" fmla="*/ 763619 h 1218057"/>
                <a:gd name="connsiteX897" fmla="*/ 51435 w 1468659"/>
                <a:gd name="connsiteY897" fmla="*/ 758952 h 1218057"/>
                <a:gd name="connsiteX898" fmla="*/ 54388 w 1468659"/>
                <a:gd name="connsiteY898" fmla="*/ 756952 h 1218057"/>
                <a:gd name="connsiteX899" fmla="*/ 58483 w 1468659"/>
                <a:gd name="connsiteY899" fmla="*/ 751618 h 1218057"/>
                <a:gd name="connsiteX900" fmla="*/ 64960 w 1468659"/>
                <a:gd name="connsiteY900" fmla="*/ 752380 h 1218057"/>
                <a:gd name="connsiteX901" fmla="*/ 66770 w 1468659"/>
                <a:gd name="connsiteY901" fmla="*/ 753713 h 1218057"/>
                <a:gd name="connsiteX902" fmla="*/ 61055 w 1468659"/>
                <a:gd name="connsiteY902" fmla="*/ 759238 h 1218057"/>
                <a:gd name="connsiteX903" fmla="*/ 59912 w 1468659"/>
                <a:gd name="connsiteY903" fmla="*/ 762667 h 1218057"/>
                <a:gd name="connsiteX904" fmla="*/ 69818 w 1468659"/>
                <a:gd name="connsiteY904" fmla="*/ 777430 h 1218057"/>
                <a:gd name="connsiteX905" fmla="*/ 71247 w 1468659"/>
                <a:gd name="connsiteY905" fmla="*/ 788480 h 1218057"/>
                <a:gd name="connsiteX906" fmla="*/ 72771 w 1468659"/>
                <a:gd name="connsiteY906" fmla="*/ 788289 h 1218057"/>
                <a:gd name="connsiteX907" fmla="*/ 74771 w 1468659"/>
                <a:gd name="connsiteY907" fmla="*/ 791242 h 1218057"/>
                <a:gd name="connsiteX908" fmla="*/ 82486 w 1468659"/>
                <a:gd name="connsiteY908" fmla="*/ 814292 h 1218057"/>
                <a:gd name="connsiteX909" fmla="*/ 87630 w 1468659"/>
                <a:gd name="connsiteY909" fmla="*/ 816864 h 1218057"/>
                <a:gd name="connsiteX910" fmla="*/ 92773 w 1468659"/>
                <a:gd name="connsiteY910" fmla="*/ 819340 h 1218057"/>
                <a:gd name="connsiteX911" fmla="*/ 91630 w 1468659"/>
                <a:gd name="connsiteY911" fmla="*/ 822770 h 1218057"/>
                <a:gd name="connsiteX912" fmla="*/ 94202 w 1468659"/>
                <a:gd name="connsiteY912" fmla="*/ 830389 h 1218057"/>
                <a:gd name="connsiteX913" fmla="*/ 97726 w 1468659"/>
                <a:gd name="connsiteY913" fmla="*/ 833152 h 1218057"/>
                <a:gd name="connsiteX914" fmla="*/ 104108 w 1468659"/>
                <a:gd name="connsiteY914" fmla="*/ 832390 h 1218057"/>
                <a:gd name="connsiteX915" fmla="*/ 105823 w 1468659"/>
                <a:gd name="connsiteY915" fmla="*/ 833723 h 1218057"/>
                <a:gd name="connsiteX916" fmla="*/ 114871 w 1468659"/>
                <a:gd name="connsiteY916" fmla="*/ 829437 h 1218057"/>
                <a:gd name="connsiteX917" fmla="*/ 126778 w 1468659"/>
                <a:gd name="connsiteY917" fmla="*/ 834295 h 1218057"/>
                <a:gd name="connsiteX918" fmla="*/ 132683 w 1468659"/>
                <a:gd name="connsiteY918" fmla="*/ 830294 h 1218057"/>
                <a:gd name="connsiteX919" fmla="*/ 136779 w 1468659"/>
                <a:gd name="connsiteY919" fmla="*/ 824960 h 1218057"/>
                <a:gd name="connsiteX920" fmla="*/ 141922 w 1468659"/>
                <a:gd name="connsiteY920" fmla="*/ 827532 h 1218057"/>
                <a:gd name="connsiteX921" fmla="*/ 142970 w 1468659"/>
                <a:gd name="connsiteY921" fmla="*/ 835438 h 1218057"/>
                <a:gd name="connsiteX922" fmla="*/ 151067 w 1468659"/>
                <a:gd name="connsiteY922" fmla="*/ 848868 h 1218057"/>
                <a:gd name="connsiteX923" fmla="*/ 148685 w 1468659"/>
                <a:gd name="connsiteY923" fmla="*/ 855536 h 1218057"/>
                <a:gd name="connsiteX924" fmla="*/ 160020 w 1468659"/>
                <a:gd name="connsiteY924" fmla="*/ 881348 h 1218057"/>
                <a:gd name="connsiteX925" fmla="*/ 160401 w 1468659"/>
                <a:gd name="connsiteY925" fmla="*/ 884491 h 1218057"/>
                <a:gd name="connsiteX926" fmla="*/ 164401 w 1468659"/>
                <a:gd name="connsiteY926" fmla="*/ 890492 h 1218057"/>
                <a:gd name="connsiteX927" fmla="*/ 170688 w 1468659"/>
                <a:gd name="connsiteY927" fmla="*/ 889635 h 1218057"/>
                <a:gd name="connsiteX928" fmla="*/ 180594 w 1468659"/>
                <a:gd name="connsiteY928" fmla="*/ 891635 h 1218057"/>
                <a:gd name="connsiteX929" fmla="*/ 176594 w 1468659"/>
                <a:gd name="connsiteY929" fmla="*/ 898493 h 1218057"/>
                <a:gd name="connsiteX930" fmla="*/ 183737 w 1468659"/>
                <a:gd name="connsiteY930" fmla="*/ 904018 h 1218057"/>
                <a:gd name="connsiteX931" fmla="*/ 182975 w 1468659"/>
                <a:gd name="connsiteY931" fmla="*/ 910495 h 1218057"/>
                <a:gd name="connsiteX932" fmla="*/ 194881 w 1468659"/>
                <a:gd name="connsiteY932" fmla="*/ 928306 h 1218057"/>
                <a:gd name="connsiteX933" fmla="*/ 190405 w 1468659"/>
                <a:gd name="connsiteY933" fmla="*/ 943261 h 1218057"/>
                <a:gd name="connsiteX934" fmla="*/ 187833 w 1468659"/>
                <a:gd name="connsiteY934" fmla="*/ 948404 h 1218057"/>
                <a:gd name="connsiteX935" fmla="*/ 193357 w 1468659"/>
                <a:gd name="connsiteY935" fmla="*/ 954119 h 1218057"/>
                <a:gd name="connsiteX936" fmla="*/ 208597 w 1468659"/>
                <a:gd name="connsiteY936" fmla="*/ 960215 h 1218057"/>
                <a:gd name="connsiteX937" fmla="*/ 216217 w 1468659"/>
                <a:gd name="connsiteY937" fmla="*/ 957644 h 1218057"/>
                <a:gd name="connsiteX938" fmla="*/ 218408 w 1468659"/>
                <a:gd name="connsiteY938" fmla="*/ 962120 h 1218057"/>
                <a:gd name="connsiteX939" fmla="*/ 224504 w 1468659"/>
                <a:gd name="connsiteY939" fmla="*/ 959739 h 1218057"/>
                <a:gd name="connsiteX940" fmla="*/ 236220 w 1468659"/>
                <a:gd name="connsiteY940" fmla="*/ 963073 h 1218057"/>
                <a:gd name="connsiteX941" fmla="*/ 247079 w 1468659"/>
                <a:gd name="connsiteY941" fmla="*/ 972979 h 1218057"/>
                <a:gd name="connsiteX942" fmla="*/ 253937 w 1468659"/>
                <a:gd name="connsiteY942" fmla="*/ 976884 h 1218057"/>
                <a:gd name="connsiteX943" fmla="*/ 265462 w 1468659"/>
                <a:gd name="connsiteY943" fmla="*/ 991457 h 1218057"/>
                <a:gd name="connsiteX944" fmla="*/ 270986 w 1468659"/>
                <a:gd name="connsiteY944" fmla="*/ 997172 h 1218057"/>
                <a:gd name="connsiteX945" fmla="*/ 271367 w 1468659"/>
                <a:gd name="connsiteY945" fmla="*/ 1000315 h 1218057"/>
                <a:gd name="connsiteX946" fmla="*/ 274796 w 1468659"/>
                <a:gd name="connsiteY946" fmla="*/ 1001458 h 1218057"/>
                <a:gd name="connsiteX947" fmla="*/ 275368 w 1468659"/>
                <a:gd name="connsiteY947" fmla="*/ 1006221 h 1218057"/>
                <a:gd name="connsiteX948" fmla="*/ 286417 w 1468659"/>
                <a:gd name="connsiteY948" fmla="*/ 1017651 h 1218057"/>
                <a:gd name="connsiteX949" fmla="*/ 289560 w 1468659"/>
                <a:gd name="connsiteY949" fmla="*/ 1017270 h 1218057"/>
                <a:gd name="connsiteX950" fmla="*/ 293180 w 1468659"/>
                <a:gd name="connsiteY950" fmla="*/ 1019937 h 1218057"/>
                <a:gd name="connsiteX951" fmla="*/ 297275 w 1468659"/>
                <a:gd name="connsiteY951" fmla="*/ 1027462 h 1218057"/>
                <a:gd name="connsiteX952" fmla="*/ 306991 w 1468659"/>
                <a:gd name="connsiteY952" fmla="*/ 1027843 h 1218057"/>
                <a:gd name="connsiteX953" fmla="*/ 312515 w 1468659"/>
                <a:gd name="connsiteY953" fmla="*/ 1033558 h 1218057"/>
                <a:gd name="connsiteX954" fmla="*/ 317278 w 1468659"/>
                <a:gd name="connsiteY954" fmla="*/ 1032986 h 1218057"/>
                <a:gd name="connsiteX955" fmla="*/ 330327 w 1468659"/>
                <a:gd name="connsiteY955" fmla="*/ 1034510 h 1218057"/>
                <a:gd name="connsiteX956" fmla="*/ 333851 w 1468659"/>
                <a:gd name="connsiteY956" fmla="*/ 1037272 h 1218057"/>
                <a:gd name="connsiteX957" fmla="*/ 334804 w 1468659"/>
                <a:gd name="connsiteY957" fmla="*/ 1045178 h 1218057"/>
                <a:gd name="connsiteX958" fmla="*/ 336423 w 1468659"/>
                <a:gd name="connsiteY958" fmla="*/ 1044988 h 1218057"/>
                <a:gd name="connsiteX959" fmla="*/ 333851 w 1468659"/>
                <a:gd name="connsiteY959" fmla="*/ 1050036 h 1218057"/>
                <a:gd name="connsiteX960" fmla="*/ 340138 w 1468659"/>
                <a:gd name="connsiteY960" fmla="*/ 1049274 h 1218057"/>
                <a:gd name="connsiteX961" fmla="*/ 338995 w 1468659"/>
                <a:gd name="connsiteY961" fmla="*/ 1052608 h 1218057"/>
                <a:gd name="connsiteX962" fmla="*/ 344329 w 1468659"/>
                <a:gd name="connsiteY962" fmla="*/ 1056799 h 1218057"/>
                <a:gd name="connsiteX963" fmla="*/ 346520 w 1468659"/>
                <a:gd name="connsiteY963" fmla="*/ 1061275 h 1218057"/>
                <a:gd name="connsiteX964" fmla="*/ 344900 w 1468659"/>
                <a:gd name="connsiteY964" fmla="*/ 1061466 h 1218057"/>
                <a:gd name="connsiteX965" fmla="*/ 343567 w 1468659"/>
                <a:gd name="connsiteY965" fmla="*/ 1063276 h 1218057"/>
                <a:gd name="connsiteX966" fmla="*/ 350710 w 1468659"/>
                <a:gd name="connsiteY966" fmla="*/ 1068800 h 1218057"/>
                <a:gd name="connsiteX967" fmla="*/ 351092 w 1468659"/>
                <a:gd name="connsiteY967" fmla="*/ 1071944 h 1218057"/>
                <a:gd name="connsiteX968" fmla="*/ 354425 w 1468659"/>
                <a:gd name="connsiteY968" fmla="*/ 1073087 h 1218057"/>
                <a:gd name="connsiteX969" fmla="*/ 358997 w 1468659"/>
                <a:gd name="connsiteY969" fmla="*/ 1070896 h 1218057"/>
                <a:gd name="connsiteX970" fmla="*/ 365855 w 1468659"/>
                <a:gd name="connsiteY970" fmla="*/ 1074896 h 1218057"/>
                <a:gd name="connsiteX971" fmla="*/ 369284 w 1468659"/>
                <a:gd name="connsiteY971" fmla="*/ 1076039 h 1218057"/>
                <a:gd name="connsiteX972" fmla="*/ 368903 w 1468659"/>
                <a:gd name="connsiteY972" fmla="*/ 1085659 h 1218057"/>
                <a:gd name="connsiteX973" fmla="*/ 368141 w 1468659"/>
                <a:gd name="connsiteY973" fmla="*/ 1092232 h 1218057"/>
                <a:gd name="connsiteX974" fmla="*/ 364141 w 1468659"/>
                <a:gd name="connsiteY974" fmla="*/ 1099185 h 1218057"/>
                <a:gd name="connsiteX975" fmla="*/ 355663 w 1468659"/>
                <a:gd name="connsiteY975" fmla="*/ 1095375 h 1218057"/>
                <a:gd name="connsiteX976" fmla="*/ 343281 w 1468659"/>
                <a:gd name="connsiteY976" fmla="*/ 1098614 h 1218057"/>
                <a:gd name="connsiteX977" fmla="*/ 342709 w 1468659"/>
                <a:gd name="connsiteY977" fmla="*/ 1106710 h 1218057"/>
                <a:gd name="connsiteX978" fmla="*/ 338138 w 1468659"/>
                <a:gd name="connsiteY978" fmla="*/ 1108900 h 1218057"/>
                <a:gd name="connsiteX979" fmla="*/ 335375 w 1468659"/>
                <a:gd name="connsiteY979" fmla="*/ 1112425 h 1218057"/>
                <a:gd name="connsiteX980" fmla="*/ 333851 w 1468659"/>
                <a:gd name="connsiteY980" fmla="*/ 1112615 h 1218057"/>
                <a:gd name="connsiteX981" fmla="*/ 342900 w 1468659"/>
                <a:gd name="connsiteY981" fmla="*/ 1121092 h 1218057"/>
                <a:gd name="connsiteX982" fmla="*/ 343091 w 1468659"/>
                <a:gd name="connsiteY982" fmla="*/ 1122712 h 1218057"/>
                <a:gd name="connsiteX983" fmla="*/ 348425 w 1468659"/>
                <a:gd name="connsiteY983" fmla="*/ 1126807 h 1218057"/>
                <a:gd name="connsiteX984" fmla="*/ 347091 w 1468659"/>
                <a:gd name="connsiteY984" fmla="*/ 1128617 h 1218057"/>
                <a:gd name="connsiteX985" fmla="*/ 356521 w 1468659"/>
                <a:gd name="connsiteY985" fmla="*/ 1127379 h 1218057"/>
                <a:gd name="connsiteX986" fmla="*/ 359950 w 1468659"/>
                <a:gd name="connsiteY986" fmla="*/ 1128522 h 1218057"/>
                <a:gd name="connsiteX987" fmla="*/ 359569 w 1468659"/>
                <a:gd name="connsiteY987" fmla="*/ 1138238 h 1218057"/>
                <a:gd name="connsiteX988" fmla="*/ 354806 w 1468659"/>
                <a:gd name="connsiteY988" fmla="*/ 1138809 h 1218057"/>
                <a:gd name="connsiteX989" fmla="*/ 356806 w 1468659"/>
                <a:gd name="connsiteY989" fmla="*/ 1141762 h 1218057"/>
                <a:gd name="connsiteX990" fmla="*/ 355568 w 1468659"/>
                <a:gd name="connsiteY990" fmla="*/ 1145096 h 1218057"/>
                <a:gd name="connsiteX991" fmla="*/ 362331 w 1468659"/>
                <a:gd name="connsiteY991" fmla="*/ 1147477 h 1218057"/>
                <a:gd name="connsiteX992" fmla="*/ 362712 w 1468659"/>
                <a:gd name="connsiteY992" fmla="*/ 1150620 h 1218057"/>
                <a:gd name="connsiteX993" fmla="*/ 364903 w 1468659"/>
                <a:gd name="connsiteY993" fmla="*/ 1155192 h 1218057"/>
                <a:gd name="connsiteX994" fmla="*/ 370808 w 1468659"/>
                <a:gd name="connsiteY994" fmla="*/ 1151191 h 1218057"/>
                <a:gd name="connsiteX995" fmla="*/ 375761 w 1468659"/>
                <a:gd name="connsiteY995" fmla="*/ 1152239 h 1218057"/>
                <a:gd name="connsiteX996" fmla="*/ 373189 w 1468659"/>
                <a:gd name="connsiteY996" fmla="*/ 1157288 h 1218057"/>
                <a:gd name="connsiteX997" fmla="*/ 374237 w 1468659"/>
                <a:gd name="connsiteY997" fmla="*/ 1165193 h 1218057"/>
                <a:gd name="connsiteX998" fmla="*/ 375761 w 1468659"/>
                <a:gd name="connsiteY998" fmla="*/ 1165003 h 1218057"/>
                <a:gd name="connsiteX999" fmla="*/ 378333 w 1468659"/>
                <a:gd name="connsiteY999" fmla="*/ 1159859 h 1218057"/>
                <a:gd name="connsiteX1000" fmla="*/ 394525 w 1468659"/>
                <a:gd name="connsiteY1000" fmla="*/ 1161002 h 1218057"/>
                <a:gd name="connsiteX1001" fmla="*/ 394525 w 1468659"/>
                <a:gd name="connsiteY1001" fmla="*/ 1161002 h 1218057"/>
                <a:gd name="connsiteX1002" fmla="*/ 396335 w 1468659"/>
                <a:gd name="connsiteY1002" fmla="*/ 1162431 h 1218057"/>
                <a:gd name="connsiteX1003" fmla="*/ 393954 w 1468659"/>
                <a:gd name="connsiteY1003" fmla="*/ 1169098 h 1218057"/>
                <a:gd name="connsiteX1004" fmla="*/ 400812 w 1468659"/>
                <a:gd name="connsiteY1004" fmla="*/ 1173004 h 1218057"/>
                <a:gd name="connsiteX1005" fmla="*/ 410337 w 1468659"/>
                <a:gd name="connsiteY1005" fmla="*/ 1171861 h 1218057"/>
                <a:gd name="connsiteX1006" fmla="*/ 420529 w 1468659"/>
                <a:gd name="connsiteY1006" fmla="*/ 1164146 h 1218057"/>
                <a:gd name="connsiteX1007" fmla="*/ 429101 w 1468659"/>
                <a:gd name="connsiteY1007" fmla="*/ 1167860 h 1218057"/>
                <a:gd name="connsiteX1008" fmla="*/ 435197 w 1468659"/>
                <a:gd name="connsiteY1008" fmla="*/ 1165479 h 1218057"/>
                <a:gd name="connsiteX1009" fmla="*/ 440531 w 1468659"/>
                <a:gd name="connsiteY1009" fmla="*/ 1169575 h 1218057"/>
                <a:gd name="connsiteX1010" fmla="*/ 442055 w 1468659"/>
                <a:gd name="connsiteY1010" fmla="*/ 1169384 h 1218057"/>
                <a:gd name="connsiteX1011" fmla="*/ 442722 w 1468659"/>
                <a:gd name="connsiteY1011" fmla="*/ 1174147 h 1218057"/>
                <a:gd name="connsiteX1012" fmla="*/ 451961 w 1468659"/>
                <a:gd name="connsiteY1012" fmla="*/ 1171384 h 1218057"/>
                <a:gd name="connsiteX1013" fmla="*/ 453580 w 1468659"/>
                <a:gd name="connsiteY1013" fmla="*/ 1171099 h 1218057"/>
                <a:gd name="connsiteX1014" fmla="*/ 453295 w 1468659"/>
                <a:gd name="connsiteY1014" fmla="*/ 1169575 h 1218057"/>
                <a:gd name="connsiteX1015" fmla="*/ 456533 w 1468659"/>
                <a:gd name="connsiteY1015" fmla="*/ 1169194 h 1218057"/>
                <a:gd name="connsiteX1016" fmla="*/ 459867 w 1468659"/>
                <a:gd name="connsiteY1016" fmla="*/ 1170337 h 1218057"/>
                <a:gd name="connsiteX1017" fmla="*/ 466344 w 1468659"/>
                <a:gd name="connsiteY1017" fmla="*/ 1171099 h 1218057"/>
                <a:gd name="connsiteX1018" fmla="*/ 479965 w 1468659"/>
                <a:gd name="connsiteY1018" fmla="*/ 1177385 h 1218057"/>
                <a:gd name="connsiteX1019" fmla="*/ 488251 w 1468659"/>
                <a:gd name="connsiteY1019" fmla="*/ 1179576 h 1218057"/>
                <a:gd name="connsiteX1020" fmla="*/ 496824 w 1468659"/>
                <a:gd name="connsiteY1020" fmla="*/ 1183291 h 1218057"/>
                <a:gd name="connsiteX1021" fmla="*/ 497396 w 1468659"/>
                <a:gd name="connsiteY1021" fmla="*/ 1188053 h 1218057"/>
                <a:gd name="connsiteX1022" fmla="*/ 511207 w 1468659"/>
                <a:gd name="connsiteY1022" fmla="*/ 1183005 h 1218057"/>
                <a:gd name="connsiteX1023" fmla="*/ 521017 w 1468659"/>
                <a:gd name="connsiteY1023" fmla="*/ 1185005 h 1218057"/>
                <a:gd name="connsiteX1024" fmla="*/ 527018 w 1468659"/>
                <a:gd name="connsiteY1024" fmla="*/ 1193864 h 1218057"/>
                <a:gd name="connsiteX1025" fmla="*/ 549307 w 1468659"/>
                <a:gd name="connsiteY1025" fmla="*/ 1205484 h 1218057"/>
                <a:gd name="connsiteX1026" fmla="*/ 555879 w 1468659"/>
                <a:gd name="connsiteY1026" fmla="*/ 1206246 h 1218057"/>
                <a:gd name="connsiteX1027" fmla="*/ 558832 w 1468659"/>
                <a:gd name="connsiteY1027" fmla="*/ 1204246 h 1218057"/>
                <a:gd name="connsiteX1028" fmla="*/ 560165 w 1468659"/>
                <a:gd name="connsiteY1028" fmla="*/ 1215295 h 1218057"/>
                <a:gd name="connsiteX1029" fmla="*/ 563785 w 1468659"/>
                <a:gd name="connsiteY1029" fmla="*/ 1218057 h 1218057"/>
                <a:gd name="connsiteX1030" fmla="*/ 571405 w 1468659"/>
                <a:gd name="connsiteY1030" fmla="*/ 1215485 h 1218057"/>
                <a:gd name="connsiteX1031" fmla="*/ 573786 w 1468659"/>
                <a:gd name="connsiteY1031" fmla="*/ 1208723 h 1218057"/>
                <a:gd name="connsiteX1032" fmla="*/ 579882 w 1468659"/>
                <a:gd name="connsiteY1032" fmla="*/ 1206341 h 1218057"/>
                <a:gd name="connsiteX1033" fmla="*/ 579120 w 1468659"/>
                <a:gd name="connsiteY1033" fmla="*/ 1200055 h 1218057"/>
                <a:gd name="connsiteX1034" fmla="*/ 583025 w 1468659"/>
                <a:gd name="connsiteY1034" fmla="*/ 1193102 h 1218057"/>
                <a:gd name="connsiteX1035" fmla="*/ 589312 w 1468659"/>
                <a:gd name="connsiteY1035" fmla="*/ 1192339 h 1218057"/>
                <a:gd name="connsiteX1036" fmla="*/ 591693 w 1468659"/>
                <a:gd name="connsiteY1036" fmla="*/ 1198436 h 1218057"/>
                <a:gd name="connsiteX1037" fmla="*/ 595122 w 1468659"/>
                <a:gd name="connsiteY1037" fmla="*/ 1199579 h 1218057"/>
                <a:gd name="connsiteX1038" fmla="*/ 599789 w 1468659"/>
                <a:gd name="connsiteY1038" fmla="*/ 1199007 h 1218057"/>
                <a:gd name="connsiteX1039" fmla="*/ 604361 w 1468659"/>
                <a:gd name="connsiteY1039" fmla="*/ 1196816 h 1218057"/>
                <a:gd name="connsiteX1040" fmla="*/ 608267 w 1468659"/>
                <a:gd name="connsiteY1040" fmla="*/ 1189958 h 1218057"/>
                <a:gd name="connsiteX1041" fmla="*/ 606076 w 1468659"/>
                <a:gd name="connsiteY1041" fmla="*/ 1185386 h 1218057"/>
                <a:gd name="connsiteX1042" fmla="*/ 604076 w 1468659"/>
                <a:gd name="connsiteY1042" fmla="*/ 1182433 h 1218057"/>
                <a:gd name="connsiteX1043" fmla="*/ 602933 w 1468659"/>
                <a:gd name="connsiteY1043" fmla="*/ 1173004 h 1218057"/>
                <a:gd name="connsiteX1044" fmla="*/ 605885 w 1468659"/>
                <a:gd name="connsiteY1044" fmla="*/ 1171004 h 1218057"/>
                <a:gd name="connsiteX1045" fmla="*/ 609409 w 1468659"/>
                <a:gd name="connsiteY1045" fmla="*/ 1173766 h 1218057"/>
                <a:gd name="connsiteX1046" fmla="*/ 615696 w 1468659"/>
                <a:gd name="connsiteY1046" fmla="*/ 1172908 h 1218057"/>
                <a:gd name="connsiteX1047" fmla="*/ 617315 w 1468659"/>
                <a:gd name="connsiteY1047" fmla="*/ 1172718 h 1218057"/>
                <a:gd name="connsiteX1048" fmla="*/ 623792 w 1468659"/>
                <a:gd name="connsiteY1048" fmla="*/ 1173480 h 1218057"/>
                <a:gd name="connsiteX1049" fmla="*/ 630746 w 1468659"/>
                <a:gd name="connsiteY1049" fmla="*/ 1177481 h 1218057"/>
                <a:gd name="connsiteX1050" fmla="*/ 635698 w 1468659"/>
                <a:gd name="connsiteY1050" fmla="*/ 1178433 h 1218057"/>
                <a:gd name="connsiteX1051" fmla="*/ 637604 w 1468659"/>
                <a:gd name="connsiteY1051" fmla="*/ 1168527 h 1218057"/>
                <a:gd name="connsiteX1052" fmla="*/ 643509 w 1468659"/>
                <a:gd name="connsiteY1052" fmla="*/ 1164527 h 1218057"/>
                <a:gd name="connsiteX1053" fmla="*/ 644271 w 1468659"/>
                <a:gd name="connsiteY1053" fmla="*/ 1158049 h 1218057"/>
                <a:gd name="connsiteX1054" fmla="*/ 648081 w 1468659"/>
                <a:gd name="connsiteY1054" fmla="*/ 1149572 h 1218057"/>
                <a:gd name="connsiteX1055" fmla="*/ 647033 w 1468659"/>
                <a:gd name="connsiteY1055" fmla="*/ 1141666 h 1218057"/>
                <a:gd name="connsiteX1056" fmla="*/ 651129 w 1468659"/>
                <a:gd name="connsiteY1056" fmla="*/ 1136332 h 1218057"/>
                <a:gd name="connsiteX1057" fmla="*/ 654558 w 1468659"/>
                <a:gd name="connsiteY1057" fmla="*/ 1137475 h 1218057"/>
                <a:gd name="connsiteX1058" fmla="*/ 651701 w 1468659"/>
                <a:gd name="connsiteY1058" fmla="*/ 1128236 h 1218057"/>
                <a:gd name="connsiteX1059" fmla="*/ 644462 w 1468659"/>
                <a:gd name="connsiteY1059" fmla="*/ 1121188 h 1218057"/>
                <a:gd name="connsiteX1060" fmla="*/ 643604 w 1468659"/>
                <a:gd name="connsiteY1060" fmla="*/ 1114806 h 1218057"/>
                <a:gd name="connsiteX1061" fmla="*/ 651510 w 1468659"/>
                <a:gd name="connsiteY1061" fmla="*/ 1113854 h 1218057"/>
                <a:gd name="connsiteX1062" fmla="*/ 654844 w 1468659"/>
                <a:gd name="connsiteY1062" fmla="*/ 1114997 h 1218057"/>
                <a:gd name="connsiteX1063" fmla="*/ 662559 w 1468659"/>
                <a:gd name="connsiteY1063" fmla="*/ 1112425 h 1218057"/>
                <a:gd name="connsiteX1064" fmla="*/ 662368 w 1468659"/>
                <a:gd name="connsiteY1064" fmla="*/ 1110901 h 1218057"/>
                <a:gd name="connsiteX1065" fmla="*/ 664559 w 1468659"/>
                <a:gd name="connsiteY1065" fmla="*/ 1115378 h 1218057"/>
                <a:gd name="connsiteX1066" fmla="*/ 668084 w 1468659"/>
                <a:gd name="connsiteY1066" fmla="*/ 1118140 h 1218057"/>
                <a:gd name="connsiteX1067" fmla="*/ 666559 w 1468659"/>
                <a:gd name="connsiteY1067" fmla="*/ 1118330 h 1218057"/>
                <a:gd name="connsiteX1068" fmla="*/ 666750 w 1468659"/>
                <a:gd name="connsiteY1068" fmla="*/ 1119949 h 1218057"/>
                <a:gd name="connsiteX1069" fmla="*/ 672275 w 1468659"/>
                <a:gd name="connsiteY1069" fmla="*/ 1125664 h 1218057"/>
                <a:gd name="connsiteX1070" fmla="*/ 679133 w 1468659"/>
                <a:gd name="connsiteY1070" fmla="*/ 1129570 h 1218057"/>
                <a:gd name="connsiteX1071" fmla="*/ 681514 w 1468659"/>
                <a:gd name="connsiteY1071" fmla="*/ 1135666 h 1218057"/>
                <a:gd name="connsiteX1072" fmla="*/ 680371 w 1468659"/>
                <a:gd name="connsiteY1072" fmla="*/ 1138999 h 1218057"/>
                <a:gd name="connsiteX1073" fmla="*/ 683895 w 1468659"/>
                <a:gd name="connsiteY1073" fmla="*/ 1141762 h 1218057"/>
                <a:gd name="connsiteX1074" fmla="*/ 687896 w 1468659"/>
                <a:gd name="connsiteY1074" fmla="*/ 1147667 h 1218057"/>
                <a:gd name="connsiteX1075" fmla="*/ 692277 w 1468659"/>
                <a:gd name="connsiteY1075" fmla="*/ 1143953 h 1218057"/>
                <a:gd name="connsiteX1076" fmla="*/ 698563 w 1468659"/>
                <a:gd name="connsiteY1076" fmla="*/ 1143095 h 1218057"/>
                <a:gd name="connsiteX1077" fmla="*/ 704088 w 1468659"/>
                <a:gd name="connsiteY1077" fmla="*/ 1148810 h 1218057"/>
                <a:gd name="connsiteX1078" fmla="*/ 718661 w 1468659"/>
                <a:gd name="connsiteY1078" fmla="*/ 1150144 h 1218057"/>
                <a:gd name="connsiteX1079" fmla="*/ 720662 w 1468659"/>
                <a:gd name="connsiteY1079" fmla="*/ 1153097 h 1218057"/>
                <a:gd name="connsiteX1080" fmla="*/ 723043 w 1468659"/>
                <a:gd name="connsiteY1080" fmla="*/ 1159288 h 1218057"/>
                <a:gd name="connsiteX1081" fmla="*/ 728377 w 1468659"/>
                <a:gd name="connsiteY1081" fmla="*/ 1163383 h 1218057"/>
                <a:gd name="connsiteX1082" fmla="*/ 731330 w 1468659"/>
                <a:gd name="connsiteY1082" fmla="*/ 1161383 h 1218057"/>
                <a:gd name="connsiteX1083" fmla="*/ 730758 w 1468659"/>
                <a:gd name="connsiteY1083" fmla="*/ 1156716 h 1218057"/>
                <a:gd name="connsiteX1084" fmla="*/ 733901 w 1468659"/>
                <a:gd name="connsiteY1084" fmla="*/ 1156240 h 1218057"/>
                <a:gd name="connsiteX1085" fmla="*/ 736854 w 1468659"/>
                <a:gd name="connsiteY1085" fmla="*/ 1154335 h 1218057"/>
                <a:gd name="connsiteX1086" fmla="*/ 739997 w 1468659"/>
                <a:gd name="connsiteY1086" fmla="*/ 1153858 h 1218057"/>
                <a:gd name="connsiteX1087" fmla="*/ 744093 w 1468659"/>
                <a:gd name="connsiteY1087" fmla="*/ 1148524 h 1218057"/>
                <a:gd name="connsiteX1088" fmla="*/ 750475 w 1468659"/>
                <a:gd name="connsiteY1088" fmla="*/ 1147763 h 1218057"/>
                <a:gd name="connsiteX1089" fmla="*/ 755713 w 1468659"/>
                <a:gd name="connsiteY1089" fmla="*/ 1139095 h 1218057"/>
                <a:gd name="connsiteX1090" fmla="*/ 758476 w 1468659"/>
                <a:gd name="connsiteY1090" fmla="*/ 1135475 h 1218057"/>
                <a:gd name="connsiteX1091" fmla="*/ 764858 w 1468659"/>
                <a:gd name="connsiteY1091" fmla="*/ 1134713 h 1218057"/>
                <a:gd name="connsiteX1092" fmla="*/ 769144 w 1468659"/>
                <a:gd name="connsiteY1092" fmla="*/ 1143762 h 1218057"/>
                <a:gd name="connsiteX1093" fmla="*/ 772954 w 1468659"/>
                <a:gd name="connsiteY1093" fmla="*/ 1160907 h 1218057"/>
                <a:gd name="connsiteX1094" fmla="*/ 776383 w 1468659"/>
                <a:gd name="connsiteY1094" fmla="*/ 1162050 h 1218057"/>
                <a:gd name="connsiteX1095" fmla="*/ 779717 w 1468659"/>
                <a:gd name="connsiteY1095" fmla="*/ 1163288 h 1218057"/>
                <a:gd name="connsiteX1096" fmla="*/ 790099 w 1468659"/>
                <a:gd name="connsiteY1096" fmla="*/ 1157097 h 1218057"/>
                <a:gd name="connsiteX1097" fmla="*/ 796671 w 1468659"/>
                <a:gd name="connsiteY1097" fmla="*/ 1170718 h 1218057"/>
                <a:gd name="connsiteX1098" fmla="*/ 802291 w 1468659"/>
                <a:gd name="connsiteY1098" fmla="*/ 1189291 h 1218057"/>
                <a:gd name="connsiteX1099" fmla="*/ 816483 w 1468659"/>
                <a:gd name="connsiteY1099" fmla="*/ 1187482 h 1218057"/>
                <a:gd name="connsiteX1100" fmla="*/ 820769 w 1468659"/>
                <a:gd name="connsiteY1100" fmla="*/ 1183672 h 1218057"/>
                <a:gd name="connsiteX1101" fmla="*/ 821150 w 1468659"/>
                <a:gd name="connsiteY1101" fmla="*/ 1186815 h 1218057"/>
                <a:gd name="connsiteX1102" fmla="*/ 824103 w 1468659"/>
                <a:gd name="connsiteY1102" fmla="*/ 1184910 h 1218057"/>
                <a:gd name="connsiteX1103" fmla="*/ 829437 w 1468659"/>
                <a:gd name="connsiteY1103" fmla="*/ 1189006 h 1218057"/>
                <a:gd name="connsiteX1104" fmla="*/ 833628 w 1468659"/>
                <a:gd name="connsiteY1104" fmla="*/ 1183672 h 1218057"/>
                <a:gd name="connsiteX1105" fmla="*/ 832771 w 1468659"/>
                <a:gd name="connsiteY1105" fmla="*/ 1177385 h 1218057"/>
                <a:gd name="connsiteX1106" fmla="*/ 837343 w 1468659"/>
                <a:gd name="connsiteY1106" fmla="*/ 1175195 h 1218057"/>
                <a:gd name="connsiteX1107" fmla="*/ 836962 w 1468659"/>
                <a:gd name="connsiteY1107" fmla="*/ 1172051 h 1218057"/>
                <a:gd name="connsiteX1108" fmla="*/ 844201 w 1468659"/>
                <a:gd name="connsiteY1108" fmla="*/ 1166241 h 1218057"/>
                <a:gd name="connsiteX1109" fmla="*/ 838676 w 1468659"/>
                <a:gd name="connsiteY1109" fmla="*/ 1147763 h 1218057"/>
                <a:gd name="connsiteX1110" fmla="*/ 845058 w 1468659"/>
                <a:gd name="connsiteY1110" fmla="*/ 1122902 h 1218057"/>
                <a:gd name="connsiteX1111" fmla="*/ 843534 w 1468659"/>
                <a:gd name="connsiteY1111" fmla="*/ 1123093 h 1218057"/>
                <a:gd name="connsiteX1112" fmla="*/ 841915 w 1468659"/>
                <a:gd name="connsiteY1112" fmla="*/ 1110424 h 1218057"/>
                <a:gd name="connsiteX1113" fmla="*/ 837152 w 1468659"/>
                <a:gd name="connsiteY1113" fmla="*/ 1110996 h 1218057"/>
                <a:gd name="connsiteX1114" fmla="*/ 844582 w 1468659"/>
                <a:gd name="connsiteY1114" fmla="*/ 1081183 h 1218057"/>
                <a:gd name="connsiteX1115" fmla="*/ 847344 w 1468659"/>
                <a:gd name="connsiteY1115" fmla="*/ 1077658 h 1218057"/>
                <a:gd name="connsiteX1116" fmla="*/ 847725 w 1468659"/>
                <a:gd name="connsiteY1116" fmla="*/ 1068038 h 1218057"/>
                <a:gd name="connsiteX1117" fmla="*/ 854202 w 1468659"/>
                <a:gd name="connsiteY1117" fmla="*/ 1055941 h 1218057"/>
                <a:gd name="connsiteX1118" fmla="*/ 856964 w 1468659"/>
                <a:gd name="connsiteY1118" fmla="*/ 1052417 h 1218057"/>
                <a:gd name="connsiteX1119" fmla="*/ 867823 w 1468659"/>
                <a:gd name="connsiteY1119" fmla="*/ 1049369 h 1218057"/>
                <a:gd name="connsiteX1120" fmla="*/ 870204 w 1468659"/>
                <a:gd name="connsiteY1120" fmla="*/ 1042702 h 1218057"/>
                <a:gd name="connsiteX1121" fmla="*/ 881253 w 1468659"/>
                <a:gd name="connsiteY1121" fmla="*/ 1041273 h 1218057"/>
                <a:gd name="connsiteX1122" fmla="*/ 889921 w 1468659"/>
                <a:gd name="connsiteY1122" fmla="*/ 1033748 h 1218057"/>
                <a:gd name="connsiteX1123" fmla="*/ 890873 w 1468659"/>
                <a:gd name="connsiteY1123" fmla="*/ 1028795 h 1218057"/>
                <a:gd name="connsiteX1124" fmla="*/ 893635 w 1468659"/>
                <a:gd name="connsiteY1124" fmla="*/ 1025271 h 1218057"/>
                <a:gd name="connsiteX1125" fmla="*/ 894588 w 1468659"/>
                <a:gd name="connsiteY1125" fmla="*/ 1020318 h 1218057"/>
                <a:gd name="connsiteX1126" fmla="*/ 899160 w 1468659"/>
                <a:gd name="connsiteY1126" fmla="*/ 1018127 h 1218057"/>
                <a:gd name="connsiteX1127" fmla="*/ 898874 w 1468659"/>
                <a:gd name="connsiteY1127" fmla="*/ 1016603 h 1218057"/>
                <a:gd name="connsiteX1128" fmla="*/ 900684 w 1468659"/>
                <a:gd name="connsiteY1128" fmla="*/ 1017937 h 1218057"/>
                <a:gd name="connsiteX1129" fmla="*/ 905256 w 1468659"/>
                <a:gd name="connsiteY1129" fmla="*/ 1015746 h 1218057"/>
                <a:gd name="connsiteX1130" fmla="*/ 900113 w 1468659"/>
                <a:gd name="connsiteY1130" fmla="*/ 1000411 h 1218057"/>
                <a:gd name="connsiteX1131" fmla="*/ 907733 w 1468659"/>
                <a:gd name="connsiteY1131" fmla="*/ 984980 h 1218057"/>
                <a:gd name="connsiteX1132" fmla="*/ 906875 w 1468659"/>
                <a:gd name="connsiteY1132" fmla="*/ 978694 h 1218057"/>
                <a:gd name="connsiteX1133" fmla="*/ 904494 w 1468659"/>
                <a:gd name="connsiteY1133" fmla="*/ 972598 h 1218057"/>
                <a:gd name="connsiteX1134" fmla="*/ 905923 w 1468659"/>
                <a:gd name="connsiteY1134" fmla="*/ 970788 h 1218057"/>
                <a:gd name="connsiteX1135" fmla="*/ 905066 w 1468659"/>
                <a:gd name="connsiteY1135" fmla="*/ 964502 h 1218057"/>
                <a:gd name="connsiteX1136" fmla="*/ 912781 w 1468659"/>
                <a:gd name="connsiteY1136" fmla="*/ 961834 h 1218057"/>
                <a:gd name="connsiteX1137" fmla="*/ 915734 w 1468659"/>
                <a:gd name="connsiteY1137" fmla="*/ 959930 h 1218057"/>
                <a:gd name="connsiteX1138" fmla="*/ 920877 w 1468659"/>
                <a:gd name="connsiteY1138" fmla="*/ 962406 h 1218057"/>
                <a:gd name="connsiteX1139" fmla="*/ 927163 w 1468659"/>
                <a:gd name="connsiteY1139" fmla="*/ 961644 h 1218057"/>
                <a:gd name="connsiteX1140" fmla="*/ 929926 w 1468659"/>
                <a:gd name="connsiteY1140" fmla="*/ 958120 h 1218057"/>
                <a:gd name="connsiteX1141" fmla="*/ 932307 w 1468659"/>
                <a:gd name="connsiteY1141" fmla="*/ 964216 h 1218057"/>
                <a:gd name="connsiteX1142" fmla="*/ 932307 w 1468659"/>
                <a:gd name="connsiteY1142" fmla="*/ 964216 h 1218057"/>
                <a:gd name="connsiteX1143" fmla="*/ 933736 w 1468659"/>
                <a:gd name="connsiteY1143" fmla="*/ 962406 h 1218057"/>
                <a:gd name="connsiteX1144" fmla="*/ 935736 w 1468659"/>
                <a:gd name="connsiteY1144" fmla="*/ 965359 h 1218057"/>
                <a:gd name="connsiteX1145" fmla="*/ 939260 w 1468659"/>
                <a:gd name="connsiteY1145" fmla="*/ 968121 h 1218057"/>
                <a:gd name="connsiteX1146" fmla="*/ 940594 w 1468659"/>
                <a:gd name="connsiteY1146" fmla="*/ 966311 h 1218057"/>
                <a:gd name="connsiteX1147" fmla="*/ 944023 w 1468659"/>
                <a:gd name="connsiteY1147" fmla="*/ 967549 h 1218057"/>
                <a:gd name="connsiteX1148" fmla="*/ 948118 w 1468659"/>
                <a:gd name="connsiteY1148" fmla="*/ 962215 h 1218057"/>
                <a:gd name="connsiteX1149" fmla="*/ 953072 w 1468659"/>
                <a:gd name="connsiteY1149" fmla="*/ 963168 h 1218057"/>
                <a:gd name="connsiteX1150" fmla="*/ 959930 w 1468659"/>
                <a:gd name="connsiteY1150" fmla="*/ 967073 h 1218057"/>
                <a:gd name="connsiteX1151" fmla="*/ 958977 w 1468659"/>
                <a:gd name="connsiteY1151" fmla="*/ 972026 h 1218057"/>
                <a:gd name="connsiteX1152" fmla="*/ 960787 w 1468659"/>
                <a:gd name="connsiteY1152" fmla="*/ 973455 h 1218057"/>
                <a:gd name="connsiteX1153" fmla="*/ 968693 w 1468659"/>
                <a:gd name="connsiteY1153" fmla="*/ 972407 h 1218057"/>
                <a:gd name="connsiteX1154" fmla="*/ 972217 w 1468659"/>
                <a:gd name="connsiteY1154" fmla="*/ 975170 h 1218057"/>
                <a:gd name="connsiteX1155" fmla="*/ 977360 w 1468659"/>
                <a:gd name="connsiteY1155" fmla="*/ 977741 h 1218057"/>
                <a:gd name="connsiteX1156" fmla="*/ 981932 w 1468659"/>
                <a:gd name="connsiteY1156" fmla="*/ 975550 h 1218057"/>
                <a:gd name="connsiteX1157" fmla="*/ 988790 w 1468659"/>
                <a:gd name="connsiteY1157" fmla="*/ 979456 h 1218057"/>
                <a:gd name="connsiteX1158" fmla="*/ 993743 w 1468659"/>
                <a:gd name="connsiteY1158" fmla="*/ 980408 h 1218057"/>
                <a:gd name="connsiteX1159" fmla="*/ 997458 w 1468659"/>
                <a:gd name="connsiteY1159" fmla="*/ 984790 h 1218057"/>
                <a:gd name="connsiteX1160" fmla="*/ 1002411 w 1468659"/>
                <a:gd name="connsiteY1160" fmla="*/ 985742 h 1218057"/>
                <a:gd name="connsiteX1161" fmla="*/ 1005364 w 1468659"/>
                <a:gd name="connsiteY1161" fmla="*/ 983742 h 1218057"/>
                <a:gd name="connsiteX1162" fmla="*/ 1012508 w 1468659"/>
                <a:gd name="connsiteY1162" fmla="*/ 989266 h 1218057"/>
                <a:gd name="connsiteX1163" fmla="*/ 1015079 w 1468659"/>
                <a:gd name="connsiteY1163" fmla="*/ 984123 h 1218057"/>
                <a:gd name="connsiteX1164" fmla="*/ 1018222 w 1468659"/>
                <a:gd name="connsiteY1164" fmla="*/ 983742 h 1218057"/>
                <a:gd name="connsiteX1165" fmla="*/ 1023938 w 1468659"/>
                <a:gd name="connsiteY1165" fmla="*/ 978217 h 1218057"/>
                <a:gd name="connsiteX1166" fmla="*/ 1027652 w 1468659"/>
                <a:gd name="connsiteY1166" fmla="*/ 969740 h 1218057"/>
                <a:gd name="connsiteX1167" fmla="*/ 1025843 w 1468659"/>
                <a:gd name="connsiteY1167" fmla="*/ 968312 h 1218057"/>
                <a:gd name="connsiteX1168" fmla="*/ 1027081 w 1468659"/>
                <a:gd name="connsiteY1168" fmla="*/ 964978 h 1218057"/>
                <a:gd name="connsiteX1169" fmla="*/ 1026890 w 1468659"/>
                <a:gd name="connsiteY1169" fmla="*/ 963358 h 1218057"/>
                <a:gd name="connsiteX1170" fmla="*/ 1011269 w 1468659"/>
                <a:gd name="connsiteY1170" fmla="*/ 954119 h 1218057"/>
                <a:gd name="connsiteX1171" fmla="*/ 1011079 w 1468659"/>
                <a:gd name="connsiteY1171" fmla="*/ 952595 h 1218057"/>
                <a:gd name="connsiteX1172" fmla="*/ 1010602 w 1468659"/>
                <a:gd name="connsiteY1172" fmla="*/ 949452 h 1218057"/>
                <a:gd name="connsiteX1173" fmla="*/ 1008697 w 1468659"/>
                <a:gd name="connsiteY1173" fmla="*/ 946499 h 1218057"/>
                <a:gd name="connsiteX1174" fmla="*/ 1013936 w 1468659"/>
                <a:gd name="connsiteY1174" fmla="*/ 937736 h 1218057"/>
                <a:gd name="connsiteX1175" fmla="*/ 1012603 w 1468659"/>
                <a:gd name="connsiteY1175" fmla="*/ 926687 h 1218057"/>
                <a:gd name="connsiteX1176" fmla="*/ 1020604 w 1468659"/>
                <a:gd name="connsiteY1176" fmla="*/ 914495 h 1218057"/>
                <a:gd name="connsiteX1177" fmla="*/ 1018604 w 1468659"/>
                <a:gd name="connsiteY1177" fmla="*/ 898684 h 1218057"/>
                <a:gd name="connsiteX1178" fmla="*/ 1022985 w 1468659"/>
                <a:gd name="connsiteY1178" fmla="*/ 894969 h 1218057"/>
                <a:gd name="connsiteX1179" fmla="*/ 1022699 w 1468659"/>
                <a:gd name="connsiteY1179" fmla="*/ 893350 h 1218057"/>
                <a:gd name="connsiteX1180" fmla="*/ 1030605 w 1468659"/>
                <a:gd name="connsiteY1180" fmla="*/ 892302 h 1218057"/>
                <a:gd name="connsiteX1181" fmla="*/ 1030034 w 1468659"/>
                <a:gd name="connsiteY1181" fmla="*/ 887635 h 1218057"/>
                <a:gd name="connsiteX1182" fmla="*/ 1026033 w 1468659"/>
                <a:gd name="connsiteY1182" fmla="*/ 881729 h 1218057"/>
                <a:gd name="connsiteX1183" fmla="*/ 1025843 w 1468659"/>
                <a:gd name="connsiteY1183" fmla="*/ 880110 h 1218057"/>
                <a:gd name="connsiteX1184" fmla="*/ 1022699 w 1468659"/>
                <a:gd name="connsiteY1184" fmla="*/ 880491 h 1218057"/>
                <a:gd name="connsiteX1185" fmla="*/ 1021747 w 1468659"/>
                <a:gd name="connsiteY1185" fmla="*/ 872585 h 1218057"/>
                <a:gd name="connsiteX1186" fmla="*/ 1022890 w 1468659"/>
                <a:gd name="connsiteY1186" fmla="*/ 856488 h 1218057"/>
                <a:gd name="connsiteX1187" fmla="*/ 1030700 w 1468659"/>
                <a:gd name="connsiteY1187" fmla="*/ 855440 h 1218057"/>
                <a:gd name="connsiteX1188" fmla="*/ 1029938 w 1468659"/>
                <a:gd name="connsiteY1188" fmla="*/ 836295 h 1218057"/>
                <a:gd name="connsiteX1189" fmla="*/ 1033272 w 1468659"/>
                <a:gd name="connsiteY1189" fmla="*/ 837438 h 1218057"/>
                <a:gd name="connsiteX1190" fmla="*/ 1034225 w 1468659"/>
                <a:gd name="connsiteY1190" fmla="*/ 832580 h 1218057"/>
                <a:gd name="connsiteX1191" fmla="*/ 1035368 w 1468659"/>
                <a:gd name="connsiteY1191" fmla="*/ 829151 h 1218057"/>
                <a:gd name="connsiteX1192" fmla="*/ 1036415 w 1468659"/>
                <a:gd name="connsiteY1192" fmla="*/ 824294 h 1218057"/>
                <a:gd name="connsiteX1193" fmla="*/ 1034415 w 1468659"/>
                <a:gd name="connsiteY1193" fmla="*/ 808482 h 1218057"/>
                <a:gd name="connsiteX1194" fmla="*/ 1030796 w 1468659"/>
                <a:gd name="connsiteY1194" fmla="*/ 805720 h 1218057"/>
                <a:gd name="connsiteX1195" fmla="*/ 1030034 w 1468659"/>
                <a:gd name="connsiteY1195" fmla="*/ 799433 h 1218057"/>
                <a:gd name="connsiteX1196" fmla="*/ 1026414 w 1468659"/>
                <a:gd name="connsiteY1196" fmla="*/ 796671 h 1218057"/>
                <a:gd name="connsiteX1197" fmla="*/ 1026033 w 1468659"/>
                <a:gd name="connsiteY1197" fmla="*/ 793528 h 1218057"/>
                <a:gd name="connsiteX1198" fmla="*/ 1030414 w 1468659"/>
                <a:gd name="connsiteY1198" fmla="*/ 789718 h 1218057"/>
                <a:gd name="connsiteX1199" fmla="*/ 1031558 w 1468659"/>
                <a:gd name="connsiteY1199" fmla="*/ 786384 h 1218057"/>
                <a:gd name="connsiteX1200" fmla="*/ 1030796 w 1468659"/>
                <a:gd name="connsiteY1200" fmla="*/ 780097 h 1218057"/>
                <a:gd name="connsiteX1201" fmla="*/ 1027176 w 1468659"/>
                <a:gd name="connsiteY1201" fmla="*/ 777335 h 1218057"/>
                <a:gd name="connsiteX1202" fmla="*/ 1023842 w 1468659"/>
                <a:gd name="connsiteY1202" fmla="*/ 763334 h 1218057"/>
                <a:gd name="connsiteX1203" fmla="*/ 1024604 w 1468659"/>
                <a:gd name="connsiteY1203" fmla="*/ 756761 h 1218057"/>
                <a:gd name="connsiteX1204" fmla="*/ 1024795 w 1468659"/>
                <a:gd name="connsiteY1204" fmla="*/ 745522 h 1218057"/>
                <a:gd name="connsiteX1205" fmla="*/ 1026700 w 1468659"/>
                <a:gd name="connsiteY1205" fmla="*/ 735711 h 1218057"/>
                <a:gd name="connsiteX1206" fmla="*/ 1026890 w 1468659"/>
                <a:gd name="connsiteY1206" fmla="*/ 737235 h 1218057"/>
                <a:gd name="connsiteX1207" fmla="*/ 1029081 w 1468659"/>
                <a:gd name="connsiteY1207" fmla="*/ 728948 h 1218057"/>
                <a:gd name="connsiteX1208" fmla="*/ 1036510 w 1468659"/>
                <a:gd name="connsiteY1208" fmla="*/ 724757 h 1218057"/>
                <a:gd name="connsiteX1209" fmla="*/ 1039273 w 1468659"/>
                <a:gd name="connsiteY1209" fmla="*/ 721233 h 1218057"/>
                <a:gd name="connsiteX1210" fmla="*/ 1037558 w 1468659"/>
                <a:gd name="connsiteY1210" fmla="*/ 719900 h 1218057"/>
                <a:gd name="connsiteX1211" fmla="*/ 1040892 w 1468659"/>
                <a:gd name="connsiteY1211" fmla="*/ 708184 h 1218057"/>
                <a:gd name="connsiteX1212" fmla="*/ 1035939 w 1468659"/>
                <a:gd name="connsiteY1212" fmla="*/ 707231 h 1218057"/>
                <a:gd name="connsiteX1213" fmla="*/ 1033748 w 1468659"/>
                <a:gd name="connsiteY1213" fmla="*/ 702659 h 1218057"/>
                <a:gd name="connsiteX1214" fmla="*/ 1037654 w 1468659"/>
                <a:gd name="connsiteY1214" fmla="*/ 695801 h 1218057"/>
                <a:gd name="connsiteX1215" fmla="*/ 1042797 w 1468659"/>
                <a:gd name="connsiteY1215" fmla="*/ 698373 h 1218057"/>
                <a:gd name="connsiteX1216" fmla="*/ 1048893 w 1468659"/>
                <a:gd name="connsiteY1216" fmla="*/ 695992 h 1218057"/>
                <a:gd name="connsiteX1217" fmla="*/ 1051465 w 1468659"/>
                <a:gd name="connsiteY1217" fmla="*/ 690848 h 1218057"/>
                <a:gd name="connsiteX1218" fmla="*/ 1056037 w 1468659"/>
                <a:gd name="connsiteY1218" fmla="*/ 688657 h 1218057"/>
                <a:gd name="connsiteX1219" fmla="*/ 1060133 w 1468659"/>
                <a:gd name="connsiteY1219" fmla="*/ 696087 h 1218057"/>
                <a:gd name="connsiteX1220" fmla="*/ 1068610 w 1468659"/>
                <a:gd name="connsiteY1220" fmla="*/ 699897 h 1218057"/>
                <a:gd name="connsiteX1221" fmla="*/ 1079278 w 1468659"/>
                <a:gd name="connsiteY1221" fmla="*/ 695325 h 1218057"/>
                <a:gd name="connsiteX1222" fmla="*/ 1086041 w 1468659"/>
                <a:gd name="connsiteY1222" fmla="*/ 697611 h 1218057"/>
                <a:gd name="connsiteX1223" fmla="*/ 1088612 w 1468659"/>
                <a:gd name="connsiteY1223" fmla="*/ 705326 h 1218057"/>
                <a:gd name="connsiteX1224" fmla="*/ 1085850 w 1468659"/>
                <a:gd name="connsiteY1224" fmla="*/ 708851 h 1218057"/>
                <a:gd name="connsiteX1225" fmla="*/ 1086231 w 1468659"/>
                <a:gd name="connsiteY1225" fmla="*/ 712089 h 1218057"/>
                <a:gd name="connsiteX1226" fmla="*/ 1088231 w 1468659"/>
                <a:gd name="connsiteY1226" fmla="*/ 715042 h 1218057"/>
                <a:gd name="connsiteX1227" fmla="*/ 1102805 w 1468659"/>
                <a:gd name="connsiteY1227" fmla="*/ 716375 h 1218057"/>
                <a:gd name="connsiteX1228" fmla="*/ 1112901 w 1468659"/>
                <a:gd name="connsiteY1228" fmla="*/ 719900 h 1218057"/>
                <a:gd name="connsiteX1229" fmla="*/ 1116997 w 1468659"/>
                <a:gd name="connsiteY1229" fmla="*/ 714565 h 1218057"/>
                <a:gd name="connsiteX1230" fmla="*/ 1121759 w 1468659"/>
                <a:gd name="connsiteY1230" fmla="*/ 713899 h 1218057"/>
                <a:gd name="connsiteX1231" fmla="*/ 1126903 w 1468659"/>
                <a:gd name="connsiteY1231" fmla="*/ 716471 h 1218057"/>
                <a:gd name="connsiteX1232" fmla="*/ 1128236 w 1468659"/>
                <a:gd name="connsiteY1232" fmla="*/ 714756 h 1218057"/>
                <a:gd name="connsiteX1233" fmla="*/ 1131665 w 1468659"/>
                <a:gd name="connsiteY1233" fmla="*/ 715899 h 1218057"/>
                <a:gd name="connsiteX1234" fmla="*/ 1136142 w 1468659"/>
                <a:gd name="connsiteY1234" fmla="*/ 713708 h 1218057"/>
                <a:gd name="connsiteX1235" fmla="*/ 1136618 w 1468659"/>
                <a:gd name="connsiteY1235" fmla="*/ 716851 h 1218057"/>
                <a:gd name="connsiteX1236" fmla="*/ 1149953 w 1468659"/>
                <a:gd name="connsiteY1236" fmla="*/ 721614 h 1218057"/>
                <a:gd name="connsiteX1237" fmla="*/ 1151763 w 1468659"/>
                <a:gd name="connsiteY1237" fmla="*/ 722947 h 1218057"/>
                <a:gd name="connsiteX1238" fmla="*/ 1152811 w 1468659"/>
                <a:gd name="connsiteY1238" fmla="*/ 730853 h 1218057"/>
                <a:gd name="connsiteX1239" fmla="*/ 1149382 w 1468659"/>
                <a:gd name="connsiteY1239" fmla="*/ 729615 h 1218057"/>
                <a:gd name="connsiteX1240" fmla="*/ 1146715 w 1468659"/>
                <a:gd name="connsiteY1240" fmla="*/ 733234 h 1218057"/>
                <a:gd name="connsiteX1241" fmla="*/ 1147096 w 1468659"/>
                <a:gd name="connsiteY1241" fmla="*/ 736378 h 1218057"/>
                <a:gd name="connsiteX1242" fmla="*/ 1155573 w 1468659"/>
                <a:gd name="connsiteY1242" fmla="*/ 740093 h 1218057"/>
                <a:gd name="connsiteX1243" fmla="*/ 1155764 w 1468659"/>
                <a:gd name="connsiteY1243" fmla="*/ 741712 h 1218057"/>
                <a:gd name="connsiteX1244" fmla="*/ 1153001 w 1468659"/>
                <a:gd name="connsiteY1244" fmla="*/ 745236 h 1218057"/>
                <a:gd name="connsiteX1245" fmla="*/ 1158335 w 1468659"/>
                <a:gd name="connsiteY1245" fmla="*/ 749332 h 1218057"/>
                <a:gd name="connsiteX1246" fmla="*/ 1160907 w 1468659"/>
                <a:gd name="connsiteY1246" fmla="*/ 757047 h 1218057"/>
                <a:gd name="connsiteX1247" fmla="*/ 1159573 w 1468659"/>
                <a:gd name="connsiteY1247" fmla="*/ 758857 h 1218057"/>
                <a:gd name="connsiteX1248" fmla="*/ 1156621 w 1468659"/>
                <a:gd name="connsiteY1248" fmla="*/ 760857 h 1218057"/>
                <a:gd name="connsiteX1249" fmla="*/ 1150334 w 1468659"/>
                <a:gd name="connsiteY1249" fmla="*/ 774478 h 1218057"/>
                <a:gd name="connsiteX1250" fmla="*/ 1155859 w 1468659"/>
                <a:gd name="connsiteY1250" fmla="*/ 780193 h 1218057"/>
                <a:gd name="connsiteX1251" fmla="*/ 1158812 w 1468659"/>
                <a:gd name="connsiteY1251" fmla="*/ 778193 h 1218057"/>
                <a:gd name="connsiteX1252" fmla="*/ 1160621 w 1468659"/>
                <a:gd name="connsiteY1252" fmla="*/ 779526 h 1218057"/>
                <a:gd name="connsiteX1253" fmla="*/ 1167860 w 1468659"/>
                <a:gd name="connsiteY1253" fmla="*/ 773811 h 1218057"/>
                <a:gd name="connsiteX1254" fmla="*/ 1175004 w 1468659"/>
                <a:gd name="connsiteY1254" fmla="*/ 779335 h 1218057"/>
                <a:gd name="connsiteX1255" fmla="*/ 1183291 w 1468659"/>
                <a:gd name="connsiteY1255" fmla="*/ 768668 h 1218057"/>
                <a:gd name="connsiteX1256" fmla="*/ 1187768 w 1468659"/>
                <a:gd name="connsiteY1256" fmla="*/ 766477 h 1218057"/>
                <a:gd name="connsiteX1257" fmla="*/ 1190530 w 1468659"/>
                <a:gd name="connsiteY1257" fmla="*/ 762952 h 1218057"/>
                <a:gd name="connsiteX1258" fmla="*/ 1195102 w 1468659"/>
                <a:gd name="connsiteY1258" fmla="*/ 760762 h 1218057"/>
                <a:gd name="connsiteX1259" fmla="*/ 1201388 w 1468659"/>
                <a:gd name="connsiteY1259" fmla="*/ 759905 h 1218057"/>
                <a:gd name="connsiteX1260" fmla="*/ 1211294 w 1468659"/>
                <a:gd name="connsiteY1260" fmla="*/ 761905 h 1218057"/>
                <a:gd name="connsiteX1261" fmla="*/ 1215962 w 1468659"/>
                <a:gd name="connsiteY1261" fmla="*/ 761238 h 1218057"/>
                <a:gd name="connsiteX1262" fmla="*/ 1226439 w 1468659"/>
                <a:gd name="connsiteY1262" fmla="*/ 768001 h 1218057"/>
                <a:gd name="connsiteX1263" fmla="*/ 1227487 w 1468659"/>
                <a:gd name="connsiteY1263" fmla="*/ 763048 h 1218057"/>
                <a:gd name="connsiteX1264" fmla="*/ 1232154 w 1468659"/>
                <a:gd name="connsiteY1264" fmla="*/ 762381 h 1218057"/>
                <a:gd name="connsiteX1265" fmla="*/ 1229582 w 1468659"/>
                <a:gd name="connsiteY1265" fmla="*/ 754761 h 1218057"/>
                <a:gd name="connsiteX1266" fmla="*/ 1231011 w 1468659"/>
                <a:gd name="connsiteY1266" fmla="*/ 752951 h 1218057"/>
                <a:gd name="connsiteX1267" fmla="*/ 1234345 w 1468659"/>
                <a:gd name="connsiteY1267" fmla="*/ 754094 h 1218057"/>
                <a:gd name="connsiteX1268" fmla="*/ 1240441 w 1468659"/>
                <a:gd name="connsiteY1268" fmla="*/ 738950 h 1218057"/>
                <a:gd name="connsiteX1269" fmla="*/ 1241774 w 1468659"/>
                <a:gd name="connsiteY1269" fmla="*/ 737140 h 1218057"/>
                <a:gd name="connsiteX1270" fmla="*/ 1236059 w 1468659"/>
                <a:gd name="connsiteY1270" fmla="*/ 729805 h 1218057"/>
                <a:gd name="connsiteX1271" fmla="*/ 1238250 w 1468659"/>
                <a:gd name="connsiteY1271" fmla="*/ 721519 h 1218057"/>
                <a:gd name="connsiteX1272" fmla="*/ 1246537 w 1468659"/>
                <a:gd name="connsiteY1272" fmla="*/ 723709 h 1218057"/>
                <a:gd name="connsiteX1273" fmla="*/ 1250061 w 1468659"/>
                <a:gd name="connsiteY1273" fmla="*/ 726472 h 1218057"/>
                <a:gd name="connsiteX1274" fmla="*/ 1247680 w 1468659"/>
                <a:gd name="connsiteY1274" fmla="*/ 733139 h 1218057"/>
                <a:gd name="connsiteX1275" fmla="*/ 1258157 w 1468659"/>
                <a:gd name="connsiteY1275" fmla="*/ 739902 h 1218057"/>
                <a:gd name="connsiteX1276" fmla="*/ 1262729 w 1468659"/>
                <a:gd name="connsiteY1276" fmla="*/ 737711 h 1218057"/>
                <a:gd name="connsiteX1277" fmla="*/ 1269587 w 1468659"/>
                <a:gd name="connsiteY1277" fmla="*/ 741617 h 1218057"/>
                <a:gd name="connsiteX1278" fmla="*/ 1273969 w 1468659"/>
                <a:gd name="connsiteY1278" fmla="*/ 737806 h 1218057"/>
                <a:gd name="connsiteX1279" fmla="*/ 1276541 w 1468659"/>
                <a:gd name="connsiteY1279" fmla="*/ 732758 h 1218057"/>
                <a:gd name="connsiteX1280" fmla="*/ 1281684 w 1468659"/>
                <a:gd name="connsiteY1280" fmla="*/ 735235 h 1218057"/>
                <a:gd name="connsiteX1281" fmla="*/ 1289304 w 1468659"/>
                <a:gd name="connsiteY1281" fmla="*/ 732663 h 1218057"/>
                <a:gd name="connsiteX1282" fmla="*/ 1301020 w 1468659"/>
                <a:gd name="connsiteY1282" fmla="*/ 735997 h 1218057"/>
                <a:gd name="connsiteX1283" fmla="*/ 1316831 w 1468659"/>
                <a:gd name="connsiteY1283" fmla="*/ 746855 h 1218057"/>
                <a:gd name="connsiteX1284" fmla="*/ 1321118 w 1468659"/>
                <a:gd name="connsiteY1284" fmla="*/ 755904 h 1218057"/>
                <a:gd name="connsiteX1285" fmla="*/ 1327690 w 1468659"/>
                <a:gd name="connsiteY1285" fmla="*/ 756666 h 1218057"/>
                <a:gd name="connsiteX1286" fmla="*/ 1335214 w 1468659"/>
                <a:gd name="connsiteY1286" fmla="*/ 765334 h 1218057"/>
                <a:gd name="connsiteX1287" fmla="*/ 1343882 w 1468659"/>
                <a:gd name="connsiteY1287" fmla="*/ 770668 h 1218057"/>
                <a:gd name="connsiteX1288" fmla="*/ 1350645 w 1468659"/>
                <a:gd name="connsiteY1288" fmla="*/ 772954 h 1218057"/>
                <a:gd name="connsiteX1289" fmla="*/ 1356931 w 1468659"/>
                <a:gd name="connsiteY1289" fmla="*/ 772192 h 1218057"/>
                <a:gd name="connsiteX1290" fmla="*/ 1361885 w 1468659"/>
                <a:gd name="connsiteY1290" fmla="*/ 773144 h 1218057"/>
                <a:gd name="connsiteX1291" fmla="*/ 1365599 w 1468659"/>
                <a:gd name="connsiteY1291" fmla="*/ 777526 h 1218057"/>
                <a:gd name="connsiteX1292" fmla="*/ 1374267 w 1468659"/>
                <a:gd name="connsiteY1292" fmla="*/ 770001 h 1218057"/>
                <a:gd name="connsiteX1293" fmla="*/ 1378268 w 1468659"/>
                <a:gd name="connsiteY1293" fmla="*/ 775906 h 1218057"/>
                <a:gd name="connsiteX1294" fmla="*/ 1381792 w 1468659"/>
                <a:gd name="connsiteY1294" fmla="*/ 778669 h 1218057"/>
                <a:gd name="connsiteX1295" fmla="*/ 1385126 w 1468659"/>
                <a:gd name="connsiteY1295" fmla="*/ 779812 h 1218057"/>
                <a:gd name="connsiteX1296" fmla="*/ 1398937 w 1468659"/>
                <a:gd name="connsiteY1296" fmla="*/ 787718 h 1218057"/>
                <a:gd name="connsiteX1297" fmla="*/ 1401032 w 1468659"/>
                <a:gd name="connsiteY1297" fmla="*/ 803434 h 1218057"/>
                <a:gd name="connsiteX1298" fmla="*/ 1406938 w 1468659"/>
                <a:gd name="connsiteY1298" fmla="*/ 812292 h 1218057"/>
                <a:gd name="connsiteX1299" fmla="*/ 1425512 w 1468659"/>
                <a:gd name="connsiteY1299" fmla="*/ 819531 h 1218057"/>
                <a:gd name="connsiteX1300" fmla="*/ 1432179 w 1468659"/>
                <a:gd name="connsiteY1300" fmla="*/ 809149 h 1218057"/>
                <a:gd name="connsiteX1301" fmla="*/ 1433798 w 1468659"/>
                <a:gd name="connsiteY1301" fmla="*/ 808863 h 1218057"/>
                <a:gd name="connsiteX1302" fmla="*/ 1432941 w 1468659"/>
                <a:gd name="connsiteY1302" fmla="*/ 802577 h 1218057"/>
                <a:gd name="connsiteX1303" fmla="*/ 1434370 w 1468659"/>
                <a:gd name="connsiteY1303" fmla="*/ 800767 h 1218057"/>
                <a:gd name="connsiteX1304" fmla="*/ 1439513 w 1468659"/>
                <a:gd name="connsiteY1304" fmla="*/ 803338 h 1218057"/>
                <a:gd name="connsiteX1305" fmla="*/ 1442180 w 1468659"/>
                <a:gd name="connsiteY1305" fmla="*/ 799814 h 1218057"/>
                <a:gd name="connsiteX1306" fmla="*/ 1446752 w 1468659"/>
                <a:gd name="connsiteY1306" fmla="*/ 797623 h 1218057"/>
                <a:gd name="connsiteX1307" fmla="*/ 1440275 w 1468659"/>
                <a:gd name="connsiteY1307" fmla="*/ 796862 h 1218057"/>
                <a:gd name="connsiteX1308" fmla="*/ 1438466 w 1468659"/>
                <a:gd name="connsiteY1308" fmla="*/ 795433 h 1218057"/>
                <a:gd name="connsiteX1309" fmla="*/ 1440085 w 1468659"/>
                <a:gd name="connsiteY1309" fmla="*/ 795242 h 1218057"/>
                <a:gd name="connsiteX1310" fmla="*/ 1442752 w 1468659"/>
                <a:gd name="connsiteY1310" fmla="*/ 791718 h 1218057"/>
                <a:gd name="connsiteX1311" fmla="*/ 1446181 w 1468659"/>
                <a:gd name="connsiteY1311" fmla="*/ 792861 h 1218057"/>
                <a:gd name="connsiteX1312" fmla="*/ 1447133 w 1468659"/>
                <a:gd name="connsiteY1312" fmla="*/ 788003 h 1218057"/>
                <a:gd name="connsiteX1313" fmla="*/ 1445323 w 1468659"/>
                <a:gd name="connsiteY1313" fmla="*/ 786575 h 1218057"/>
                <a:gd name="connsiteX1314" fmla="*/ 1441990 w 1468659"/>
                <a:gd name="connsiteY1314" fmla="*/ 785431 h 1218057"/>
                <a:gd name="connsiteX1315" fmla="*/ 1441799 w 1468659"/>
                <a:gd name="connsiteY1315" fmla="*/ 783812 h 1218057"/>
                <a:gd name="connsiteX1316" fmla="*/ 1440371 w 1468659"/>
                <a:gd name="connsiteY1316" fmla="*/ 785622 h 1218057"/>
                <a:gd name="connsiteX1317" fmla="*/ 1438466 w 1468659"/>
                <a:gd name="connsiteY1317" fmla="*/ 782669 h 1218057"/>
                <a:gd name="connsiteX1318" fmla="*/ 1439227 w 1468659"/>
                <a:gd name="connsiteY1318" fmla="*/ 776097 h 1218057"/>
                <a:gd name="connsiteX1319" fmla="*/ 1444181 w 1468659"/>
                <a:gd name="connsiteY1319" fmla="*/ 777145 h 1218057"/>
                <a:gd name="connsiteX1320" fmla="*/ 1444752 w 1468659"/>
                <a:gd name="connsiteY1320" fmla="*/ 781812 h 1218057"/>
                <a:gd name="connsiteX1321" fmla="*/ 1449705 w 1468659"/>
                <a:gd name="connsiteY1321" fmla="*/ 782860 h 1218057"/>
                <a:gd name="connsiteX1322" fmla="*/ 1452848 w 1468659"/>
                <a:gd name="connsiteY1322" fmla="*/ 782384 h 1218057"/>
                <a:gd name="connsiteX1323" fmla="*/ 1454182 w 1468659"/>
                <a:gd name="connsiteY1323" fmla="*/ 780669 h 1218057"/>
                <a:gd name="connsiteX1324" fmla="*/ 1455611 w 1468659"/>
                <a:gd name="connsiteY1324" fmla="*/ 778859 h 1218057"/>
                <a:gd name="connsiteX1325" fmla="*/ 1458182 w 1468659"/>
                <a:gd name="connsiteY1325" fmla="*/ 773716 h 1218057"/>
                <a:gd name="connsiteX1326" fmla="*/ 1449229 w 1468659"/>
                <a:gd name="connsiteY1326" fmla="*/ 766858 h 1218057"/>
                <a:gd name="connsiteX1327" fmla="*/ 1450467 w 1468659"/>
                <a:gd name="connsiteY1327" fmla="*/ 763429 h 1218057"/>
                <a:gd name="connsiteX1328" fmla="*/ 1453420 w 1468659"/>
                <a:gd name="connsiteY1328" fmla="*/ 761524 h 1218057"/>
                <a:gd name="connsiteX1329" fmla="*/ 1452943 w 1468659"/>
                <a:gd name="connsiteY1329" fmla="*/ 758380 h 1218057"/>
                <a:gd name="connsiteX1330" fmla="*/ 1454182 w 1468659"/>
                <a:gd name="connsiteY1330" fmla="*/ 754951 h 1218057"/>
                <a:gd name="connsiteX1331" fmla="*/ 1443895 w 1468659"/>
                <a:gd name="connsiteY1331" fmla="*/ 749903 h 1218057"/>
                <a:gd name="connsiteX1332" fmla="*/ 1431989 w 1468659"/>
                <a:gd name="connsiteY1332" fmla="*/ 744950 h 1218057"/>
                <a:gd name="connsiteX1333" fmla="*/ 1428845 w 1468659"/>
                <a:gd name="connsiteY1333" fmla="*/ 745331 h 1218057"/>
                <a:gd name="connsiteX1334" fmla="*/ 1417606 w 1468659"/>
                <a:gd name="connsiteY1334" fmla="*/ 745236 h 1218057"/>
                <a:gd name="connsiteX1335" fmla="*/ 1414081 w 1468659"/>
                <a:gd name="connsiteY1335" fmla="*/ 742474 h 1218057"/>
                <a:gd name="connsiteX1336" fmla="*/ 1412081 w 1468659"/>
                <a:gd name="connsiteY1336" fmla="*/ 739521 h 1218057"/>
                <a:gd name="connsiteX1337" fmla="*/ 1413034 w 1468659"/>
                <a:gd name="connsiteY1337" fmla="*/ 734568 h 1218057"/>
                <a:gd name="connsiteX1338" fmla="*/ 1413796 w 1468659"/>
                <a:gd name="connsiteY1338" fmla="*/ 728091 h 1218057"/>
                <a:gd name="connsiteX1339" fmla="*/ 1415225 w 1468659"/>
                <a:gd name="connsiteY1339" fmla="*/ 726281 h 1218057"/>
                <a:gd name="connsiteX1340" fmla="*/ 1412843 w 1468659"/>
                <a:gd name="connsiteY1340" fmla="*/ 720185 h 1218057"/>
                <a:gd name="connsiteX1341" fmla="*/ 1409510 w 1468659"/>
                <a:gd name="connsiteY1341" fmla="*/ 718947 h 1218057"/>
                <a:gd name="connsiteX1342" fmla="*/ 1402747 w 1468659"/>
                <a:gd name="connsiteY1342" fmla="*/ 716661 h 1218057"/>
                <a:gd name="connsiteX1343" fmla="*/ 1398842 w 1468659"/>
                <a:gd name="connsiteY1343" fmla="*/ 723519 h 1218057"/>
                <a:gd name="connsiteX1344" fmla="*/ 1394079 w 1468659"/>
                <a:gd name="connsiteY1344" fmla="*/ 724186 h 1218057"/>
                <a:gd name="connsiteX1345" fmla="*/ 1392936 w 1468659"/>
                <a:gd name="connsiteY1345" fmla="*/ 727519 h 1218057"/>
                <a:gd name="connsiteX1346" fmla="*/ 1391317 w 1468659"/>
                <a:gd name="connsiteY1346" fmla="*/ 727710 h 1218057"/>
                <a:gd name="connsiteX1347" fmla="*/ 1386935 w 1468659"/>
                <a:gd name="connsiteY1347" fmla="*/ 718661 h 1218057"/>
                <a:gd name="connsiteX1348" fmla="*/ 1391317 w 1468659"/>
                <a:gd name="connsiteY1348" fmla="*/ 714851 h 1218057"/>
                <a:gd name="connsiteX1349" fmla="*/ 1388935 w 1468659"/>
                <a:gd name="connsiteY1349" fmla="*/ 708755 h 1218057"/>
                <a:gd name="connsiteX1350" fmla="*/ 1395031 w 1468659"/>
                <a:gd name="connsiteY1350" fmla="*/ 706374 h 1218057"/>
                <a:gd name="connsiteX1351" fmla="*/ 1399794 w 1468659"/>
                <a:gd name="connsiteY1351" fmla="*/ 705802 h 1218057"/>
                <a:gd name="connsiteX1352" fmla="*/ 1402366 w 1468659"/>
                <a:gd name="connsiteY1352" fmla="*/ 700659 h 1218057"/>
                <a:gd name="connsiteX1353" fmla="*/ 1403318 w 1468659"/>
                <a:gd name="connsiteY1353" fmla="*/ 695706 h 1218057"/>
                <a:gd name="connsiteX1354" fmla="*/ 1404842 w 1468659"/>
                <a:gd name="connsiteY1354" fmla="*/ 695515 h 1218057"/>
                <a:gd name="connsiteX1355" fmla="*/ 1408271 w 1468659"/>
                <a:gd name="connsiteY1355" fmla="*/ 696659 h 1218057"/>
                <a:gd name="connsiteX1356" fmla="*/ 1409986 w 1468659"/>
                <a:gd name="connsiteY1356" fmla="*/ 698087 h 1218057"/>
                <a:gd name="connsiteX1357" fmla="*/ 1409033 w 1468659"/>
                <a:gd name="connsiteY1357" fmla="*/ 690181 h 1218057"/>
                <a:gd name="connsiteX1358" fmla="*/ 1413986 w 1468659"/>
                <a:gd name="connsiteY1358" fmla="*/ 691134 h 1218057"/>
                <a:gd name="connsiteX1359" fmla="*/ 1415129 w 1468659"/>
                <a:gd name="connsiteY1359" fmla="*/ 687800 h 1218057"/>
                <a:gd name="connsiteX1360" fmla="*/ 1418082 w 1468659"/>
                <a:gd name="connsiteY1360" fmla="*/ 685800 h 1218057"/>
                <a:gd name="connsiteX1361" fmla="*/ 1416272 w 1468659"/>
                <a:gd name="connsiteY1361" fmla="*/ 684467 h 1218057"/>
                <a:gd name="connsiteX1362" fmla="*/ 1418844 w 1468659"/>
                <a:gd name="connsiteY1362" fmla="*/ 679323 h 1218057"/>
                <a:gd name="connsiteX1363" fmla="*/ 1415510 w 1468659"/>
                <a:gd name="connsiteY1363" fmla="*/ 678085 h 1218057"/>
                <a:gd name="connsiteX1364" fmla="*/ 1416844 w 1468659"/>
                <a:gd name="connsiteY1364" fmla="*/ 676370 h 1218057"/>
                <a:gd name="connsiteX1365" fmla="*/ 1414939 w 1468659"/>
                <a:gd name="connsiteY1365" fmla="*/ 673418 h 1218057"/>
                <a:gd name="connsiteX1366" fmla="*/ 1416082 w 1468659"/>
                <a:gd name="connsiteY1366" fmla="*/ 669988 h 1218057"/>
                <a:gd name="connsiteX1367" fmla="*/ 1423988 w 1468659"/>
                <a:gd name="connsiteY1367" fmla="*/ 669036 h 1218057"/>
                <a:gd name="connsiteX1368" fmla="*/ 1430084 w 1468659"/>
                <a:gd name="connsiteY1368" fmla="*/ 666655 h 1218057"/>
                <a:gd name="connsiteX1369" fmla="*/ 1432179 w 1468659"/>
                <a:gd name="connsiteY1369" fmla="*/ 658368 h 1218057"/>
                <a:gd name="connsiteX1370" fmla="*/ 1427035 w 1468659"/>
                <a:gd name="connsiteY1370" fmla="*/ 655796 h 1218057"/>
                <a:gd name="connsiteX1371" fmla="*/ 1427893 w 1468659"/>
                <a:gd name="connsiteY1371" fmla="*/ 649319 h 1218057"/>
                <a:gd name="connsiteX1372" fmla="*/ 1426083 w 1468659"/>
                <a:gd name="connsiteY1372" fmla="*/ 647890 h 1218057"/>
                <a:gd name="connsiteX1373" fmla="*/ 1424273 w 1468659"/>
                <a:gd name="connsiteY1373" fmla="*/ 646557 h 1218057"/>
                <a:gd name="connsiteX1374" fmla="*/ 1431989 w 1468659"/>
                <a:gd name="connsiteY1374" fmla="*/ 643985 h 1218057"/>
                <a:gd name="connsiteX1375" fmla="*/ 1435513 w 1468659"/>
                <a:gd name="connsiteY1375" fmla="*/ 646652 h 1218057"/>
                <a:gd name="connsiteX1376" fmla="*/ 1436084 w 1468659"/>
                <a:gd name="connsiteY1376" fmla="*/ 638651 h 1218057"/>
                <a:gd name="connsiteX1377" fmla="*/ 1432179 w 1468659"/>
                <a:gd name="connsiteY1377" fmla="*/ 632651 h 1218057"/>
                <a:gd name="connsiteX1378" fmla="*/ 1433131 w 1468659"/>
                <a:gd name="connsiteY1378" fmla="*/ 627793 h 1218057"/>
                <a:gd name="connsiteX1379" fmla="*/ 1443418 w 1468659"/>
                <a:gd name="connsiteY1379" fmla="*/ 632841 h 1218057"/>
                <a:gd name="connsiteX1380" fmla="*/ 1451324 w 1468659"/>
                <a:gd name="connsiteY1380" fmla="*/ 631888 h 1218057"/>
                <a:gd name="connsiteX1381" fmla="*/ 1453039 w 1468659"/>
                <a:gd name="connsiteY1381" fmla="*/ 633222 h 1218057"/>
                <a:gd name="connsiteX1382" fmla="*/ 1454468 w 1468659"/>
                <a:gd name="connsiteY1382" fmla="*/ 631507 h 1218057"/>
                <a:gd name="connsiteX1383" fmla="*/ 1456277 w 1468659"/>
                <a:gd name="connsiteY1383" fmla="*/ 632841 h 1218057"/>
                <a:gd name="connsiteX1384" fmla="*/ 1462564 w 1468659"/>
                <a:gd name="connsiteY1384" fmla="*/ 632079 h 1218057"/>
                <a:gd name="connsiteX1385" fmla="*/ 1465326 w 1468659"/>
                <a:gd name="connsiteY1385" fmla="*/ 628459 h 1218057"/>
                <a:gd name="connsiteX1386" fmla="*/ 1464659 w 1468659"/>
                <a:gd name="connsiteY1386" fmla="*/ 623697 h 1218057"/>
                <a:gd name="connsiteX1387" fmla="*/ 1460754 w 1468659"/>
                <a:gd name="connsiteY1387" fmla="*/ 617792 h 1218057"/>
                <a:gd name="connsiteX1388" fmla="*/ 1468660 w 1468659"/>
                <a:gd name="connsiteY1388" fmla="*/ 616839 h 1218057"/>
                <a:gd name="connsiteX1389" fmla="*/ 1468660 w 1468659"/>
                <a:gd name="connsiteY1389" fmla="*/ 616839 h 1218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</a:cxnLst>
              <a:rect l="l" t="t" r="r" b="b"/>
              <a:pathLst>
                <a:path w="1468659" h="1218057">
                  <a:moveTo>
                    <a:pt x="1468660" y="616839"/>
                  </a:moveTo>
                  <a:lnTo>
                    <a:pt x="1453801" y="601027"/>
                  </a:lnTo>
                  <a:lnTo>
                    <a:pt x="1456563" y="597503"/>
                  </a:lnTo>
                  <a:lnTo>
                    <a:pt x="1461230" y="596932"/>
                  </a:lnTo>
                  <a:lnTo>
                    <a:pt x="1459325" y="593979"/>
                  </a:lnTo>
                  <a:lnTo>
                    <a:pt x="1451039" y="591788"/>
                  </a:lnTo>
                  <a:lnTo>
                    <a:pt x="1448086" y="593788"/>
                  </a:lnTo>
                  <a:lnTo>
                    <a:pt x="1449800" y="595122"/>
                  </a:lnTo>
                  <a:lnTo>
                    <a:pt x="1448467" y="596932"/>
                  </a:lnTo>
                  <a:lnTo>
                    <a:pt x="1439132" y="586930"/>
                  </a:lnTo>
                  <a:lnTo>
                    <a:pt x="1435608" y="584168"/>
                  </a:lnTo>
                  <a:lnTo>
                    <a:pt x="1436942" y="582359"/>
                  </a:lnTo>
                  <a:lnTo>
                    <a:pt x="1444847" y="581406"/>
                  </a:lnTo>
                  <a:lnTo>
                    <a:pt x="1446657" y="582739"/>
                  </a:lnTo>
                  <a:lnTo>
                    <a:pt x="1444276" y="576643"/>
                  </a:lnTo>
                  <a:lnTo>
                    <a:pt x="1443038" y="567118"/>
                  </a:lnTo>
                  <a:lnTo>
                    <a:pt x="1436370" y="564832"/>
                  </a:lnTo>
                  <a:lnTo>
                    <a:pt x="1433989" y="571500"/>
                  </a:lnTo>
                  <a:lnTo>
                    <a:pt x="1434751" y="565023"/>
                  </a:lnTo>
                  <a:lnTo>
                    <a:pt x="1427607" y="559498"/>
                  </a:lnTo>
                  <a:lnTo>
                    <a:pt x="1424654" y="561499"/>
                  </a:lnTo>
                  <a:lnTo>
                    <a:pt x="1421321" y="560356"/>
                  </a:lnTo>
                  <a:lnTo>
                    <a:pt x="1420368" y="565213"/>
                  </a:lnTo>
                  <a:lnTo>
                    <a:pt x="1424083" y="569595"/>
                  </a:lnTo>
                  <a:lnTo>
                    <a:pt x="1421321" y="573119"/>
                  </a:lnTo>
                  <a:lnTo>
                    <a:pt x="1416463" y="572167"/>
                  </a:lnTo>
                  <a:lnTo>
                    <a:pt x="1416177" y="570547"/>
                  </a:lnTo>
                  <a:lnTo>
                    <a:pt x="1412462" y="566261"/>
                  </a:lnTo>
                  <a:lnTo>
                    <a:pt x="1404366" y="565690"/>
                  </a:lnTo>
                  <a:lnTo>
                    <a:pt x="1403033" y="567500"/>
                  </a:lnTo>
                  <a:lnTo>
                    <a:pt x="1396270" y="577882"/>
                  </a:lnTo>
                  <a:lnTo>
                    <a:pt x="1391412" y="576929"/>
                  </a:lnTo>
                  <a:lnTo>
                    <a:pt x="1384840" y="576167"/>
                  </a:lnTo>
                  <a:lnTo>
                    <a:pt x="1373410" y="574453"/>
                  </a:lnTo>
                  <a:lnTo>
                    <a:pt x="1373791" y="577596"/>
                  </a:lnTo>
                  <a:lnTo>
                    <a:pt x="1370457" y="576453"/>
                  </a:lnTo>
                  <a:lnTo>
                    <a:pt x="1369123" y="578168"/>
                  </a:lnTo>
                  <a:lnTo>
                    <a:pt x="1367123" y="575215"/>
                  </a:lnTo>
                  <a:lnTo>
                    <a:pt x="1365504" y="575405"/>
                  </a:lnTo>
                  <a:lnTo>
                    <a:pt x="1357789" y="565213"/>
                  </a:lnTo>
                  <a:lnTo>
                    <a:pt x="1354264" y="562451"/>
                  </a:lnTo>
                  <a:lnTo>
                    <a:pt x="1351121" y="562832"/>
                  </a:lnTo>
                  <a:lnTo>
                    <a:pt x="1348168" y="564832"/>
                  </a:lnTo>
                  <a:lnTo>
                    <a:pt x="1346740" y="566642"/>
                  </a:lnTo>
                  <a:lnTo>
                    <a:pt x="1345216" y="566833"/>
                  </a:lnTo>
                  <a:lnTo>
                    <a:pt x="1343025" y="575119"/>
                  </a:lnTo>
                  <a:lnTo>
                    <a:pt x="1340453" y="580263"/>
                  </a:lnTo>
                  <a:lnTo>
                    <a:pt x="1338739" y="578834"/>
                  </a:lnTo>
                  <a:lnTo>
                    <a:pt x="1339501" y="572357"/>
                  </a:lnTo>
                  <a:lnTo>
                    <a:pt x="1330928" y="568643"/>
                  </a:lnTo>
                  <a:lnTo>
                    <a:pt x="1327214" y="564261"/>
                  </a:lnTo>
                  <a:lnTo>
                    <a:pt x="1320260" y="560356"/>
                  </a:lnTo>
                  <a:lnTo>
                    <a:pt x="1318736" y="560546"/>
                  </a:lnTo>
                  <a:lnTo>
                    <a:pt x="1315593" y="560927"/>
                  </a:lnTo>
                  <a:lnTo>
                    <a:pt x="1308640" y="557022"/>
                  </a:lnTo>
                  <a:lnTo>
                    <a:pt x="1309592" y="552069"/>
                  </a:lnTo>
                  <a:lnTo>
                    <a:pt x="1307211" y="545973"/>
                  </a:lnTo>
                  <a:lnTo>
                    <a:pt x="1303496" y="541687"/>
                  </a:lnTo>
                  <a:lnTo>
                    <a:pt x="1302353" y="545021"/>
                  </a:lnTo>
                  <a:lnTo>
                    <a:pt x="1295400" y="541115"/>
                  </a:lnTo>
                  <a:lnTo>
                    <a:pt x="1296352" y="536162"/>
                  </a:lnTo>
                  <a:lnTo>
                    <a:pt x="1294829" y="536353"/>
                  </a:lnTo>
                  <a:lnTo>
                    <a:pt x="1291400" y="535114"/>
                  </a:lnTo>
                  <a:lnTo>
                    <a:pt x="1293590" y="539686"/>
                  </a:lnTo>
                  <a:lnTo>
                    <a:pt x="1290447" y="540068"/>
                  </a:lnTo>
                  <a:lnTo>
                    <a:pt x="1288447" y="537115"/>
                  </a:lnTo>
                  <a:lnTo>
                    <a:pt x="1285875" y="529495"/>
                  </a:lnTo>
                  <a:lnTo>
                    <a:pt x="1285304" y="524732"/>
                  </a:lnTo>
                  <a:lnTo>
                    <a:pt x="1281970" y="523494"/>
                  </a:lnTo>
                  <a:lnTo>
                    <a:pt x="1278731" y="523970"/>
                  </a:lnTo>
                  <a:lnTo>
                    <a:pt x="1282732" y="517017"/>
                  </a:lnTo>
                  <a:lnTo>
                    <a:pt x="1282732" y="517017"/>
                  </a:lnTo>
                  <a:lnTo>
                    <a:pt x="1281875" y="510730"/>
                  </a:lnTo>
                  <a:lnTo>
                    <a:pt x="1285875" y="503777"/>
                  </a:lnTo>
                  <a:lnTo>
                    <a:pt x="1285399" y="500634"/>
                  </a:lnTo>
                  <a:lnTo>
                    <a:pt x="1289399" y="493681"/>
                  </a:lnTo>
                  <a:lnTo>
                    <a:pt x="1285970" y="492538"/>
                  </a:lnTo>
                  <a:lnTo>
                    <a:pt x="1287399" y="490728"/>
                  </a:lnTo>
                  <a:lnTo>
                    <a:pt x="1285208" y="486251"/>
                  </a:lnTo>
                  <a:lnTo>
                    <a:pt x="1283970" y="476726"/>
                  </a:lnTo>
                  <a:lnTo>
                    <a:pt x="1284542" y="468725"/>
                  </a:lnTo>
                  <a:lnTo>
                    <a:pt x="1281017" y="465963"/>
                  </a:lnTo>
                  <a:lnTo>
                    <a:pt x="1274255" y="463582"/>
                  </a:lnTo>
                  <a:lnTo>
                    <a:pt x="1271302" y="465582"/>
                  </a:lnTo>
                  <a:lnTo>
                    <a:pt x="1268159" y="465963"/>
                  </a:lnTo>
                  <a:lnTo>
                    <a:pt x="1266158" y="463010"/>
                  </a:lnTo>
                  <a:lnTo>
                    <a:pt x="1261491" y="463582"/>
                  </a:lnTo>
                  <a:lnTo>
                    <a:pt x="1262063" y="468344"/>
                  </a:lnTo>
                  <a:lnTo>
                    <a:pt x="1255967" y="470725"/>
                  </a:lnTo>
                  <a:lnTo>
                    <a:pt x="1247299" y="465392"/>
                  </a:lnTo>
                  <a:lnTo>
                    <a:pt x="1240917" y="466249"/>
                  </a:lnTo>
                  <a:lnTo>
                    <a:pt x="1236821" y="471583"/>
                  </a:lnTo>
                  <a:lnTo>
                    <a:pt x="1232249" y="473773"/>
                  </a:lnTo>
                  <a:lnTo>
                    <a:pt x="1230344" y="470821"/>
                  </a:lnTo>
                  <a:lnTo>
                    <a:pt x="1226915" y="469582"/>
                  </a:lnTo>
                  <a:lnTo>
                    <a:pt x="1222629" y="473392"/>
                  </a:lnTo>
                  <a:lnTo>
                    <a:pt x="1223010" y="476536"/>
                  </a:lnTo>
                  <a:lnTo>
                    <a:pt x="1218533" y="478726"/>
                  </a:lnTo>
                  <a:lnTo>
                    <a:pt x="1220819" y="471964"/>
                  </a:lnTo>
                  <a:lnTo>
                    <a:pt x="1219105" y="470630"/>
                  </a:lnTo>
                  <a:lnTo>
                    <a:pt x="1221772" y="467011"/>
                  </a:lnTo>
                  <a:lnTo>
                    <a:pt x="1211104" y="458819"/>
                  </a:lnTo>
                  <a:lnTo>
                    <a:pt x="1209770" y="460534"/>
                  </a:lnTo>
                  <a:lnTo>
                    <a:pt x="1204627" y="458057"/>
                  </a:lnTo>
                  <a:lnTo>
                    <a:pt x="1201484" y="458438"/>
                  </a:lnTo>
                  <a:lnTo>
                    <a:pt x="1192816" y="453104"/>
                  </a:lnTo>
                  <a:lnTo>
                    <a:pt x="1186434" y="453866"/>
                  </a:lnTo>
                  <a:lnTo>
                    <a:pt x="1185291" y="457295"/>
                  </a:lnTo>
                  <a:lnTo>
                    <a:pt x="1178909" y="445294"/>
                  </a:lnTo>
                  <a:lnTo>
                    <a:pt x="1174052" y="444246"/>
                  </a:lnTo>
                  <a:lnTo>
                    <a:pt x="1174623" y="449009"/>
                  </a:lnTo>
                  <a:lnTo>
                    <a:pt x="1165003" y="461486"/>
                  </a:lnTo>
                  <a:lnTo>
                    <a:pt x="1155859" y="465868"/>
                  </a:lnTo>
                  <a:lnTo>
                    <a:pt x="1152525" y="464630"/>
                  </a:lnTo>
                  <a:lnTo>
                    <a:pt x="1145858" y="462248"/>
                  </a:lnTo>
                  <a:lnTo>
                    <a:pt x="1137571" y="460153"/>
                  </a:lnTo>
                  <a:lnTo>
                    <a:pt x="1138714" y="456819"/>
                  </a:lnTo>
                  <a:lnTo>
                    <a:pt x="1135952" y="447484"/>
                  </a:lnTo>
                  <a:lnTo>
                    <a:pt x="1137285" y="445770"/>
                  </a:lnTo>
                  <a:lnTo>
                    <a:pt x="1137095" y="444151"/>
                  </a:lnTo>
                  <a:lnTo>
                    <a:pt x="1135285" y="442817"/>
                  </a:lnTo>
                  <a:lnTo>
                    <a:pt x="1132713" y="435102"/>
                  </a:lnTo>
                  <a:lnTo>
                    <a:pt x="1129570" y="435483"/>
                  </a:lnTo>
                  <a:lnTo>
                    <a:pt x="1127379" y="431006"/>
                  </a:lnTo>
                  <a:lnTo>
                    <a:pt x="1124045" y="429768"/>
                  </a:lnTo>
                  <a:lnTo>
                    <a:pt x="1114616" y="431006"/>
                  </a:lnTo>
                  <a:lnTo>
                    <a:pt x="1109091" y="438150"/>
                  </a:lnTo>
                  <a:lnTo>
                    <a:pt x="1103567" y="432435"/>
                  </a:lnTo>
                  <a:lnTo>
                    <a:pt x="1096994" y="431673"/>
                  </a:lnTo>
                  <a:lnTo>
                    <a:pt x="1093089" y="425767"/>
                  </a:lnTo>
                  <a:lnTo>
                    <a:pt x="1094613" y="425482"/>
                  </a:lnTo>
                  <a:lnTo>
                    <a:pt x="1098042" y="426720"/>
                  </a:lnTo>
                  <a:lnTo>
                    <a:pt x="1110996" y="428244"/>
                  </a:lnTo>
                  <a:lnTo>
                    <a:pt x="1112044" y="423291"/>
                  </a:lnTo>
                  <a:lnTo>
                    <a:pt x="1108043" y="417385"/>
                  </a:lnTo>
                  <a:lnTo>
                    <a:pt x="1112330" y="413671"/>
                  </a:lnTo>
                  <a:lnTo>
                    <a:pt x="1112901" y="405575"/>
                  </a:lnTo>
                  <a:lnTo>
                    <a:pt x="1098137" y="402622"/>
                  </a:lnTo>
                  <a:lnTo>
                    <a:pt x="1089851" y="400431"/>
                  </a:lnTo>
                  <a:lnTo>
                    <a:pt x="1088041" y="399097"/>
                  </a:lnTo>
                  <a:lnTo>
                    <a:pt x="1086898" y="402431"/>
                  </a:lnTo>
                  <a:lnTo>
                    <a:pt x="1081945" y="401479"/>
                  </a:lnTo>
                  <a:lnTo>
                    <a:pt x="1083373" y="399669"/>
                  </a:lnTo>
                  <a:lnTo>
                    <a:pt x="1074610" y="394430"/>
                  </a:lnTo>
                  <a:lnTo>
                    <a:pt x="1072420" y="389858"/>
                  </a:lnTo>
                  <a:lnTo>
                    <a:pt x="1068134" y="380809"/>
                  </a:lnTo>
                  <a:lnTo>
                    <a:pt x="1063181" y="379857"/>
                  </a:lnTo>
                  <a:lnTo>
                    <a:pt x="1064133" y="374904"/>
                  </a:lnTo>
                  <a:lnTo>
                    <a:pt x="1062800" y="376618"/>
                  </a:lnTo>
                  <a:lnTo>
                    <a:pt x="1060799" y="373666"/>
                  </a:lnTo>
                  <a:lnTo>
                    <a:pt x="1054894" y="377666"/>
                  </a:lnTo>
                  <a:lnTo>
                    <a:pt x="1053465" y="379476"/>
                  </a:lnTo>
                  <a:lnTo>
                    <a:pt x="1050322" y="379857"/>
                  </a:lnTo>
                  <a:lnTo>
                    <a:pt x="1046035" y="383572"/>
                  </a:lnTo>
                  <a:lnTo>
                    <a:pt x="1041463" y="385763"/>
                  </a:lnTo>
                  <a:lnTo>
                    <a:pt x="1033367" y="398050"/>
                  </a:lnTo>
                  <a:lnTo>
                    <a:pt x="1025080" y="395859"/>
                  </a:lnTo>
                  <a:lnTo>
                    <a:pt x="1024890" y="394335"/>
                  </a:lnTo>
                  <a:lnTo>
                    <a:pt x="1023366" y="394525"/>
                  </a:lnTo>
                  <a:lnTo>
                    <a:pt x="1022699" y="389763"/>
                  </a:lnTo>
                  <a:lnTo>
                    <a:pt x="1018794" y="383857"/>
                  </a:lnTo>
                  <a:lnTo>
                    <a:pt x="1011460" y="376809"/>
                  </a:lnTo>
                  <a:lnTo>
                    <a:pt x="1008507" y="378809"/>
                  </a:lnTo>
                  <a:lnTo>
                    <a:pt x="1006697" y="377380"/>
                  </a:lnTo>
                  <a:lnTo>
                    <a:pt x="1002792" y="371475"/>
                  </a:lnTo>
                  <a:lnTo>
                    <a:pt x="1003745" y="366522"/>
                  </a:lnTo>
                  <a:lnTo>
                    <a:pt x="1000411" y="365379"/>
                  </a:lnTo>
                  <a:lnTo>
                    <a:pt x="999934" y="362236"/>
                  </a:lnTo>
                  <a:lnTo>
                    <a:pt x="991648" y="360045"/>
                  </a:lnTo>
                  <a:lnTo>
                    <a:pt x="984980" y="357664"/>
                  </a:lnTo>
                  <a:lnTo>
                    <a:pt x="988695" y="349186"/>
                  </a:lnTo>
                  <a:lnTo>
                    <a:pt x="988314" y="346043"/>
                  </a:lnTo>
                  <a:lnTo>
                    <a:pt x="981551" y="343662"/>
                  </a:lnTo>
                  <a:lnTo>
                    <a:pt x="974217" y="336613"/>
                  </a:lnTo>
                  <a:lnTo>
                    <a:pt x="972122" y="332042"/>
                  </a:lnTo>
                  <a:lnTo>
                    <a:pt x="971645" y="328898"/>
                  </a:lnTo>
                  <a:lnTo>
                    <a:pt x="974598" y="326993"/>
                  </a:lnTo>
                  <a:lnTo>
                    <a:pt x="974026" y="322231"/>
                  </a:lnTo>
                  <a:lnTo>
                    <a:pt x="978789" y="321659"/>
                  </a:lnTo>
                  <a:lnTo>
                    <a:pt x="978122" y="316897"/>
                  </a:lnTo>
                  <a:lnTo>
                    <a:pt x="979932" y="318230"/>
                  </a:lnTo>
                  <a:lnTo>
                    <a:pt x="983837" y="311372"/>
                  </a:lnTo>
                  <a:lnTo>
                    <a:pt x="986790" y="309372"/>
                  </a:lnTo>
                  <a:lnTo>
                    <a:pt x="990219" y="310515"/>
                  </a:lnTo>
                  <a:lnTo>
                    <a:pt x="991172" y="305562"/>
                  </a:lnTo>
                  <a:lnTo>
                    <a:pt x="986600" y="307753"/>
                  </a:lnTo>
                  <a:lnTo>
                    <a:pt x="985171" y="296704"/>
                  </a:lnTo>
                  <a:lnTo>
                    <a:pt x="981266" y="290798"/>
                  </a:lnTo>
                  <a:lnTo>
                    <a:pt x="973169" y="290227"/>
                  </a:lnTo>
                  <a:lnTo>
                    <a:pt x="964501" y="284988"/>
                  </a:lnTo>
                  <a:lnTo>
                    <a:pt x="962882" y="285179"/>
                  </a:lnTo>
                  <a:lnTo>
                    <a:pt x="960882" y="282226"/>
                  </a:lnTo>
                  <a:lnTo>
                    <a:pt x="963644" y="278606"/>
                  </a:lnTo>
                  <a:lnTo>
                    <a:pt x="963263" y="275463"/>
                  </a:lnTo>
                  <a:lnTo>
                    <a:pt x="961263" y="272510"/>
                  </a:lnTo>
                  <a:lnTo>
                    <a:pt x="962501" y="269176"/>
                  </a:lnTo>
                  <a:lnTo>
                    <a:pt x="965454" y="267176"/>
                  </a:lnTo>
                  <a:lnTo>
                    <a:pt x="962025" y="266033"/>
                  </a:lnTo>
                  <a:lnTo>
                    <a:pt x="963073" y="261080"/>
                  </a:lnTo>
                  <a:lnTo>
                    <a:pt x="966406" y="262223"/>
                  </a:lnTo>
                  <a:lnTo>
                    <a:pt x="969359" y="260223"/>
                  </a:lnTo>
                  <a:lnTo>
                    <a:pt x="970312" y="255365"/>
                  </a:lnTo>
                  <a:lnTo>
                    <a:pt x="969931" y="252127"/>
                  </a:lnTo>
                  <a:lnTo>
                    <a:pt x="971074" y="248793"/>
                  </a:lnTo>
                  <a:lnTo>
                    <a:pt x="970121" y="240887"/>
                  </a:lnTo>
                  <a:lnTo>
                    <a:pt x="973074" y="238982"/>
                  </a:lnTo>
                  <a:lnTo>
                    <a:pt x="972407" y="234220"/>
                  </a:lnTo>
                  <a:lnTo>
                    <a:pt x="975360" y="232219"/>
                  </a:lnTo>
                  <a:lnTo>
                    <a:pt x="977741" y="225552"/>
                  </a:lnTo>
                  <a:lnTo>
                    <a:pt x="974598" y="225933"/>
                  </a:lnTo>
                  <a:lnTo>
                    <a:pt x="973169" y="227743"/>
                  </a:lnTo>
                  <a:lnTo>
                    <a:pt x="968693" y="229838"/>
                  </a:lnTo>
                  <a:lnTo>
                    <a:pt x="968312" y="226695"/>
                  </a:lnTo>
                  <a:lnTo>
                    <a:pt x="969455" y="223361"/>
                  </a:lnTo>
                  <a:lnTo>
                    <a:pt x="972598" y="222980"/>
                  </a:lnTo>
                  <a:lnTo>
                    <a:pt x="976503" y="216027"/>
                  </a:lnTo>
                  <a:lnTo>
                    <a:pt x="976693" y="204788"/>
                  </a:lnTo>
                  <a:lnTo>
                    <a:pt x="979265" y="199644"/>
                  </a:lnTo>
                  <a:lnTo>
                    <a:pt x="984028" y="199072"/>
                  </a:lnTo>
                  <a:lnTo>
                    <a:pt x="986123" y="177927"/>
                  </a:lnTo>
                  <a:lnTo>
                    <a:pt x="985742" y="174784"/>
                  </a:lnTo>
                  <a:lnTo>
                    <a:pt x="982313" y="173641"/>
                  </a:lnTo>
                  <a:lnTo>
                    <a:pt x="980218" y="169069"/>
                  </a:lnTo>
                  <a:lnTo>
                    <a:pt x="981742" y="168878"/>
                  </a:lnTo>
                  <a:lnTo>
                    <a:pt x="984695" y="166878"/>
                  </a:lnTo>
                  <a:lnTo>
                    <a:pt x="987076" y="160210"/>
                  </a:lnTo>
                  <a:lnTo>
                    <a:pt x="990029" y="158210"/>
                  </a:lnTo>
                  <a:lnTo>
                    <a:pt x="987838" y="153638"/>
                  </a:lnTo>
                  <a:lnTo>
                    <a:pt x="988409" y="145542"/>
                  </a:lnTo>
                  <a:lnTo>
                    <a:pt x="986600" y="144209"/>
                  </a:lnTo>
                  <a:lnTo>
                    <a:pt x="986218" y="141065"/>
                  </a:lnTo>
                  <a:lnTo>
                    <a:pt x="987838" y="140875"/>
                  </a:lnTo>
                  <a:lnTo>
                    <a:pt x="980504" y="133731"/>
                  </a:lnTo>
                  <a:lnTo>
                    <a:pt x="980122" y="130588"/>
                  </a:lnTo>
                  <a:lnTo>
                    <a:pt x="978122" y="127635"/>
                  </a:lnTo>
                  <a:lnTo>
                    <a:pt x="976313" y="126301"/>
                  </a:lnTo>
                  <a:lnTo>
                    <a:pt x="969645" y="123920"/>
                  </a:lnTo>
                  <a:lnTo>
                    <a:pt x="970597" y="118967"/>
                  </a:lnTo>
                  <a:lnTo>
                    <a:pt x="972979" y="112300"/>
                  </a:lnTo>
                  <a:lnTo>
                    <a:pt x="978027" y="114776"/>
                  </a:lnTo>
                  <a:lnTo>
                    <a:pt x="977646" y="111633"/>
                  </a:lnTo>
                  <a:lnTo>
                    <a:pt x="981266" y="114395"/>
                  </a:lnTo>
                  <a:lnTo>
                    <a:pt x="984409" y="114014"/>
                  </a:lnTo>
                  <a:lnTo>
                    <a:pt x="992696" y="116205"/>
                  </a:lnTo>
                  <a:lnTo>
                    <a:pt x="996982" y="112395"/>
                  </a:lnTo>
                  <a:lnTo>
                    <a:pt x="998220" y="109061"/>
                  </a:lnTo>
                  <a:lnTo>
                    <a:pt x="994601" y="106299"/>
                  </a:lnTo>
                  <a:lnTo>
                    <a:pt x="991838" y="97060"/>
                  </a:lnTo>
                  <a:lnTo>
                    <a:pt x="987838" y="91154"/>
                  </a:lnTo>
                  <a:lnTo>
                    <a:pt x="986123" y="89725"/>
                  </a:lnTo>
                  <a:lnTo>
                    <a:pt x="990029" y="82867"/>
                  </a:lnTo>
                  <a:lnTo>
                    <a:pt x="985266" y="83439"/>
                  </a:lnTo>
                  <a:lnTo>
                    <a:pt x="984313" y="88392"/>
                  </a:lnTo>
                  <a:lnTo>
                    <a:pt x="982789" y="88582"/>
                  </a:lnTo>
                  <a:lnTo>
                    <a:pt x="977646" y="86011"/>
                  </a:lnTo>
                  <a:lnTo>
                    <a:pt x="975074" y="91154"/>
                  </a:lnTo>
                  <a:lnTo>
                    <a:pt x="970121" y="90202"/>
                  </a:lnTo>
                  <a:lnTo>
                    <a:pt x="967740" y="84106"/>
                  </a:lnTo>
                  <a:lnTo>
                    <a:pt x="960596" y="78581"/>
                  </a:lnTo>
                  <a:lnTo>
                    <a:pt x="964978" y="74771"/>
                  </a:lnTo>
                  <a:lnTo>
                    <a:pt x="959834" y="72200"/>
                  </a:lnTo>
                  <a:lnTo>
                    <a:pt x="957834" y="69247"/>
                  </a:lnTo>
                  <a:lnTo>
                    <a:pt x="959263" y="67532"/>
                  </a:lnTo>
                  <a:lnTo>
                    <a:pt x="957453" y="66104"/>
                  </a:lnTo>
                  <a:lnTo>
                    <a:pt x="955643" y="64770"/>
                  </a:lnTo>
                  <a:lnTo>
                    <a:pt x="954214" y="53721"/>
                  </a:lnTo>
                  <a:lnTo>
                    <a:pt x="949928" y="57436"/>
                  </a:lnTo>
                  <a:lnTo>
                    <a:pt x="951071" y="54102"/>
                  </a:lnTo>
                  <a:lnTo>
                    <a:pt x="950690" y="50959"/>
                  </a:lnTo>
                  <a:lnTo>
                    <a:pt x="949071" y="51149"/>
                  </a:lnTo>
                  <a:lnTo>
                    <a:pt x="950500" y="49339"/>
                  </a:lnTo>
                  <a:lnTo>
                    <a:pt x="949928" y="44672"/>
                  </a:lnTo>
                  <a:lnTo>
                    <a:pt x="944975" y="43625"/>
                  </a:lnTo>
                  <a:lnTo>
                    <a:pt x="948118" y="43243"/>
                  </a:lnTo>
                  <a:lnTo>
                    <a:pt x="951262" y="42863"/>
                  </a:lnTo>
                  <a:lnTo>
                    <a:pt x="951071" y="41243"/>
                  </a:lnTo>
                  <a:lnTo>
                    <a:pt x="944309" y="38957"/>
                  </a:lnTo>
                  <a:lnTo>
                    <a:pt x="943927" y="35814"/>
                  </a:lnTo>
                  <a:lnTo>
                    <a:pt x="942975" y="40672"/>
                  </a:lnTo>
                  <a:lnTo>
                    <a:pt x="939832" y="41148"/>
                  </a:lnTo>
                  <a:lnTo>
                    <a:pt x="937831" y="38195"/>
                  </a:lnTo>
                  <a:lnTo>
                    <a:pt x="934879" y="40100"/>
                  </a:lnTo>
                  <a:lnTo>
                    <a:pt x="931355" y="50197"/>
                  </a:lnTo>
                  <a:lnTo>
                    <a:pt x="933164" y="51625"/>
                  </a:lnTo>
                  <a:lnTo>
                    <a:pt x="931735" y="53340"/>
                  </a:lnTo>
                  <a:lnTo>
                    <a:pt x="928402" y="52197"/>
                  </a:lnTo>
                  <a:lnTo>
                    <a:pt x="927830" y="47434"/>
                  </a:lnTo>
                  <a:lnTo>
                    <a:pt x="924020" y="43148"/>
                  </a:lnTo>
                  <a:lnTo>
                    <a:pt x="922496" y="43339"/>
                  </a:lnTo>
                  <a:lnTo>
                    <a:pt x="917353" y="40767"/>
                  </a:lnTo>
                  <a:lnTo>
                    <a:pt x="911543" y="33528"/>
                  </a:lnTo>
                  <a:lnTo>
                    <a:pt x="906971" y="22860"/>
                  </a:lnTo>
                  <a:lnTo>
                    <a:pt x="900684" y="23622"/>
                  </a:lnTo>
                  <a:lnTo>
                    <a:pt x="884110" y="19336"/>
                  </a:lnTo>
                  <a:lnTo>
                    <a:pt x="881729" y="13240"/>
                  </a:lnTo>
                  <a:lnTo>
                    <a:pt x="872395" y="3143"/>
                  </a:lnTo>
                  <a:lnTo>
                    <a:pt x="873823" y="1429"/>
                  </a:lnTo>
                  <a:lnTo>
                    <a:pt x="872014" y="0"/>
                  </a:lnTo>
                  <a:lnTo>
                    <a:pt x="871252" y="6572"/>
                  </a:lnTo>
                  <a:lnTo>
                    <a:pt x="870490" y="13049"/>
                  </a:lnTo>
                  <a:lnTo>
                    <a:pt x="862584" y="14097"/>
                  </a:lnTo>
                  <a:lnTo>
                    <a:pt x="862775" y="15621"/>
                  </a:lnTo>
                  <a:lnTo>
                    <a:pt x="859822" y="17621"/>
                  </a:lnTo>
                  <a:lnTo>
                    <a:pt x="860012" y="19240"/>
                  </a:lnTo>
                  <a:lnTo>
                    <a:pt x="858298" y="17812"/>
                  </a:lnTo>
                  <a:lnTo>
                    <a:pt x="855535" y="21336"/>
                  </a:lnTo>
                  <a:lnTo>
                    <a:pt x="855726" y="22955"/>
                  </a:lnTo>
                  <a:lnTo>
                    <a:pt x="858869" y="22574"/>
                  </a:lnTo>
                  <a:lnTo>
                    <a:pt x="858298" y="30671"/>
                  </a:lnTo>
                  <a:lnTo>
                    <a:pt x="846677" y="27337"/>
                  </a:lnTo>
                  <a:lnTo>
                    <a:pt x="847058" y="30480"/>
                  </a:lnTo>
                  <a:lnTo>
                    <a:pt x="848868" y="31813"/>
                  </a:lnTo>
                  <a:lnTo>
                    <a:pt x="844105" y="32480"/>
                  </a:lnTo>
                  <a:lnTo>
                    <a:pt x="845630" y="32290"/>
                  </a:lnTo>
                  <a:lnTo>
                    <a:pt x="847630" y="35242"/>
                  </a:lnTo>
                  <a:lnTo>
                    <a:pt x="846296" y="36957"/>
                  </a:lnTo>
                  <a:lnTo>
                    <a:pt x="849630" y="38195"/>
                  </a:lnTo>
                  <a:lnTo>
                    <a:pt x="847058" y="43339"/>
                  </a:lnTo>
                  <a:lnTo>
                    <a:pt x="848868" y="44672"/>
                  </a:lnTo>
                  <a:lnTo>
                    <a:pt x="845725" y="45053"/>
                  </a:lnTo>
                  <a:lnTo>
                    <a:pt x="844487" y="48482"/>
                  </a:lnTo>
                  <a:lnTo>
                    <a:pt x="842963" y="48673"/>
                  </a:lnTo>
                  <a:lnTo>
                    <a:pt x="842201" y="55150"/>
                  </a:lnTo>
                  <a:lnTo>
                    <a:pt x="840581" y="55340"/>
                  </a:lnTo>
                  <a:lnTo>
                    <a:pt x="839438" y="58674"/>
                  </a:lnTo>
                  <a:lnTo>
                    <a:pt x="840962" y="58483"/>
                  </a:lnTo>
                  <a:lnTo>
                    <a:pt x="841438" y="61627"/>
                  </a:lnTo>
                  <a:lnTo>
                    <a:pt x="846296" y="62675"/>
                  </a:lnTo>
                  <a:lnTo>
                    <a:pt x="844010" y="69342"/>
                  </a:lnTo>
                  <a:lnTo>
                    <a:pt x="846010" y="72295"/>
                  </a:lnTo>
                  <a:lnTo>
                    <a:pt x="848963" y="70294"/>
                  </a:lnTo>
                  <a:lnTo>
                    <a:pt x="849344" y="73533"/>
                  </a:lnTo>
                  <a:lnTo>
                    <a:pt x="847725" y="73723"/>
                  </a:lnTo>
                  <a:lnTo>
                    <a:pt x="852868" y="76200"/>
                  </a:lnTo>
                  <a:lnTo>
                    <a:pt x="853250" y="79438"/>
                  </a:lnTo>
                  <a:lnTo>
                    <a:pt x="848773" y="81534"/>
                  </a:lnTo>
                  <a:lnTo>
                    <a:pt x="853440" y="80963"/>
                  </a:lnTo>
                  <a:lnTo>
                    <a:pt x="852106" y="82772"/>
                  </a:lnTo>
                  <a:lnTo>
                    <a:pt x="847534" y="84963"/>
                  </a:lnTo>
                  <a:lnTo>
                    <a:pt x="844201" y="83725"/>
                  </a:lnTo>
                  <a:lnTo>
                    <a:pt x="842867" y="85534"/>
                  </a:lnTo>
                  <a:lnTo>
                    <a:pt x="843058" y="87154"/>
                  </a:lnTo>
                  <a:lnTo>
                    <a:pt x="835343" y="89725"/>
                  </a:lnTo>
                  <a:lnTo>
                    <a:pt x="835533" y="91250"/>
                  </a:lnTo>
                  <a:lnTo>
                    <a:pt x="832390" y="91726"/>
                  </a:lnTo>
                  <a:lnTo>
                    <a:pt x="832009" y="88487"/>
                  </a:lnTo>
                  <a:lnTo>
                    <a:pt x="825722" y="89344"/>
                  </a:lnTo>
                  <a:lnTo>
                    <a:pt x="822293" y="88106"/>
                  </a:lnTo>
                  <a:lnTo>
                    <a:pt x="820960" y="89916"/>
                  </a:lnTo>
                  <a:lnTo>
                    <a:pt x="821341" y="93059"/>
                  </a:lnTo>
                  <a:lnTo>
                    <a:pt x="816578" y="93726"/>
                  </a:lnTo>
                  <a:lnTo>
                    <a:pt x="815054" y="93917"/>
                  </a:lnTo>
                  <a:lnTo>
                    <a:pt x="814102" y="98869"/>
                  </a:lnTo>
                  <a:lnTo>
                    <a:pt x="806958" y="106108"/>
                  </a:lnTo>
                  <a:lnTo>
                    <a:pt x="803624" y="104965"/>
                  </a:lnTo>
                  <a:lnTo>
                    <a:pt x="802481" y="108299"/>
                  </a:lnTo>
                  <a:lnTo>
                    <a:pt x="797528" y="107347"/>
                  </a:lnTo>
                  <a:lnTo>
                    <a:pt x="794766" y="110871"/>
                  </a:lnTo>
                  <a:lnTo>
                    <a:pt x="795147" y="114109"/>
                  </a:lnTo>
                  <a:lnTo>
                    <a:pt x="790384" y="114681"/>
                  </a:lnTo>
                  <a:lnTo>
                    <a:pt x="796195" y="121920"/>
                  </a:lnTo>
                  <a:lnTo>
                    <a:pt x="793433" y="125539"/>
                  </a:lnTo>
                  <a:lnTo>
                    <a:pt x="792671" y="132017"/>
                  </a:lnTo>
                  <a:lnTo>
                    <a:pt x="791242" y="133826"/>
                  </a:lnTo>
                  <a:lnTo>
                    <a:pt x="784765" y="133064"/>
                  </a:lnTo>
                  <a:lnTo>
                    <a:pt x="782764" y="130111"/>
                  </a:lnTo>
                  <a:lnTo>
                    <a:pt x="783908" y="126682"/>
                  </a:lnTo>
                  <a:lnTo>
                    <a:pt x="781145" y="117443"/>
                  </a:lnTo>
                  <a:lnTo>
                    <a:pt x="776192" y="116491"/>
                  </a:lnTo>
                  <a:lnTo>
                    <a:pt x="762572" y="110204"/>
                  </a:lnTo>
                  <a:lnTo>
                    <a:pt x="748760" y="115157"/>
                  </a:lnTo>
                  <a:lnTo>
                    <a:pt x="745617" y="115538"/>
                  </a:lnTo>
                  <a:lnTo>
                    <a:pt x="743426" y="111061"/>
                  </a:lnTo>
                  <a:lnTo>
                    <a:pt x="738759" y="111633"/>
                  </a:lnTo>
                  <a:lnTo>
                    <a:pt x="738283" y="108490"/>
                  </a:lnTo>
                  <a:lnTo>
                    <a:pt x="741235" y="106489"/>
                  </a:lnTo>
                  <a:lnTo>
                    <a:pt x="744379" y="106108"/>
                  </a:lnTo>
                  <a:lnTo>
                    <a:pt x="745426" y="101155"/>
                  </a:lnTo>
                  <a:lnTo>
                    <a:pt x="748189" y="97631"/>
                  </a:lnTo>
                  <a:lnTo>
                    <a:pt x="748760" y="89535"/>
                  </a:lnTo>
                  <a:lnTo>
                    <a:pt x="748284" y="86392"/>
                  </a:lnTo>
                  <a:lnTo>
                    <a:pt x="746760" y="86582"/>
                  </a:lnTo>
                  <a:lnTo>
                    <a:pt x="745331" y="88297"/>
                  </a:lnTo>
                  <a:lnTo>
                    <a:pt x="744379" y="93250"/>
                  </a:lnTo>
                  <a:lnTo>
                    <a:pt x="741426" y="95250"/>
                  </a:lnTo>
                  <a:lnTo>
                    <a:pt x="736473" y="94297"/>
                  </a:lnTo>
                  <a:lnTo>
                    <a:pt x="736949" y="97441"/>
                  </a:lnTo>
                  <a:lnTo>
                    <a:pt x="733711" y="97822"/>
                  </a:lnTo>
                  <a:lnTo>
                    <a:pt x="734568" y="91345"/>
                  </a:lnTo>
                  <a:lnTo>
                    <a:pt x="729425" y="101632"/>
                  </a:lnTo>
                  <a:lnTo>
                    <a:pt x="724472" y="100584"/>
                  </a:lnTo>
                  <a:lnTo>
                    <a:pt x="725900" y="98869"/>
                  </a:lnTo>
                  <a:lnTo>
                    <a:pt x="724281" y="99060"/>
                  </a:lnTo>
                  <a:lnTo>
                    <a:pt x="722947" y="100775"/>
                  </a:lnTo>
                  <a:lnTo>
                    <a:pt x="720947" y="97822"/>
                  </a:lnTo>
                  <a:lnTo>
                    <a:pt x="719518" y="99631"/>
                  </a:lnTo>
                  <a:lnTo>
                    <a:pt x="717804" y="98298"/>
                  </a:lnTo>
                  <a:lnTo>
                    <a:pt x="712851" y="97250"/>
                  </a:lnTo>
                  <a:lnTo>
                    <a:pt x="710851" y="94297"/>
                  </a:lnTo>
                  <a:lnTo>
                    <a:pt x="707898" y="96298"/>
                  </a:lnTo>
                  <a:lnTo>
                    <a:pt x="705136" y="99917"/>
                  </a:lnTo>
                  <a:lnTo>
                    <a:pt x="702945" y="95345"/>
                  </a:lnTo>
                  <a:lnTo>
                    <a:pt x="701612" y="97155"/>
                  </a:lnTo>
                  <a:lnTo>
                    <a:pt x="701135" y="94012"/>
                  </a:lnTo>
                  <a:lnTo>
                    <a:pt x="696659" y="96107"/>
                  </a:lnTo>
                  <a:lnTo>
                    <a:pt x="696468" y="94583"/>
                  </a:lnTo>
                  <a:lnTo>
                    <a:pt x="693134" y="93440"/>
                  </a:lnTo>
                  <a:lnTo>
                    <a:pt x="695420" y="86677"/>
                  </a:lnTo>
                  <a:lnTo>
                    <a:pt x="693706" y="85344"/>
                  </a:lnTo>
                  <a:lnTo>
                    <a:pt x="688943" y="85915"/>
                  </a:lnTo>
                  <a:lnTo>
                    <a:pt x="686181" y="89440"/>
                  </a:lnTo>
                  <a:lnTo>
                    <a:pt x="681228" y="88487"/>
                  </a:lnTo>
                  <a:lnTo>
                    <a:pt x="672560" y="83153"/>
                  </a:lnTo>
                  <a:lnTo>
                    <a:pt x="667798" y="83820"/>
                  </a:lnTo>
                  <a:lnTo>
                    <a:pt x="669608" y="85154"/>
                  </a:lnTo>
                  <a:lnTo>
                    <a:pt x="667226" y="91916"/>
                  </a:lnTo>
                  <a:lnTo>
                    <a:pt x="661130" y="94297"/>
                  </a:lnTo>
                  <a:lnTo>
                    <a:pt x="663130" y="97250"/>
                  </a:lnTo>
                  <a:lnTo>
                    <a:pt x="666274" y="96774"/>
                  </a:lnTo>
                  <a:lnTo>
                    <a:pt x="664845" y="98584"/>
                  </a:lnTo>
                  <a:lnTo>
                    <a:pt x="663321" y="98774"/>
                  </a:lnTo>
                  <a:lnTo>
                    <a:pt x="659511" y="94488"/>
                  </a:lnTo>
                  <a:lnTo>
                    <a:pt x="658368" y="97822"/>
                  </a:lnTo>
                  <a:lnTo>
                    <a:pt x="654844" y="95059"/>
                  </a:lnTo>
                  <a:lnTo>
                    <a:pt x="654368" y="91916"/>
                  </a:lnTo>
                  <a:lnTo>
                    <a:pt x="652843" y="92107"/>
                  </a:lnTo>
                  <a:lnTo>
                    <a:pt x="650653" y="87535"/>
                  </a:lnTo>
                  <a:lnTo>
                    <a:pt x="645890" y="88201"/>
                  </a:lnTo>
                  <a:lnTo>
                    <a:pt x="644938" y="80296"/>
                  </a:lnTo>
                  <a:lnTo>
                    <a:pt x="638556" y="81058"/>
                  </a:lnTo>
                  <a:lnTo>
                    <a:pt x="637413" y="84487"/>
                  </a:lnTo>
                  <a:lnTo>
                    <a:pt x="634270" y="84868"/>
                  </a:lnTo>
                  <a:lnTo>
                    <a:pt x="626173" y="71438"/>
                  </a:lnTo>
                  <a:lnTo>
                    <a:pt x="623030" y="71818"/>
                  </a:lnTo>
                  <a:lnTo>
                    <a:pt x="619220" y="67532"/>
                  </a:lnTo>
                  <a:lnTo>
                    <a:pt x="621601" y="73628"/>
                  </a:lnTo>
                  <a:lnTo>
                    <a:pt x="620077" y="73819"/>
                  </a:lnTo>
                  <a:lnTo>
                    <a:pt x="616458" y="71056"/>
                  </a:lnTo>
                  <a:lnTo>
                    <a:pt x="615125" y="72866"/>
                  </a:lnTo>
                  <a:lnTo>
                    <a:pt x="616648" y="72676"/>
                  </a:lnTo>
                  <a:lnTo>
                    <a:pt x="621030" y="81725"/>
                  </a:lnTo>
                  <a:lnTo>
                    <a:pt x="619697" y="83534"/>
                  </a:lnTo>
                  <a:lnTo>
                    <a:pt x="621411" y="84868"/>
                  </a:lnTo>
                  <a:lnTo>
                    <a:pt x="618649" y="88487"/>
                  </a:lnTo>
                  <a:lnTo>
                    <a:pt x="620649" y="91440"/>
                  </a:lnTo>
                  <a:lnTo>
                    <a:pt x="625412" y="90773"/>
                  </a:lnTo>
                  <a:lnTo>
                    <a:pt x="623983" y="92583"/>
                  </a:lnTo>
                  <a:lnTo>
                    <a:pt x="620649" y="91440"/>
                  </a:lnTo>
                  <a:lnTo>
                    <a:pt x="621030" y="94583"/>
                  </a:lnTo>
                  <a:lnTo>
                    <a:pt x="619506" y="94774"/>
                  </a:lnTo>
                  <a:lnTo>
                    <a:pt x="616934" y="87058"/>
                  </a:lnTo>
                  <a:lnTo>
                    <a:pt x="613791" y="87439"/>
                  </a:lnTo>
                  <a:lnTo>
                    <a:pt x="610172" y="84677"/>
                  </a:lnTo>
                  <a:lnTo>
                    <a:pt x="605504" y="85344"/>
                  </a:lnTo>
                  <a:lnTo>
                    <a:pt x="604266" y="88678"/>
                  </a:lnTo>
                  <a:lnTo>
                    <a:pt x="600932" y="87535"/>
                  </a:lnTo>
                  <a:lnTo>
                    <a:pt x="601123" y="89059"/>
                  </a:lnTo>
                  <a:lnTo>
                    <a:pt x="599504" y="89249"/>
                  </a:lnTo>
                  <a:lnTo>
                    <a:pt x="601504" y="92202"/>
                  </a:lnTo>
                  <a:lnTo>
                    <a:pt x="599980" y="92392"/>
                  </a:lnTo>
                  <a:lnTo>
                    <a:pt x="600170" y="94012"/>
                  </a:lnTo>
                  <a:lnTo>
                    <a:pt x="598360" y="92678"/>
                  </a:lnTo>
                  <a:lnTo>
                    <a:pt x="598551" y="94202"/>
                  </a:lnTo>
                  <a:lnTo>
                    <a:pt x="597218" y="96012"/>
                  </a:lnTo>
                  <a:lnTo>
                    <a:pt x="595217" y="93059"/>
                  </a:lnTo>
                  <a:lnTo>
                    <a:pt x="593884" y="94774"/>
                  </a:lnTo>
                  <a:lnTo>
                    <a:pt x="591502" y="101536"/>
                  </a:lnTo>
                  <a:lnTo>
                    <a:pt x="589883" y="101727"/>
                  </a:lnTo>
                  <a:lnTo>
                    <a:pt x="591122" y="98393"/>
                  </a:lnTo>
                  <a:lnTo>
                    <a:pt x="587693" y="97155"/>
                  </a:lnTo>
                  <a:lnTo>
                    <a:pt x="584930" y="100775"/>
                  </a:lnTo>
                  <a:lnTo>
                    <a:pt x="583978" y="105727"/>
                  </a:lnTo>
                  <a:lnTo>
                    <a:pt x="582454" y="105918"/>
                  </a:lnTo>
                  <a:lnTo>
                    <a:pt x="581787" y="101155"/>
                  </a:lnTo>
                  <a:lnTo>
                    <a:pt x="578644" y="101536"/>
                  </a:lnTo>
                  <a:lnTo>
                    <a:pt x="578263" y="98393"/>
                  </a:lnTo>
                  <a:lnTo>
                    <a:pt x="574929" y="97250"/>
                  </a:lnTo>
                  <a:lnTo>
                    <a:pt x="567595" y="102965"/>
                  </a:lnTo>
                  <a:lnTo>
                    <a:pt x="564261" y="101822"/>
                  </a:lnTo>
                  <a:lnTo>
                    <a:pt x="562451" y="100393"/>
                  </a:lnTo>
                  <a:lnTo>
                    <a:pt x="565595" y="100013"/>
                  </a:lnTo>
                  <a:lnTo>
                    <a:pt x="567023" y="98203"/>
                  </a:lnTo>
                  <a:lnTo>
                    <a:pt x="564833" y="93726"/>
                  </a:lnTo>
                  <a:lnTo>
                    <a:pt x="567595" y="90106"/>
                  </a:lnTo>
                  <a:lnTo>
                    <a:pt x="567214" y="86963"/>
                  </a:lnTo>
                  <a:lnTo>
                    <a:pt x="564071" y="87344"/>
                  </a:lnTo>
                  <a:lnTo>
                    <a:pt x="562261" y="86011"/>
                  </a:lnTo>
                  <a:lnTo>
                    <a:pt x="560451" y="84677"/>
                  </a:lnTo>
                  <a:lnTo>
                    <a:pt x="560451" y="84677"/>
                  </a:lnTo>
                  <a:lnTo>
                    <a:pt x="558260" y="80105"/>
                  </a:lnTo>
                  <a:lnTo>
                    <a:pt x="556927" y="81915"/>
                  </a:lnTo>
                  <a:lnTo>
                    <a:pt x="549783" y="76390"/>
                  </a:lnTo>
                  <a:lnTo>
                    <a:pt x="544068" y="81915"/>
                  </a:lnTo>
                  <a:lnTo>
                    <a:pt x="541877" y="77343"/>
                  </a:lnTo>
                  <a:lnTo>
                    <a:pt x="540544" y="79153"/>
                  </a:lnTo>
                  <a:lnTo>
                    <a:pt x="540353" y="77629"/>
                  </a:lnTo>
                  <a:lnTo>
                    <a:pt x="538543" y="76200"/>
                  </a:lnTo>
                  <a:lnTo>
                    <a:pt x="539115" y="68104"/>
                  </a:lnTo>
                  <a:lnTo>
                    <a:pt x="540448" y="66294"/>
                  </a:lnTo>
                  <a:lnTo>
                    <a:pt x="535114" y="62198"/>
                  </a:lnTo>
                  <a:lnTo>
                    <a:pt x="528638" y="61436"/>
                  </a:lnTo>
                  <a:lnTo>
                    <a:pt x="528256" y="58293"/>
                  </a:lnTo>
                  <a:lnTo>
                    <a:pt x="523684" y="60484"/>
                  </a:lnTo>
                  <a:lnTo>
                    <a:pt x="521303" y="54292"/>
                  </a:lnTo>
                  <a:lnTo>
                    <a:pt x="515588" y="59912"/>
                  </a:lnTo>
                  <a:lnTo>
                    <a:pt x="512445" y="60293"/>
                  </a:lnTo>
                  <a:lnTo>
                    <a:pt x="501587" y="63246"/>
                  </a:lnTo>
                  <a:lnTo>
                    <a:pt x="499396" y="58769"/>
                  </a:lnTo>
                  <a:lnTo>
                    <a:pt x="496634" y="62293"/>
                  </a:lnTo>
                  <a:lnTo>
                    <a:pt x="493490" y="62675"/>
                  </a:lnTo>
                  <a:lnTo>
                    <a:pt x="492157" y="64484"/>
                  </a:lnTo>
                  <a:lnTo>
                    <a:pt x="492538" y="67627"/>
                  </a:lnTo>
                  <a:lnTo>
                    <a:pt x="493585" y="75533"/>
                  </a:lnTo>
                  <a:lnTo>
                    <a:pt x="489013" y="77724"/>
                  </a:lnTo>
                  <a:lnTo>
                    <a:pt x="489395" y="80867"/>
                  </a:lnTo>
                  <a:lnTo>
                    <a:pt x="485108" y="84582"/>
                  </a:lnTo>
                  <a:lnTo>
                    <a:pt x="481965" y="85058"/>
                  </a:lnTo>
                  <a:lnTo>
                    <a:pt x="482346" y="88201"/>
                  </a:lnTo>
                  <a:lnTo>
                    <a:pt x="485299" y="86201"/>
                  </a:lnTo>
                  <a:lnTo>
                    <a:pt x="479584" y="91726"/>
                  </a:lnTo>
                  <a:lnTo>
                    <a:pt x="480155" y="96488"/>
                  </a:lnTo>
                  <a:lnTo>
                    <a:pt x="475297" y="95536"/>
                  </a:lnTo>
                  <a:lnTo>
                    <a:pt x="474821" y="92297"/>
                  </a:lnTo>
                  <a:lnTo>
                    <a:pt x="477774" y="90392"/>
                  </a:lnTo>
                  <a:lnTo>
                    <a:pt x="476059" y="88963"/>
                  </a:lnTo>
                  <a:lnTo>
                    <a:pt x="469868" y="91345"/>
                  </a:lnTo>
                  <a:lnTo>
                    <a:pt x="462058" y="92392"/>
                  </a:lnTo>
                  <a:lnTo>
                    <a:pt x="459105" y="94393"/>
                  </a:lnTo>
                  <a:lnTo>
                    <a:pt x="455676" y="93154"/>
                  </a:lnTo>
                  <a:lnTo>
                    <a:pt x="450818" y="92202"/>
                  </a:lnTo>
                  <a:lnTo>
                    <a:pt x="444437" y="92964"/>
                  </a:lnTo>
                  <a:lnTo>
                    <a:pt x="441293" y="93440"/>
                  </a:lnTo>
                  <a:lnTo>
                    <a:pt x="440150" y="96774"/>
                  </a:lnTo>
                  <a:lnTo>
                    <a:pt x="433006" y="91250"/>
                  </a:lnTo>
                  <a:lnTo>
                    <a:pt x="428244" y="91821"/>
                  </a:lnTo>
                  <a:lnTo>
                    <a:pt x="419957" y="89725"/>
                  </a:lnTo>
                  <a:lnTo>
                    <a:pt x="421196" y="99155"/>
                  </a:lnTo>
                  <a:lnTo>
                    <a:pt x="416052" y="96583"/>
                  </a:lnTo>
                  <a:lnTo>
                    <a:pt x="411480" y="98774"/>
                  </a:lnTo>
                  <a:lnTo>
                    <a:pt x="409766" y="97441"/>
                  </a:lnTo>
                  <a:lnTo>
                    <a:pt x="409384" y="94297"/>
                  </a:lnTo>
                  <a:lnTo>
                    <a:pt x="410527" y="90868"/>
                  </a:lnTo>
                  <a:lnTo>
                    <a:pt x="408527" y="87916"/>
                  </a:lnTo>
                  <a:lnTo>
                    <a:pt x="405384" y="88392"/>
                  </a:lnTo>
                  <a:lnTo>
                    <a:pt x="406146" y="94679"/>
                  </a:lnTo>
                  <a:lnTo>
                    <a:pt x="405003" y="98012"/>
                  </a:lnTo>
                  <a:lnTo>
                    <a:pt x="398526" y="97250"/>
                  </a:lnTo>
                  <a:lnTo>
                    <a:pt x="397097" y="99060"/>
                  </a:lnTo>
                  <a:lnTo>
                    <a:pt x="395097" y="96107"/>
                  </a:lnTo>
                  <a:lnTo>
                    <a:pt x="388810" y="96869"/>
                  </a:lnTo>
                  <a:lnTo>
                    <a:pt x="388620" y="95345"/>
                  </a:lnTo>
                  <a:lnTo>
                    <a:pt x="385667" y="97250"/>
                  </a:lnTo>
                  <a:lnTo>
                    <a:pt x="383667" y="94297"/>
                  </a:lnTo>
                  <a:lnTo>
                    <a:pt x="382143" y="94488"/>
                  </a:lnTo>
                  <a:lnTo>
                    <a:pt x="379762" y="88392"/>
                  </a:lnTo>
                  <a:lnTo>
                    <a:pt x="380714" y="83439"/>
                  </a:lnTo>
                  <a:lnTo>
                    <a:pt x="382048" y="81725"/>
                  </a:lnTo>
                  <a:lnTo>
                    <a:pt x="381286" y="75343"/>
                  </a:lnTo>
                  <a:lnTo>
                    <a:pt x="380905" y="72200"/>
                  </a:lnTo>
                  <a:lnTo>
                    <a:pt x="382238" y="70485"/>
                  </a:lnTo>
                  <a:lnTo>
                    <a:pt x="381857" y="67342"/>
                  </a:lnTo>
                  <a:lnTo>
                    <a:pt x="386620" y="66675"/>
                  </a:lnTo>
                  <a:lnTo>
                    <a:pt x="381667" y="65722"/>
                  </a:lnTo>
                  <a:lnTo>
                    <a:pt x="376142" y="60007"/>
                  </a:lnTo>
                  <a:lnTo>
                    <a:pt x="374713" y="61817"/>
                  </a:lnTo>
                  <a:lnTo>
                    <a:pt x="365284" y="62960"/>
                  </a:lnTo>
                  <a:lnTo>
                    <a:pt x="361950" y="61817"/>
                  </a:lnTo>
                  <a:lnTo>
                    <a:pt x="357950" y="68771"/>
                  </a:lnTo>
                  <a:lnTo>
                    <a:pt x="357759" y="67151"/>
                  </a:lnTo>
                  <a:lnTo>
                    <a:pt x="352044" y="72676"/>
                  </a:lnTo>
                  <a:lnTo>
                    <a:pt x="350330" y="71342"/>
                  </a:lnTo>
                  <a:lnTo>
                    <a:pt x="348901" y="73057"/>
                  </a:lnTo>
                  <a:lnTo>
                    <a:pt x="342233" y="70771"/>
                  </a:lnTo>
                  <a:lnTo>
                    <a:pt x="341471" y="77248"/>
                  </a:lnTo>
                  <a:lnTo>
                    <a:pt x="345376" y="83153"/>
                  </a:lnTo>
                  <a:lnTo>
                    <a:pt x="342614" y="86773"/>
                  </a:lnTo>
                  <a:lnTo>
                    <a:pt x="342233" y="83534"/>
                  </a:lnTo>
                  <a:lnTo>
                    <a:pt x="341471" y="90106"/>
                  </a:lnTo>
                  <a:lnTo>
                    <a:pt x="340042" y="91821"/>
                  </a:lnTo>
                  <a:lnTo>
                    <a:pt x="340519" y="95059"/>
                  </a:lnTo>
                  <a:lnTo>
                    <a:pt x="338900" y="95250"/>
                  </a:lnTo>
                  <a:lnTo>
                    <a:pt x="337566" y="96964"/>
                  </a:lnTo>
                  <a:lnTo>
                    <a:pt x="335566" y="94012"/>
                  </a:lnTo>
                  <a:lnTo>
                    <a:pt x="333946" y="94202"/>
                  </a:lnTo>
                  <a:lnTo>
                    <a:pt x="334327" y="97441"/>
                  </a:lnTo>
                  <a:lnTo>
                    <a:pt x="332804" y="97631"/>
                  </a:lnTo>
                  <a:lnTo>
                    <a:pt x="336709" y="103537"/>
                  </a:lnTo>
                  <a:lnTo>
                    <a:pt x="333566" y="103918"/>
                  </a:lnTo>
                  <a:lnTo>
                    <a:pt x="334042" y="107061"/>
                  </a:lnTo>
                  <a:lnTo>
                    <a:pt x="330803" y="107442"/>
                  </a:lnTo>
                  <a:lnTo>
                    <a:pt x="330041" y="101155"/>
                  </a:lnTo>
                  <a:lnTo>
                    <a:pt x="326898" y="101536"/>
                  </a:lnTo>
                  <a:lnTo>
                    <a:pt x="324707" y="97060"/>
                  </a:lnTo>
                  <a:lnTo>
                    <a:pt x="322135" y="102203"/>
                  </a:lnTo>
                  <a:lnTo>
                    <a:pt x="320612" y="102394"/>
                  </a:lnTo>
                  <a:lnTo>
                    <a:pt x="320992" y="105537"/>
                  </a:lnTo>
                  <a:lnTo>
                    <a:pt x="318230" y="109061"/>
                  </a:lnTo>
                  <a:lnTo>
                    <a:pt x="318611" y="112204"/>
                  </a:lnTo>
                  <a:lnTo>
                    <a:pt x="318992" y="115443"/>
                  </a:lnTo>
                  <a:lnTo>
                    <a:pt x="309372" y="115062"/>
                  </a:lnTo>
                  <a:lnTo>
                    <a:pt x="302609" y="112681"/>
                  </a:lnTo>
                  <a:lnTo>
                    <a:pt x="302038" y="107918"/>
                  </a:lnTo>
                  <a:lnTo>
                    <a:pt x="298704" y="106775"/>
                  </a:lnTo>
                  <a:lnTo>
                    <a:pt x="290036" y="114300"/>
                  </a:lnTo>
                  <a:lnTo>
                    <a:pt x="290989" y="122206"/>
                  </a:lnTo>
                  <a:lnTo>
                    <a:pt x="290989" y="122206"/>
                  </a:lnTo>
                  <a:lnTo>
                    <a:pt x="289465" y="122396"/>
                  </a:lnTo>
                  <a:lnTo>
                    <a:pt x="285083" y="126111"/>
                  </a:lnTo>
                  <a:lnTo>
                    <a:pt x="284702" y="122968"/>
                  </a:lnTo>
                  <a:lnTo>
                    <a:pt x="275463" y="125730"/>
                  </a:lnTo>
                  <a:lnTo>
                    <a:pt x="273463" y="122777"/>
                  </a:lnTo>
                  <a:lnTo>
                    <a:pt x="268700" y="123444"/>
                  </a:lnTo>
                  <a:lnTo>
                    <a:pt x="268129" y="118681"/>
                  </a:lnTo>
                  <a:lnTo>
                    <a:pt x="264605" y="115919"/>
                  </a:lnTo>
                  <a:lnTo>
                    <a:pt x="263366" y="119253"/>
                  </a:lnTo>
                  <a:lnTo>
                    <a:pt x="257080" y="120110"/>
                  </a:lnTo>
                  <a:lnTo>
                    <a:pt x="261366" y="116300"/>
                  </a:lnTo>
                  <a:lnTo>
                    <a:pt x="260985" y="113157"/>
                  </a:lnTo>
                  <a:lnTo>
                    <a:pt x="263938" y="111157"/>
                  </a:lnTo>
                  <a:lnTo>
                    <a:pt x="256032" y="112204"/>
                  </a:lnTo>
                  <a:lnTo>
                    <a:pt x="254698" y="114014"/>
                  </a:lnTo>
                  <a:lnTo>
                    <a:pt x="251174" y="111252"/>
                  </a:lnTo>
                  <a:lnTo>
                    <a:pt x="248984" y="106680"/>
                  </a:lnTo>
                  <a:lnTo>
                    <a:pt x="249746" y="100203"/>
                  </a:lnTo>
                  <a:lnTo>
                    <a:pt x="239649" y="96679"/>
                  </a:lnTo>
                  <a:lnTo>
                    <a:pt x="235077" y="98869"/>
                  </a:lnTo>
                  <a:lnTo>
                    <a:pt x="235363" y="100393"/>
                  </a:lnTo>
                  <a:lnTo>
                    <a:pt x="238696" y="101536"/>
                  </a:lnTo>
                  <a:lnTo>
                    <a:pt x="234125" y="103727"/>
                  </a:lnTo>
                  <a:lnTo>
                    <a:pt x="230410" y="112204"/>
                  </a:lnTo>
                  <a:lnTo>
                    <a:pt x="227076" y="111061"/>
                  </a:lnTo>
                  <a:lnTo>
                    <a:pt x="227267" y="112681"/>
                  </a:lnTo>
                  <a:lnTo>
                    <a:pt x="225457" y="111252"/>
                  </a:lnTo>
                  <a:lnTo>
                    <a:pt x="222694" y="114871"/>
                  </a:lnTo>
                  <a:lnTo>
                    <a:pt x="220790" y="111919"/>
                  </a:lnTo>
                  <a:lnTo>
                    <a:pt x="222123" y="110109"/>
                  </a:lnTo>
                  <a:lnTo>
                    <a:pt x="220504" y="110300"/>
                  </a:lnTo>
                  <a:lnTo>
                    <a:pt x="219170" y="112109"/>
                  </a:lnTo>
                  <a:lnTo>
                    <a:pt x="217742" y="113824"/>
                  </a:lnTo>
                  <a:lnTo>
                    <a:pt x="216408" y="102775"/>
                  </a:lnTo>
                  <a:lnTo>
                    <a:pt x="214979" y="104584"/>
                  </a:lnTo>
                  <a:lnTo>
                    <a:pt x="213265" y="103251"/>
                  </a:lnTo>
                  <a:lnTo>
                    <a:pt x="210407" y="93917"/>
                  </a:lnTo>
                  <a:lnTo>
                    <a:pt x="207264" y="94393"/>
                  </a:lnTo>
                  <a:lnTo>
                    <a:pt x="209264" y="97346"/>
                  </a:lnTo>
                  <a:lnTo>
                    <a:pt x="202978" y="98107"/>
                  </a:lnTo>
                  <a:lnTo>
                    <a:pt x="203740" y="104394"/>
                  </a:lnTo>
                  <a:lnTo>
                    <a:pt x="198977" y="105061"/>
                  </a:lnTo>
                  <a:lnTo>
                    <a:pt x="199453" y="108204"/>
                  </a:lnTo>
                  <a:lnTo>
                    <a:pt x="192500" y="104299"/>
                  </a:lnTo>
                  <a:lnTo>
                    <a:pt x="186023" y="103442"/>
                  </a:lnTo>
                  <a:lnTo>
                    <a:pt x="182499" y="113538"/>
                  </a:lnTo>
                  <a:lnTo>
                    <a:pt x="180880" y="113729"/>
                  </a:lnTo>
                  <a:lnTo>
                    <a:pt x="180880" y="113729"/>
                  </a:lnTo>
                  <a:lnTo>
                    <a:pt x="170974" y="111823"/>
                  </a:lnTo>
                  <a:lnTo>
                    <a:pt x="169259" y="110395"/>
                  </a:lnTo>
                  <a:lnTo>
                    <a:pt x="165925" y="109252"/>
                  </a:lnTo>
                  <a:lnTo>
                    <a:pt x="164687" y="112585"/>
                  </a:lnTo>
                  <a:lnTo>
                    <a:pt x="160401" y="116396"/>
                  </a:lnTo>
                  <a:lnTo>
                    <a:pt x="159163" y="119729"/>
                  </a:lnTo>
                  <a:lnTo>
                    <a:pt x="164306" y="122301"/>
                  </a:lnTo>
                  <a:lnTo>
                    <a:pt x="164782" y="125444"/>
                  </a:lnTo>
                  <a:lnTo>
                    <a:pt x="163544" y="128778"/>
                  </a:lnTo>
                  <a:lnTo>
                    <a:pt x="160211" y="127635"/>
                  </a:lnTo>
                  <a:lnTo>
                    <a:pt x="159067" y="130969"/>
                  </a:lnTo>
                  <a:lnTo>
                    <a:pt x="155829" y="131350"/>
                  </a:lnTo>
                  <a:lnTo>
                    <a:pt x="157829" y="134302"/>
                  </a:lnTo>
                  <a:lnTo>
                    <a:pt x="156496" y="136112"/>
                  </a:lnTo>
                  <a:lnTo>
                    <a:pt x="157258" y="142399"/>
                  </a:lnTo>
                  <a:lnTo>
                    <a:pt x="160592" y="143637"/>
                  </a:lnTo>
                  <a:lnTo>
                    <a:pt x="163830" y="143161"/>
                  </a:lnTo>
                  <a:lnTo>
                    <a:pt x="164021" y="144780"/>
                  </a:lnTo>
                  <a:lnTo>
                    <a:pt x="163830" y="143161"/>
                  </a:lnTo>
                  <a:lnTo>
                    <a:pt x="170307" y="144018"/>
                  </a:lnTo>
                  <a:lnTo>
                    <a:pt x="170497" y="145542"/>
                  </a:lnTo>
                  <a:lnTo>
                    <a:pt x="164021" y="144780"/>
                  </a:lnTo>
                  <a:lnTo>
                    <a:pt x="165925" y="147733"/>
                  </a:lnTo>
                  <a:lnTo>
                    <a:pt x="164782" y="151067"/>
                  </a:lnTo>
                  <a:lnTo>
                    <a:pt x="165925" y="147733"/>
                  </a:lnTo>
                  <a:lnTo>
                    <a:pt x="167545" y="147542"/>
                  </a:lnTo>
                  <a:lnTo>
                    <a:pt x="167926" y="150685"/>
                  </a:lnTo>
                  <a:lnTo>
                    <a:pt x="165163" y="154210"/>
                  </a:lnTo>
                  <a:lnTo>
                    <a:pt x="168402" y="153829"/>
                  </a:lnTo>
                  <a:lnTo>
                    <a:pt x="167164" y="157163"/>
                  </a:lnTo>
                  <a:lnTo>
                    <a:pt x="169545" y="163354"/>
                  </a:lnTo>
                  <a:lnTo>
                    <a:pt x="166592" y="165259"/>
                  </a:lnTo>
                  <a:lnTo>
                    <a:pt x="165640" y="170212"/>
                  </a:lnTo>
                  <a:lnTo>
                    <a:pt x="168973" y="171355"/>
                  </a:lnTo>
                  <a:lnTo>
                    <a:pt x="167640" y="173164"/>
                  </a:lnTo>
                  <a:lnTo>
                    <a:pt x="168021" y="176308"/>
                  </a:lnTo>
                  <a:lnTo>
                    <a:pt x="166878" y="179642"/>
                  </a:lnTo>
                  <a:lnTo>
                    <a:pt x="168592" y="181070"/>
                  </a:lnTo>
                  <a:lnTo>
                    <a:pt x="170783" y="185642"/>
                  </a:lnTo>
                  <a:lnTo>
                    <a:pt x="172402" y="185452"/>
                  </a:lnTo>
                  <a:lnTo>
                    <a:pt x="172784" y="188595"/>
                  </a:lnTo>
                  <a:lnTo>
                    <a:pt x="174593" y="189929"/>
                  </a:lnTo>
                  <a:lnTo>
                    <a:pt x="174974" y="193072"/>
                  </a:lnTo>
                  <a:lnTo>
                    <a:pt x="178117" y="192691"/>
                  </a:lnTo>
                  <a:lnTo>
                    <a:pt x="178308" y="194310"/>
                  </a:lnTo>
                  <a:lnTo>
                    <a:pt x="175165" y="194691"/>
                  </a:lnTo>
                  <a:lnTo>
                    <a:pt x="177165" y="197644"/>
                  </a:lnTo>
                  <a:lnTo>
                    <a:pt x="185261" y="198215"/>
                  </a:lnTo>
                  <a:lnTo>
                    <a:pt x="185452" y="199739"/>
                  </a:lnTo>
                  <a:lnTo>
                    <a:pt x="182309" y="200215"/>
                  </a:lnTo>
                  <a:lnTo>
                    <a:pt x="175736" y="199358"/>
                  </a:lnTo>
                  <a:lnTo>
                    <a:pt x="173165" y="204502"/>
                  </a:lnTo>
                  <a:lnTo>
                    <a:pt x="174974" y="205930"/>
                  </a:lnTo>
                  <a:lnTo>
                    <a:pt x="173450" y="206121"/>
                  </a:lnTo>
                  <a:lnTo>
                    <a:pt x="169450" y="213074"/>
                  </a:lnTo>
                  <a:lnTo>
                    <a:pt x="166306" y="213455"/>
                  </a:lnTo>
                  <a:lnTo>
                    <a:pt x="168116" y="214789"/>
                  </a:lnTo>
                  <a:lnTo>
                    <a:pt x="165544" y="219932"/>
                  </a:lnTo>
                  <a:lnTo>
                    <a:pt x="166402" y="226219"/>
                  </a:lnTo>
                  <a:lnTo>
                    <a:pt x="168116" y="227647"/>
                  </a:lnTo>
                  <a:lnTo>
                    <a:pt x="164211" y="234505"/>
                  </a:lnTo>
                  <a:lnTo>
                    <a:pt x="162592" y="234791"/>
                  </a:lnTo>
                  <a:lnTo>
                    <a:pt x="163068" y="237934"/>
                  </a:lnTo>
                  <a:lnTo>
                    <a:pt x="164592" y="237744"/>
                  </a:lnTo>
                  <a:lnTo>
                    <a:pt x="163259" y="239459"/>
                  </a:lnTo>
                  <a:lnTo>
                    <a:pt x="164782" y="239268"/>
                  </a:lnTo>
                  <a:lnTo>
                    <a:pt x="163449" y="241078"/>
                  </a:lnTo>
                  <a:lnTo>
                    <a:pt x="167354" y="246983"/>
                  </a:lnTo>
                  <a:lnTo>
                    <a:pt x="166402" y="251936"/>
                  </a:lnTo>
                  <a:lnTo>
                    <a:pt x="171926" y="257651"/>
                  </a:lnTo>
                  <a:lnTo>
                    <a:pt x="173926" y="260604"/>
                  </a:lnTo>
                  <a:lnTo>
                    <a:pt x="170974" y="262604"/>
                  </a:lnTo>
                  <a:lnTo>
                    <a:pt x="174307" y="263747"/>
                  </a:lnTo>
                  <a:lnTo>
                    <a:pt x="171164" y="264128"/>
                  </a:lnTo>
                  <a:lnTo>
                    <a:pt x="171355" y="265747"/>
                  </a:lnTo>
                  <a:lnTo>
                    <a:pt x="174498" y="265271"/>
                  </a:lnTo>
                  <a:lnTo>
                    <a:pt x="178308" y="269653"/>
                  </a:lnTo>
                  <a:lnTo>
                    <a:pt x="181261" y="267652"/>
                  </a:lnTo>
                  <a:lnTo>
                    <a:pt x="180118" y="270986"/>
                  </a:lnTo>
                  <a:lnTo>
                    <a:pt x="183451" y="272225"/>
                  </a:lnTo>
                  <a:lnTo>
                    <a:pt x="182690" y="278701"/>
                  </a:lnTo>
                  <a:lnTo>
                    <a:pt x="184594" y="281654"/>
                  </a:lnTo>
                  <a:lnTo>
                    <a:pt x="181261" y="280511"/>
                  </a:lnTo>
                  <a:lnTo>
                    <a:pt x="181642" y="283655"/>
                  </a:lnTo>
                  <a:lnTo>
                    <a:pt x="180118" y="283845"/>
                  </a:lnTo>
                  <a:lnTo>
                    <a:pt x="176022" y="289179"/>
                  </a:lnTo>
                  <a:lnTo>
                    <a:pt x="177736" y="290513"/>
                  </a:lnTo>
                  <a:lnTo>
                    <a:pt x="180308" y="285464"/>
                  </a:lnTo>
                  <a:lnTo>
                    <a:pt x="181356" y="293275"/>
                  </a:lnTo>
                  <a:lnTo>
                    <a:pt x="183071" y="294704"/>
                  </a:lnTo>
                  <a:lnTo>
                    <a:pt x="175165" y="295656"/>
                  </a:lnTo>
                  <a:lnTo>
                    <a:pt x="171450" y="304229"/>
                  </a:lnTo>
                  <a:lnTo>
                    <a:pt x="169164" y="310896"/>
                  </a:lnTo>
                  <a:lnTo>
                    <a:pt x="171069" y="313849"/>
                  </a:lnTo>
                  <a:lnTo>
                    <a:pt x="167926" y="314230"/>
                  </a:lnTo>
                  <a:lnTo>
                    <a:pt x="170497" y="321945"/>
                  </a:lnTo>
                  <a:lnTo>
                    <a:pt x="169354" y="325279"/>
                  </a:lnTo>
                  <a:lnTo>
                    <a:pt x="168021" y="327088"/>
                  </a:lnTo>
                  <a:lnTo>
                    <a:pt x="159639" y="324898"/>
                  </a:lnTo>
                  <a:lnTo>
                    <a:pt x="155162" y="327088"/>
                  </a:lnTo>
                  <a:lnTo>
                    <a:pt x="154210" y="332042"/>
                  </a:lnTo>
                  <a:lnTo>
                    <a:pt x="151067" y="332422"/>
                  </a:lnTo>
                  <a:lnTo>
                    <a:pt x="146494" y="334613"/>
                  </a:lnTo>
                  <a:lnTo>
                    <a:pt x="144494" y="344519"/>
                  </a:lnTo>
                  <a:lnTo>
                    <a:pt x="136017" y="340805"/>
                  </a:lnTo>
                  <a:lnTo>
                    <a:pt x="139065" y="351663"/>
                  </a:lnTo>
                  <a:lnTo>
                    <a:pt x="136112" y="353568"/>
                  </a:lnTo>
                  <a:lnTo>
                    <a:pt x="134493" y="353759"/>
                  </a:lnTo>
                  <a:lnTo>
                    <a:pt x="138684" y="361283"/>
                  </a:lnTo>
                  <a:lnTo>
                    <a:pt x="141827" y="360902"/>
                  </a:lnTo>
                  <a:lnTo>
                    <a:pt x="145161" y="362045"/>
                  </a:lnTo>
                  <a:lnTo>
                    <a:pt x="144399" y="368617"/>
                  </a:lnTo>
                  <a:lnTo>
                    <a:pt x="141446" y="370522"/>
                  </a:lnTo>
                  <a:lnTo>
                    <a:pt x="140684" y="377095"/>
                  </a:lnTo>
                  <a:lnTo>
                    <a:pt x="137541" y="377476"/>
                  </a:lnTo>
                  <a:lnTo>
                    <a:pt x="134398" y="377857"/>
                  </a:lnTo>
                  <a:lnTo>
                    <a:pt x="130588" y="373571"/>
                  </a:lnTo>
                  <a:lnTo>
                    <a:pt x="126111" y="375761"/>
                  </a:lnTo>
                  <a:lnTo>
                    <a:pt x="119539" y="374999"/>
                  </a:lnTo>
                  <a:lnTo>
                    <a:pt x="118205" y="376714"/>
                  </a:lnTo>
                  <a:lnTo>
                    <a:pt x="121729" y="379476"/>
                  </a:lnTo>
                  <a:lnTo>
                    <a:pt x="121348" y="389192"/>
                  </a:lnTo>
                  <a:lnTo>
                    <a:pt x="124301" y="400050"/>
                  </a:lnTo>
                  <a:lnTo>
                    <a:pt x="127540" y="399574"/>
                  </a:lnTo>
                  <a:lnTo>
                    <a:pt x="129254" y="401002"/>
                  </a:lnTo>
                  <a:lnTo>
                    <a:pt x="138970" y="401384"/>
                  </a:lnTo>
                  <a:lnTo>
                    <a:pt x="141922" y="399383"/>
                  </a:lnTo>
                  <a:lnTo>
                    <a:pt x="143923" y="402336"/>
                  </a:lnTo>
                  <a:lnTo>
                    <a:pt x="140684" y="402717"/>
                  </a:lnTo>
                  <a:lnTo>
                    <a:pt x="133636" y="410051"/>
                  </a:lnTo>
                  <a:lnTo>
                    <a:pt x="133826" y="411575"/>
                  </a:lnTo>
                  <a:lnTo>
                    <a:pt x="137827" y="417576"/>
                  </a:lnTo>
                  <a:lnTo>
                    <a:pt x="136207" y="417767"/>
                  </a:lnTo>
                  <a:lnTo>
                    <a:pt x="129730" y="417005"/>
                  </a:lnTo>
                  <a:lnTo>
                    <a:pt x="129540" y="415385"/>
                  </a:lnTo>
                  <a:lnTo>
                    <a:pt x="124396" y="412813"/>
                  </a:lnTo>
                  <a:lnTo>
                    <a:pt x="123444" y="417767"/>
                  </a:lnTo>
                  <a:lnTo>
                    <a:pt x="125158" y="419100"/>
                  </a:lnTo>
                  <a:lnTo>
                    <a:pt x="126016" y="425482"/>
                  </a:lnTo>
                  <a:lnTo>
                    <a:pt x="119253" y="423100"/>
                  </a:lnTo>
                  <a:lnTo>
                    <a:pt x="113538" y="428625"/>
                  </a:lnTo>
                  <a:lnTo>
                    <a:pt x="115348" y="430054"/>
                  </a:lnTo>
                  <a:lnTo>
                    <a:pt x="115729" y="433197"/>
                  </a:lnTo>
                  <a:lnTo>
                    <a:pt x="112395" y="431959"/>
                  </a:lnTo>
                  <a:lnTo>
                    <a:pt x="110966" y="433768"/>
                  </a:lnTo>
                  <a:lnTo>
                    <a:pt x="111633" y="438531"/>
                  </a:lnTo>
                  <a:lnTo>
                    <a:pt x="114776" y="438150"/>
                  </a:lnTo>
                  <a:lnTo>
                    <a:pt x="113157" y="438340"/>
                  </a:lnTo>
                  <a:lnTo>
                    <a:pt x="114014" y="444627"/>
                  </a:lnTo>
                  <a:lnTo>
                    <a:pt x="116776" y="441103"/>
                  </a:lnTo>
                  <a:lnTo>
                    <a:pt x="116396" y="450723"/>
                  </a:lnTo>
                  <a:lnTo>
                    <a:pt x="124682" y="452914"/>
                  </a:lnTo>
                  <a:lnTo>
                    <a:pt x="126206" y="452723"/>
                  </a:lnTo>
                  <a:lnTo>
                    <a:pt x="125063" y="456057"/>
                  </a:lnTo>
                  <a:lnTo>
                    <a:pt x="128397" y="457200"/>
                  </a:lnTo>
                  <a:lnTo>
                    <a:pt x="129445" y="465106"/>
                  </a:lnTo>
                  <a:lnTo>
                    <a:pt x="132017" y="472821"/>
                  </a:lnTo>
                  <a:lnTo>
                    <a:pt x="127730" y="476536"/>
                  </a:lnTo>
                  <a:lnTo>
                    <a:pt x="122587" y="473964"/>
                  </a:lnTo>
                  <a:lnTo>
                    <a:pt x="119348" y="474440"/>
                  </a:lnTo>
                  <a:lnTo>
                    <a:pt x="112490" y="483298"/>
                  </a:lnTo>
                  <a:lnTo>
                    <a:pt x="113157" y="500825"/>
                  </a:lnTo>
                  <a:lnTo>
                    <a:pt x="113347" y="502444"/>
                  </a:lnTo>
                  <a:lnTo>
                    <a:pt x="108775" y="504634"/>
                  </a:lnTo>
                  <a:lnTo>
                    <a:pt x="110776" y="507587"/>
                  </a:lnTo>
                  <a:lnTo>
                    <a:pt x="112204" y="505777"/>
                  </a:lnTo>
                  <a:lnTo>
                    <a:pt x="112395" y="507397"/>
                  </a:lnTo>
                  <a:lnTo>
                    <a:pt x="115348" y="505396"/>
                  </a:lnTo>
                  <a:lnTo>
                    <a:pt x="115538" y="507016"/>
                  </a:lnTo>
                  <a:lnTo>
                    <a:pt x="112776" y="510540"/>
                  </a:lnTo>
                  <a:lnTo>
                    <a:pt x="111633" y="513874"/>
                  </a:lnTo>
                  <a:lnTo>
                    <a:pt x="110966" y="509111"/>
                  </a:lnTo>
                  <a:lnTo>
                    <a:pt x="109442" y="509397"/>
                  </a:lnTo>
                  <a:lnTo>
                    <a:pt x="105823" y="506635"/>
                  </a:lnTo>
                  <a:lnTo>
                    <a:pt x="103061" y="510159"/>
                  </a:lnTo>
                  <a:lnTo>
                    <a:pt x="101346" y="508825"/>
                  </a:lnTo>
                  <a:lnTo>
                    <a:pt x="96965" y="512540"/>
                  </a:lnTo>
                  <a:lnTo>
                    <a:pt x="88868" y="511969"/>
                  </a:lnTo>
                  <a:lnTo>
                    <a:pt x="89535" y="516731"/>
                  </a:lnTo>
                  <a:lnTo>
                    <a:pt x="86582" y="518731"/>
                  </a:lnTo>
                  <a:lnTo>
                    <a:pt x="86963" y="521875"/>
                  </a:lnTo>
                  <a:lnTo>
                    <a:pt x="84011" y="523780"/>
                  </a:lnTo>
                  <a:lnTo>
                    <a:pt x="79057" y="522827"/>
                  </a:lnTo>
                  <a:lnTo>
                    <a:pt x="78105" y="527780"/>
                  </a:lnTo>
                  <a:lnTo>
                    <a:pt x="68008" y="537115"/>
                  </a:lnTo>
                  <a:lnTo>
                    <a:pt x="66103" y="534162"/>
                  </a:lnTo>
                  <a:lnTo>
                    <a:pt x="64103" y="531209"/>
                  </a:lnTo>
                  <a:lnTo>
                    <a:pt x="59341" y="531781"/>
                  </a:lnTo>
                  <a:lnTo>
                    <a:pt x="50863" y="528066"/>
                  </a:lnTo>
                  <a:lnTo>
                    <a:pt x="53816" y="526066"/>
                  </a:lnTo>
                  <a:lnTo>
                    <a:pt x="53626" y="524447"/>
                  </a:lnTo>
                  <a:lnTo>
                    <a:pt x="40576" y="522922"/>
                  </a:lnTo>
                  <a:lnTo>
                    <a:pt x="39243" y="524732"/>
                  </a:lnTo>
                  <a:lnTo>
                    <a:pt x="39433" y="526256"/>
                  </a:lnTo>
                  <a:lnTo>
                    <a:pt x="46101" y="528638"/>
                  </a:lnTo>
                  <a:lnTo>
                    <a:pt x="48101" y="531590"/>
                  </a:lnTo>
                  <a:lnTo>
                    <a:pt x="46768" y="533400"/>
                  </a:lnTo>
                  <a:lnTo>
                    <a:pt x="43720" y="535400"/>
                  </a:lnTo>
                  <a:lnTo>
                    <a:pt x="41434" y="542068"/>
                  </a:lnTo>
                  <a:lnTo>
                    <a:pt x="41624" y="543687"/>
                  </a:lnTo>
                  <a:lnTo>
                    <a:pt x="40481" y="547021"/>
                  </a:lnTo>
                  <a:lnTo>
                    <a:pt x="39433" y="551974"/>
                  </a:lnTo>
                  <a:lnTo>
                    <a:pt x="42863" y="553117"/>
                  </a:lnTo>
                  <a:lnTo>
                    <a:pt x="44386" y="565785"/>
                  </a:lnTo>
                  <a:lnTo>
                    <a:pt x="43244" y="569119"/>
                  </a:lnTo>
                  <a:lnTo>
                    <a:pt x="32385" y="572072"/>
                  </a:lnTo>
                  <a:lnTo>
                    <a:pt x="32575" y="573691"/>
                  </a:lnTo>
                  <a:lnTo>
                    <a:pt x="35433" y="582930"/>
                  </a:lnTo>
                  <a:lnTo>
                    <a:pt x="42481" y="588455"/>
                  </a:lnTo>
                  <a:lnTo>
                    <a:pt x="44482" y="591407"/>
                  </a:lnTo>
                  <a:lnTo>
                    <a:pt x="42386" y="599694"/>
                  </a:lnTo>
                  <a:lnTo>
                    <a:pt x="50292" y="611505"/>
                  </a:lnTo>
                  <a:lnTo>
                    <a:pt x="51054" y="617792"/>
                  </a:lnTo>
                  <a:lnTo>
                    <a:pt x="49911" y="621221"/>
                  </a:lnTo>
                  <a:lnTo>
                    <a:pt x="47720" y="629507"/>
                  </a:lnTo>
                  <a:lnTo>
                    <a:pt x="34957" y="642366"/>
                  </a:lnTo>
                  <a:lnTo>
                    <a:pt x="31147" y="637984"/>
                  </a:lnTo>
                  <a:lnTo>
                    <a:pt x="27813" y="636842"/>
                  </a:lnTo>
                  <a:lnTo>
                    <a:pt x="25813" y="633889"/>
                  </a:lnTo>
                  <a:lnTo>
                    <a:pt x="24289" y="634079"/>
                  </a:lnTo>
                  <a:lnTo>
                    <a:pt x="24670" y="637222"/>
                  </a:lnTo>
                  <a:lnTo>
                    <a:pt x="15049" y="649700"/>
                  </a:lnTo>
                  <a:lnTo>
                    <a:pt x="13240" y="661130"/>
                  </a:lnTo>
                  <a:lnTo>
                    <a:pt x="5048" y="671798"/>
                  </a:lnTo>
                  <a:lnTo>
                    <a:pt x="7048" y="674751"/>
                  </a:lnTo>
                  <a:lnTo>
                    <a:pt x="6191" y="681228"/>
                  </a:lnTo>
                  <a:lnTo>
                    <a:pt x="6858" y="685990"/>
                  </a:lnTo>
                  <a:lnTo>
                    <a:pt x="1524" y="694658"/>
                  </a:lnTo>
                  <a:lnTo>
                    <a:pt x="2096" y="699421"/>
                  </a:lnTo>
                  <a:lnTo>
                    <a:pt x="0" y="707707"/>
                  </a:lnTo>
                  <a:lnTo>
                    <a:pt x="3905" y="713613"/>
                  </a:lnTo>
                  <a:lnTo>
                    <a:pt x="10668" y="715994"/>
                  </a:lnTo>
                  <a:lnTo>
                    <a:pt x="9715" y="720947"/>
                  </a:lnTo>
                  <a:lnTo>
                    <a:pt x="10668" y="728853"/>
                  </a:lnTo>
                  <a:lnTo>
                    <a:pt x="15621" y="729805"/>
                  </a:lnTo>
                  <a:lnTo>
                    <a:pt x="18383" y="726186"/>
                  </a:lnTo>
                  <a:lnTo>
                    <a:pt x="25527" y="731710"/>
                  </a:lnTo>
                  <a:lnTo>
                    <a:pt x="28289" y="728186"/>
                  </a:lnTo>
                  <a:lnTo>
                    <a:pt x="31242" y="726186"/>
                  </a:lnTo>
                  <a:lnTo>
                    <a:pt x="38957" y="736473"/>
                  </a:lnTo>
                  <a:lnTo>
                    <a:pt x="36767" y="744760"/>
                  </a:lnTo>
                  <a:lnTo>
                    <a:pt x="40957" y="752189"/>
                  </a:lnTo>
                  <a:lnTo>
                    <a:pt x="52006" y="763619"/>
                  </a:lnTo>
                  <a:lnTo>
                    <a:pt x="51435" y="758952"/>
                  </a:lnTo>
                  <a:lnTo>
                    <a:pt x="54388" y="756952"/>
                  </a:lnTo>
                  <a:lnTo>
                    <a:pt x="58483" y="751618"/>
                  </a:lnTo>
                  <a:lnTo>
                    <a:pt x="64960" y="752380"/>
                  </a:lnTo>
                  <a:lnTo>
                    <a:pt x="66770" y="753713"/>
                  </a:lnTo>
                  <a:lnTo>
                    <a:pt x="61055" y="759238"/>
                  </a:lnTo>
                  <a:lnTo>
                    <a:pt x="59912" y="762667"/>
                  </a:lnTo>
                  <a:lnTo>
                    <a:pt x="69818" y="777430"/>
                  </a:lnTo>
                  <a:lnTo>
                    <a:pt x="71247" y="788480"/>
                  </a:lnTo>
                  <a:lnTo>
                    <a:pt x="72771" y="788289"/>
                  </a:lnTo>
                  <a:lnTo>
                    <a:pt x="74771" y="791242"/>
                  </a:lnTo>
                  <a:lnTo>
                    <a:pt x="82486" y="814292"/>
                  </a:lnTo>
                  <a:lnTo>
                    <a:pt x="87630" y="816864"/>
                  </a:lnTo>
                  <a:lnTo>
                    <a:pt x="92773" y="819340"/>
                  </a:lnTo>
                  <a:lnTo>
                    <a:pt x="91630" y="822770"/>
                  </a:lnTo>
                  <a:lnTo>
                    <a:pt x="94202" y="830389"/>
                  </a:lnTo>
                  <a:lnTo>
                    <a:pt x="97726" y="833152"/>
                  </a:lnTo>
                  <a:lnTo>
                    <a:pt x="104108" y="832390"/>
                  </a:lnTo>
                  <a:lnTo>
                    <a:pt x="105823" y="833723"/>
                  </a:lnTo>
                  <a:lnTo>
                    <a:pt x="114871" y="829437"/>
                  </a:lnTo>
                  <a:lnTo>
                    <a:pt x="126778" y="834295"/>
                  </a:lnTo>
                  <a:lnTo>
                    <a:pt x="132683" y="830294"/>
                  </a:lnTo>
                  <a:lnTo>
                    <a:pt x="136779" y="824960"/>
                  </a:lnTo>
                  <a:lnTo>
                    <a:pt x="141922" y="827532"/>
                  </a:lnTo>
                  <a:lnTo>
                    <a:pt x="142970" y="835438"/>
                  </a:lnTo>
                  <a:lnTo>
                    <a:pt x="151067" y="848868"/>
                  </a:lnTo>
                  <a:lnTo>
                    <a:pt x="148685" y="855536"/>
                  </a:lnTo>
                  <a:lnTo>
                    <a:pt x="160020" y="881348"/>
                  </a:lnTo>
                  <a:lnTo>
                    <a:pt x="160401" y="884491"/>
                  </a:lnTo>
                  <a:lnTo>
                    <a:pt x="164401" y="890492"/>
                  </a:lnTo>
                  <a:lnTo>
                    <a:pt x="170688" y="889635"/>
                  </a:lnTo>
                  <a:lnTo>
                    <a:pt x="180594" y="891635"/>
                  </a:lnTo>
                  <a:lnTo>
                    <a:pt x="176594" y="898493"/>
                  </a:lnTo>
                  <a:lnTo>
                    <a:pt x="183737" y="904018"/>
                  </a:lnTo>
                  <a:lnTo>
                    <a:pt x="182975" y="910495"/>
                  </a:lnTo>
                  <a:lnTo>
                    <a:pt x="194881" y="928306"/>
                  </a:lnTo>
                  <a:lnTo>
                    <a:pt x="190405" y="943261"/>
                  </a:lnTo>
                  <a:lnTo>
                    <a:pt x="187833" y="948404"/>
                  </a:lnTo>
                  <a:lnTo>
                    <a:pt x="193357" y="954119"/>
                  </a:lnTo>
                  <a:lnTo>
                    <a:pt x="208597" y="960215"/>
                  </a:lnTo>
                  <a:lnTo>
                    <a:pt x="216217" y="957644"/>
                  </a:lnTo>
                  <a:lnTo>
                    <a:pt x="218408" y="962120"/>
                  </a:lnTo>
                  <a:lnTo>
                    <a:pt x="224504" y="959739"/>
                  </a:lnTo>
                  <a:lnTo>
                    <a:pt x="236220" y="963073"/>
                  </a:lnTo>
                  <a:lnTo>
                    <a:pt x="247079" y="972979"/>
                  </a:lnTo>
                  <a:lnTo>
                    <a:pt x="253937" y="976884"/>
                  </a:lnTo>
                  <a:lnTo>
                    <a:pt x="265462" y="991457"/>
                  </a:lnTo>
                  <a:lnTo>
                    <a:pt x="270986" y="997172"/>
                  </a:lnTo>
                  <a:lnTo>
                    <a:pt x="271367" y="1000315"/>
                  </a:lnTo>
                  <a:lnTo>
                    <a:pt x="274796" y="1001458"/>
                  </a:lnTo>
                  <a:lnTo>
                    <a:pt x="275368" y="1006221"/>
                  </a:lnTo>
                  <a:lnTo>
                    <a:pt x="286417" y="1017651"/>
                  </a:lnTo>
                  <a:lnTo>
                    <a:pt x="289560" y="1017270"/>
                  </a:lnTo>
                  <a:lnTo>
                    <a:pt x="293180" y="1019937"/>
                  </a:lnTo>
                  <a:lnTo>
                    <a:pt x="297275" y="1027462"/>
                  </a:lnTo>
                  <a:lnTo>
                    <a:pt x="306991" y="1027843"/>
                  </a:lnTo>
                  <a:lnTo>
                    <a:pt x="312515" y="1033558"/>
                  </a:lnTo>
                  <a:lnTo>
                    <a:pt x="317278" y="1032986"/>
                  </a:lnTo>
                  <a:lnTo>
                    <a:pt x="330327" y="1034510"/>
                  </a:lnTo>
                  <a:lnTo>
                    <a:pt x="333851" y="1037272"/>
                  </a:lnTo>
                  <a:lnTo>
                    <a:pt x="334804" y="1045178"/>
                  </a:lnTo>
                  <a:lnTo>
                    <a:pt x="336423" y="1044988"/>
                  </a:lnTo>
                  <a:lnTo>
                    <a:pt x="333851" y="1050036"/>
                  </a:lnTo>
                  <a:lnTo>
                    <a:pt x="340138" y="1049274"/>
                  </a:lnTo>
                  <a:lnTo>
                    <a:pt x="338995" y="1052608"/>
                  </a:lnTo>
                  <a:lnTo>
                    <a:pt x="344329" y="1056799"/>
                  </a:lnTo>
                  <a:lnTo>
                    <a:pt x="346520" y="1061275"/>
                  </a:lnTo>
                  <a:lnTo>
                    <a:pt x="344900" y="1061466"/>
                  </a:lnTo>
                  <a:lnTo>
                    <a:pt x="343567" y="1063276"/>
                  </a:lnTo>
                  <a:lnTo>
                    <a:pt x="350710" y="1068800"/>
                  </a:lnTo>
                  <a:lnTo>
                    <a:pt x="351092" y="1071944"/>
                  </a:lnTo>
                  <a:lnTo>
                    <a:pt x="354425" y="1073087"/>
                  </a:lnTo>
                  <a:lnTo>
                    <a:pt x="358997" y="1070896"/>
                  </a:lnTo>
                  <a:lnTo>
                    <a:pt x="365855" y="1074896"/>
                  </a:lnTo>
                  <a:lnTo>
                    <a:pt x="369284" y="1076039"/>
                  </a:lnTo>
                  <a:lnTo>
                    <a:pt x="368903" y="1085659"/>
                  </a:lnTo>
                  <a:lnTo>
                    <a:pt x="368141" y="1092232"/>
                  </a:lnTo>
                  <a:lnTo>
                    <a:pt x="364141" y="1099185"/>
                  </a:lnTo>
                  <a:lnTo>
                    <a:pt x="355663" y="1095375"/>
                  </a:lnTo>
                  <a:lnTo>
                    <a:pt x="343281" y="1098614"/>
                  </a:lnTo>
                  <a:lnTo>
                    <a:pt x="342709" y="1106710"/>
                  </a:lnTo>
                  <a:lnTo>
                    <a:pt x="338138" y="1108900"/>
                  </a:lnTo>
                  <a:lnTo>
                    <a:pt x="335375" y="1112425"/>
                  </a:lnTo>
                  <a:lnTo>
                    <a:pt x="333851" y="1112615"/>
                  </a:lnTo>
                  <a:lnTo>
                    <a:pt x="342900" y="1121092"/>
                  </a:lnTo>
                  <a:lnTo>
                    <a:pt x="343091" y="1122712"/>
                  </a:lnTo>
                  <a:lnTo>
                    <a:pt x="348425" y="1126807"/>
                  </a:lnTo>
                  <a:lnTo>
                    <a:pt x="347091" y="1128617"/>
                  </a:lnTo>
                  <a:lnTo>
                    <a:pt x="356521" y="1127379"/>
                  </a:lnTo>
                  <a:lnTo>
                    <a:pt x="359950" y="1128522"/>
                  </a:lnTo>
                  <a:lnTo>
                    <a:pt x="359569" y="1138238"/>
                  </a:lnTo>
                  <a:lnTo>
                    <a:pt x="354806" y="1138809"/>
                  </a:lnTo>
                  <a:lnTo>
                    <a:pt x="356806" y="1141762"/>
                  </a:lnTo>
                  <a:lnTo>
                    <a:pt x="355568" y="1145096"/>
                  </a:lnTo>
                  <a:lnTo>
                    <a:pt x="362331" y="1147477"/>
                  </a:lnTo>
                  <a:lnTo>
                    <a:pt x="362712" y="1150620"/>
                  </a:lnTo>
                  <a:lnTo>
                    <a:pt x="364903" y="1155192"/>
                  </a:lnTo>
                  <a:lnTo>
                    <a:pt x="370808" y="1151191"/>
                  </a:lnTo>
                  <a:lnTo>
                    <a:pt x="375761" y="1152239"/>
                  </a:lnTo>
                  <a:lnTo>
                    <a:pt x="373189" y="1157288"/>
                  </a:lnTo>
                  <a:lnTo>
                    <a:pt x="374237" y="1165193"/>
                  </a:lnTo>
                  <a:lnTo>
                    <a:pt x="375761" y="1165003"/>
                  </a:lnTo>
                  <a:lnTo>
                    <a:pt x="378333" y="1159859"/>
                  </a:lnTo>
                  <a:lnTo>
                    <a:pt x="394525" y="1161002"/>
                  </a:lnTo>
                  <a:lnTo>
                    <a:pt x="394525" y="1161002"/>
                  </a:lnTo>
                  <a:lnTo>
                    <a:pt x="396335" y="1162431"/>
                  </a:lnTo>
                  <a:lnTo>
                    <a:pt x="393954" y="1169098"/>
                  </a:lnTo>
                  <a:lnTo>
                    <a:pt x="400812" y="1173004"/>
                  </a:lnTo>
                  <a:lnTo>
                    <a:pt x="410337" y="1171861"/>
                  </a:lnTo>
                  <a:lnTo>
                    <a:pt x="420529" y="1164146"/>
                  </a:lnTo>
                  <a:lnTo>
                    <a:pt x="429101" y="1167860"/>
                  </a:lnTo>
                  <a:lnTo>
                    <a:pt x="435197" y="1165479"/>
                  </a:lnTo>
                  <a:lnTo>
                    <a:pt x="440531" y="1169575"/>
                  </a:lnTo>
                  <a:lnTo>
                    <a:pt x="442055" y="1169384"/>
                  </a:lnTo>
                  <a:lnTo>
                    <a:pt x="442722" y="1174147"/>
                  </a:lnTo>
                  <a:lnTo>
                    <a:pt x="451961" y="1171384"/>
                  </a:lnTo>
                  <a:lnTo>
                    <a:pt x="453580" y="1171099"/>
                  </a:lnTo>
                  <a:lnTo>
                    <a:pt x="453295" y="1169575"/>
                  </a:lnTo>
                  <a:lnTo>
                    <a:pt x="456533" y="1169194"/>
                  </a:lnTo>
                  <a:lnTo>
                    <a:pt x="459867" y="1170337"/>
                  </a:lnTo>
                  <a:lnTo>
                    <a:pt x="466344" y="1171099"/>
                  </a:lnTo>
                  <a:lnTo>
                    <a:pt x="479965" y="1177385"/>
                  </a:lnTo>
                  <a:lnTo>
                    <a:pt x="488251" y="1179576"/>
                  </a:lnTo>
                  <a:lnTo>
                    <a:pt x="496824" y="1183291"/>
                  </a:lnTo>
                  <a:lnTo>
                    <a:pt x="497396" y="1188053"/>
                  </a:lnTo>
                  <a:lnTo>
                    <a:pt x="511207" y="1183005"/>
                  </a:lnTo>
                  <a:lnTo>
                    <a:pt x="521017" y="1185005"/>
                  </a:lnTo>
                  <a:lnTo>
                    <a:pt x="527018" y="1193864"/>
                  </a:lnTo>
                  <a:lnTo>
                    <a:pt x="549307" y="1205484"/>
                  </a:lnTo>
                  <a:lnTo>
                    <a:pt x="555879" y="1206246"/>
                  </a:lnTo>
                  <a:lnTo>
                    <a:pt x="558832" y="1204246"/>
                  </a:lnTo>
                  <a:lnTo>
                    <a:pt x="560165" y="1215295"/>
                  </a:lnTo>
                  <a:lnTo>
                    <a:pt x="563785" y="1218057"/>
                  </a:lnTo>
                  <a:lnTo>
                    <a:pt x="571405" y="1215485"/>
                  </a:lnTo>
                  <a:lnTo>
                    <a:pt x="573786" y="1208723"/>
                  </a:lnTo>
                  <a:lnTo>
                    <a:pt x="579882" y="1206341"/>
                  </a:lnTo>
                  <a:lnTo>
                    <a:pt x="579120" y="1200055"/>
                  </a:lnTo>
                  <a:lnTo>
                    <a:pt x="583025" y="1193102"/>
                  </a:lnTo>
                  <a:lnTo>
                    <a:pt x="589312" y="1192339"/>
                  </a:lnTo>
                  <a:lnTo>
                    <a:pt x="591693" y="1198436"/>
                  </a:lnTo>
                  <a:lnTo>
                    <a:pt x="595122" y="1199579"/>
                  </a:lnTo>
                  <a:lnTo>
                    <a:pt x="599789" y="1199007"/>
                  </a:lnTo>
                  <a:lnTo>
                    <a:pt x="604361" y="1196816"/>
                  </a:lnTo>
                  <a:lnTo>
                    <a:pt x="608267" y="1189958"/>
                  </a:lnTo>
                  <a:lnTo>
                    <a:pt x="606076" y="1185386"/>
                  </a:lnTo>
                  <a:lnTo>
                    <a:pt x="604076" y="1182433"/>
                  </a:lnTo>
                  <a:lnTo>
                    <a:pt x="602933" y="1173004"/>
                  </a:lnTo>
                  <a:lnTo>
                    <a:pt x="605885" y="1171004"/>
                  </a:lnTo>
                  <a:lnTo>
                    <a:pt x="609409" y="1173766"/>
                  </a:lnTo>
                  <a:lnTo>
                    <a:pt x="615696" y="1172908"/>
                  </a:lnTo>
                  <a:lnTo>
                    <a:pt x="617315" y="1172718"/>
                  </a:lnTo>
                  <a:lnTo>
                    <a:pt x="623792" y="1173480"/>
                  </a:lnTo>
                  <a:lnTo>
                    <a:pt x="630746" y="1177481"/>
                  </a:lnTo>
                  <a:lnTo>
                    <a:pt x="635698" y="1178433"/>
                  </a:lnTo>
                  <a:lnTo>
                    <a:pt x="637604" y="1168527"/>
                  </a:lnTo>
                  <a:lnTo>
                    <a:pt x="643509" y="1164527"/>
                  </a:lnTo>
                  <a:lnTo>
                    <a:pt x="644271" y="1158049"/>
                  </a:lnTo>
                  <a:lnTo>
                    <a:pt x="648081" y="1149572"/>
                  </a:lnTo>
                  <a:lnTo>
                    <a:pt x="647033" y="1141666"/>
                  </a:lnTo>
                  <a:lnTo>
                    <a:pt x="651129" y="1136332"/>
                  </a:lnTo>
                  <a:lnTo>
                    <a:pt x="654558" y="1137475"/>
                  </a:lnTo>
                  <a:lnTo>
                    <a:pt x="651701" y="1128236"/>
                  </a:lnTo>
                  <a:lnTo>
                    <a:pt x="644462" y="1121188"/>
                  </a:lnTo>
                  <a:lnTo>
                    <a:pt x="643604" y="1114806"/>
                  </a:lnTo>
                  <a:lnTo>
                    <a:pt x="651510" y="1113854"/>
                  </a:lnTo>
                  <a:lnTo>
                    <a:pt x="654844" y="1114997"/>
                  </a:lnTo>
                  <a:lnTo>
                    <a:pt x="662559" y="1112425"/>
                  </a:lnTo>
                  <a:lnTo>
                    <a:pt x="662368" y="1110901"/>
                  </a:lnTo>
                  <a:lnTo>
                    <a:pt x="664559" y="1115378"/>
                  </a:lnTo>
                  <a:lnTo>
                    <a:pt x="668084" y="1118140"/>
                  </a:lnTo>
                  <a:lnTo>
                    <a:pt x="666559" y="1118330"/>
                  </a:lnTo>
                  <a:lnTo>
                    <a:pt x="666750" y="1119949"/>
                  </a:lnTo>
                  <a:lnTo>
                    <a:pt x="672275" y="1125664"/>
                  </a:lnTo>
                  <a:lnTo>
                    <a:pt x="679133" y="1129570"/>
                  </a:lnTo>
                  <a:lnTo>
                    <a:pt x="681514" y="1135666"/>
                  </a:lnTo>
                  <a:lnTo>
                    <a:pt x="680371" y="1138999"/>
                  </a:lnTo>
                  <a:lnTo>
                    <a:pt x="683895" y="1141762"/>
                  </a:lnTo>
                  <a:lnTo>
                    <a:pt x="687896" y="1147667"/>
                  </a:lnTo>
                  <a:lnTo>
                    <a:pt x="692277" y="1143953"/>
                  </a:lnTo>
                  <a:lnTo>
                    <a:pt x="698563" y="1143095"/>
                  </a:lnTo>
                  <a:lnTo>
                    <a:pt x="704088" y="1148810"/>
                  </a:lnTo>
                  <a:lnTo>
                    <a:pt x="718661" y="1150144"/>
                  </a:lnTo>
                  <a:lnTo>
                    <a:pt x="720662" y="1153097"/>
                  </a:lnTo>
                  <a:lnTo>
                    <a:pt x="723043" y="1159288"/>
                  </a:lnTo>
                  <a:lnTo>
                    <a:pt x="728377" y="1163383"/>
                  </a:lnTo>
                  <a:lnTo>
                    <a:pt x="731330" y="1161383"/>
                  </a:lnTo>
                  <a:lnTo>
                    <a:pt x="730758" y="1156716"/>
                  </a:lnTo>
                  <a:lnTo>
                    <a:pt x="733901" y="1156240"/>
                  </a:lnTo>
                  <a:lnTo>
                    <a:pt x="736854" y="1154335"/>
                  </a:lnTo>
                  <a:lnTo>
                    <a:pt x="739997" y="1153858"/>
                  </a:lnTo>
                  <a:lnTo>
                    <a:pt x="744093" y="1148524"/>
                  </a:lnTo>
                  <a:lnTo>
                    <a:pt x="750475" y="1147763"/>
                  </a:lnTo>
                  <a:lnTo>
                    <a:pt x="755713" y="1139095"/>
                  </a:lnTo>
                  <a:lnTo>
                    <a:pt x="758476" y="1135475"/>
                  </a:lnTo>
                  <a:lnTo>
                    <a:pt x="764858" y="1134713"/>
                  </a:lnTo>
                  <a:lnTo>
                    <a:pt x="769144" y="1143762"/>
                  </a:lnTo>
                  <a:lnTo>
                    <a:pt x="772954" y="1160907"/>
                  </a:lnTo>
                  <a:lnTo>
                    <a:pt x="776383" y="1162050"/>
                  </a:lnTo>
                  <a:lnTo>
                    <a:pt x="779717" y="1163288"/>
                  </a:lnTo>
                  <a:lnTo>
                    <a:pt x="790099" y="1157097"/>
                  </a:lnTo>
                  <a:lnTo>
                    <a:pt x="796671" y="1170718"/>
                  </a:lnTo>
                  <a:lnTo>
                    <a:pt x="802291" y="1189291"/>
                  </a:lnTo>
                  <a:lnTo>
                    <a:pt x="816483" y="1187482"/>
                  </a:lnTo>
                  <a:lnTo>
                    <a:pt x="820769" y="1183672"/>
                  </a:lnTo>
                  <a:lnTo>
                    <a:pt x="821150" y="1186815"/>
                  </a:lnTo>
                  <a:lnTo>
                    <a:pt x="824103" y="1184910"/>
                  </a:lnTo>
                  <a:lnTo>
                    <a:pt x="829437" y="1189006"/>
                  </a:lnTo>
                  <a:lnTo>
                    <a:pt x="833628" y="1183672"/>
                  </a:lnTo>
                  <a:lnTo>
                    <a:pt x="832771" y="1177385"/>
                  </a:lnTo>
                  <a:lnTo>
                    <a:pt x="837343" y="1175195"/>
                  </a:lnTo>
                  <a:lnTo>
                    <a:pt x="836962" y="1172051"/>
                  </a:lnTo>
                  <a:lnTo>
                    <a:pt x="844201" y="1166241"/>
                  </a:lnTo>
                  <a:lnTo>
                    <a:pt x="838676" y="1147763"/>
                  </a:lnTo>
                  <a:lnTo>
                    <a:pt x="845058" y="1122902"/>
                  </a:lnTo>
                  <a:lnTo>
                    <a:pt x="843534" y="1123093"/>
                  </a:lnTo>
                  <a:lnTo>
                    <a:pt x="841915" y="1110424"/>
                  </a:lnTo>
                  <a:lnTo>
                    <a:pt x="837152" y="1110996"/>
                  </a:lnTo>
                  <a:lnTo>
                    <a:pt x="844582" y="1081183"/>
                  </a:lnTo>
                  <a:lnTo>
                    <a:pt x="847344" y="1077658"/>
                  </a:lnTo>
                  <a:lnTo>
                    <a:pt x="847725" y="1068038"/>
                  </a:lnTo>
                  <a:lnTo>
                    <a:pt x="854202" y="1055941"/>
                  </a:lnTo>
                  <a:lnTo>
                    <a:pt x="856964" y="1052417"/>
                  </a:lnTo>
                  <a:lnTo>
                    <a:pt x="867823" y="1049369"/>
                  </a:lnTo>
                  <a:lnTo>
                    <a:pt x="870204" y="1042702"/>
                  </a:lnTo>
                  <a:lnTo>
                    <a:pt x="881253" y="1041273"/>
                  </a:lnTo>
                  <a:lnTo>
                    <a:pt x="889921" y="1033748"/>
                  </a:lnTo>
                  <a:lnTo>
                    <a:pt x="890873" y="1028795"/>
                  </a:lnTo>
                  <a:lnTo>
                    <a:pt x="893635" y="1025271"/>
                  </a:lnTo>
                  <a:lnTo>
                    <a:pt x="894588" y="1020318"/>
                  </a:lnTo>
                  <a:lnTo>
                    <a:pt x="899160" y="1018127"/>
                  </a:lnTo>
                  <a:lnTo>
                    <a:pt x="898874" y="1016603"/>
                  </a:lnTo>
                  <a:lnTo>
                    <a:pt x="900684" y="1017937"/>
                  </a:lnTo>
                  <a:lnTo>
                    <a:pt x="905256" y="1015746"/>
                  </a:lnTo>
                  <a:lnTo>
                    <a:pt x="900113" y="1000411"/>
                  </a:lnTo>
                  <a:lnTo>
                    <a:pt x="907733" y="984980"/>
                  </a:lnTo>
                  <a:lnTo>
                    <a:pt x="906875" y="978694"/>
                  </a:lnTo>
                  <a:lnTo>
                    <a:pt x="904494" y="972598"/>
                  </a:lnTo>
                  <a:lnTo>
                    <a:pt x="905923" y="970788"/>
                  </a:lnTo>
                  <a:lnTo>
                    <a:pt x="905066" y="964502"/>
                  </a:lnTo>
                  <a:lnTo>
                    <a:pt x="912781" y="961834"/>
                  </a:lnTo>
                  <a:lnTo>
                    <a:pt x="915734" y="959930"/>
                  </a:lnTo>
                  <a:lnTo>
                    <a:pt x="920877" y="962406"/>
                  </a:lnTo>
                  <a:lnTo>
                    <a:pt x="927163" y="961644"/>
                  </a:lnTo>
                  <a:lnTo>
                    <a:pt x="929926" y="958120"/>
                  </a:lnTo>
                  <a:lnTo>
                    <a:pt x="932307" y="964216"/>
                  </a:lnTo>
                  <a:lnTo>
                    <a:pt x="932307" y="964216"/>
                  </a:lnTo>
                  <a:lnTo>
                    <a:pt x="933736" y="962406"/>
                  </a:lnTo>
                  <a:lnTo>
                    <a:pt x="935736" y="965359"/>
                  </a:lnTo>
                  <a:lnTo>
                    <a:pt x="939260" y="968121"/>
                  </a:lnTo>
                  <a:lnTo>
                    <a:pt x="940594" y="966311"/>
                  </a:lnTo>
                  <a:lnTo>
                    <a:pt x="944023" y="967549"/>
                  </a:lnTo>
                  <a:lnTo>
                    <a:pt x="948118" y="962215"/>
                  </a:lnTo>
                  <a:lnTo>
                    <a:pt x="953072" y="963168"/>
                  </a:lnTo>
                  <a:lnTo>
                    <a:pt x="959930" y="967073"/>
                  </a:lnTo>
                  <a:lnTo>
                    <a:pt x="958977" y="972026"/>
                  </a:lnTo>
                  <a:lnTo>
                    <a:pt x="960787" y="973455"/>
                  </a:lnTo>
                  <a:lnTo>
                    <a:pt x="968693" y="972407"/>
                  </a:lnTo>
                  <a:lnTo>
                    <a:pt x="972217" y="975170"/>
                  </a:lnTo>
                  <a:lnTo>
                    <a:pt x="977360" y="977741"/>
                  </a:lnTo>
                  <a:lnTo>
                    <a:pt x="981932" y="975550"/>
                  </a:lnTo>
                  <a:lnTo>
                    <a:pt x="988790" y="979456"/>
                  </a:lnTo>
                  <a:lnTo>
                    <a:pt x="993743" y="980408"/>
                  </a:lnTo>
                  <a:lnTo>
                    <a:pt x="997458" y="984790"/>
                  </a:lnTo>
                  <a:lnTo>
                    <a:pt x="1002411" y="985742"/>
                  </a:lnTo>
                  <a:lnTo>
                    <a:pt x="1005364" y="983742"/>
                  </a:lnTo>
                  <a:lnTo>
                    <a:pt x="1012508" y="989266"/>
                  </a:lnTo>
                  <a:lnTo>
                    <a:pt x="1015079" y="984123"/>
                  </a:lnTo>
                  <a:lnTo>
                    <a:pt x="1018222" y="983742"/>
                  </a:lnTo>
                  <a:lnTo>
                    <a:pt x="1023938" y="978217"/>
                  </a:lnTo>
                  <a:lnTo>
                    <a:pt x="1027652" y="969740"/>
                  </a:lnTo>
                  <a:lnTo>
                    <a:pt x="1025843" y="968312"/>
                  </a:lnTo>
                  <a:lnTo>
                    <a:pt x="1027081" y="964978"/>
                  </a:lnTo>
                  <a:lnTo>
                    <a:pt x="1026890" y="963358"/>
                  </a:lnTo>
                  <a:lnTo>
                    <a:pt x="1011269" y="954119"/>
                  </a:lnTo>
                  <a:lnTo>
                    <a:pt x="1011079" y="952595"/>
                  </a:lnTo>
                  <a:lnTo>
                    <a:pt x="1010602" y="949452"/>
                  </a:lnTo>
                  <a:lnTo>
                    <a:pt x="1008697" y="946499"/>
                  </a:lnTo>
                  <a:lnTo>
                    <a:pt x="1013936" y="937736"/>
                  </a:lnTo>
                  <a:lnTo>
                    <a:pt x="1012603" y="926687"/>
                  </a:lnTo>
                  <a:lnTo>
                    <a:pt x="1020604" y="914495"/>
                  </a:lnTo>
                  <a:lnTo>
                    <a:pt x="1018604" y="898684"/>
                  </a:lnTo>
                  <a:lnTo>
                    <a:pt x="1022985" y="894969"/>
                  </a:lnTo>
                  <a:lnTo>
                    <a:pt x="1022699" y="893350"/>
                  </a:lnTo>
                  <a:lnTo>
                    <a:pt x="1030605" y="892302"/>
                  </a:lnTo>
                  <a:lnTo>
                    <a:pt x="1030034" y="887635"/>
                  </a:lnTo>
                  <a:lnTo>
                    <a:pt x="1026033" y="881729"/>
                  </a:lnTo>
                  <a:lnTo>
                    <a:pt x="1025843" y="880110"/>
                  </a:lnTo>
                  <a:lnTo>
                    <a:pt x="1022699" y="880491"/>
                  </a:lnTo>
                  <a:lnTo>
                    <a:pt x="1021747" y="872585"/>
                  </a:lnTo>
                  <a:lnTo>
                    <a:pt x="1022890" y="856488"/>
                  </a:lnTo>
                  <a:lnTo>
                    <a:pt x="1030700" y="855440"/>
                  </a:lnTo>
                  <a:lnTo>
                    <a:pt x="1029938" y="836295"/>
                  </a:lnTo>
                  <a:lnTo>
                    <a:pt x="1033272" y="837438"/>
                  </a:lnTo>
                  <a:lnTo>
                    <a:pt x="1034225" y="832580"/>
                  </a:lnTo>
                  <a:lnTo>
                    <a:pt x="1035368" y="829151"/>
                  </a:lnTo>
                  <a:lnTo>
                    <a:pt x="1036415" y="824294"/>
                  </a:lnTo>
                  <a:lnTo>
                    <a:pt x="1034415" y="808482"/>
                  </a:lnTo>
                  <a:lnTo>
                    <a:pt x="1030796" y="805720"/>
                  </a:lnTo>
                  <a:lnTo>
                    <a:pt x="1030034" y="799433"/>
                  </a:lnTo>
                  <a:lnTo>
                    <a:pt x="1026414" y="796671"/>
                  </a:lnTo>
                  <a:lnTo>
                    <a:pt x="1026033" y="793528"/>
                  </a:lnTo>
                  <a:lnTo>
                    <a:pt x="1030414" y="789718"/>
                  </a:lnTo>
                  <a:lnTo>
                    <a:pt x="1031558" y="786384"/>
                  </a:lnTo>
                  <a:lnTo>
                    <a:pt x="1030796" y="780097"/>
                  </a:lnTo>
                  <a:lnTo>
                    <a:pt x="1027176" y="777335"/>
                  </a:lnTo>
                  <a:lnTo>
                    <a:pt x="1023842" y="763334"/>
                  </a:lnTo>
                  <a:lnTo>
                    <a:pt x="1024604" y="756761"/>
                  </a:lnTo>
                  <a:lnTo>
                    <a:pt x="1024795" y="745522"/>
                  </a:lnTo>
                  <a:lnTo>
                    <a:pt x="1026700" y="735711"/>
                  </a:lnTo>
                  <a:lnTo>
                    <a:pt x="1026890" y="737235"/>
                  </a:lnTo>
                  <a:lnTo>
                    <a:pt x="1029081" y="728948"/>
                  </a:lnTo>
                  <a:lnTo>
                    <a:pt x="1036510" y="724757"/>
                  </a:lnTo>
                  <a:lnTo>
                    <a:pt x="1039273" y="721233"/>
                  </a:lnTo>
                  <a:lnTo>
                    <a:pt x="1037558" y="719900"/>
                  </a:lnTo>
                  <a:lnTo>
                    <a:pt x="1040892" y="708184"/>
                  </a:lnTo>
                  <a:lnTo>
                    <a:pt x="1035939" y="707231"/>
                  </a:lnTo>
                  <a:lnTo>
                    <a:pt x="1033748" y="702659"/>
                  </a:lnTo>
                  <a:lnTo>
                    <a:pt x="1037654" y="695801"/>
                  </a:lnTo>
                  <a:lnTo>
                    <a:pt x="1042797" y="698373"/>
                  </a:lnTo>
                  <a:lnTo>
                    <a:pt x="1048893" y="695992"/>
                  </a:lnTo>
                  <a:lnTo>
                    <a:pt x="1051465" y="690848"/>
                  </a:lnTo>
                  <a:lnTo>
                    <a:pt x="1056037" y="688657"/>
                  </a:lnTo>
                  <a:lnTo>
                    <a:pt x="1060133" y="696087"/>
                  </a:lnTo>
                  <a:lnTo>
                    <a:pt x="1068610" y="699897"/>
                  </a:lnTo>
                  <a:lnTo>
                    <a:pt x="1079278" y="695325"/>
                  </a:lnTo>
                  <a:lnTo>
                    <a:pt x="1086041" y="697611"/>
                  </a:lnTo>
                  <a:lnTo>
                    <a:pt x="1088612" y="705326"/>
                  </a:lnTo>
                  <a:lnTo>
                    <a:pt x="1085850" y="708851"/>
                  </a:lnTo>
                  <a:lnTo>
                    <a:pt x="1086231" y="712089"/>
                  </a:lnTo>
                  <a:lnTo>
                    <a:pt x="1088231" y="715042"/>
                  </a:lnTo>
                  <a:lnTo>
                    <a:pt x="1102805" y="716375"/>
                  </a:lnTo>
                  <a:lnTo>
                    <a:pt x="1112901" y="719900"/>
                  </a:lnTo>
                  <a:lnTo>
                    <a:pt x="1116997" y="714565"/>
                  </a:lnTo>
                  <a:lnTo>
                    <a:pt x="1121759" y="713899"/>
                  </a:lnTo>
                  <a:lnTo>
                    <a:pt x="1126903" y="716471"/>
                  </a:lnTo>
                  <a:lnTo>
                    <a:pt x="1128236" y="714756"/>
                  </a:lnTo>
                  <a:lnTo>
                    <a:pt x="1131665" y="715899"/>
                  </a:lnTo>
                  <a:lnTo>
                    <a:pt x="1136142" y="713708"/>
                  </a:lnTo>
                  <a:lnTo>
                    <a:pt x="1136618" y="716851"/>
                  </a:lnTo>
                  <a:lnTo>
                    <a:pt x="1149953" y="721614"/>
                  </a:lnTo>
                  <a:lnTo>
                    <a:pt x="1151763" y="722947"/>
                  </a:lnTo>
                  <a:lnTo>
                    <a:pt x="1152811" y="730853"/>
                  </a:lnTo>
                  <a:lnTo>
                    <a:pt x="1149382" y="729615"/>
                  </a:lnTo>
                  <a:lnTo>
                    <a:pt x="1146715" y="733234"/>
                  </a:lnTo>
                  <a:lnTo>
                    <a:pt x="1147096" y="736378"/>
                  </a:lnTo>
                  <a:lnTo>
                    <a:pt x="1155573" y="740093"/>
                  </a:lnTo>
                  <a:lnTo>
                    <a:pt x="1155764" y="741712"/>
                  </a:lnTo>
                  <a:lnTo>
                    <a:pt x="1153001" y="745236"/>
                  </a:lnTo>
                  <a:lnTo>
                    <a:pt x="1158335" y="749332"/>
                  </a:lnTo>
                  <a:lnTo>
                    <a:pt x="1160907" y="757047"/>
                  </a:lnTo>
                  <a:lnTo>
                    <a:pt x="1159573" y="758857"/>
                  </a:lnTo>
                  <a:lnTo>
                    <a:pt x="1156621" y="760857"/>
                  </a:lnTo>
                  <a:lnTo>
                    <a:pt x="1150334" y="774478"/>
                  </a:lnTo>
                  <a:lnTo>
                    <a:pt x="1155859" y="780193"/>
                  </a:lnTo>
                  <a:lnTo>
                    <a:pt x="1158812" y="778193"/>
                  </a:lnTo>
                  <a:lnTo>
                    <a:pt x="1160621" y="779526"/>
                  </a:lnTo>
                  <a:lnTo>
                    <a:pt x="1167860" y="773811"/>
                  </a:lnTo>
                  <a:lnTo>
                    <a:pt x="1175004" y="779335"/>
                  </a:lnTo>
                  <a:lnTo>
                    <a:pt x="1183291" y="768668"/>
                  </a:lnTo>
                  <a:lnTo>
                    <a:pt x="1187768" y="766477"/>
                  </a:lnTo>
                  <a:lnTo>
                    <a:pt x="1190530" y="762952"/>
                  </a:lnTo>
                  <a:lnTo>
                    <a:pt x="1195102" y="760762"/>
                  </a:lnTo>
                  <a:lnTo>
                    <a:pt x="1201388" y="759905"/>
                  </a:lnTo>
                  <a:lnTo>
                    <a:pt x="1211294" y="761905"/>
                  </a:lnTo>
                  <a:lnTo>
                    <a:pt x="1215962" y="761238"/>
                  </a:lnTo>
                  <a:lnTo>
                    <a:pt x="1226439" y="768001"/>
                  </a:lnTo>
                  <a:lnTo>
                    <a:pt x="1227487" y="763048"/>
                  </a:lnTo>
                  <a:lnTo>
                    <a:pt x="1232154" y="762381"/>
                  </a:lnTo>
                  <a:lnTo>
                    <a:pt x="1229582" y="754761"/>
                  </a:lnTo>
                  <a:lnTo>
                    <a:pt x="1231011" y="752951"/>
                  </a:lnTo>
                  <a:lnTo>
                    <a:pt x="1234345" y="754094"/>
                  </a:lnTo>
                  <a:lnTo>
                    <a:pt x="1240441" y="738950"/>
                  </a:lnTo>
                  <a:lnTo>
                    <a:pt x="1241774" y="737140"/>
                  </a:lnTo>
                  <a:lnTo>
                    <a:pt x="1236059" y="729805"/>
                  </a:lnTo>
                  <a:lnTo>
                    <a:pt x="1238250" y="721519"/>
                  </a:lnTo>
                  <a:lnTo>
                    <a:pt x="1246537" y="723709"/>
                  </a:lnTo>
                  <a:lnTo>
                    <a:pt x="1250061" y="726472"/>
                  </a:lnTo>
                  <a:lnTo>
                    <a:pt x="1247680" y="733139"/>
                  </a:lnTo>
                  <a:lnTo>
                    <a:pt x="1258157" y="739902"/>
                  </a:lnTo>
                  <a:lnTo>
                    <a:pt x="1262729" y="737711"/>
                  </a:lnTo>
                  <a:lnTo>
                    <a:pt x="1269587" y="741617"/>
                  </a:lnTo>
                  <a:lnTo>
                    <a:pt x="1273969" y="737806"/>
                  </a:lnTo>
                  <a:lnTo>
                    <a:pt x="1276541" y="732758"/>
                  </a:lnTo>
                  <a:lnTo>
                    <a:pt x="1281684" y="735235"/>
                  </a:lnTo>
                  <a:lnTo>
                    <a:pt x="1289304" y="732663"/>
                  </a:lnTo>
                  <a:lnTo>
                    <a:pt x="1301020" y="735997"/>
                  </a:lnTo>
                  <a:lnTo>
                    <a:pt x="1316831" y="746855"/>
                  </a:lnTo>
                  <a:lnTo>
                    <a:pt x="1321118" y="755904"/>
                  </a:lnTo>
                  <a:lnTo>
                    <a:pt x="1327690" y="756666"/>
                  </a:lnTo>
                  <a:lnTo>
                    <a:pt x="1335214" y="765334"/>
                  </a:lnTo>
                  <a:lnTo>
                    <a:pt x="1343882" y="770668"/>
                  </a:lnTo>
                  <a:lnTo>
                    <a:pt x="1350645" y="772954"/>
                  </a:lnTo>
                  <a:lnTo>
                    <a:pt x="1356931" y="772192"/>
                  </a:lnTo>
                  <a:lnTo>
                    <a:pt x="1361885" y="773144"/>
                  </a:lnTo>
                  <a:lnTo>
                    <a:pt x="1365599" y="777526"/>
                  </a:lnTo>
                  <a:lnTo>
                    <a:pt x="1374267" y="770001"/>
                  </a:lnTo>
                  <a:lnTo>
                    <a:pt x="1378268" y="775906"/>
                  </a:lnTo>
                  <a:lnTo>
                    <a:pt x="1381792" y="778669"/>
                  </a:lnTo>
                  <a:lnTo>
                    <a:pt x="1385126" y="779812"/>
                  </a:lnTo>
                  <a:lnTo>
                    <a:pt x="1398937" y="787718"/>
                  </a:lnTo>
                  <a:lnTo>
                    <a:pt x="1401032" y="803434"/>
                  </a:lnTo>
                  <a:lnTo>
                    <a:pt x="1406938" y="812292"/>
                  </a:lnTo>
                  <a:lnTo>
                    <a:pt x="1425512" y="819531"/>
                  </a:lnTo>
                  <a:lnTo>
                    <a:pt x="1432179" y="809149"/>
                  </a:lnTo>
                  <a:lnTo>
                    <a:pt x="1433798" y="808863"/>
                  </a:lnTo>
                  <a:lnTo>
                    <a:pt x="1432941" y="802577"/>
                  </a:lnTo>
                  <a:lnTo>
                    <a:pt x="1434370" y="800767"/>
                  </a:lnTo>
                  <a:lnTo>
                    <a:pt x="1439513" y="803338"/>
                  </a:lnTo>
                  <a:lnTo>
                    <a:pt x="1442180" y="799814"/>
                  </a:lnTo>
                  <a:lnTo>
                    <a:pt x="1446752" y="797623"/>
                  </a:lnTo>
                  <a:lnTo>
                    <a:pt x="1440275" y="796862"/>
                  </a:lnTo>
                  <a:lnTo>
                    <a:pt x="1438466" y="795433"/>
                  </a:lnTo>
                  <a:lnTo>
                    <a:pt x="1440085" y="795242"/>
                  </a:lnTo>
                  <a:lnTo>
                    <a:pt x="1442752" y="791718"/>
                  </a:lnTo>
                  <a:lnTo>
                    <a:pt x="1446181" y="792861"/>
                  </a:lnTo>
                  <a:lnTo>
                    <a:pt x="1447133" y="788003"/>
                  </a:lnTo>
                  <a:lnTo>
                    <a:pt x="1445323" y="786575"/>
                  </a:lnTo>
                  <a:lnTo>
                    <a:pt x="1441990" y="785431"/>
                  </a:lnTo>
                  <a:lnTo>
                    <a:pt x="1441799" y="783812"/>
                  </a:lnTo>
                  <a:lnTo>
                    <a:pt x="1440371" y="785622"/>
                  </a:lnTo>
                  <a:lnTo>
                    <a:pt x="1438466" y="782669"/>
                  </a:lnTo>
                  <a:lnTo>
                    <a:pt x="1439227" y="776097"/>
                  </a:lnTo>
                  <a:lnTo>
                    <a:pt x="1444181" y="777145"/>
                  </a:lnTo>
                  <a:lnTo>
                    <a:pt x="1444752" y="781812"/>
                  </a:lnTo>
                  <a:lnTo>
                    <a:pt x="1449705" y="782860"/>
                  </a:lnTo>
                  <a:lnTo>
                    <a:pt x="1452848" y="782384"/>
                  </a:lnTo>
                  <a:lnTo>
                    <a:pt x="1454182" y="780669"/>
                  </a:lnTo>
                  <a:lnTo>
                    <a:pt x="1455611" y="778859"/>
                  </a:lnTo>
                  <a:lnTo>
                    <a:pt x="1458182" y="773716"/>
                  </a:lnTo>
                  <a:lnTo>
                    <a:pt x="1449229" y="766858"/>
                  </a:lnTo>
                  <a:lnTo>
                    <a:pt x="1450467" y="763429"/>
                  </a:lnTo>
                  <a:lnTo>
                    <a:pt x="1453420" y="761524"/>
                  </a:lnTo>
                  <a:lnTo>
                    <a:pt x="1452943" y="758380"/>
                  </a:lnTo>
                  <a:lnTo>
                    <a:pt x="1454182" y="754951"/>
                  </a:lnTo>
                  <a:lnTo>
                    <a:pt x="1443895" y="749903"/>
                  </a:lnTo>
                  <a:lnTo>
                    <a:pt x="1431989" y="744950"/>
                  </a:lnTo>
                  <a:lnTo>
                    <a:pt x="1428845" y="745331"/>
                  </a:lnTo>
                  <a:lnTo>
                    <a:pt x="1417606" y="745236"/>
                  </a:lnTo>
                  <a:lnTo>
                    <a:pt x="1414081" y="742474"/>
                  </a:lnTo>
                  <a:lnTo>
                    <a:pt x="1412081" y="739521"/>
                  </a:lnTo>
                  <a:lnTo>
                    <a:pt x="1413034" y="734568"/>
                  </a:lnTo>
                  <a:lnTo>
                    <a:pt x="1413796" y="728091"/>
                  </a:lnTo>
                  <a:lnTo>
                    <a:pt x="1415225" y="726281"/>
                  </a:lnTo>
                  <a:lnTo>
                    <a:pt x="1412843" y="720185"/>
                  </a:lnTo>
                  <a:lnTo>
                    <a:pt x="1409510" y="718947"/>
                  </a:lnTo>
                  <a:lnTo>
                    <a:pt x="1402747" y="716661"/>
                  </a:lnTo>
                  <a:lnTo>
                    <a:pt x="1398842" y="723519"/>
                  </a:lnTo>
                  <a:lnTo>
                    <a:pt x="1394079" y="724186"/>
                  </a:lnTo>
                  <a:lnTo>
                    <a:pt x="1392936" y="727519"/>
                  </a:lnTo>
                  <a:lnTo>
                    <a:pt x="1391317" y="727710"/>
                  </a:lnTo>
                  <a:lnTo>
                    <a:pt x="1386935" y="718661"/>
                  </a:lnTo>
                  <a:lnTo>
                    <a:pt x="1391317" y="714851"/>
                  </a:lnTo>
                  <a:lnTo>
                    <a:pt x="1388935" y="708755"/>
                  </a:lnTo>
                  <a:lnTo>
                    <a:pt x="1395031" y="706374"/>
                  </a:lnTo>
                  <a:lnTo>
                    <a:pt x="1399794" y="705802"/>
                  </a:lnTo>
                  <a:lnTo>
                    <a:pt x="1402366" y="700659"/>
                  </a:lnTo>
                  <a:lnTo>
                    <a:pt x="1403318" y="695706"/>
                  </a:lnTo>
                  <a:lnTo>
                    <a:pt x="1404842" y="695515"/>
                  </a:lnTo>
                  <a:lnTo>
                    <a:pt x="1408271" y="696659"/>
                  </a:lnTo>
                  <a:lnTo>
                    <a:pt x="1409986" y="698087"/>
                  </a:lnTo>
                  <a:lnTo>
                    <a:pt x="1409033" y="690181"/>
                  </a:lnTo>
                  <a:lnTo>
                    <a:pt x="1413986" y="691134"/>
                  </a:lnTo>
                  <a:lnTo>
                    <a:pt x="1415129" y="687800"/>
                  </a:lnTo>
                  <a:lnTo>
                    <a:pt x="1418082" y="685800"/>
                  </a:lnTo>
                  <a:lnTo>
                    <a:pt x="1416272" y="684467"/>
                  </a:lnTo>
                  <a:lnTo>
                    <a:pt x="1418844" y="679323"/>
                  </a:lnTo>
                  <a:lnTo>
                    <a:pt x="1415510" y="678085"/>
                  </a:lnTo>
                  <a:lnTo>
                    <a:pt x="1416844" y="676370"/>
                  </a:lnTo>
                  <a:lnTo>
                    <a:pt x="1414939" y="673418"/>
                  </a:lnTo>
                  <a:lnTo>
                    <a:pt x="1416082" y="669988"/>
                  </a:lnTo>
                  <a:lnTo>
                    <a:pt x="1423988" y="669036"/>
                  </a:lnTo>
                  <a:lnTo>
                    <a:pt x="1430084" y="666655"/>
                  </a:lnTo>
                  <a:lnTo>
                    <a:pt x="1432179" y="658368"/>
                  </a:lnTo>
                  <a:lnTo>
                    <a:pt x="1427035" y="655796"/>
                  </a:lnTo>
                  <a:lnTo>
                    <a:pt x="1427893" y="649319"/>
                  </a:lnTo>
                  <a:lnTo>
                    <a:pt x="1426083" y="647890"/>
                  </a:lnTo>
                  <a:lnTo>
                    <a:pt x="1424273" y="646557"/>
                  </a:lnTo>
                  <a:lnTo>
                    <a:pt x="1431989" y="643985"/>
                  </a:lnTo>
                  <a:lnTo>
                    <a:pt x="1435513" y="646652"/>
                  </a:lnTo>
                  <a:lnTo>
                    <a:pt x="1436084" y="638651"/>
                  </a:lnTo>
                  <a:lnTo>
                    <a:pt x="1432179" y="632651"/>
                  </a:lnTo>
                  <a:lnTo>
                    <a:pt x="1433131" y="627793"/>
                  </a:lnTo>
                  <a:lnTo>
                    <a:pt x="1443418" y="632841"/>
                  </a:lnTo>
                  <a:lnTo>
                    <a:pt x="1451324" y="631888"/>
                  </a:lnTo>
                  <a:lnTo>
                    <a:pt x="1453039" y="633222"/>
                  </a:lnTo>
                  <a:lnTo>
                    <a:pt x="1454468" y="631507"/>
                  </a:lnTo>
                  <a:lnTo>
                    <a:pt x="1456277" y="632841"/>
                  </a:lnTo>
                  <a:lnTo>
                    <a:pt x="1462564" y="632079"/>
                  </a:lnTo>
                  <a:lnTo>
                    <a:pt x="1465326" y="628459"/>
                  </a:lnTo>
                  <a:lnTo>
                    <a:pt x="1464659" y="623697"/>
                  </a:lnTo>
                  <a:lnTo>
                    <a:pt x="1460754" y="617792"/>
                  </a:lnTo>
                  <a:lnTo>
                    <a:pt x="1468660" y="616839"/>
                  </a:lnTo>
                  <a:lnTo>
                    <a:pt x="1468660" y="61683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3" name="Volný tvar: obrazec 32">
              <a:extLst>
                <a:ext uri="{FF2B5EF4-FFF2-40B4-BE49-F238E27FC236}">
                  <a16:creationId xmlns:a16="http://schemas.microsoft.com/office/drawing/2014/main" id="{058CC2CA-6D47-66B6-7A24-77B104E530C9}"/>
                </a:ext>
              </a:extLst>
            </p:cNvPr>
            <p:cNvSpPr>
              <a:spLocks noChangeAspect="1"/>
            </p:cNvSpPr>
            <p:nvPr userDrawn="1">
              <p:custDataLst>
                <p:tags r:id="rId6"/>
              </p:custDataLst>
            </p:nvPr>
          </p:nvSpPr>
          <p:spPr>
            <a:xfrm>
              <a:off x="6140100" y="3632692"/>
              <a:ext cx="1502283" cy="1161573"/>
            </a:xfrm>
            <a:custGeom>
              <a:avLst/>
              <a:gdLst>
                <a:gd name="connsiteX0" fmla="*/ 1496282 w 1502283"/>
                <a:gd name="connsiteY0" fmla="*/ 857155 h 1161573"/>
                <a:gd name="connsiteX1" fmla="*/ 1495711 w 1502283"/>
                <a:gd name="connsiteY1" fmla="*/ 852392 h 1161573"/>
                <a:gd name="connsiteX2" fmla="*/ 1497330 w 1502283"/>
                <a:gd name="connsiteY2" fmla="*/ 852202 h 1161573"/>
                <a:gd name="connsiteX3" fmla="*/ 1495520 w 1502283"/>
                <a:gd name="connsiteY3" fmla="*/ 850868 h 1161573"/>
                <a:gd name="connsiteX4" fmla="*/ 1498282 w 1502283"/>
                <a:gd name="connsiteY4" fmla="*/ 847344 h 1161573"/>
                <a:gd name="connsiteX5" fmla="*/ 1490567 w 1502283"/>
                <a:gd name="connsiteY5" fmla="*/ 849916 h 1161573"/>
                <a:gd name="connsiteX6" fmla="*/ 1486853 w 1502283"/>
                <a:gd name="connsiteY6" fmla="*/ 845630 h 1161573"/>
                <a:gd name="connsiteX7" fmla="*/ 1487996 w 1502283"/>
                <a:gd name="connsiteY7" fmla="*/ 842296 h 1161573"/>
                <a:gd name="connsiteX8" fmla="*/ 1481899 w 1502283"/>
                <a:gd name="connsiteY8" fmla="*/ 831818 h 1161573"/>
                <a:gd name="connsiteX9" fmla="*/ 1469803 w 1502283"/>
                <a:gd name="connsiteY9" fmla="*/ 812483 h 1161573"/>
                <a:gd name="connsiteX10" fmla="*/ 1458563 w 1502283"/>
                <a:gd name="connsiteY10" fmla="*/ 812292 h 1161573"/>
                <a:gd name="connsiteX11" fmla="*/ 1442371 w 1502283"/>
                <a:gd name="connsiteY11" fmla="*/ 798290 h 1161573"/>
                <a:gd name="connsiteX12" fmla="*/ 1437608 w 1502283"/>
                <a:gd name="connsiteY12" fmla="*/ 798862 h 1161573"/>
                <a:gd name="connsiteX13" fmla="*/ 1433513 w 1502283"/>
                <a:gd name="connsiteY13" fmla="*/ 804196 h 1161573"/>
                <a:gd name="connsiteX14" fmla="*/ 1424845 w 1502283"/>
                <a:gd name="connsiteY14" fmla="*/ 798862 h 1161573"/>
                <a:gd name="connsiteX15" fmla="*/ 1432274 w 1502283"/>
                <a:gd name="connsiteY15" fmla="*/ 781907 h 1161573"/>
                <a:gd name="connsiteX16" fmla="*/ 1431703 w 1502283"/>
                <a:gd name="connsiteY16" fmla="*/ 777145 h 1161573"/>
                <a:gd name="connsiteX17" fmla="*/ 1434465 w 1502283"/>
                <a:gd name="connsiteY17" fmla="*/ 773621 h 1161573"/>
                <a:gd name="connsiteX18" fmla="*/ 1425797 w 1502283"/>
                <a:gd name="connsiteY18" fmla="*/ 768287 h 1161573"/>
                <a:gd name="connsiteX19" fmla="*/ 1411796 w 1502283"/>
                <a:gd name="connsiteY19" fmla="*/ 758857 h 1161573"/>
                <a:gd name="connsiteX20" fmla="*/ 1402937 w 1502283"/>
                <a:gd name="connsiteY20" fmla="*/ 764762 h 1161573"/>
                <a:gd name="connsiteX21" fmla="*/ 1400937 w 1502283"/>
                <a:gd name="connsiteY21" fmla="*/ 761809 h 1161573"/>
                <a:gd name="connsiteX22" fmla="*/ 1394365 w 1502283"/>
                <a:gd name="connsiteY22" fmla="*/ 748189 h 1161573"/>
                <a:gd name="connsiteX23" fmla="*/ 1395413 w 1502283"/>
                <a:gd name="connsiteY23" fmla="*/ 756095 h 1161573"/>
                <a:gd name="connsiteX24" fmla="*/ 1381601 w 1502283"/>
                <a:gd name="connsiteY24" fmla="*/ 761048 h 1161573"/>
                <a:gd name="connsiteX25" fmla="*/ 1375886 w 1502283"/>
                <a:gd name="connsiteY25" fmla="*/ 753809 h 1161573"/>
                <a:gd name="connsiteX26" fmla="*/ 1372933 w 1502283"/>
                <a:gd name="connsiteY26" fmla="*/ 755809 h 1161573"/>
                <a:gd name="connsiteX27" fmla="*/ 1372743 w 1502283"/>
                <a:gd name="connsiteY27" fmla="*/ 754190 h 1161573"/>
                <a:gd name="connsiteX28" fmla="*/ 1366838 w 1502283"/>
                <a:gd name="connsiteY28" fmla="*/ 758190 h 1161573"/>
                <a:gd name="connsiteX29" fmla="*/ 1365028 w 1502283"/>
                <a:gd name="connsiteY29" fmla="*/ 756857 h 1161573"/>
                <a:gd name="connsiteX30" fmla="*/ 1362265 w 1502283"/>
                <a:gd name="connsiteY30" fmla="*/ 760381 h 1161573"/>
                <a:gd name="connsiteX31" fmla="*/ 1360456 w 1502283"/>
                <a:gd name="connsiteY31" fmla="*/ 759047 h 1161573"/>
                <a:gd name="connsiteX32" fmla="*/ 1348645 w 1502283"/>
                <a:gd name="connsiteY32" fmla="*/ 766953 h 1161573"/>
                <a:gd name="connsiteX33" fmla="*/ 1339596 w 1502283"/>
                <a:gd name="connsiteY33" fmla="*/ 758476 h 1161573"/>
                <a:gd name="connsiteX34" fmla="*/ 1337977 w 1502283"/>
                <a:gd name="connsiteY34" fmla="*/ 758666 h 1161573"/>
                <a:gd name="connsiteX35" fmla="*/ 1328642 w 1502283"/>
                <a:gd name="connsiteY35" fmla="*/ 748665 h 1161573"/>
                <a:gd name="connsiteX36" fmla="*/ 1321689 w 1502283"/>
                <a:gd name="connsiteY36" fmla="*/ 744760 h 1161573"/>
                <a:gd name="connsiteX37" fmla="*/ 1320260 w 1502283"/>
                <a:gd name="connsiteY37" fmla="*/ 733711 h 1161573"/>
                <a:gd name="connsiteX38" fmla="*/ 1309402 w 1502283"/>
                <a:gd name="connsiteY38" fmla="*/ 736663 h 1161573"/>
                <a:gd name="connsiteX39" fmla="*/ 1307021 w 1502283"/>
                <a:gd name="connsiteY39" fmla="*/ 743331 h 1161573"/>
                <a:gd name="connsiteX40" fmla="*/ 1304830 w 1502283"/>
                <a:gd name="connsiteY40" fmla="*/ 738759 h 1161573"/>
                <a:gd name="connsiteX41" fmla="*/ 1303496 w 1502283"/>
                <a:gd name="connsiteY41" fmla="*/ 740569 h 1161573"/>
                <a:gd name="connsiteX42" fmla="*/ 1300163 w 1502283"/>
                <a:gd name="connsiteY42" fmla="*/ 739426 h 1161573"/>
                <a:gd name="connsiteX43" fmla="*/ 1298829 w 1502283"/>
                <a:gd name="connsiteY43" fmla="*/ 741236 h 1161573"/>
                <a:gd name="connsiteX44" fmla="*/ 1292162 w 1502283"/>
                <a:gd name="connsiteY44" fmla="*/ 738854 h 1161573"/>
                <a:gd name="connsiteX45" fmla="*/ 1290352 w 1502283"/>
                <a:gd name="connsiteY45" fmla="*/ 737521 h 1161573"/>
                <a:gd name="connsiteX46" fmla="*/ 1290161 w 1502283"/>
                <a:gd name="connsiteY46" fmla="*/ 735901 h 1161573"/>
                <a:gd name="connsiteX47" fmla="*/ 1291304 w 1502283"/>
                <a:gd name="connsiteY47" fmla="*/ 732568 h 1161573"/>
                <a:gd name="connsiteX48" fmla="*/ 1289495 w 1502283"/>
                <a:gd name="connsiteY48" fmla="*/ 731234 h 1161573"/>
                <a:gd name="connsiteX49" fmla="*/ 1293590 w 1502283"/>
                <a:gd name="connsiteY49" fmla="*/ 725900 h 1161573"/>
                <a:gd name="connsiteX50" fmla="*/ 1293209 w 1502283"/>
                <a:gd name="connsiteY50" fmla="*/ 722757 h 1161573"/>
                <a:gd name="connsiteX51" fmla="*/ 1294352 w 1502283"/>
                <a:gd name="connsiteY51" fmla="*/ 719423 h 1161573"/>
                <a:gd name="connsiteX52" fmla="*/ 1292352 w 1502283"/>
                <a:gd name="connsiteY52" fmla="*/ 716471 h 1161573"/>
                <a:gd name="connsiteX53" fmla="*/ 1294543 w 1502283"/>
                <a:gd name="connsiteY53" fmla="*/ 708184 h 1161573"/>
                <a:gd name="connsiteX54" fmla="*/ 1289209 w 1502283"/>
                <a:gd name="connsiteY54" fmla="*/ 704088 h 1161573"/>
                <a:gd name="connsiteX55" fmla="*/ 1288066 w 1502283"/>
                <a:gd name="connsiteY55" fmla="*/ 707422 h 1161573"/>
                <a:gd name="connsiteX56" fmla="*/ 1281113 w 1502283"/>
                <a:gd name="connsiteY56" fmla="*/ 703517 h 1161573"/>
                <a:gd name="connsiteX57" fmla="*/ 1282256 w 1502283"/>
                <a:gd name="connsiteY57" fmla="*/ 700183 h 1161573"/>
                <a:gd name="connsiteX58" fmla="*/ 1276922 w 1502283"/>
                <a:gd name="connsiteY58" fmla="*/ 696087 h 1161573"/>
                <a:gd name="connsiteX59" fmla="*/ 1269397 w 1502283"/>
                <a:gd name="connsiteY59" fmla="*/ 700278 h 1161573"/>
                <a:gd name="connsiteX60" fmla="*/ 1266063 w 1502283"/>
                <a:gd name="connsiteY60" fmla="*/ 699135 h 1161573"/>
                <a:gd name="connsiteX61" fmla="*/ 1259777 w 1502283"/>
                <a:gd name="connsiteY61" fmla="*/ 699897 h 1161573"/>
                <a:gd name="connsiteX62" fmla="*/ 1257586 w 1502283"/>
                <a:gd name="connsiteY62" fmla="*/ 695325 h 1161573"/>
                <a:gd name="connsiteX63" fmla="*/ 1254252 w 1502283"/>
                <a:gd name="connsiteY63" fmla="*/ 694182 h 1161573"/>
                <a:gd name="connsiteX64" fmla="*/ 1252633 w 1502283"/>
                <a:gd name="connsiteY64" fmla="*/ 694373 h 1161573"/>
                <a:gd name="connsiteX65" fmla="*/ 1251299 w 1502283"/>
                <a:gd name="connsiteY65" fmla="*/ 696182 h 1161573"/>
                <a:gd name="connsiteX66" fmla="*/ 1244822 w 1502283"/>
                <a:gd name="connsiteY66" fmla="*/ 695420 h 1161573"/>
                <a:gd name="connsiteX67" fmla="*/ 1245013 w 1502283"/>
                <a:gd name="connsiteY67" fmla="*/ 697040 h 1161573"/>
                <a:gd name="connsiteX68" fmla="*/ 1241489 w 1502283"/>
                <a:gd name="connsiteY68" fmla="*/ 694277 h 1161573"/>
                <a:gd name="connsiteX69" fmla="*/ 1238726 w 1502283"/>
                <a:gd name="connsiteY69" fmla="*/ 697801 h 1161573"/>
                <a:gd name="connsiteX70" fmla="*/ 1233964 w 1502283"/>
                <a:gd name="connsiteY70" fmla="*/ 698373 h 1161573"/>
                <a:gd name="connsiteX71" fmla="*/ 1233964 w 1502283"/>
                <a:gd name="connsiteY71" fmla="*/ 685514 h 1161573"/>
                <a:gd name="connsiteX72" fmla="*/ 1230344 w 1502283"/>
                <a:gd name="connsiteY72" fmla="*/ 682752 h 1161573"/>
                <a:gd name="connsiteX73" fmla="*/ 1227963 w 1502283"/>
                <a:gd name="connsiteY73" fmla="*/ 676656 h 1161573"/>
                <a:gd name="connsiteX74" fmla="*/ 1223010 w 1502283"/>
                <a:gd name="connsiteY74" fmla="*/ 675704 h 1161573"/>
                <a:gd name="connsiteX75" fmla="*/ 1218724 w 1502283"/>
                <a:gd name="connsiteY75" fmla="*/ 679418 h 1161573"/>
                <a:gd name="connsiteX76" fmla="*/ 1217105 w 1502283"/>
                <a:gd name="connsiteY76" fmla="*/ 679609 h 1161573"/>
                <a:gd name="connsiteX77" fmla="*/ 1215866 w 1502283"/>
                <a:gd name="connsiteY77" fmla="*/ 670179 h 1161573"/>
                <a:gd name="connsiteX78" fmla="*/ 1199674 w 1502283"/>
                <a:gd name="connsiteY78" fmla="*/ 669036 h 1161573"/>
                <a:gd name="connsiteX79" fmla="*/ 1197293 w 1502283"/>
                <a:gd name="connsiteY79" fmla="*/ 675704 h 1161573"/>
                <a:gd name="connsiteX80" fmla="*/ 1194340 w 1502283"/>
                <a:gd name="connsiteY80" fmla="*/ 677704 h 1161573"/>
                <a:gd name="connsiteX81" fmla="*/ 1192339 w 1502283"/>
                <a:gd name="connsiteY81" fmla="*/ 674751 h 1161573"/>
                <a:gd name="connsiteX82" fmla="*/ 1193482 w 1502283"/>
                <a:gd name="connsiteY82" fmla="*/ 671417 h 1161573"/>
                <a:gd name="connsiteX83" fmla="*/ 1195864 w 1502283"/>
                <a:gd name="connsiteY83" fmla="*/ 664750 h 1161573"/>
                <a:gd name="connsiteX84" fmla="*/ 1195483 w 1502283"/>
                <a:gd name="connsiteY84" fmla="*/ 661607 h 1161573"/>
                <a:gd name="connsiteX85" fmla="*/ 1199579 w 1502283"/>
                <a:gd name="connsiteY85" fmla="*/ 656273 h 1161573"/>
                <a:gd name="connsiteX86" fmla="*/ 1200531 w 1502283"/>
                <a:gd name="connsiteY86" fmla="*/ 651320 h 1161573"/>
                <a:gd name="connsiteX87" fmla="*/ 1200912 w 1502283"/>
                <a:gd name="connsiteY87" fmla="*/ 641604 h 1161573"/>
                <a:gd name="connsiteX88" fmla="*/ 1198721 w 1502283"/>
                <a:gd name="connsiteY88" fmla="*/ 637032 h 1161573"/>
                <a:gd name="connsiteX89" fmla="*/ 1198150 w 1502283"/>
                <a:gd name="connsiteY89" fmla="*/ 632270 h 1161573"/>
                <a:gd name="connsiteX90" fmla="*/ 1196149 w 1502283"/>
                <a:gd name="connsiteY90" fmla="*/ 629317 h 1161573"/>
                <a:gd name="connsiteX91" fmla="*/ 1191197 w 1502283"/>
                <a:gd name="connsiteY91" fmla="*/ 628364 h 1161573"/>
                <a:gd name="connsiteX92" fmla="*/ 1187577 w 1502283"/>
                <a:gd name="connsiteY92" fmla="*/ 612743 h 1161573"/>
                <a:gd name="connsiteX93" fmla="*/ 1185767 w 1502283"/>
                <a:gd name="connsiteY93" fmla="*/ 611410 h 1161573"/>
                <a:gd name="connsiteX94" fmla="*/ 1177671 w 1502283"/>
                <a:gd name="connsiteY94" fmla="*/ 610838 h 1161573"/>
                <a:gd name="connsiteX95" fmla="*/ 1167384 w 1502283"/>
                <a:gd name="connsiteY95" fmla="*/ 618554 h 1161573"/>
                <a:gd name="connsiteX96" fmla="*/ 1156525 w 1502283"/>
                <a:gd name="connsiteY96" fmla="*/ 621506 h 1161573"/>
                <a:gd name="connsiteX97" fmla="*/ 1151954 w 1502283"/>
                <a:gd name="connsiteY97" fmla="*/ 623697 h 1161573"/>
                <a:gd name="connsiteX98" fmla="*/ 1148620 w 1502283"/>
                <a:gd name="connsiteY98" fmla="*/ 622554 h 1161573"/>
                <a:gd name="connsiteX99" fmla="*/ 1145667 w 1502283"/>
                <a:gd name="connsiteY99" fmla="*/ 624554 h 1161573"/>
                <a:gd name="connsiteX100" fmla="*/ 1142524 w 1502283"/>
                <a:gd name="connsiteY100" fmla="*/ 624935 h 1161573"/>
                <a:gd name="connsiteX101" fmla="*/ 1138619 w 1502283"/>
                <a:gd name="connsiteY101" fmla="*/ 631888 h 1161573"/>
                <a:gd name="connsiteX102" fmla="*/ 1135094 w 1502283"/>
                <a:gd name="connsiteY102" fmla="*/ 629126 h 1161573"/>
                <a:gd name="connsiteX103" fmla="*/ 1130618 w 1502283"/>
                <a:gd name="connsiteY103" fmla="*/ 631317 h 1161573"/>
                <a:gd name="connsiteX104" fmla="*/ 1114235 w 1502283"/>
                <a:gd name="connsiteY104" fmla="*/ 628555 h 1161573"/>
                <a:gd name="connsiteX105" fmla="*/ 1120140 w 1502283"/>
                <a:gd name="connsiteY105" fmla="*/ 624554 h 1161573"/>
                <a:gd name="connsiteX106" fmla="*/ 1120902 w 1502283"/>
                <a:gd name="connsiteY106" fmla="*/ 618077 h 1161573"/>
                <a:gd name="connsiteX107" fmla="*/ 1118711 w 1502283"/>
                <a:gd name="connsiteY107" fmla="*/ 613505 h 1161573"/>
                <a:gd name="connsiteX108" fmla="*/ 1117282 w 1502283"/>
                <a:gd name="connsiteY108" fmla="*/ 615315 h 1161573"/>
                <a:gd name="connsiteX109" fmla="*/ 1115092 w 1502283"/>
                <a:gd name="connsiteY109" fmla="*/ 597980 h 1161573"/>
                <a:gd name="connsiteX110" fmla="*/ 1126522 w 1502283"/>
                <a:gd name="connsiteY110" fmla="*/ 599694 h 1161573"/>
                <a:gd name="connsiteX111" fmla="*/ 1129856 w 1502283"/>
                <a:gd name="connsiteY111" fmla="*/ 600837 h 1161573"/>
                <a:gd name="connsiteX112" fmla="*/ 1134142 w 1502283"/>
                <a:gd name="connsiteY112" fmla="*/ 597122 h 1161573"/>
                <a:gd name="connsiteX113" fmla="*/ 1133094 w 1502283"/>
                <a:gd name="connsiteY113" fmla="*/ 589217 h 1161573"/>
                <a:gd name="connsiteX114" fmla="*/ 1134713 w 1502283"/>
                <a:gd name="connsiteY114" fmla="*/ 589026 h 1161573"/>
                <a:gd name="connsiteX115" fmla="*/ 1137666 w 1502283"/>
                <a:gd name="connsiteY115" fmla="*/ 574262 h 1161573"/>
                <a:gd name="connsiteX116" fmla="*/ 1138047 w 1502283"/>
                <a:gd name="connsiteY116" fmla="*/ 564642 h 1161573"/>
                <a:gd name="connsiteX117" fmla="*/ 1142619 w 1502283"/>
                <a:gd name="connsiteY117" fmla="*/ 562451 h 1161573"/>
                <a:gd name="connsiteX118" fmla="*/ 1149096 w 1502283"/>
                <a:gd name="connsiteY118" fmla="*/ 563213 h 1161573"/>
                <a:gd name="connsiteX119" fmla="*/ 1150906 w 1502283"/>
                <a:gd name="connsiteY119" fmla="*/ 564547 h 1161573"/>
                <a:gd name="connsiteX120" fmla="*/ 1154049 w 1502283"/>
                <a:gd name="connsiteY120" fmla="*/ 564166 h 1161573"/>
                <a:gd name="connsiteX121" fmla="*/ 1155192 w 1502283"/>
                <a:gd name="connsiteY121" fmla="*/ 560832 h 1161573"/>
                <a:gd name="connsiteX122" fmla="*/ 1156335 w 1502283"/>
                <a:gd name="connsiteY122" fmla="*/ 557498 h 1161573"/>
                <a:gd name="connsiteX123" fmla="*/ 1159669 w 1502283"/>
                <a:gd name="connsiteY123" fmla="*/ 558641 h 1161573"/>
                <a:gd name="connsiteX124" fmla="*/ 1161002 w 1502283"/>
                <a:gd name="connsiteY124" fmla="*/ 556832 h 1161573"/>
                <a:gd name="connsiteX125" fmla="*/ 1165955 w 1502283"/>
                <a:gd name="connsiteY125" fmla="*/ 557784 h 1161573"/>
                <a:gd name="connsiteX126" fmla="*/ 1169480 w 1502283"/>
                <a:gd name="connsiteY126" fmla="*/ 534924 h 1161573"/>
                <a:gd name="connsiteX127" fmla="*/ 1174052 w 1502283"/>
                <a:gd name="connsiteY127" fmla="*/ 532733 h 1161573"/>
                <a:gd name="connsiteX128" fmla="*/ 1172051 w 1502283"/>
                <a:gd name="connsiteY128" fmla="*/ 529780 h 1161573"/>
                <a:gd name="connsiteX129" fmla="*/ 1173671 w 1502283"/>
                <a:gd name="connsiteY129" fmla="*/ 529590 h 1161573"/>
                <a:gd name="connsiteX130" fmla="*/ 1171670 w 1502283"/>
                <a:gd name="connsiteY130" fmla="*/ 526637 h 1161573"/>
                <a:gd name="connsiteX131" fmla="*/ 1172813 w 1502283"/>
                <a:gd name="connsiteY131" fmla="*/ 523304 h 1161573"/>
                <a:gd name="connsiteX132" fmla="*/ 1176147 w 1502283"/>
                <a:gd name="connsiteY132" fmla="*/ 511683 h 1161573"/>
                <a:gd name="connsiteX133" fmla="*/ 1172147 w 1502283"/>
                <a:gd name="connsiteY133" fmla="*/ 505778 h 1161573"/>
                <a:gd name="connsiteX134" fmla="*/ 1170623 w 1502283"/>
                <a:gd name="connsiteY134" fmla="*/ 505968 h 1161573"/>
                <a:gd name="connsiteX135" fmla="*/ 1165479 w 1502283"/>
                <a:gd name="connsiteY135" fmla="*/ 516255 h 1161573"/>
                <a:gd name="connsiteX136" fmla="*/ 1160907 w 1502283"/>
                <a:gd name="connsiteY136" fmla="*/ 518446 h 1161573"/>
                <a:gd name="connsiteX137" fmla="*/ 1157383 w 1502283"/>
                <a:gd name="connsiteY137" fmla="*/ 515684 h 1161573"/>
                <a:gd name="connsiteX138" fmla="*/ 1154239 w 1502283"/>
                <a:gd name="connsiteY138" fmla="*/ 516065 h 1161573"/>
                <a:gd name="connsiteX139" fmla="*/ 1152430 w 1502283"/>
                <a:gd name="connsiteY139" fmla="*/ 514731 h 1161573"/>
                <a:gd name="connsiteX140" fmla="*/ 1141381 w 1502283"/>
                <a:gd name="connsiteY140" fmla="*/ 516160 h 1161573"/>
                <a:gd name="connsiteX141" fmla="*/ 1141952 w 1502283"/>
                <a:gd name="connsiteY141" fmla="*/ 520922 h 1161573"/>
                <a:gd name="connsiteX142" fmla="*/ 1136618 w 1502283"/>
                <a:gd name="connsiteY142" fmla="*/ 516826 h 1161573"/>
                <a:gd name="connsiteX143" fmla="*/ 1140714 w 1502283"/>
                <a:gd name="connsiteY143" fmla="*/ 511492 h 1161573"/>
                <a:gd name="connsiteX144" fmla="*/ 1141476 w 1502283"/>
                <a:gd name="connsiteY144" fmla="*/ 505016 h 1161573"/>
                <a:gd name="connsiteX145" fmla="*/ 1143286 w 1502283"/>
                <a:gd name="connsiteY145" fmla="*/ 506349 h 1161573"/>
                <a:gd name="connsiteX146" fmla="*/ 1149001 w 1502283"/>
                <a:gd name="connsiteY146" fmla="*/ 500825 h 1161573"/>
                <a:gd name="connsiteX147" fmla="*/ 1146810 w 1502283"/>
                <a:gd name="connsiteY147" fmla="*/ 496253 h 1161573"/>
                <a:gd name="connsiteX148" fmla="*/ 1145191 w 1502283"/>
                <a:gd name="connsiteY148" fmla="*/ 496443 h 1161573"/>
                <a:gd name="connsiteX149" fmla="*/ 1143381 w 1502283"/>
                <a:gd name="connsiteY149" fmla="*/ 495109 h 1161573"/>
                <a:gd name="connsiteX150" fmla="*/ 1140047 w 1502283"/>
                <a:gd name="connsiteY150" fmla="*/ 493967 h 1161573"/>
                <a:gd name="connsiteX151" fmla="*/ 1137095 w 1502283"/>
                <a:gd name="connsiteY151" fmla="*/ 483108 h 1161573"/>
                <a:gd name="connsiteX152" fmla="*/ 1132904 w 1502283"/>
                <a:gd name="connsiteY152" fmla="*/ 475583 h 1161573"/>
                <a:gd name="connsiteX153" fmla="*/ 1127570 w 1502283"/>
                <a:gd name="connsiteY153" fmla="*/ 471488 h 1161573"/>
                <a:gd name="connsiteX154" fmla="*/ 1133856 w 1502283"/>
                <a:gd name="connsiteY154" fmla="*/ 457867 h 1161573"/>
                <a:gd name="connsiteX155" fmla="*/ 1132808 w 1502283"/>
                <a:gd name="connsiteY155" fmla="*/ 449961 h 1161573"/>
                <a:gd name="connsiteX156" fmla="*/ 1129094 w 1502283"/>
                <a:gd name="connsiteY156" fmla="*/ 445675 h 1161573"/>
                <a:gd name="connsiteX157" fmla="*/ 1126903 w 1502283"/>
                <a:gd name="connsiteY157" fmla="*/ 441103 h 1161573"/>
                <a:gd name="connsiteX158" fmla="*/ 1121759 w 1502283"/>
                <a:gd name="connsiteY158" fmla="*/ 438531 h 1161573"/>
                <a:gd name="connsiteX159" fmla="*/ 1122521 w 1502283"/>
                <a:gd name="connsiteY159" fmla="*/ 432054 h 1161573"/>
                <a:gd name="connsiteX160" fmla="*/ 1128427 w 1502283"/>
                <a:gd name="connsiteY160" fmla="*/ 428054 h 1161573"/>
                <a:gd name="connsiteX161" fmla="*/ 1130998 w 1502283"/>
                <a:gd name="connsiteY161" fmla="*/ 422910 h 1161573"/>
                <a:gd name="connsiteX162" fmla="*/ 1135571 w 1502283"/>
                <a:gd name="connsiteY162" fmla="*/ 420719 h 1161573"/>
                <a:gd name="connsiteX163" fmla="*/ 1137475 w 1502283"/>
                <a:gd name="connsiteY163" fmla="*/ 410813 h 1161573"/>
                <a:gd name="connsiteX164" fmla="*/ 1137285 w 1502283"/>
                <a:gd name="connsiteY164" fmla="*/ 409194 h 1161573"/>
                <a:gd name="connsiteX165" fmla="*/ 1141190 w 1502283"/>
                <a:gd name="connsiteY165" fmla="*/ 402241 h 1161573"/>
                <a:gd name="connsiteX166" fmla="*/ 1142810 w 1502283"/>
                <a:gd name="connsiteY166" fmla="*/ 402050 h 1161573"/>
                <a:gd name="connsiteX167" fmla="*/ 1142429 w 1502283"/>
                <a:gd name="connsiteY167" fmla="*/ 398907 h 1161573"/>
                <a:gd name="connsiteX168" fmla="*/ 1142238 w 1502283"/>
                <a:gd name="connsiteY168" fmla="*/ 397288 h 1161573"/>
                <a:gd name="connsiteX169" fmla="*/ 1139285 w 1502283"/>
                <a:gd name="connsiteY169" fmla="*/ 399288 h 1161573"/>
                <a:gd name="connsiteX170" fmla="*/ 1140428 w 1502283"/>
                <a:gd name="connsiteY170" fmla="*/ 395954 h 1161573"/>
                <a:gd name="connsiteX171" fmla="*/ 1138619 w 1502283"/>
                <a:gd name="connsiteY171" fmla="*/ 394621 h 1161573"/>
                <a:gd name="connsiteX172" fmla="*/ 1135856 w 1502283"/>
                <a:gd name="connsiteY172" fmla="*/ 385382 h 1161573"/>
                <a:gd name="connsiteX173" fmla="*/ 1135285 w 1502283"/>
                <a:gd name="connsiteY173" fmla="*/ 380619 h 1161573"/>
                <a:gd name="connsiteX174" fmla="*/ 1133475 w 1502283"/>
                <a:gd name="connsiteY174" fmla="*/ 379286 h 1161573"/>
                <a:gd name="connsiteX175" fmla="*/ 1132141 w 1502283"/>
                <a:gd name="connsiteY175" fmla="*/ 381095 h 1161573"/>
                <a:gd name="connsiteX176" fmla="*/ 1129951 w 1502283"/>
                <a:gd name="connsiteY176" fmla="*/ 376523 h 1161573"/>
                <a:gd name="connsiteX177" fmla="*/ 1129189 w 1502283"/>
                <a:gd name="connsiteY177" fmla="*/ 370237 h 1161573"/>
                <a:gd name="connsiteX178" fmla="*/ 1126617 w 1502283"/>
                <a:gd name="connsiteY178" fmla="*/ 362521 h 1161573"/>
                <a:gd name="connsiteX179" fmla="*/ 1122616 w 1502283"/>
                <a:gd name="connsiteY179" fmla="*/ 356616 h 1161573"/>
                <a:gd name="connsiteX180" fmla="*/ 1125569 w 1502283"/>
                <a:gd name="connsiteY180" fmla="*/ 354616 h 1161573"/>
                <a:gd name="connsiteX181" fmla="*/ 1125379 w 1502283"/>
                <a:gd name="connsiteY181" fmla="*/ 352996 h 1161573"/>
                <a:gd name="connsiteX182" fmla="*/ 1126522 w 1502283"/>
                <a:gd name="connsiteY182" fmla="*/ 349663 h 1161573"/>
                <a:gd name="connsiteX183" fmla="*/ 1125760 w 1502283"/>
                <a:gd name="connsiteY183" fmla="*/ 343376 h 1161573"/>
                <a:gd name="connsiteX184" fmla="*/ 1118045 w 1502283"/>
                <a:gd name="connsiteY184" fmla="*/ 345948 h 1161573"/>
                <a:gd name="connsiteX185" fmla="*/ 1112139 w 1502283"/>
                <a:gd name="connsiteY185" fmla="*/ 337090 h 1161573"/>
                <a:gd name="connsiteX186" fmla="*/ 1108424 w 1502283"/>
                <a:gd name="connsiteY186" fmla="*/ 332804 h 1161573"/>
                <a:gd name="connsiteX187" fmla="*/ 1109758 w 1502283"/>
                <a:gd name="connsiteY187" fmla="*/ 330994 h 1161573"/>
                <a:gd name="connsiteX188" fmla="*/ 1104805 w 1502283"/>
                <a:gd name="connsiteY188" fmla="*/ 330041 h 1161573"/>
                <a:gd name="connsiteX189" fmla="*/ 1096328 w 1502283"/>
                <a:gd name="connsiteY189" fmla="*/ 326326 h 1161573"/>
                <a:gd name="connsiteX190" fmla="*/ 1093184 w 1502283"/>
                <a:gd name="connsiteY190" fmla="*/ 326708 h 1161573"/>
                <a:gd name="connsiteX191" fmla="*/ 1091851 w 1502283"/>
                <a:gd name="connsiteY191" fmla="*/ 328517 h 1161573"/>
                <a:gd name="connsiteX192" fmla="*/ 1083183 w 1502283"/>
                <a:gd name="connsiteY192" fmla="*/ 323183 h 1161573"/>
                <a:gd name="connsiteX193" fmla="*/ 1080040 w 1502283"/>
                <a:gd name="connsiteY193" fmla="*/ 323564 h 1161573"/>
                <a:gd name="connsiteX194" fmla="*/ 1078516 w 1502283"/>
                <a:gd name="connsiteY194" fmla="*/ 323755 h 1161573"/>
                <a:gd name="connsiteX195" fmla="*/ 1078325 w 1502283"/>
                <a:gd name="connsiteY195" fmla="*/ 322136 h 1161573"/>
                <a:gd name="connsiteX196" fmla="*/ 1071563 w 1502283"/>
                <a:gd name="connsiteY196" fmla="*/ 319754 h 1161573"/>
                <a:gd name="connsiteX197" fmla="*/ 1069562 w 1502283"/>
                <a:gd name="connsiteY197" fmla="*/ 316801 h 1161573"/>
                <a:gd name="connsiteX198" fmla="*/ 1070896 w 1502283"/>
                <a:gd name="connsiteY198" fmla="*/ 314992 h 1161573"/>
                <a:gd name="connsiteX199" fmla="*/ 1060799 w 1502283"/>
                <a:gd name="connsiteY199" fmla="*/ 311467 h 1161573"/>
                <a:gd name="connsiteX200" fmla="*/ 1059466 w 1502283"/>
                <a:gd name="connsiteY200" fmla="*/ 313277 h 1161573"/>
                <a:gd name="connsiteX201" fmla="*/ 1055465 w 1502283"/>
                <a:gd name="connsiteY201" fmla="*/ 307372 h 1161573"/>
                <a:gd name="connsiteX202" fmla="*/ 1060037 w 1502283"/>
                <a:gd name="connsiteY202" fmla="*/ 305181 h 1161573"/>
                <a:gd name="connsiteX203" fmla="*/ 1060990 w 1502283"/>
                <a:gd name="connsiteY203" fmla="*/ 300228 h 1161573"/>
                <a:gd name="connsiteX204" fmla="*/ 1059180 w 1502283"/>
                <a:gd name="connsiteY204" fmla="*/ 298895 h 1161573"/>
                <a:gd name="connsiteX205" fmla="*/ 1059180 w 1502283"/>
                <a:gd name="connsiteY205" fmla="*/ 298895 h 1161573"/>
                <a:gd name="connsiteX206" fmla="*/ 1057180 w 1502283"/>
                <a:gd name="connsiteY206" fmla="*/ 295942 h 1161573"/>
                <a:gd name="connsiteX207" fmla="*/ 1062514 w 1502283"/>
                <a:gd name="connsiteY207" fmla="*/ 287274 h 1161573"/>
                <a:gd name="connsiteX208" fmla="*/ 1065276 w 1502283"/>
                <a:gd name="connsiteY208" fmla="*/ 283750 h 1161573"/>
                <a:gd name="connsiteX209" fmla="*/ 1063276 w 1502283"/>
                <a:gd name="connsiteY209" fmla="*/ 280797 h 1161573"/>
                <a:gd name="connsiteX210" fmla="*/ 1064228 w 1502283"/>
                <a:gd name="connsiteY210" fmla="*/ 275844 h 1161573"/>
                <a:gd name="connsiteX211" fmla="*/ 1068324 w 1502283"/>
                <a:gd name="connsiteY211" fmla="*/ 270510 h 1161573"/>
                <a:gd name="connsiteX212" fmla="*/ 1067562 w 1502283"/>
                <a:gd name="connsiteY212" fmla="*/ 264224 h 1161573"/>
                <a:gd name="connsiteX213" fmla="*/ 1063752 w 1502283"/>
                <a:gd name="connsiteY213" fmla="*/ 259937 h 1161573"/>
                <a:gd name="connsiteX214" fmla="*/ 1061371 w 1502283"/>
                <a:gd name="connsiteY214" fmla="*/ 253841 h 1161573"/>
                <a:gd name="connsiteX215" fmla="*/ 1059180 w 1502283"/>
                <a:gd name="connsiteY215" fmla="*/ 249269 h 1161573"/>
                <a:gd name="connsiteX216" fmla="*/ 1057561 w 1502283"/>
                <a:gd name="connsiteY216" fmla="*/ 249460 h 1161573"/>
                <a:gd name="connsiteX217" fmla="*/ 1059752 w 1502283"/>
                <a:gd name="connsiteY217" fmla="*/ 254032 h 1161573"/>
                <a:gd name="connsiteX218" fmla="*/ 1056989 w 1502283"/>
                <a:gd name="connsiteY218" fmla="*/ 257556 h 1161573"/>
                <a:gd name="connsiteX219" fmla="*/ 1057370 w 1502283"/>
                <a:gd name="connsiteY219" fmla="*/ 260699 h 1161573"/>
                <a:gd name="connsiteX220" fmla="*/ 1052608 w 1502283"/>
                <a:gd name="connsiteY220" fmla="*/ 261271 h 1161573"/>
                <a:gd name="connsiteX221" fmla="*/ 1055941 w 1502283"/>
                <a:gd name="connsiteY221" fmla="*/ 262414 h 1161573"/>
                <a:gd name="connsiteX222" fmla="*/ 1054989 w 1502283"/>
                <a:gd name="connsiteY222" fmla="*/ 267367 h 1161573"/>
                <a:gd name="connsiteX223" fmla="*/ 1056608 w 1502283"/>
                <a:gd name="connsiteY223" fmla="*/ 267176 h 1161573"/>
                <a:gd name="connsiteX224" fmla="*/ 1056989 w 1502283"/>
                <a:gd name="connsiteY224" fmla="*/ 270320 h 1161573"/>
                <a:gd name="connsiteX225" fmla="*/ 1058323 w 1502283"/>
                <a:gd name="connsiteY225" fmla="*/ 268510 h 1161573"/>
                <a:gd name="connsiteX226" fmla="*/ 1055561 w 1502283"/>
                <a:gd name="connsiteY226" fmla="*/ 272034 h 1161573"/>
                <a:gd name="connsiteX227" fmla="*/ 1055561 w 1502283"/>
                <a:gd name="connsiteY227" fmla="*/ 272034 h 1161573"/>
                <a:gd name="connsiteX228" fmla="*/ 1055751 w 1502283"/>
                <a:gd name="connsiteY228" fmla="*/ 273653 h 1161573"/>
                <a:gd name="connsiteX229" fmla="*/ 1050798 w 1502283"/>
                <a:gd name="connsiteY229" fmla="*/ 272701 h 1161573"/>
                <a:gd name="connsiteX230" fmla="*/ 1049179 w 1502283"/>
                <a:gd name="connsiteY230" fmla="*/ 272891 h 1161573"/>
                <a:gd name="connsiteX231" fmla="*/ 1049369 w 1502283"/>
                <a:gd name="connsiteY231" fmla="*/ 274511 h 1161573"/>
                <a:gd name="connsiteX232" fmla="*/ 1046226 w 1502283"/>
                <a:gd name="connsiteY232" fmla="*/ 274892 h 1161573"/>
                <a:gd name="connsiteX233" fmla="*/ 1045655 w 1502283"/>
                <a:gd name="connsiteY233" fmla="*/ 270129 h 1161573"/>
                <a:gd name="connsiteX234" fmla="*/ 1046797 w 1502283"/>
                <a:gd name="connsiteY234" fmla="*/ 266795 h 1161573"/>
                <a:gd name="connsiteX235" fmla="*/ 1043654 w 1502283"/>
                <a:gd name="connsiteY235" fmla="*/ 267176 h 1161573"/>
                <a:gd name="connsiteX236" fmla="*/ 1041273 w 1502283"/>
                <a:gd name="connsiteY236" fmla="*/ 261080 h 1161573"/>
                <a:gd name="connsiteX237" fmla="*/ 1039654 w 1502283"/>
                <a:gd name="connsiteY237" fmla="*/ 261271 h 1161573"/>
                <a:gd name="connsiteX238" fmla="*/ 1042225 w 1502283"/>
                <a:gd name="connsiteY238" fmla="*/ 256127 h 1161573"/>
                <a:gd name="connsiteX239" fmla="*/ 1032796 w 1502283"/>
                <a:gd name="connsiteY239" fmla="*/ 257366 h 1161573"/>
                <a:gd name="connsiteX240" fmla="*/ 1032224 w 1502283"/>
                <a:gd name="connsiteY240" fmla="*/ 252603 h 1161573"/>
                <a:gd name="connsiteX241" fmla="*/ 1035558 w 1502283"/>
                <a:gd name="connsiteY241" fmla="*/ 253746 h 1161573"/>
                <a:gd name="connsiteX242" fmla="*/ 1034987 w 1502283"/>
                <a:gd name="connsiteY242" fmla="*/ 248984 h 1161573"/>
                <a:gd name="connsiteX243" fmla="*/ 1033367 w 1502283"/>
                <a:gd name="connsiteY243" fmla="*/ 249174 h 1161573"/>
                <a:gd name="connsiteX244" fmla="*/ 1035748 w 1502283"/>
                <a:gd name="connsiteY244" fmla="*/ 242507 h 1161573"/>
                <a:gd name="connsiteX245" fmla="*/ 1035368 w 1502283"/>
                <a:gd name="connsiteY245" fmla="*/ 239363 h 1161573"/>
                <a:gd name="connsiteX246" fmla="*/ 1030605 w 1502283"/>
                <a:gd name="connsiteY246" fmla="*/ 239935 h 1161573"/>
                <a:gd name="connsiteX247" fmla="*/ 1030224 w 1502283"/>
                <a:gd name="connsiteY247" fmla="*/ 236792 h 1161573"/>
                <a:gd name="connsiteX248" fmla="*/ 1025652 w 1502283"/>
                <a:gd name="connsiteY248" fmla="*/ 238982 h 1161573"/>
                <a:gd name="connsiteX249" fmla="*/ 1020699 w 1502283"/>
                <a:gd name="connsiteY249" fmla="*/ 238030 h 1161573"/>
                <a:gd name="connsiteX250" fmla="*/ 1013555 w 1502283"/>
                <a:gd name="connsiteY250" fmla="*/ 232505 h 1161573"/>
                <a:gd name="connsiteX251" fmla="*/ 1014698 w 1502283"/>
                <a:gd name="connsiteY251" fmla="*/ 229171 h 1161573"/>
                <a:gd name="connsiteX252" fmla="*/ 1016508 w 1502283"/>
                <a:gd name="connsiteY252" fmla="*/ 230505 h 1161573"/>
                <a:gd name="connsiteX253" fmla="*/ 1017270 w 1502283"/>
                <a:gd name="connsiteY253" fmla="*/ 224028 h 1161573"/>
                <a:gd name="connsiteX254" fmla="*/ 1016698 w 1502283"/>
                <a:gd name="connsiteY254" fmla="*/ 219266 h 1161573"/>
                <a:gd name="connsiteX255" fmla="*/ 1012127 w 1502283"/>
                <a:gd name="connsiteY255" fmla="*/ 208598 h 1161573"/>
                <a:gd name="connsiteX256" fmla="*/ 1011936 w 1502283"/>
                <a:gd name="connsiteY256" fmla="*/ 206978 h 1161573"/>
                <a:gd name="connsiteX257" fmla="*/ 1013555 w 1502283"/>
                <a:gd name="connsiteY257" fmla="*/ 206788 h 1161573"/>
                <a:gd name="connsiteX258" fmla="*/ 1012507 w 1502283"/>
                <a:gd name="connsiteY258" fmla="*/ 198882 h 1161573"/>
                <a:gd name="connsiteX259" fmla="*/ 1010698 w 1502283"/>
                <a:gd name="connsiteY259" fmla="*/ 197453 h 1161573"/>
                <a:gd name="connsiteX260" fmla="*/ 1008697 w 1502283"/>
                <a:gd name="connsiteY260" fmla="*/ 194500 h 1161573"/>
                <a:gd name="connsiteX261" fmla="*/ 1005745 w 1502283"/>
                <a:gd name="connsiteY261" fmla="*/ 196501 h 1161573"/>
                <a:gd name="connsiteX262" fmla="*/ 1002221 w 1502283"/>
                <a:gd name="connsiteY262" fmla="*/ 193738 h 1161573"/>
                <a:gd name="connsiteX263" fmla="*/ 1000601 w 1502283"/>
                <a:gd name="connsiteY263" fmla="*/ 193929 h 1161573"/>
                <a:gd name="connsiteX264" fmla="*/ 1000220 w 1502283"/>
                <a:gd name="connsiteY264" fmla="*/ 190786 h 1161573"/>
                <a:gd name="connsiteX265" fmla="*/ 1004983 w 1502283"/>
                <a:gd name="connsiteY265" fmla="*/ 190214 h 1161573"/>
                <a:gd name="connsiteX266" fmla="*/ 1006316 w 1502283"/>
                <a:gd name="connsiteY266" fmla="*/ 188404 h 1161573"/>
                <a:gd name="connsiteX267" fmla="*/ 1004316 w 1502283"/>
                <a:gd name="connsiteY267" fmla="*/ 185452 h 1161573"/>
                <a:gd name="connsiteX268" fmla="*/ 992886 w 1502283"/>
                <a:gd name="connsiteY268" fmla="*/ 183737 h 1161573"/>
                <a:gd name="connsiteX269" fmla="*/ 992314 w 1502283"/>
                <a:gd name="connsiteY269" fmla="*/ 178975 h 1161573"/>
                <a:gd name="connsiteX270" fmla="*/ 989171 w 1502283"/>
                <a:gd name="connsiteY270" fmla="*/ 179356 h 1161573"/>
                <a:gd name="connsiteX271" fmla="*/ 987171 w 1502283"/>
                <a:gd name="connsiteY271" fmla="*/ 176403 h 1161573"/>
                <a:gd name="connsiteX272" fmla="*/ 993457 w 1502283"/>
                <a:gd name="connsiteY272" fmla="*/ 175641 h 1161573"/>
                <a:gd name="connsiteX273" fmla="*/ 992219 w 1502283"/>
                <a:gd name="connsiteY273" fmla="*/ 166211 h 1161573"/>
                <a:gd name="connsiteX274" fmla="*/ 985266 w 1502283"/>
                <a:gd name="connsiteY274" fmla="*/ 162306 h 1161573"/>
                <a:gd name="connsiteX275" fmla="*/ 983266 w 1502283"/>
                <a:gd name="connsiteY275" fmla="*/ 159353 h 1161573"/>
                <a:gd name="connsiteX276" fmla="*/ 984599 w 1502283"/>
                <a:gd name="connsiteY276" fmla="*/ 157544 h 1161573"/>
                <a:gd name="connsiteX277" fmla="*/ 981265 w 1502283"/>
                <a:gd name="connsiteY277" fmla="*/ 156400 h 1161573"/>
                <a:gd name="connsiteX278" fmla="*/ 981075 w 1502283"/>
                <a:gd name="connsiteY278" fmla="*/ 154781 h 1161573"/>
                <a:gd name="connsiteX279" fmla="*/ 977741 w 1502283"/>
                <a:gd name="connsiteY279" fmla="*/ 153638 h 1161573"/>
                <a:gd name="connsiteX280" fmla="*/ 973836 w 1502283"/>
                <a:gd name="connsiteY280" fmla="*/ 160592 h 1161573"/>
                <a:gd name="connsiteX281" fmla="*/ 962787 w 1502283"/>
                <a:gd name="connsiteY281" fmla="*/ 149162 h 1161573"/>
                <a:gd name="connsiteX282" fmla="*/ 960977 w 1502283"/>
                <a:gd name="connsiteY282" fmla="*/ 147828 h 1161573"/>
                <a:gd name="connsiteX283" fmla="*/ 958215 w 1502283"/>
                <a:gd name="connsiteY283" fmla="*/ 151352 h 1161573"/>
                <a:gd name="connsiteX284" fmla="*/ 954881 w 1502283"/>
                <a:gd name="connsiteY284" fmla="*/ 150209 h 1161573"/>
                <a:gd name="connsiteX285" fmla="*/ 940118 w 1502283"/>
                <a:gd name="connsiteY285" fmla="*/ 160115 h 1161573"/>
                <a:gd name="connsiteX286" fmla="*/ 935355 w 1502283"/>
                <a:gd name="connsiteY286" fmla="*/ 160687 h 1161573"/>
                <a:gd name="connsiteX287" fmla="*/ 932402 w 1502283"/>
                <a:gd name="connsiteY287" fmla="*/ 162687 h 1161573"/>
                <a:gd name="connsiteX288" fmla="*/ 934212 w 1502283"/>
                <a:gd name="connsiteY288" fmla="*/ 164021 h 1161573"/>
                <a:gd name="connsiteX289" fmla="*/ 935831 w 1502283"/>
                <a:gd name="connsiteY289" fmla="*/ 163830 h 1161573"/>
                <a:gd name="connsiteX290" fmla="*/ 937641 w 1502283"/>
                <a:gd name="connsiteY290" fmla="*/ 165163 h 1161573"/>
                <a:gd name="connsiteX291" fmla="*/ 934498 w 1502283"/>
                <a:gd name="connsiteY291" fmla="*/ 165545 h 1161573"/>
                <a:gd name="connsiteX292" fmla="*/ 933545 w 1502283"/>
                <a:gd name="connsiteY292" fmla="*/ 170498 h 1161573"/>
                <a:gd name="connsiteX293" fmla="*/ 930593 w 1502283"/>
                <a:gd name="connsiteY293" fmla="*/ 172498 h 1161573"/>
                <a:gd name="connsiteX294" fmla="*/ 925449 w 1502283"/>
                <a:gd name="connsiteY294" fmla="*/ 169926 h 1161573"/>
                <a:gd name="connsiteX295" fmla="*/ 921163 w 1502283"/>
                <a:gd name="connsiteY295" fmla="*/ 173641 h 1161573"/>
                <a:gd name="connsiteX296" fmla="*/ 927449 w 1502283"/>
                <a:gd name="connsiteY296" fmla="*/ 172879 h 1161573"/>
                <a:gd name="connsiteX297" fmla="*/ 931164 w 1502283"/>
                <a:gd name="connsiteY297" fmla="*/ 177165 h 1161573"/>
                <a:gd name="connsiteX298" fmla="*/ 928783 w 1502283"/>
                <a:gd name="connsiteY298" fmla="*/ 183833 h 1161573"/>
                <a:gd name="connsiteX299" fmla="*/ 930402 w 1502283"/>
                <a:gd name="connsiteY299" fmla="*/ 183642 h 1161573"/>
                <a:gd name="connsiteX300" fmla="*/ 933736 w 1502283"/>
                <a:gd name="connsiteY300" fmla="*/ 184785 h 1161573"/>
                <a:gd name="connsiteX301" fmla="*/ 936688 w 1502283"/>
                <a:gd name="connsiteY301" fmla="*/ 182785 h 1161573"/>
                <a:gd name="connsiteX302" fmla="*/ 936879 w 1502283"/>
                <a:gd name="connsiteY302" fmla="*/ 184404 h 1161573"/>
                <a:gd name="connsiteX303" fmla="*/ 938689 w 1502283"/>
                <a:gd name="connsiteY303" fmla="*/ 185738 h 1161573"/>
                <a:gd name="connsiteX304" fmla="*/ 941070 w 1502283"/>
                <a:gd name="connsiteY304" fmla="*/ 191834 h 1161573"/>
                <a:gd name="connsiteX305" fmla="*/ 942689 w 1502283"/>
                <a:gd name="connsiteY305" fmla="*/ 191643 h 1161573"/>
                <a:gd name="connsiteX306" fmla="*/ 943261 w 1502283"/>
                <a:gd name="connsiteY306" fmla="*/ 196405 h 1161573"/>
                <a:gd name="connsiteX307" fmla="*/ 944594 w 1502283"/>
                <a:gd name="connsiteY307" fmla="*/ 194596 h 1161573"/>
                <a:gd name="connsiteX308" fmla="*/ 949357 w 1502283"/>
                <a:gd name="connsiteY308" fmla="*/ 194024 h 1161573"/>
                <a:gd name="connsiteX309" fmla="*/ 949738 w 1502283"/>
                <a:gd name="connsiteY309" fmla="*/ 197167 h 1161573"/>
                <a:gd name="connsiteX310" fmla="*/ 953072 w 1502283"/>
                <a:gd name="connsiteY310" fmla="*/ 198311 h 1161573"/>
                <a:gd name="connsiteX311" fmla="*/ 951929 w 1502283"/>
                <a:gd name="connsiteY311" fmla="*/ 201644 h 1161573"/>
                <a:gd name="connsiteX312" fmla="*/ 952119 w 1502283"/>
                <a:gd name="connsiteY312" fmla="*/ 203263 h 1161573"/>
                <a:gd name="connsiteX313" fmla="*/ 947642 w 1502283"/>
                <a:gd name="connsiteY313" fmla="*/ 205454 h 1161573"/>
                <a:gd name="connsiteX314" fmla="*/ 946499 w 1502283"/>
                <a:gd name="connsiteY314" fmla="*/ 208788 h 1161573"/>
                <a:gd name="connsiteX315" fmla="*/ 948499 w 1502283"/>
                <a:gd name="connsiteY315" fmla="*/ 211741 h 1161573"/>
                <a:gd name="connsiteX316" fmla="*/ 956786 w 1502283"/>
                <a:gd name="connsiteY316" fmla="*/ 213932 h 1161573"/>
                <a:gd name="connsiteX317" fmla="*/ 958596 w 1502283"/>
                <a:gd name="connsiteY317" fmla="*/ 215265 h 1161573"/>
                <a:gd name="connsiteX318" fmla="*/ 957834 w 1502283"/>
                <a:gd name="connsiteY318" fmla="*/ 221742 h 1161573"/>
                <a:gd name="connsiteX319" fmla="*/ 965168 w 1502283"/>
                <a:gd name="connsiteY319" fmla="*/ 228791 h 1161573"/>
                <a:gd name="connsiteX320" fmla="*/ 959453 w 1502283"/>
                <a:gd name="connsiteY320" fmla="*/ 234315 h 1161573"/>
                <a:gd name="connsiteX321" fmla="*/ 956500 w 1502283"/>
                <a:gd name="connsiteY321" fmla="*/ 236315 h 1161573"/>
                <a:gd name="connsiteX322" fmla="*/ 952500 w 1502283"/>
                <a:gd name="connsiteY322" fmla="*/ 230410 h 1161573"/>
                <a:gd name="connsiteX323" fmla="*/ 949357 w 1502283"/>
                <a:gd name="connsiteY323" fmla="*/ 243650 h 1161573"/>
                <a:gd name="connsiteX324" fmla="*/ 947738 w 1502283"/>
                <a:gd name="connsiteY324" fmla="*/ 243840 h 1161573"/>
                <a:gd name="connsiteX325" fmla="*/ 948309 w 1502283"/>
                <a:gd name="connsiteY325" fmla="*/ 248603 h 1161573"/>
                <a:gd name="connsiteX326" fmla="*/ 948499 w 1502283"/>
                <a:gd name="connsiteY326" fmla="*/ 250222 h 1161573"/>
                <a:gd name="connsiteX327" fmla="*/ 947738 w 1502283"/>
                <a:gd name="connsiteY327" fmla="*/ 256699 h 1161573"/>
                <a:gd name="connsiteX328" fmla="*/ 951547 w 1502283"/>
                <a:gd name="connsiteY328" fmla="*/ 260985 h 1161573"/>
                <a:gd name="connsiteX329" fmla="*/ 948214 w 1502283"/>
                <a:gd name="connsiteY329" fmla="*/ 259842 h 1161573"/>
                <a:gd name="connsiteX330" fmla="*/ 943928 w 1502283"/>
                <a:gd name="connsiteY330" fmla="*/ 263557 h 1161573"/>
                <a:gd name="connsiteX331" fmla="*/ 939165 w 1502283"/>
                <a:gd name="connsiteY331" fmla="*/ 264128 h 1161573"/>
                <a:gd name="connsiteX332" fmla="*/ 933260 w 1502283"/>
                <a:gd name="connsiteY332" fmla="*/ 268129 h 1161573"/>
                <a:gd name="connsiteX333" fmla="*/ 928116 w 1502283"/>
                <a:gd name="connsiteY333" fmla="*/ 278416 h 1161573"/>
                <a:gd name="connsiteX334" fmla="*/ 928497 w 1502283"/>
                <a:gd name="connsiteY334" fmla="*/ 281559 h 1161573"/>
                <a:gd name="connsiteX335" fmla="*/ 925544 w 1502283"/>
                <a:gd name="connsiteY335" fmla="*/ 283559 h 1161573"/>
                <a:gd name="connsiteX336" fmla="*/ 921544 w 1502283"/>
                <a:gd name="connsiteY336" fmla="*/ 277654 h 1161573"/>
                <a:gd name="connsiteX337" fmla="*/ 911447 w 1502283"/>
                <a:gd name="connsiteY337" fmla="*/ 274130 h 1161573"/>
                <a:gd name="connsiteX338" fmla="*/ 903922 w 1502283"/>
                <a:gd name="connsiteY338" fmla="*/ 265462 h 1161573"/>
                <a:gd name="connsiteX339" fmla="*/ 886778 w 1502283"/>
                <a:gd name="connsiteY339" fmla="*/ 256413 h 1161573"/>
                <a:gd name="connsiteX340" fmla="*/ 889159 w 1502283"/>
                <a:gd name="connsiteY340" fmla="*/ 249746 h 1161573"/>
                <a:gd name="connsiteX341" fmla="*/ 884206 w 1502283"/>
                <a:gd name="connsiteY341" fmla="*/ 248793 h 1161573"/>
                <a:gd name="connsiteX342" fmla="*/ 883063 w 1502283"/>
                <a:gd name="connsiteY342" fmla="*/ 252127 h 1161573"/>
                <a:gd name="connsiteX343" fmla="*/ 879729 w 1502283"/>
                <a:gd name="connsiteY343" fmla="*/ 250984 h 1161573"/>
                <a:gd name="connsiteX344" fmla="*/ 878967 w 1502283"/>
                <a:gd name="connsiteY344" fmla="*/ 244697 h 1161573"/>
                <a:gd name="connsiteX345" fmla="*/ 881348 w 1502283"/>
                <a:gd name="connsiteY345" fmla="*/ 238030 h 1161573"/>
                <a:gd name="connsiteX346" fmla="*/ 880967 w 1502283"/>
                <a:gd name="connsiteY346" fmla="*/ 234887 h 1161573"/>
                <a:gd name="connsiteX347" fmla="*/ 883539 w 1502283"/>
                <a:gd name="connsiteY347" fmla="*/ 229743 h 1161573"/>
                <a:gd name="connsiteX348" fmla="*/ 890016 w 1502283"/>
                <a:gd name="connsiteY348" fmla="*/ 230505 h 1161573"/>
                <a:gd name="connsiteX349" fmla="*/ 891445 w 1502283"/>
                <a:gd name="connsiteY349" fmla="*/ 228695 h 1161573"/>
                <a:gd name="connsiteX350" fmla="*/ 897731 w 1502283"/>
                <a:gd name="connsiteY350" fmla="*/ 227933 h 1161573"/>
                <a:gd name="connsiteX351" fmla="*/ 899065 w 1502283"/>
                <a:gd name="connsiteY351" fmla="*/ 226124 h 1161573"/>
                <a:gd name="connsiteX352" fmla="*/ 900874 w 1502283"/>
                <a:gd name="connsiteY352" fmla="*/ 227457 h 1161573"/>
                <a:gd name="connsiteX353" fmla="*/ 901827 w 1502283"/>
                <a:gd name="connsiteY353" fmla="*/ 222504 h 1161573"/>
                <a:gd name="connsiteX354" fmla="*/ 901446 w 1502283"/>
                <a:gd name="connsiteY354" fmla="*/ 219361 h 1161573"/>
                <a:gd name="connsiteX355" fmla="*/ 896493 w 1502283"/>
                <a:gd name="connsiteY355" fmla="*/ 218408 h 1161573"/>
                <a:gd name="connsiteX356" fmla="*/ 897827 w 1502283"/>
                <a:gd name="connsiteY356" fmla="*/ 216599 h 1161573"/>
                <a:gd name="connsiteX357" fmla="*/ 895636 w 1502283"/>
                <a:gd name="connsiteY357" fmla="*/ 212026 h 1161573"/>
                <a:gd name="connsiteX358" fmla="*/ 892493 w 1502283"/>
                <a:gd name="connsiteY358" fmla="*/ 212408 h 1161573"/>
                <a:gd name="connsiteX359" fmla="*/ 894683 w 1502283"/>
                <a:gd name="connsiteY359" fmla="*/ 204121 h 1161573"/>
                <a:gd name="connsiteX360" fmla="*/ 892873 w 1502283"/>
                <a:gd name="connsiteY360" fmla="*/ 202787 h 1161573"/>
                <a:gd name="connsiteX361" fmla="*/ 886587 w 1502283"/>
                <a:gd name="connsiteY361" fmla="*/ 203549 h 1161573"/>
                <a:gd name="connsiteX362" fmla="*/ 884587 w 1502283"/>
                <a:gd name="connsiteY362" fmla="*/ 200596 h 1161573"/>
                <a:gd name="connsiteX363" fmla="*/ 879634 w 1502283"/>
                <a:gd name="connsiteY363" fmla="*/ 199644 h 1161573"/>
                <a:gd name="connsiteX364" fmla="*/ 880586 w 1502283"/>
                <a:gd name="connsiteY364" fmla="*/ 181928 h 1161573"/>
                <a:gd name="connsiteX365" fmla="*/ 877253 w 1502283"/>
                <a:gd name="connsiteY365" fmla="*/ 180784 h 1161573"/>
                <a:gd name="connsiteX366" fmla="*/ 880396 w 1502283"/>
                <a:gd name="connsiteY366" fmla="*/ 180404 h 1161573"/>
                <a:gd name="connsiteX367" fmla="*/ 880205 w 1502283"/>
                <a:gd name="connsiteY367" fmla="*/ 178784 h 1161573"/>
                <a:gd name="connsiteX368" fmla="*/ 876205 w 1502283"/>
                <a:gd name="connsiteY368" fmla="*/ 172879 h 1161573"/>
                <a:gd name="connsiteX369" fmla="*/ 875633 w 1502283"/>
                <a:gd name="connsiteY369" fmla="*/ 168116 h 1161573"/>
                <a:gd name="connsiteX370" fmla="*/ 873633 w 1502283"/>
                <a:gd name="connsiteY370" fmla="*/ 165163 h 1161573"/>
                <a:gd name="connsiteX371" fmla="*/ 872871 w 1502283"/>
                <a:gd name="connsiteY371" fmla="*/ 158877 h 1161573"/>
                <a:gd name="connsiteX372" fmla="*/ 869156 w 1502283"/>
                <a:gd name="connsiteY372" fmla="*/ 154496 h 1161573"/>
                <a:gd name="connsiteX373" fmla="*/ 872490 w 1502283"/>
                <a:gd name="connsiteY373" fmla="*/ 142875 h 1161573"/>
                <a:gd name="connsiteX374" fmla="*/ 870490 w 1502283"/>
                <a:gd name="connsiteY374" fmla="*/ 139922 h 1161573"/>
                <a:gd name="connsiteX375" fmla="*/ 876205 w 1502283"/>
                <a:gd name="connsiteY375" fmla="*/ 134398 h 1161573"/>
                <a:gd name="connsiteX376" fmla="*/ 879538 w 1502283"/>
                <a:gd name="connsiteY376" fmla="*/ 135541 h 1161573"/>
                <a:gd name="connsiteX377" fmla="*/ 882491 w 1502283"/>
                <a:gd name="connsiteY377" fmla="*/ 133541 h 1161573"/>
                <a:gd name="connsiteX378" fmla="*/ 883825 w 1502283"/>
                <a:gd name="connsiteY378" fmla="*/ 131731 h 1161573"/>
                <a:gd name="connsiteX379" fmla="*/ 882777 w 1502283"/>
                <a:gd name="connsiteY379" fmla="*/ 123825 h 1161573"/>
                <a:gd name="connsiteX380" fmla="*/ 880777 w 1502283"/>
                <a:gd name="connsiteY380" fmla="*/ 120872 h 1161573"/>
                <a:gd name="connsiteX381" fmla="*/ 884682 w 1502283"/>
                <a:gd name="connsiteY381" fmla="*/ 113919 h 1161573"/>
                <a:gd name="connsiteX382" fmla="*/ 889254 w 1502283"/>
                <a:gd name="connsiteY382" fmla="*/ 111728 h 1161573"/>
                <a:gd name="connsiteX383" fmla="*/ 894397 w 1502283"/>
                <a:gd name="connsiteY383" fmla="*/ 114300 h 1161573"/>
                <a:gd name="connsiteX384" fmla="*/ 900684 w 1502283"/>
                <a:gd name="connsiteY384" fmla="*/ 113538 h 1161573"/>
                <a:gd name="connsiteX385" fmla="*/ 902018 w 1502283"/>
                <a:gd name="connsiteY385" fmla="*/ 111728 h 1161573"/>
                <a:gd name="connsiteX386" fmla="*/ 900398 w 1502283"/>
                <a:gd name="connsiteY386" fmla="*/ 111919 h 1161573"/>
                <a:gd name="connsiteX387" fmla="*/ 898588 w 1502283"/>
                <a:gd name="connsiteY387" fmla="*/ 110585 h 1161573"/>
                <a:gd name="connsiteX388" fmla="*/ 895636 w 1502283"/>
                <a:gd name="connsiteY388" fmla="*/ 112586 h 1161573"/>
                <a:gd name="connsiteX389" fmla="*/ 895445 w 1502283"/>
                <a:gd name="connsiteY389" fmla="*/ 110966 h 1161573"/>
                <a:gd name="connsiteX390" fmla="*/ 890492 w 1502283"/>
                <a:gd name="connsiteY390" fmla="*/ 110014 h 1161573"/>
                <a:gd name="connsiteX391" fmla="*/ 888682 w 1502283"/>
                <a:gd name="connsiteY391" fmla="*/ 108680 h 1161573"/>
                <a:gd name="connsiteX392" fmla="*/ 887539 w 1502283"/>
                <a:gd name="connsiteY392" fmla="*/ 112014 h 1161573"/>
                <a:gd name="connsiteX393" fmla="*/ 887158 w 1502283"/>
                <a:gd name="connsiteY393" fmla="*/ 108871 h 1161573"/>
                <a:gd name="connsiteX394" fmla="*/ 888587 w 1502283"/>
                <a:gd name="connsiteY394" fmla="*/ 107061 h 1161573"/>
                <a:gd name="connsiteX395" fmla="*/ 884206 w 1502283"/>
                <a:gd name="connsiteY395" fmla="*/ 110776 h 1161573"/>
                <a:gd name="connsiteX396" fmla="*/ 876110 w 1502283"/>
                <a:gd name="connsiteY396" fmla="*/ 110204 h 1161573"/>
                <a:gd name="connsiteX397" fmla="*/ 867442 w 1502283"/>
                <a:gd name="connsiteY397" fmla="*/ 104870 h 1161573"/>
                <a:gd name="connsiteX398" fmla="*/ 865441 w 1502283"/>
                <a:gd name="connsiteY398" fmla="*/ 101917 h 1161573"/>
                <a:gd name="connsiteX399" fmla="*/ 858774 w 1502283"/>
                <a:gd name="connsiteY399" fmla="*/ 99536 h 1161573"/>
                <a:gd name="connsiteX400" fmla="*/ 855821 w 1502283"/>
                <a:gd name="connsiteY400" fmla="*/ 101537 h 1161573"/>
                <a:gd name="connsiteX401" fmla="*/ 850868 w 1502283"/>
                <a:gd name="connsiteY401" fmla="*/ 100584 h 1161573"/>
                <a:gd name="connsiteX402" fmla="*/ 847535 w 1502283"/>
                <a:gd name="connsiteY402" fmla="*/ 99441 h 1161573"/>
                <a:gd name="connsiteX403" fmla="*/ 841438 w 1502283"/>
                <a:gd name="connsiteY403" fmla="*/ 101822 h 1161573"/>
                <a:gd name="connsiteX404" fmla="*/ 834962 w 1502283"/>
                <a:gd name="connsiteY404" fmla="*/ 101060 h 1161573"/>
                <a:gd name="connsiteX405" fmla="*/ 837343 w 1502283"/>
                <a:gd name="connsiteY405" fmla="*/ 94393 h 1161573"/>
                <a:gd name="connsiteX406" fmla="*/ 840296 w 1502283"/>
                <a:gd name="connsiteY406" fmla="*/ 92392 h 1161573"/>
                <a:gd name="connsiteX407" fmla="*/ 842486 w 1502283"/>
                <a:gd name="connsiteY407" fmla="*/ 84106 h 1161573"/>
                <a:gd name="connsiteX408" fmla="*/ 845248 w 1502283"/>
                <a:gd name="connsiteY408" fmla="*/ 80582 h 1161573"/>
                <a:gd name="connsiteX409" fmla="*/ 845058 w 1502283"/>
                <a:gd name="connsiteY409" fmla="*/ 78962 h 1161573"/>
                <a:gd name="connsiteX410" fmla="*/ 844868 w 1502283"/>
                <a:gd name="connsiteY410" fmla="*/ 77343 h 1161573"/>
                <a:gd name="connsiteX411" fmla="*/ 841724 w 1502283"/>
                <a:gd name="connsiteY411" fmla="*/ 77724 h 1161573"/>
                <a:gd name="connsiteX412" fmla="*/ 839914 w 1502283"/>
                <a:gd name="connsiteY412" fmla="*/ 76391 h 1161573"/>
                <a:gd name="connsiteX413" fmla="*/ 840677 w 1502283"/>
                <a:gd name="connsiteY413" fmla="*/ 69913 h 1161573"/>
                <a:gd name="connsiteX414" fmla="*/ 838295 w 1502283"/>
                <a:gd name="connsiteY414" fmla="*/ 63817 h 1161573"/>
                <a:gd name="connsiteX415" fmla="*/ 838105 w 1502283"/>
                <a:gd name="connsiteY415" fmla="*/ 62198 h 1161573"/>
                <a:gd name="connsiteX416" fmla="*/ 841057 w 1502283"/>
                <a:gd name="connsiteY416" fmla="*/ 60198 h 1161573"/>
                <a:gd name="connsiteX417" fmla="*/ 838867 w 1502283"/>
                <a:gd name="connsiteY417" fmla="*/ 55626 h 1161573"/>
                <a:gd name="connsiteX418" fmla="*/ 842010 w 1502283"/>
                <a:gd name="connsiteY418" fmla="*/ 55245 h 1161573"/>
                <a:gd name="connsiteX419" fmla="*/ 838010 w 1502283"/>
                <a:gd name="connsiteY419" fmla="*/ 49340 h 1161573"/>
                <a:gd name="connsiteX420" fmla="*/ 843534 w 1502283"/>
                <a:gd name="connsiteY420" fmla="*/ 55054 h 1161573"/>
                <a:gd name="connsiteX421" fmla="*/ 850202 w 1502283"/>
                <a:gd name="connsiteY421" fmla="*/ 57436 h 1161573"/>
                <a:gd name="connsiteX422" fmla="*/ 852202 w 1502283"/>
                <a:gd name="connsiteY422" fmla="*/ 60388 h 1161573"/>
                <a:gd name="connsiteX423" fmla="*/ 853154 w 1502283"/>
                <a:gd name="connsiteY423" fmla="*/ 55436 h 1161573"/>
                <a:gd name="connsiteX424" fmla="*/ 855345 w 1502283"/>
                <a:gd name="connsiteY424" fmla="*/ 60008 h 1161573"/>
                <a:gd name="connsiteX425" fmla="*/ 858298 w 1502283"/>
                <a:gd name="connsiteY425" fmla="*/ 58007 h 1161573"/>
                <a:gd name="connsiteX426" fmla="*/ 861822 w 1502283"/>
                <a:gd name="connsiteY426" fmla="*/ 60770 h 1161573"/>
                <a:gd name="connsiteX427" fmla="*/ 864013 w 1502283"/>
                <a:gd name="connsiteY427" fmla="*/ 65342 h 1161573"/>
                <a:gd name="connsiteX428" fmla="*/ 865822 w 1502283"/>
                <a:gd name="connsiteY428" fmla="*/ 66675 h 1161573"/>
                <a:gd name="connsiteX429" fmla="*/ 873538 w 1502283"/>
                <a:gd name="connsiteY429" fmla="*/ 64103 h 1161573"/>
                <a:gd name="connsiteX430" fmla="*/ 878014 w 1502283"/>
                <a:gd name="connsiteY430" fmla="*/ 61913 h 1161573"/>
                <a:gd name="connsiteX431" fmla="*/ 879157 w 1502283"/>
                <a:gd name="connsiteY431" fmla="*/ 58579 h 1161573"/>
                <a:gd name="connsiteX432" fmla="*/ 875824 w 1502283"/>
                <a:gd name="connsiteY432" fmla="*/ 57436 h 1161573"/>
                <a:gd name="connsiteX433" fmla="*/ 873443 w 1502283"/>
                <a:gd name="connsiteY433" fmla="*/ 51340 h 1161573"/>
                <a:gd name="connsiteX434" fmla="*/ 868489 w 1502283"/>
                <a:gd name="connsiteY434" fmla="*/ 50387 h 1161573"/>
                <a:gd name="connsiteX435" fmla="*/ 869252 w 1502283"/>
                <a:gd name="connsiteY435" fmla="*/ 43910 h 1161573"/>
                <a:gd name="connsiteX436" fmla="*/ 871061 w 1502283"/>
                <a:gd name="connsiteY436" fmla="*/ 45244 h 1161573"/>
                <a:gd name="connsiteX437" fmla="*/ 875538 w 1502283"/>
                <a:gd name="connsiteY437" fmla="*/ 43053 h 1161573"/>
                <a:gd name="connsiteX438" fmla="*/ 875157 w 1502283"/>
                <a:gd name="connsiteY438" fmla="*/ 39910 h 1161573"/>
                <a:gd name="connsiteX439" fmla="*/ 881253 w 1502283"/>
                <a:gd name="connsiteY439" fmla="*/ 37529 h 1161573"/>
                <a:gd name="connsiteX440" fmla="*/ 879443 w 1502283"/>
                <a:gd name="connsiteY440" fmla="*/ 36195 h 1161573"/>
                <a:gd name="connsiteX441" fmla="*/ 865441 w 1502283"/>
                <a:gd name="connsiteY441" fmla="*/ 39624 h 1161573"/>
                <a:gd name="connsiteX442" fmla="*/ 858488 w 1502283"/>
                <a:gd name="connsiteY442" fmla="*/ 35719 h 1161573"/>
                <a:gd name="connsiteX443" fmla="*/ 846391 w 1502283"/>
                <a:gd name="connsiteY443" fmla="*/ 29242 h 1161573"/>
                <a:gd name="connsiteX444" fmla="*/ 843058 w 1502283"/>
                <a:gd name="connsiteY444" fmla="*/ 28099 h 1161573"/>
                <a:gd name="connsiteX445" fmla="*/ 824294 w 1502283"/>
                <a:gd name="connsiteY445" fmla="*/ 19241 h 1161573"/>
                <a:gd name="connsiteX446" fmla="*/ 822674 w 1502283"/>
                <a:gd name="connsiteY446" fmla="*/ 19431 h 1161573"/>
                <a:gd name="connsiteX447" fmla="*/ 819340 w 1502283"/>
                <a:gd name="connsiteY447" fmla="*/ 18288 h 1161573"/>
                <a:gd name="connsiteX448" fmla="*/ 816959 w 1502283"/>
                <a:gd name="connsiteY448" fmla="*/ 12192 h 1161573"/>
                <a:gd name="connsiteX449" fmla="*/ 802100 w 1502283"/>
                <a:gd name="connsiteY449" fmla="*/ 9239 h 1161573"/>
                <a:gd name="connsiteX450" fmla="*/ 804863 w 1502283"/>
                <a:gd name="connsiteY450" fmla="*/ 5715 h 1161573"/>
                <a:gd name="connsiteX451" fmla="*/ 798957 w 1502283"/>
                <a:gd name="connsiteY451" fmla="*/ 9716 h 1161573"/>
                <a:gd name="connsiteX452" fmla="*/ 795623 w 1502283"/>
                <a:gd name="connsiteY452" fmla="*/ 8573 h 1161573"/>
                <a:gd name="connsiteX453" fmla="*/ 794290 w 1502283"/>
                <a:gd name="connsiteY453" fmla="*/ 10382 h 1161573"/>
                <a:gd name="connsiteX454" fmla="*/ 790956 w 1502283"/>
                <a:gd name="connsiteY454" fmla="*/ 9239 h 1161573"/>
                <a:gd name="connsiteX455" fmla="*/ 782288 w 1502283"/>
                <a:gd name="connsiteY455" fmla="*/ 3905 h 1161573"/>
                <a:gd name="connsiteX456" fmla="*/ 780955 w 1502283"/>
                <a:gd name="connsiteY456" fmla="*/ 5715 h 1161573"/>
                <a:gd name="connsiteX457" fmla="*/ 784288 w 1502283"/>
                <a:gd name="connsiteY457" fmla="*/ 6858 h 1161573"/>
                <a:gd name="connsiteX458" fmla="*/ 784670 w 1502283"/>
                <a:gd name="connsiteY458" fmla="*/ 10001 h 1161573"/>
                <a:gd name="connsiteX459" fmla="*/ 778002 w 1502283"/>
                <a:gd name="connsiteY459" fmla="*/ 7620 h 1161573"/>
                <a:gd name="connsiteX460" fmla="*/ 772478 w 1502283"/>
                <a:gd name="connsiteY460" fmla="*/ 14764 h 1161573"/>
                <a:gd name="connsiteX461" fmla="*/ 759809 w 1502283"/>
                <a:gd name="connsiteY461" fmla="*/ 3524 h 1161573"/>
                <a:gd name="connsiteX462" fmla="*/ 749713 w 1502283"/>
                <a:gd name="connsiteY462" fmla="*/ 0 h 1161573"/>
                <a:gd name="connsiteX463" fmla="*/ 748094 w 1502283"/>
                <a:gd name="connsiteY463" fmla="*/ 191 h 1161573"/>
                <a:gd name="connsiteX464" fmla="*/ 747141 w 1502283"/>
                <a:gd name="connsiteY464" fmla="*/ 5144 h 1161573"/>
                <a:gd name="connsiteX465" fmla="*/ 749141 w 1502283"/>
                <a:gd name="connsiteY465" fmla="*/ 8096 h 1161573"/>
                <a:gd name="connsiteX466" fmla="*/ 745998 w 1502283"/>
                <a:gd name="connsiteY466" fmla="*/ 8477 h 1161573"/>
                <a:gd name="connsiteX467" fmla="*/ 746188 w 1502283"/>
                <a:gd name="connsiteY467" fmla="*/ 10096 h 1161573"/>
                <a:gd name="connsiteX468" fmla="*/ 738283 w 1502283"/>
                <a:gd name="connsiteY468" fmla="*/ 11144 h 1161573"/>
                <a:gd name="connsiteX469" fmla="*/ 738283 w 1502283"/>
                <a:gd name="connsiteY469" fmla="*/ 11144 h 1161573"/>
                <a:gd name="connsiteX470" fmla="*/ 734949 w 1502283"/>
                <a:gd name="connsiteY470" fmla="*/ 10001 h 1161573"/>
                <a:gd name="connsiteX471" fmla="*/ 729805 w 1502283"/>
                <a:gd name="connsiteY471" fmla="*/ 7429 h 1161573"/>
                <a:gd name="connsiteX472" fmla="*/ 725519 w 1502283"/>
                <a:gd name="connsiteY472" fmla="*/ 11144 h 1161573"/>
                <a:gd name="connsiteX473" fmla="*/ 718566 w 1502283"/>
                <a:gd name="connsiteY473" fmla="*/ 7239 h 1161573"/>
                <a:gd name="connsiteX474" fmla="*/ 717995 w 1502283"/>
                <a:gd name="connsiteY474" fmla="*/ 2476 h 1161573"/>
                <a:gd name="connsiteX475" fmla="*/ 713708 w 1502283"/>
                <a:gd name="connsiteY475" fmla="*/ 6287 h 1161573"/>
                <a:gd name="connsiteX476" fmla="*/ 712089 w 1502283"/>
                <a:gd name="connsiteY476" fmla="*/ 6477 h 1161573"/>
                <a:gd name="connsiteX477" fmla="*/ 708565 w 1502283"/>
                <a:gd name="connsiteY477" fmla="*/ 3715 h 1161573"/>
                <a:gd name="connsiteX478" fmla="*/ 703802 w 1502283"/>
                <a:gd name="connsiteY478" fmla="*/ 4286 h 1161573"/>
                <a:gd name="connsiteX479" fmla="*/ 700849 w 1502283"/>
                <a:gd name="connsiteY479" fmla="*/ 6287 h 1161573"/>
                <a:gd name="connsiteX480" fmla="*/ 701230 w 1502283"/>
                <a:gd name="connsiteY480" fmla="*/ 9430 h 1161573"/>
                <a:gd name="connsiteX481" fmla="*/ 697135 w 1502283"/>
                <a:gd name="connsiteY481" fmla="*/ 14764 h 1161573"/>
                <a:gd name="connsiteX482" fmla="*/ 698182 w 1502283"/>
                <a:gd name="connsiteY482" fmla="*/ 22670 h 1161573"/>
                <a:gd name="connsiteX483" fmla="*/ 698754 w 1502283"/>
                <a:gd name="connsiteY483" fmla="*/ 27432 h 1161573"/>
                <a:gd name="connsiteX484" fmla="*/ 697421 w 1502283"/>
                <a:gd name="connsiteY484" fmla="*/ 29242 h 1161573"/>
                <a:gd name="connsiteX485" fmla="*/ 697611 w 1502283"/>
                <a:gd name="connsiteY485" fmla="*/ 30861 h 1161573"/>
                <a:gd name="connsiteX486" fmla="*/ 693706 w 1502283"/>
                <a:gd name="connsiteY486" fmla="*/ 37814 h 1161573"/>
                <a:gd name="connsiteX487" fmla="*/ 696087 w 1502283"/>
                <a:gd name="connsiteY487" fmla="*/ 43910 h 1161573"/>
                <a:gd name="connsiteX488" fmla="*/ 696468 w 1502283"/>
                <a:gd name="connsiteY488" fmla="*/ 47054 h 1161573"/>
                <a:gd name="connsiteX489" fmla="*/ 693515 w 1502283"/>
                <a:gd name="connsiteY489" fmla="*/ 49054 h 1161573"/>
                <a:gd name="connsiteX490" fmla="*/ 693134 w 1502283"/>
                <a:gd name="connsiteY490" fmla="*/ 45911 h 1161573"/>
                <a:gd name="connsiteX491" fmla="*/ 690181 w 1502283"/>
                <a:gd name="connsiteY491" fmla="*/ 47911 h 1161573"/>
                <a:gd name="connsiteX492" fmla="*/ 677132 w 1502283"/>
                <a:gd name="connsiteY492" fmla="*/ 46387 h 1161573"/>
                <a:gd name="connsiteX493" fmla="*/ 677513 w 1502283"/>
                <a:gd name="connsiteY493" fmla="*/ 49530 h 1161573"/>
                <a:gd name="connsiteX494" fmla="*/ 674180 w 1502283"/>
                <a:gd name="connsiteY494" fmla="*/ 48387 h 1161573"/>
                <a:gd name="connsiteX495" fmla="*/ 672370 w 1502283"/>
                <a:gd name="connsiteY495" fmla="*/ 47054 h 1161573"/>
                <a:gd name="connsiteX496" fmla="*/ 669417 w 1502283"/>
                <a:gd name="connsiteY496" fmla="*/ 49054 h 1161573"/>
                <a:gd name="connsiteX497" fmla="*/ 667607 w 1502283"/>
                <a:gd name="connsiteY497" fmla="*/ 47720 h 1161573"/>
                <a:gd name="connsiteX498" fmla="*/ 660082 w 1502283"/>
                <a:gd name="connsiteY498" fmla="*/ 39053 h 1161573"/>
                <a:gd name="connsiteX499" fmla="*/ 656939 w 1502283"/>
                <a:gd name="connsiteY499" fmla="*/ 39433 h 1161573"/>
                <a:gd name="connsiteX500" fmla="*/ 646938 w 1502283"/>
                <a:gd name="connsiteY500" fmla="*/ 48768 h 1161573"/>
                <a:gd name="connsiteX501" fmla="*/ 640461 w 1502283"/>
                <a:gd name="connsiteY501" fmla="*/ 48006 h 1161573"/>
                <a:gd name="connsiteX502" fmla="*/ 637508 w 1502283"/>
                <a:gd name="connsiteY502" fmla="*/ 50006 h 1161573"/>
                <a:gd name="connsiteX503" fmla="*/ 634365 w 1502283"/>
                <a:gd name="connsiteY503" fmla="*/ 50387 h 1161573"/>
                <a:gd name="connsiteX504" fmla="*/ 631412 w 1502283"/>
                <a:gd name="connsiteY504" fmla="*/ 52388 h 1161573"/>
                <a:gd name="connsiteX505" fmla="*/ 628269 w 1502283"/>
                <a:gd name="connsiteY505" fmla="*/ 52769 h 1161573"/>
                <a:gd name="connsiteX506" fmla="*/ 630269 w 1502283"/>
                <a:gd name="connsiteY506" fmla="*/ 42863 h 1161573"/>
                <a:gd name="connsiteX507" fmla="*/ 625126 w 1502283"/>
                <a:gd name="connsiteY507" fmla="*/ 40291 h 1161573"/>
                <a:gd name="connsiteX508" fmla="*/ 623506 w 1502283"/>
                <a:gd name="connsiteY508" fmla="*/ 40481 h 1161573"/>
                <a:gd name="connsiteX509" fmla="*/ 621697 w 1502283"/>
                <a:gd name="connsiteY509" fmla="*/ 39148 h 1161573"/>
                <a:gd name="connsiteX510" fmla="*/ 619125 w 1502283"/>
                <a:gd name="connsiteY510" fmla="*/ 44291 h 1161573"/>
                <a:gd name="connsiteX511" fmla="*/ 614553 w 1502283"/>
                <a:gd name="connsiteY511" fmla="*/ 46482 h 1161573"/>
                <a:gd name="connsiteX512" fmla="*/ 607886 w 1502283"/>
                <a:gd name="connsiteY512" fmla="*/ 44101 h 1161573"/>
                <a:gd name="connsiteX513" fmla="*/ 606933 w 1502283"/>
                <a:gd name="connsiteY513" fmla="*/ 49054 h 1161573"/>
                <a:gd name="connsiteX514" fmla="*/ 609505 w 1502283"/>
                <a:gd name="connsiteY514" fmla="*/ 56769 h 1161573"/>
                <a:gd name="connsiteX515" fmla="*/ 600837 w 1502283"/>
                <a:gd name="connsiteY515" fmla="*/ 64294 h 1161573"/>
                <a:gd name="connsiteX516" fmla="*/ 601599 w 1502283"/>
                <a:gd name="connsiteY516" fmla="*/ 70580 h 1161573"/>
                <a:gd name="connsiteX517" fmla="*/ 596455 w 1502283"/>
                <a:gd name="connsiteY517" fmla="*/ 68008 h 1161573"/>
                <a:gd name="connsiteX518" fmla="*/ 592455 w 1502283"/>
                <a:gd name="connsiteY518" fmla="*/ 62103 h 1161573"/>
                <a:gd name="connsiteX519" fmla="*/ 589121 w 1502283"/>
                <a:gd name="connsiteY519" fmla="*/ 60960 h 1161573"/>
                <a:gd name="connsiteX520" fmla="*/ 591122 w 1502283"/>
                <a:gd name="connsiteY520" fmla="*/ 63913 h 1161573"/>
                <a:gd name="connsiteX521" fmla="*/ 592360 w 1502283"/>
                <a:gd name="connsiteY521" fmla="*/ 73342 h 1161573"/>
                <a:gd name="connsiteX522" fmla="*/ 591026 w 1502283"/>
                <a:gd name="connsiteY522" fmla="*/ 75152 h 1161573"/>
                <a:gd name="connsiteX523" fmla="*/ 589407 w 1502283"/>
                <a:gd name="connsiteY523" fmla="*/ 75343 h 1161573"/>
                <a:gd name="connsiteX524" fmla="*/ 590169 w 1502283"/>
                <a:gd name="connsiteY524" fmla="*/ 81629 h 1161573"/>
                <a:gd name="connsiteX525" fmla="*/ 586264 w 1502283"/>
                <a:gd name="connsiteY525" fmla="*/ 88583 h 1161573"/>
                <a:gd name="connsiteX526" fmla="*/ 585121 w 1502283"/>
                <a:gd name="connsiteY526" fmla="*/ 91916 h 1161573"/>
                <a:gd name="connsiteX527" fmla="*/ 578834 w 1502283"/>
                <a:gd name="connsiteY527" fmla="*/ 92678 h 1161573"/>
                <a:gd name="connsiteX528" fmla="*/ 577691 w 1502283"/>
                <a:gd name="connsiteY528" fmla="*/ 96012 h 1161573"/>
                <a:gd name="connsiteX529" fmla="*/ 581025 w 1502283"/>
                <a:gd name="connsiteY529" fmla="*/ 97155 h 1161573"/>
                <a:gd name="connsiteX530" fmla="*/ 581597 w 1502283"/>
                <a:gd name="connsiteY530" fmla="*/ 101917 h 1161573"/>
                <a:gd name="connsiteX531" fmla="*/ 583121 w 1502283"/>
                <a:gd name="connsiteY531" fmla="*/ 101727 h 1161573"/>
                <a:gd name="connsiteX532" fmla="*/ 584930 w 1502283"/>
                <a:gd name="connsiteY532" fmla="*/ 103061 h 1161573"/>
                <a:gd name="connsiteX533" fmla="*/ 586740 w 1502283"/>
                <a:gd name="connsiteY533" fmla="*/ 104394 h 1161573"/>
                <a:gd name="connsiteX534" fmla="*/ 588740 w 1502283"/>
                <a:gd name="connsiteY534" fmla="*/ 107347 h 1161573"/>
                <a:gd name="connsiteX535" fmla="*/ 593503 w 1502283"/>
                <a:gd name="connsiteY535" fmla="*/ 106775 h 1161573"/>
                <a:gd name="connsiteX536" fmla="*/ 593693 w 1502283"/>
                <a:gd name="connsiteY536" fmla="*/ 108395 h 1161573"/>
                <a:gd name="connsiteX537" fmla="*/ 605123 w 1502283"/>
                <a:gd name="connsiteY537" fmla="*/ 110109 h 1161573"/>
                <a:gd name="connsiteX538" fmla="*/ 609314 w 1502283"/>
                <a:gd name="connsiteY538" fmla="*/ 117634 h 1161573"/>
                <a:gd name="connsiteX539" fmla="*/ 610362 w 1502283"/>
                <a:gd name="connsiteY539" fmla="*/ 125540 h 1161573"/>
                <a:gd name="connsiteX540" fmla="*/ 604456 w 1502283"/>
                <a:gd name="connsiteY540" fmla="*/ 142304 h 1161573"/>
                <a:gd name="connsiteX541" fmla="*/ 599694 w 1502283"/>
                <a:gd name="connsiteY541" fmla="*/ 142875 h 1161573"/>
                <a:gd name="connsiteX542" fmla="*/ 595979 w 1502283"/>
                <a:gd name="connsiteY542" fmla="*/ 151352 h 1161573"/>
                <a:gd name="connsiteX543" fmla="*/ 590074 w 1502283"/>
                <a:gd name="connsiteY543" fmla="*/ 155353 h 1161573"/>
                <a:gd name="connsiteX544" fmla="*/ 590455 w 1502283"/>
                <a:gd name="connsiteY544" fmla="*/ 158496 h 1161573"/>
                <a:gd name="connsiteX545" fmla="*/ 587693 w 1502283"/>
                <a:gd name="connsiteY545" fmla="*/ 162020 h 1161573"/>
                <a:gd name="connsiteX546" fmla="*/ 579977 w 1502283"/>
                <a:gd name="connsiteY546" fmla="*/ 164592 h 1161573"/>
                <a:gd name="connsiteX547" fmla="*/ 575596 w 1502283"/>
                <a:gd name="connsiteY547" fmla="*/ 155543 h 1161573"/>
                <a:gd name="connsiteX548" fmla="*/ 573596 w 1502283"/>
                <a:gd name="connsiteY548" fmla="*/ 152591 h 1161573"/>
                <a:gd name="connsiteX549" fmla="*/ 567309 w 1502283"/>
                <a:gd name="connsiteY549" fmla="*/ 153353 h 1161573"/>
                <a:gd name="connsiteX550" fmla="*/ 565975 w 1502283"/>
                <a:gd name="connsiteY550" fmla="*/ 155162 h 1161573"/>
                <a:gd name="connsiteX551" fmla="*/ 571310 w 1502283"/>
                <a:gd name="connsiteY551" fmla="*/ 159258 h 1161573"/>
                <a:gd name="connsiteX552" fmla="*/ 571500 w 1502283"/>
                <a:gd name="connsiteY552" fmla="*/ 160877 h 1161573"/>
                <a:gd name="connsiteX553" fmla="*/ 570357 w 1502283"/>
                <a:gd name="connsiteY553" fmla="*/ 164211 h 1161573"/>
                <a:gd name="connsiteX554" fmla="*/ 572548 w 1502283"/>
                <a:gd name="connsiteY554" fmla="*/ 168783 h 1161573"/>
                <a:gd name="connsiteX555" fmla="*/ 579501 w 1502283"/>
                <a:gd name="connsiteY555" fmla="*/ 172688 h 1161573"/>
                <a:gd name="connsiteX556" fmla="*/ 581311 w 1502283"/>
                <a:gd name="connsiteY556" fmla="*/ 174022 h 1161573"/>
                <a:gd name="connsiteX557" fmla="*/ 582454 w 1502283"/>
                <a:gd name="connsiteY557" fmla="*/ 170688 h 1161573"/>
                <a:gd name="connsiteX558" fmla="*/ 587407 w 1502283"/>
                <a:gd name="connsiteY558" fmla="*/ 171641 h 1161573"/>
                <a:gd name="connsiteX559" fmla="*/ 583121 w 1502283"/>
                <a:gd name="connsiteY559" fmla="*/ 175355 h 1161573"/>
                <a:gd name="connsiteX560" fmla="*/ 583502 w 1502283"/>
                <a:gd name="connsiteY560" fmla="*/ 178499 h 1161573"/>
                <a:gd name="connsiteX561" fmla="*/ 585502 w 1502283"/>
                <a:gd name="connsiteY561" fmla="*/ 181451 h 1161573"/>
                <a:gd name="connsiteX562" fmla="*/ 591979 w 1502283"/>
                <a:gd name="connsiteY562" fmla="*/ 182213 h 1161573"/>
                <a:gd name="connsiteX563" fmla="*/ 591217 w 1502283"/>
                <a:gd name="connsiteY563" fmla="*/ 188690 h 1161573"/>
                <a:gd name="connsiteX564" fmla="*/ 580739 w 1502283"/>
                <a:gd name="connsiteY564" fmla="*/ 194786 h 1161573"/>
                <a:gd name="connsiteX565" fmla="*/ 586454 w 1502283"/>
                <a:gd name="connsiteY565" fmla="*/ 202121 h 1161573"/>
                <a:gd name="connsiteX566" fmla="*/ 584073 w 1502283"/>
                <a:gd name="connsiteY566" fmla="*/ 208788 h 1161573"/>
                <a:gd name="connsiteX567" fmla="*/ 578168 w 1502283"/>
                <a:gd name="connsiteY567" fmla="*/ 212788 h 1161573"/>
                <a:gd name="connsiteX568" fmla="*/ 575596 w 1502283"/>
                <a:gd name="connsiteY568" fmla="*/ 217932 h 1161573"/>
                <a:gd name="connsiteX569" fmla="*/ 574834 w 1502283"/>
                <a:gd name="connsiteY569" fmla="*/ 224409 h 1161573"/>
                <a:gd name="connsiteX570" fmla="*/ 582549 w 1502283"/>
                <a:gd name="connsiteY570" fmla="*/ 234696 h 1161573"/>
                <a:gd name="connsiteX571" fmla="*/ 579787 w 1502283"/>
                <a:gd name="connsiteY571" fmla="*/ 238220 h 1161573"/>
                <a:gd name="connsiteX572" fmla="*/ 578644 w 1502283"/>
                <a:gd name="connsiteY572" fmla="*/ 241554 h 1161573"/>
                <a:gd name="connsiteX573" fmla="*/ 582168 w 1502283"/>
                <a:gd name="connsiteY573" fmla="*/ 244316 h 1161573"/>
                <a:gd name="connsiteX574" fmla="*/ 577882 w 1502283"/>
                <a:gd name="connsiteY574" fmla="*/ 248031 h 1161573"/>
                <a:gd name="connsiteX575" fmla="*/ 580072 w 1502283"/>
                <a:gd name="connsiteY575" fmla="*/ 252603 h 1161573"/>
                <a:gd name="connsiteX576" fmla="*/ 583406 w 1502283"/>
                <a:gd name="connsiteY576" fmla="*/ 253746 h 1161573"/>
                <a:gd name="connsiteX577" fmla="*/ 589312 w 1502283"/>
                <a:gd name="connsiteY577" fmla="*/ 249746 h 1161573"/>
                <a:gd name="connsiteX578" fmla="*/ 590074 w 1502283"/>
                <a:gd name="connsiteY578" fmla="*/ 256032 h 1161573"/>
                <a:gd name="connsiteX579" fmla="*/ 587312 w 1502283"/>
                <a:gd name="connsiteY579" fmla="*/ 259556 h 1161573"/>
                <a:gd name="connsiteX580" fmla="*/ 586169 w 1502283"/>
                <a:gd name="connsiteY580" fmla="*/ 262890 h 1161573"/>
                <a:gd name="connsiteX581" fmla="*/ 586930 w 1502283"/>
                <a:gd name="connsiteY581" fmla="*/ 269176 h 1161573"/>
                <a:gd name="connsiteX582" fmla="*/ 584740 w 1502283"/>
                <a:gd name="connsiteY582" fmla="*/ 277463 h 1161573"/>
                <a:gd name="connsiteX583" fmla="*/ 585311 w 1502283"/>
                <a:gd name="connsiteY583" fmla="*/ 282226 h 1161573"/>
                <a:gd name="connsiteX584" fmla="*/ 581978 w 1502283"/>
                <a:gd name="connsiteY584" fmla="*/ 281083 h 1161573"/>
                <a:gd name="connsiteX585" fmla="*/ 582168 w 1502283"/>
                <a:gd name="connsiteY585" fmla="*/ 282702 h 1161573"/>
                <a:gd name="connsiteX586" fmla="*/ 585121 w 1502283"/>
                <a:gd name="connsiteY586" fmla="*/ 293561 h 1161573"/>
                <a:gd name="connsiteX587" fmla="*/ 588264 w 1502283"/>
                <a:gd name="connsiteY587" fmla="*/ 293180 h 1161573"/>
                <a:gd name="connsiteX588" fmla="*/ 582739 w 1502283"/>
                <a:gd name="connsiteY588" fmla="*/ 300323 h 1161573"/>
                <a:gd name="connsiteX589" fmla="*/ 588455 w 1502283"/>
                <a:gd name="connsiteY589" fmla="*/ 307562 h 1161573"/>
                <a:gd name="connsiteX590" fmla="*/ 588645 w 1502283"/>
                <a:gd name="connsiteY590" fmla="*/ 309182 h 1161573"/>
                <a:gd name="connsiteX591" fmla="*/ 592360 w 1502283"/>
                <a:gd name="connsiteY591" fmla="*/ 313563 h 1161573"/>
                <a:gd name="connsiteX592" fmla="*/ 589026 w 1502283"/>
                <a:gd name="connsiteY592" fmla="*/ 312420 h 1161573"/>
                <a:gd name="connsiteX593" fmla="*/ 592360 w 1502283"/>
                <a:gd name="connsiteY593" fmla="*/ 313563 h 1161573"/>
                <a:gd name="connsiteX594" fmla="*/ 591407 w 1502283"/>
                <a:gd name="connsiteY594" fmla="*/ 318516 h 1161573"/>
                <a:gd name="connsiteX595" fmla="*/ 585121 w 1502283"/>
                <a:gd name="connsiteY595" fmla="*/ 319278 h 1161573"/>
                <a:gd name="connsiteX596" fmla="*/ 583978 w 1502283"/>
                <a:gd name="connsiteY596" fmla="*/ 322612 h 1161573"/>
                <a:gd name="connsiteX597" fmla="*/ 576739 w 1502283"/>
                <a:gd name="connsiteY597" fmla="*/ 328327 h 1161573"/>
                <a:gd name="connsiteX598" fmla="*/ 571976 w 1502283"/>
                <a:gd name="connsiteY598" fmla="*/ 328898 h 1161573"/>
                <a:gd name="connsiteX599" fmla="*/ 572167 w 1502283"/>
                <a:gd name="connsiteY599" fmla="*/ 330517 h 1161573"/>
                <a:gd name="connsiteX600" fmla="*/ 568071 w 1502283"/>
                <a:gd name="connsiteY600" fmla="*/ 335851 h 1161573"/>
                <a:gd name="connsiteX601" fmla="*/ 568262 w 1502283"/>
                <a:gd name="connsiteY601" fmla="*/ 337471 h 1161573"/>
                <a:gd name="connsiteX602" fmla="*/ 564928 w 1502283"/>
                <a:gd name="connsiteY602" fmla="*/ 336328 h 1161573"/>
                <a:gd name="connsiteX603" fmla="*/ 564166 w 1502283"/>
                <a:gd name="connsiteY603" fmla="*/ 330041 h 1161573"/>
                <a:gd name="connsiteX604" fmla="*/ 557879 w 1502283"/>
                <a:gd name="connsiteY604" fmla="*/ 330803 h 1161573"/>
                <a:gd name="connsiteX605" fmla="*/ 556450 w 1502283"/>
                <a:gd name="connsiteY605" fmla="*/ 332613 h 1161573"/>
                <a:gd name="connsiteX606" fmla="*/ 557022 w 1502283"/>
                <a:gd name="connsiteY606" fmla="*/ 337375 h 1161573"/>
                <a:gd name="connsiteX607" fmla="*/ 554260 w 1502283"/>
                <a:gd name="connsiteY607" fmla="*/ 340900 h 1161573"/>
                <a:gd name="connsiteX608" fmla="*/ 542639 w 1502283"/>
                <a:gd name="connsiteY608" fmla="*/ 350425 h 1161573"/>
                <a:gd name="connsiteX609" fmla="*/ 539305 w 1502283"/>
                <a:gd name="connsiteY609" fmla="*/ 349282 h 1161573"/>
                <a:gd name="connsiteX610" fmla="*/ 535019 w 1502283"/>
                <a:gd name="connsiteY610" fmla="*/ 352996 h 1161573"/>
                <a:gd name="connsiteX611" fmla="*/ 527113 w 1502283"/>
                <a:gd name="connsiteY611" fmla="*/ 354044 h 1161573"/>
                <a:gd name="connsiteX612" fmla="*/ 525494 w 1502283"/>
                <a:gd name="connsiteY612" fmla="*/ 354235 h 1161573"/>
                <a:gd name="connsiteX613" fmla="*/ 526066 w 1502283"/>
                <a:gd name="connsiteY613" fmla="*/ 358997 h 1161573"/>
                <a:gd name="connsiteX614" fmla="*/ 526256 w 1502283"/>
                <a:gd name="connsiteY614" fmla="*/ 360617 h 1161573"/>
                <a:gd name="connsiteX615" fmla="*/ 524923 w 1502283"/>
                <a:gd name="connsiteY615" fmla="*/ 362426 h 1161573"/>
                <a:gd name="connsiteX616" fmla="*/ 528923 w 1502283"/>
                <a:gd name="connsiteY616" fmla="*/ 368332 h 1161573"/>
                <a:gd name="connsiteX617" fmla="*/ 525971 w 1502283"/>
                <a:gd name="connsiteY617" fmla="*/ 370332 h 1161573"/>
                <a:gd name="connsiteX618" fmla="*/ 526542 w 1502283"/>
                <a:gd name="connsiteY618" fmla="*/ 375095 h 1161573"/>
                <a:gd name="connsiteX619" fmla="*/ 523780 w 1502283"/>
                <a:gd name="connsiteY619" fmla="*/ 378619 h 1161573"/>
                <a:gd name="connsiteX620" fmla="*/ 519017 w 1502283"/>
                <a:gd name="connsiteY620" fmla="*/ 379190 h 1161573"/>
                <a:gd name="connsiteX621" fmla="*/ 516255 w 1502283"/>
                <a:gd name="connsiteY621" fmla="*/ 382715 h 1161573"/>
                <a:gd name="connsiteX622" fmla="*/ 519779 w 1502283"/>
                <a:gd name="connsiteY622" fmla="*/ 385477 h 1161573"/>
                <a:gd name="connsiteX623" fmla="*/ 519970 w 1502283"/>
                <a:gd name="connsiteY623" fmla="*/ 387096 h 1161573"/>
                <a:gd name="connsiteX624" fmla="*/ 515017 w 1502283"/>
                <a:gd name="connsiteY624" fmla="*/ 386144 h 1161573"/>
                <a:gd name="connsiteX625" fmla="*/ 515398 w 1502283"/>
                <a:gd name="connsiteY625" fmla="*/ 389287 h 1161573"/>
                <a:gd name="connsiteX626" fmla="*/ 507682 w 1502283"/>
                <a:gd name="connsiteY626" fmla="*/ 391859 h 1161573"/>
                <a:gd name="connsiteX627" fmla="*/ 505873 w 1502283"/>
                <a:gd name="connsiteY627" fmla="*/ 390525 h 1161573"/>
                <a:gd name="connsiteX628" fmla="*/ 504444 w 1502283"/>
                <a:gd name="connsiteY628" fmla="*/ 392335 h 1161573"/>
                <a:gd name="connsiteX629" fmla="*/ 502253 w 1502283"/>
                <a:gd name="connsiteY629" fmla="*/ 400621 h 1161573"/>
                <a:gd name="connsiteX630" fmla="*/ 503301 w 1502283"/>
                <a:gd name="connsiteY630" fmla="*/ 408527 h 1161573"/>
                <a:gd name="connsiteX631" fmla="*/ 505492 w 1502283"/>
                <a:gd name="connsiteY631" fmla="*/ 413099 h 1161573"/>
                <a:gd name="connsiteX632" fmla="*/ 514921 w 1502283"/>
                <a:gd name="connsiteY632" fmla="*/ 411861 h 1161573"/>
                <a:gd name="connsiteX633" fmla="*/ 515112 w 1502283"/>
                <a:gd name="connsiteY633" fmla="*/ 413480 h 1161573"/>
                <a:gd name="connsiteX634" fmla="*/ 518446 w 1502283"/>
                <a:gd name="connsiteY634" fmla="*/ 414623 h 1161573"/>
                <a:gd name="connsiteX635" fmla="*/ 517493 w 1502283"/>
                <a:gd name="connsiteY635" fmla="*/ 419576 h 1161573"/>
                <a:gd name="connsiteX636" fmla="*/ 524447 w 1502283"/>
                <a:gd name="connsiteY636" fmla="*/ 423482 h 1161573"/>
                <a:gd name="connsiteX637" fmla="*/ 525494 w 1502283"/>
                <a:gd name="connsiteY637" fmla="*/ 431387 h 1161573"/>
                <a:gd name="connsiteX638" fmla="*/ 522351 w 1502283"/>
                <a:gd name="connsiteY638" fmla="*/ 431768 h 1161573"/>
                <a:gd name="connsiteX639" fmla="*/ 521018 w 1502283"/>
                <a:gd name="connsiteY639" fmla="*/ 433578 h 1161573"/>
                <a:gd name="connsiteX640" fmla="*/ 516446 w 1502283"/>
                <a:gd name="connsiteY640" fmla="*/ 435769 h 1161573"/>
                <a:gd name="connsiteX641" fmla="*/ 515112 w 1502283"/>
                <a:gd name="connsiteY641" fmla="*/ 437579 h 1161573"/>
                <a:gd name="connsiteX642" fmla="*/ 511969 w 1502283"/>
                <a:gd name="connsiteY642" fmla="*/ 437959 h 1161573"/>
                <a:gd name="connsiteX643" fmla="*/ 509969 w 1502283"/>
                <a:gd name="connsiteY643" fmla="*/ 435007 h 1161573"/>
                <a:gd name="connsiteX644" fmla="*/ 503682 w 1502283"/>
                <a:gd name="connsiteY644" fmla="*/ 435769 h 1161573"/>
                <a:gd name="connsiteX645" fmla="*/ 502063 w 1502283"/>
                <a:gd name="connsiteY645" fmla="*/ 435959 h 1161573"/>
                <a:gd name="connsiteX646" fmla="*/ 499300 w 1502283"/>
                <a:gd name="connsiteY646" fmla="*/ 439484 h 1161573"/>
                <a:gd name="connsiteX647" fmla="*/ 499872 w 1502283"/>
                <a:gd name="connsiteY647" fmla="*/ 444246 h 1161573"/>
                <a:gd name="connsiteX648" fmla="*/ 495776 w 1502283"/>
                <a:gd name="connsiteY648" fmla="*/ 449580 h 1161573"/>
                <a:gd name="connsiteX649" fmla="*/ 491109 w 1502283"/>
                <a:gd name="connsiteY649" fmla="*/ 463010 h 1161573"/>
                <a:gd name="connsiteX650" fmla="*/ 488537 w 1502283"/>
                <a:gd name="connsiteY650" fmla="*/ 468154 h 1161573"/>
                <a:gd name="connsiteX651" fmla="*/ 490919 w 1502283"/>
                <a:gd name="connsiteY651" fmla="*/ 474250 h 1161573"/>
                <a:gd name="connsiteX652" fmla="*/ 487204 w 1502283"/>
                <a:gd name="connsiteY652" fmla="*/ 482727 h 1161573"/>
                <a:gd name="connsiteX653" fmla="*/ 490728 w 1502283"/>
                <a:gd name="connsiteY653" fmla="*/ 485489 h 1161573"/>
                <a:gd name="connsiteX654" fmla="*/ 495490 w 1502283"/>
                <a:gd name="connsiteY654" fmla="*/ 484918 h 1161573"/>
                <a:gd name="connsiteX655" fmla="*/ 502158 w 1502283"/>
                <a:gd name="connsiteY655" fmla="*/ 487299 h 1161573"/>
                <a:gd name="connsiteX656" fmla="*/ 506921 w 1502283"/>
                <a:gd name="connsiteY656" fmla="*/ 486728 h 1161573"/>
                <a:gd name="connsiteX657" fmla="*/ 510635 w 1502283"/>
                <a:gd name="connsiteY657" fmla="*/ 491014 h 1161573"/>
                <a:gd name="connsiteX658" fmla="*/ 516160 w 1502283"/>
                <a:gd name="connsiteY658" fmla="*/ 496729 h 1161573"/>
                <a:gd name="connsiteX659" fmla="*/ 515207 w 1502283"/>
                <a:gd name="connsiteY659" fmla="*/ 501682 h 1161573"/>
                <a:gd name="connsiteX660" fmla="*/ 513397 w 1502283"/>
                <a:gd name="connsiteY660" fmla="*/ 500348 h 1161573"/>
                <a:gd name="connsiteX661" fmla="*/ 512255 w 1502283"/>
                <a:gd name="connsiteY661" fmla="*/ 503682 h 1161573"/>
                <a:gd name="connsiteX662" fmla="*/ 513683 w 1502283"/>
                <a:gd name="connsiteY662" fmla="*/ 514731 h 1161573"/>
                <a:gd name="connsiteX663" fmla="*/ 518636 w 1502283"/>
                <a:gd name="connsiteY663" fmla="*/ 515684 h 1161573"/>
                <a:gd name="connsiteX664" fmla="*/ 514921 w 1502283"/>
                <a:gd name="connsiteY664" fmla="*/ 524161 h 1161573"/>
                <a:gd name="connsiteX665" fmla="*/ 507968 w 1502283"/>
                <a:gd name="connsiteY665" fmla="*/ 520255 h 1161573"/>
                <a:gd name="connsiteX666" fmla="*/ 508349 w 1502283"/>
                <a:gd name="connsiteY666" fmla="*/ 523399 h 1161573"/>
                <a:gd name="connsiteX667" fmla="*/ 505587 w 1502283"/>
                <a:gd name="connsiteY667" fmla="*/ 526923 h 1161573"/>
                <a:gd name="connsiteX668" fmla="*/ 495681 w 1502283"/>
                <a:gd name="connsiteY668" fmla="*/ 525018 h 1161573"/>
                <a:gd name="connsiteX669" fmla="*/ 487775 w 1502283"/>
                <a:gd name="connsiteY669" fmla="*/ 526066 h 1161573"/>
                <a:gd name="connsiteX670" fmla="*/ 485775 w 1502283"/>
                <a:gd name="connsiteY670" fmla="*/ 535972 h 1161573"/>
                <a:gd name="connsiteX671" fmla="*/ 483013 w 1502283"/>
                <a:gd name="connsiteY671" fmla="*/ 539496 h 1161573"/>
                <a:gd name="connsiteX672" fmla="*/ 487966 w 1502283"/>
                <a:gd name="connsiteY672" fmla="*/ 540449 h 1161573"/>
                <a:gd name="connsiteX673" fmla="*/ 485394 w 1502283"/>
                <a:gd name="connsiteY673" fmla="*/ 545592 h 1161573"/>
                <a:gd name="connsiteX674" fmla="*/ 489966 w 1502283"/>
                <a:gd name="connsiteY674" fmla="*/ 543401 h 1161573"/>
                <a:gd name="connsiteX675" fmla="*/ 492157 w 1502283"/>
                <a:gd name="connsiteY675" fmla="*/ 547973 h 1161573"/>
                <a:gd name="connsiteX676" fmla="*/ 492728 w 1502283"/>
                <a:gd name="connsiteY676" fmla="*/ 552736 h 1161573"/>
                <a:gd name="connsiteX677" fmla="*/ 498253 w 1502283"/>
                <a:gd name="connsiteY677" fmla="*/ 558451 h 1161573"/>
                <a:gd name="connsiteX678" fmla="*/ 495490 w 1502283"/>
                <a:gd name="connsiteY678" fmla="*/ 561975 h 1161573"/>
                <a:gd name="connsiteX679" fmla="*/ 493681 w 1502283"/>
                <a:gd name="connsiteY679" fmla="*/ 560642 h 1161573"/>
                <a:gd name="connsiteX680" fmla="*/ 492728 w 1502283"/>
                <a:gd name="connsiteY680" fmla="*/ 565595 h 1161573"/>
                <a:gd name="connsiteX681" fmla="*/ 490156 w 1502283"/>
                <a:gd name="connsiteY681" fmla="*/ 570738 h 1161573"/>
                <a:gd name="connsiteX682" fmla="*/ 491776 w 1502283"/>
                <a:gd name="connsiteY682" fmla="*/ 570548 h 1161573"/>
                <a:gd name="connsiteX683" fmla="*/ 492919 w 1502283"/>
                <a:gd name="connsiteY683" fmla="*/ 567214 h 1161573"/>
                <a:gd name="connsiteX684" fmla="*/ 497872 w 1502283"/>
                <a:gd name="connsiteY684" fmla="*/ 568166 h 1161573"/>
                <a:gd name="connsiteX685" fmla="*/ 505111 w 1502283"/>
                <a:gd name="connsiteY685" fmla="*/ 562451 h 1161573"/>
                <a:gd name="connsiteX686" fmla="*/ 504539 w 1502283"/>
                <a:gd name="connsiteY686" fmla="*/ 557689 h 1161573"/>
                <a:gd name="connsiteX687" fmla="*/ 507873 w 1502283"/>
                <a:gd name="connsiteY687" fmla="*/ 558832 h 1161573"/>
                <a:gd name="connsiteX688" fmla="*/ 508445 w 1502283"/>
                <a:gd name="connsiteY688" fmla="*/ 563594 h 1161573"/>
                <a:gd name="connsiteX689" fmla="*/ 504730 w 1502283"/>
                <a:gd name="connsiteY689" fmla="*/ 572072 h 1161573"/>
                <a:gd name="connsiteX690" fmla="*/ 512826 w 1502283"/>
                <a:gd name="connsiteY690" fmla="*/ 572643 h 1161573"/>
                <a:gd name="connsiteX691" fmla="*/ 513397 w 1502283"/>
                <a:gd name="connsiteY691" fmla="*/ 577405 h 1161573"/>
                <a:gd name="connsiteX692" fmla="*/ 516541 w 1502283"/>
                <a:gd name="connsiteY692" fmla="*/ 577025 h 1161573"/>
                <a:gd name="connsiteX693" fmla="*/ 513779 w 1502283"/>
                <a:gd name="connsiteY693" fmla="*/ 593408 h 1161573"/>
                <a:gd name="connsiteX694" fmla="*/ 513969 w 1502283"/>
                <a:gd name="connsiteY694" fmla="*/ 595027 h 1161573"/>
                <a:gd name="connsiteX695" fmla="*/ 512159 w 1502283"/>
                <a:gd name="connsiteY695" fmla="*/ 593693 h 1161573"/>
                <a:gd name="connsiteX696" fmla="*/ 509588 w 1502283"/>
                <a:gd name="connsiteY696" fmla="*/ 598837 h 1161573"/>
                <a:gd name="connsiteX697" fmla="*/ 506825 w 1502283"/>
                <a:gd name="connsiteY697" fmla="*/ 602361 h 1161573"/>
                <a:gd name="connsiteX698" fmla="*/ 505682 w 1502283"/>
                <a:gd name="connsiteY698" fmla="*/ 605695 h 1161573"/>
                <a:gd name="connsiteX699" fmla="*/ 501110 w 1502283"/>
                <a:gd name="connsiteY699" fmla="*/ 607886 h 1161573"/>
                <a:gd name="connsiteX700" fmla="*/ 499967 w 1502283"/>
                <a:gd name="connsiteY700" fmla="*/ 611219 h 1161573"/>
                <a:gd name="connsiteX701" fmla="*/ 496824 w 1502283"/>
                <a:gd name="connsiteY701" fmla="*/ 611600 h 1161573"/>
                <a:gd name="connsiteX702" fmla="*/ 492252 w 1502283"/>
                <a:gd name="connsiteY702" fmla="*/ 613791 h 1161573"/>
                <a:gd name="connsiteX703" fmla="*/ 485775 w 1502283"/>
                <a:gd name="connsiteY703" fmla="*/ 613029 h 1161573"/>
                <a:gd name="connsiteX704" fmla="*/ 481013 w 1502283"/>
                <a:gd name="connsiteY704" fmla="*/ 613601 h 1161573"/>
                <a:gd name="connsiteX705" fmla="*/ 480060 w 1502283"/>
                <a:gd name="connsiteY705" fmla="*/ 618554 h 1161573"/>
                <a:gd name="connsiteX706" fmla="*/ 485965 w 1502283"/>
                <a:gd name="connsiteY706" fmla="*/ 627412 h 1161573"/>
                <a:gd name="connsiteX707" fmla="*/ 486346 w 1502283"/>
                <a:gd name="connsiteY707" fmla="*/ 630555 h 1161573"/>
                <a:gd name="connsiteX708" fmla="*/ 481584 w 1502283"/>
                <a:gd name="connsiteY708" fmla="*/ 631126 h 1161573"/>
                <a:gd name="connsiteX709" fmla="*/ 477488 w 1502283"/>
                <a:gd name="connsiteY709" fmla="*/ 636461 h 1161573"/>
                <a:gd name="connsiteX710" fmla="*/ 477869 w 1502283"/>
                <a:gd name="connsiteY710" fmla="*/ 639604 h 1161573"/>
                <a:gd name="connsiteX711" fmla="*/ 473773 w 1502283"/>
                <a:gd name="connsiteY711" fmla="*/ 644938 h 1161573"/>
                <a:gd name="connsiteX712" fmla="*/ 466820 w 1502283"/>
                <a:gd name="connsiteY712" fmla="*/ 641033 h 1161573"/>
                <a:gd name="connsiteX713" fmla="*/ 459296 w 1502283"/>
                <a:gd name="connsiteY713" fmla="*/ 645224 h 1161573"/>
                <a:gd name="connsiteX714" fmla="*/ 454152 w 1502283"/>
                <a:gd name="connsiteY714" fmla="*/ 642652 h 1161573"/>
                <a:gd name="connsiteX715" fmla="*/ 451390 w 1502283"/>
                <a:gd name="connsiteY715" fmla="*/ 646176 h 1161573"/>
                <a:gd name="connsiteX716" fmla="*/ 444437 w 1502283"/>
                <a:gd name="connsiteY716" fmla="*/ 642271 h 1161573"/>
                <a:gd name="connsiteX717" fmla="*/ 439674 w 1502283"/>
                <a:gd name="connsiteY717" fmla="*/ 642842 h 1161573"/>
                <a:gd name="connsiteX718" fmla="*/ 436912 w 1502283"/>
                <a:gd name="connsiteY718" fmla="*/ 646367 h 1161573"/>
                <a:gd name="connsiteX719" fmla="*/ 432149 w 1502283"/>
                <a:gd name="connsiteY719" fmla="*/ 646938 h 1161573"/>
                <a:gd name="connsiteX720" fmla="*/ 421672 w 1502283"/>
                <a:gd name="connsiteY720" fmla="*/ 653034 h 1161573"/>
                <a:gd name="connsiteX721" fmla="*/ 419862 w 1502283"/>
                <a:gd name="connsiteY721" fmla="*/ 651701 h 1161573"/>
                <a:gd name="connsiteX722" fmla="*/ 421672 w 1502283"/>
                <a:gd name="connsiteY722" fmla="*/ 653034 h 1161573"/>
                <a:gd name="connsiteX723" fmla="*/ 416147 w 1502283"/>
                <a:gd name="connsiteY723" fmla="*/ 660178 h 1161573"/>
                <a:gd name="connsiteX724" fmla="*/ 424624 w 1502283"/>
                <a:gd name="connsiteY724" fmla="*/ 663893 h 1161573"/>
                <a:gd name="connsiteX725" fmla="*/ 425196 w 1502283"/>
                <a:gd name="connsiteY725" fmla="*/ 668655 h 1161573"/>
                <a:gd name="connsiteX726" fmla="*/ 428530 w 1502283"/>
                <a:gd name="connsiteY726" fmla="*/ 669798 h 1161573"/>
                <a:gd name="connsiteX727" fmla="*/ 428911 w 1502283"/>
                <a:gd name="connsiteY727" fmla="*/ 672941 h 1161573"/>
                <a:gd name="connsiteX728" fmla="*/ 419862 w 1502283"/>
                <a:gd name="connsiteY728" fmla="*/ 677323 h 1161573"/>
                <a:gd name="connsiteX729" fmla="*/ 417671 w 1502283"/>
                <a:gd name="connsiteY729" fmla="*/ 672751 h 1161573"/>
                <a:gd name="connsiteX730" fmla="*/ 414528 w 1502283"/>
                <a:gd name="connsiteY730" fmla="*/ 673132 h 1161573"/>
                <a:gd name="connsiteX731" fmla="*/ 413575 w 1502283"/>
                <a:gd name="connsiteY731" fmla="*/ 678085 h 1161573"/>
                <a:gd name="connsiteX732" fmla="*/ 410623 w 1502283"/>
                <a:gd name="connsiteY732" fmla="*/ 680085 h 1161573"/>
                <a:gd name="connsiteX733" fmla="*/ 413956 w 1502283"/>
                <a:gd name="connsiteY733" fmla="*/ 681228 h 1161573"/>
                <a:gd name="connsiteX734" fmla="*/ 411004 w 1502283"/>
                <a:gd name="connsiteY734" fmla="*/ 683228 h 1161573"/>
                <a:gd name="connsiteX735" fmla="*/ 409670 w 1502283"/>
                <a:gd name="connsiteY735" fmla="*/ 685038 h 1161573"/>
                <a:gd name="connsiteX736" fmla="*/ 399383 w 1502283"/>
                <a:gd name="connsiteY736" fmla="*/ 679895 h 1161573"/>
                <a:gd name="connsiteX737" fmla="*/ 398050 w 1502283"/>
                <a:gd name="connsiteY737" fmla="*/ 681704 h 1161573"/>
                <a:gd name="connsiteX738" fmla="*/ 396907 w 1502283"/>
                <a:gd name="connsiteY738" fmla="*/ 685038 h 1161573"/>
                <a:gd name="connsiteX739" fmla="*/ 391763 w 1502283"/>
                <a:gd name="connsiteY739" fmla="*/ 682466 h 1161573"/>
                <a:gd name="connsiteX740" fmla="*/ 387001 w 1502283"/>
                <a:gd name="connsiteY740" fmla="*/ 683038 h 1161573"/>
                <a:gd name="connsiteX741" fmla="*/ 385572 w 1502283"/>
                <a:gd name="connsiteY741" fmla="*/ 684848 h 1161573"/>
                <a:gd name="connsiteX742" fmla="*/ 387953 w 1502283"/>
                <a:gd name="connsiteY742" fmla="*/ 690944 h 1161573"/>
                <a:gd name="connsiteX743" fmla="*/ 388144 w 1502283"/>
                <a:gd name="connsiteY743" fmla="*/ 692563 h 1161573"/>
                <a:gd name="connsiteX744" fmla="*/ 384620 w 1502283"/>
                <a:gd name="connsiteY744" fmla="*/ 689801 h 1161573"/>
                <a:gd name="connsiteX745" fmla="*/ 380619 w 1502283"/>
                <a:gd name="connsiteY745" fmla="*/ 683895 h 1161573"/>
                <a:gd name="connsiteX746" fmla="*/ 375666 w 1502283"/>
                <a:gd name="connsiteY746" fmla="*/ 682943 h 1161573"/>
                <a:gd name="connsiteX747" fmla="*/ 374523 w 1502283"/>
                <a:gd name="connsiteY747" fmla="*/ 686276 h 1161573"/>
                <a:gd name="connsiteX748" fmla="*/ 371189 w 1502283"/>
                <a:gd name="connsiteY748" fmla="*/ 685133 h 1161573"/>
                <a:gd name="connsiteX749" fmla="*/ 364046 w 1502283"/>
                <a:gd name="connsiteY749" fmla="*/ 679609 h 1161573"/>
                <a:gd name="connsiteX750" fmla="*/ 362426 w 1502283"/>
                <a:gd name="connsiteY750" fmla="*/ 679799 h 1161573"/>
                <a:gd name="connsiteX751" fmla="*/ 357664 w 1502283"/>
                <a:gd name="connsiteY751" fmla="*/ 680371 h 1161573"/>
                <a:gd name="connsiteX752" fmla="*/ 357473 w 1502283"/>
                <a:gd name="connsiteY752" fmla="*/ 678751 h 1161573"/>
                <a:gd name="connsiteX753" fmla="*/ 352711 w 1502283"/>
                <a:gd name="connsiteY753" fmla="*/ 679323 h 1161573"/>
                <a:gd name="connsiteX754" fmla="*/ 352139 w 1502283"/>
                <a:gd name="connsiteY754" fmla="*/ 674561 h 1161573"/>
                <a:gd name="connsiteX755" fmla="*/ 350330 w 1502283"/>
                <a:gd name="connsiteY755" fmla="*/ 673227 h 1161573"/>
                <a:gd name="connsiteX756" fmla="*/ 347186 w 1502283"/>
                <a:gd name="connsiteY756" fmla="*/ 673608 h 1161573"/>
                <a:gd name="connsiteX757" fmla="*/ 347567 w 1502283"/>
                <a:gd name="connsiteY757" fmla="*/ 676751 h 1161573"/>
                <a:gd name="connsiteX758" fmla="*/ 349568 w 1502283"/>
                <a:gd name="connsiteY758" fmla="*/ 679704 h 1161573"/>
                <a:gd name="connsiteX759" fmla="*/ 348805 w 1502283"/>
                <a:gd name="connsiteY759" fmla="*/ 686181 h 1161573"/>
                <a:gd name="connsiteX760" fmla="*/ 344043 w 1502283"/>
                <a:gd name="connsiteY760" fmla="*/ 686753 h 1161573"/>
                <a:gd name="connsiteX761" fmla="*/ 340138 w 1502283"/>
                <a:gd name="connsiteY761" fmla="*/ 693706 h 1161573"/>
                <a:gd name="connsiteX762" fmla="*/ 336995 w 1502283"/>
                <a:gd name="connsiteY762" fmla="*/ 694087 h 1161573"/>
                <a:gd name="connsiteX763" fmla="*/ 334042 w 1502283"/>
                <a:gd name="connsiteY763" fmla="*/ 696087 h 1161573"/>
                <a:gd name="connsiteX764" fmla="*/ 325946 w 1502283"/>
                <a:gd name="connsiteY764" fmla="*/ 695516 h 1161573"/>
                <a:gd name="connsiteX765" fmla="*/ 319469 w 1502283"/>
                <a:gd name="connsiteY765" fmla="*/ 694754 h 1161573"/>
                <a:gd name="connsiteX766" fmla="*/ 312325 w 1502283"/>
                <a:gd name="connsiteY766" fmla="*/ 689229 h 1161573"/>
                <a:gd name="connsiteX767" fmla="*/ 310324 w 1502283"/>
                <a:gd name="connsiteY767" fmla="*/ 686276 h 1161573"/>
                <a:gd name="connsiteX768" fmla="*/ 313468 w 1502283"/>
                <a:gd name="connsiteY768" fmla="*/ 685895 h 1161573"/>
                <a:gd name="connsiteX769" fmla="*/ 309944 w 1502283"/>
                <a:gd name="connsiteY769" fmla="*/ 683133 h 1161573"/>
                <a:gd name="connsiteX770" fmla="*/ 309753 w 1502283"/>
                <a:gd name="connsiteY770" fmla="*/ 681514 h 1161573"/>
                <a:gd name="connsiteX771" fmla="*/ 310134 w 1502283"/>
                <a:gd name="connsiteY771" fmla="*/ 684657 h 1161573"/>
                <a:gd name="connsiteX772" fmla="*/ 308800 w 1502283"/>
                <a:gd name="connsiteY772" fmla="*/ 686467 h 1161573"/>
                <a:gd name="connsiteX773" fmla="*/ 306800 w 1502283"/>
                <a:gd name="connsiteY773" fmla="*/ 683514 h 1161573"/>
                <a:gd name="connsiteX774" fmla="*/ 303657 w 1502283"/>
                <a:gd name="connsiteY774" fmla="*/ 683895 h 1161573"/>
                <a:gd name="connsiteX775" fmla="*/ 303276 w 1502283"/>
                <a:gd name="connsiteY775" fmla="*/ 680752 h 1161573"/>
                <a:gd name="connsiteX776" fmla="*/ 305086 w 1502283"/>
                <a:gd name="connsiteY776" fmla="*/ 682085 h 1161573"/>
                <a:gd name="connsiteX777" fmla="*/ 303086 w 1502283"/>
                <a:gd name="connsiteY777" fmla="*/ 679133 h 1161573"/>
                <a:gd name="connsiteX778" fmla="*/ 304514 w 1502283"/>
                <a:gd name="connsiteY778" fmla="*/ 677323 h 1161573"/>
                <a:gd name="connsiteX779" fmla="*/ 305657 w 1502283"/>
                <a:gd name="connsiteY779" fmla="*/ 673989 h 1161573"/>
                <a:gd name="connsiteX780" fmla="*/ 302323 w 1502283"/>
                <a:gd name="connsiteY780" fmla="*/ 672846 h 1161573"/>
                <a:gd name="connsiteX781" fmla="*/ 300133 w 1502283"/>
                <a:gd name="connsiteY781" fmla="*/ 668274 h 1161573"/>
                <a:gd name="connsiteX782" fmla="*/ 299752 w 1502283"/>
                <a:gd name="connsiteY782" fmla="*/ 665131 h 1161573"/>
                <a:gd name="connsiteX783" fmla="*/ 297752 w 1502283"/>
                <a:gd name="connsiteY783" fmla="*/ 662178 h 1161573"/>
                <a:gd name="connsiteX784" fmla="*/ 290513 w 1502283"/>
                <a:gd name="connsiteY784" fmla="*/ 667893 h 1161573"/>
                <a:gd name="connsiteX785" fmla="*/ 286607 w 1502283"/>
                <a:gd name="connsiteY785" fmla="*/ 674846 h 1161573"/>
                <a:gd name="connsiteX786" fmla="*/ 276130 w 1502283"/>
                <a:gd name="connsiteY786" fmla="*/ 668179 h 1161573"/>
                <a:gd name="connsiteX787" fmla="*/ 276130 w 1502283"/>
                <a:gd name="connsiteY787" fmla="*/ 681038 h 1161573"/>
                <a:gd name="connsiteX788" fmla="*/ 279559 w 1502283"/>
                <a:gd name="connsiteY788" fmla="*/ 682180 h 1161573"/>
                <a:gd name="connsiteX789" fmla="*/ 270700 w 1502283"/>
                <a:gd name="connsiteY789" fmla="*/ 688086 h 1161573"/>
                <a:gd name="connsiteX790" fmla="*/ 265176 w 1502283"/>
                <a:gd name="connsiteY790" fmla="*/ 695230 h 1161573"/>
                <a:gd name="connsiteX791" fmla="*/ 263176 w 1502283"/>
                <a:gd name="connsiteY791" fmla="*/ 692277 h 1161573"/>
                <a:gd name="connsiteX792" fmla="*/ 260223 w 1502283"/>
                <a:gd name="connsiteY792" fmla="*/ 694277 h 1161573"/>
                <a:gd name="connsiteX793" fmla="*/ 255270 w 1502283"/>
                <a:gd name="connsiteY793" fmla="*/ 693325 h 1161573"/>
                <a:gd name="connsiteX794" fmla="*/ 256699 w 1502283"/>
                <a:gd name="connsiteY794" fmla="*/ 691515 h 1161573"/>
                <a:gd name="connsiteX795" fmla="*/ 261461 w 1502283"/>
                <a:gd name="connsiteY795" fmla="*/ 690944 h 1161573"/>
                <a:gd name="connsiteX796" fmla="*/ 261271 w 1502283"/>
                <a:gd name="connsiteY796" fmla="*/ 689324 h 1161573"/>
                <a:gd name="connsiteX797" fmla="*/ 250793 w 1502283"/>
                <a:gd name="connsiteY797" fmla="*/ 682657 h 1161573"/>
                <a:gd name="connsiteX798" fmla="*/ 246031 w 1502283"/>
                <a:gd name="connsiteY798" fmla="*/ 683228 h 1161573"/>
                <a:gd name="connsiteX799" fmla="*/ 242697 w 1502283"/>
                <a:gd name="connsiteY799" fmla="*/ 682085 h 1161573"/>
                <a:gd name="connsiteX800" fmla="*/ 245078 w 1502283"/>
                <a:gd name="connsiteY800" fmla="*/ 688181 h 1161573"/>
                <a:gd name="connsiteX801" fmla="*/ 242316 w 1502283"/>
                <a:gd name="connsiteY801" fmla="*/ 691705 h 1161573"/>
                <a:gd name="connsiteX802" fmla="*/ 242888 w 1502283"/>
                <a:gd name="connsiteY802" fmla="*/ 696468 h 1161573"/>
                <a:gd name="connsiteX803" fmla="*/ 238982 w 1502283"/>
                <a:gd name="connsiteY803" fmla="*/ 703421 h 1161573"/>
                <a:gd name="connsiteX804" fmla="*/ 242316 w 1502283"/>
                <a:gd name="connsiteY804" fmla="*/ 704564 h 1161573"/>
                <a:gd name="connsiteX805" fmla="*/ 240982 w 1502283"/>
                <a:gd name="connsiteY805" fmla="*/ 706374 h 1161573"/>
                <a:gd name="connsiteX806" fmla="*/ 239363 w 1502283"/>
                <a:gd name="connsiteY806" fmla="*/ 706565 h 1161573"/>
                <a:gd name="connsiteX807" fmla="*/ 241554 w 1502283"/>
                <a:gd name="connsiteY807" fmla="*/ 711137 h 1161573"/>
                <a:gd name="connsiteX808" fmla="*/ 239935 w 1502283"/>
                <a:gd name="connsiteY808" fmla="*/ 711327 h 1161573"/>
                <a:gd name="connsiteX809" fmla="*/ 236791 w 1502283"/>
                <a:gd name="connsiteY809" fmla="*/ 711708 h 1161573"/>
                <a:gd name="connsiteX810" fmla="*/ 234029 w 1502283"/>
                <a:gd name="connsiteY810" fmla="*/ 715232 h 1161573"/>
                <a:gd name="connsiteX811" fmla="*/ 237554 w 1502283"/>
                <a:gd name="connsiteY811" fmla="*/ 717995 h 1161573"/>
                <a:gd name="connsiteX812" fmla="*/ 231457 w 1502283"/>
                <a:gd name="connsiteY812" fmla="*/ 720376 h 1161573"/>
                <a:gd name="connsiteX813" fmla="*/ 230696 w 1502283"/>
                <a:gd name="connsiteY813" fmla="*/ 714089 h 1161573"/>
                <a:gd name="connsiteX814" fmla="*/ 227552 w 1502283"/>
                <a:gd name="connsiteY814" fmla="*/ 714470 h 1161573"/>
                <a:gd name="connsiteX815" fmla="*/ 219075 w 1502283"/>
                <a:gd name="connsiteY815" fmla="*/ 710755 h 1161573"/>
                <a:gd name="connsiteX816" fmla="*/ 216503 w 1502283"/>
                <a:gd name="connsiteY816" fmla="*/ 715899 h 1161573"/>
                <a:gd name="connsiteX817" fmla="*/ 209550 w 1502283"/>
                <a:gd name="connsiteY817" fmla="*/ 711994 h 1161573"/>
                <a:gd name="connsiteX818" fmla="*/ 204025 w 1502283"/>
                <a:gd name="connsiteY818" fmla="*/ 719138 h 1161573"/>
                <a:gd name="connsiteX819" fmla="*/ 197072 w 1502283"/>
                <a:gd name="connsiteY819" fmla="*/ 715232 h 1161573"/>
                <a:gd name="connsiteX820" fmla="*/ 194500 w 1502283"/>
                <a:gd name="connsiteY820" fmla="*/ 720376 h 1161573"/>
                <a:gd name="connsiteX821" fmla="*/ 187166 w 1502283"/>
                <a:gd name="connsiteY821" fmla="*/ 726091 h 1161573"/>
                <a:gd name="connsiteX822" fmla="*/ 185547 w 1502283"/>
                <a:gd name="connsiteY822" fmla="*/ 726281 h 1161573"/>
                <a:gd name="connsiteX823" fmla="*/ 181451 w 1502283"/>
                <a:gd name="connsiteY823" fmla="*/ 731615 h 1161573"/>
                <a:gd name="connsiteX824" fmla="*/ 187928 w 1502283"/>
                <a:gd name="connsiteY824" fmla="*/ 732377 h 1161573"/>
                <a:gd name="connsiteX825" fmla="*/ 188119 w 1502283"/>
                <a:gd name="connsiteY825" fmla="*/ 733997 h 1161573"/>
                <a:gd name="connsiteX826" fmla="*/ 186499 w 1502283"/>
                <a:gd name="connsiteY826" fmla="*/ 734187 h 1161573"/>
                <a:gd name="connsiteX827" fmla="*/ 185356 w 1502283"/>
                <a:gd name="connsiteY827" fmla="*/ 737521 h 1161573"/>
                <a:gd name="connsiteX828" fmla="*/ 180594 w 1502283"/>
                <a:gd name="connsiteY828" fmla="*/ 738092 h 1161573"/>
                <a:gd name="connsiteX829" fmla="*/ 180594 w 1502283"/>
                <a:gd name="connsiteY829" fmla="*/ 738092 h 1161573"/>
                <a:gd name="connsiteX830" fmla="*/ 178403 w 1502283"/>
                <a:gd name="connsiteY830" fmla="*/ 746379 h 1161573"/>
                <a:gd name="connsiteX831" fmla="*/ 170879 w 1502283"/>
                <a:gd name="connsiteY831" fmla="*/ 750570 h 1161573"/>
                <a:gd name="connsiteX832" fmla="*/ 158020 w 1502283"/>
                <a:gd name="connsiteY832" fmla="*/ 750570 h 1161573"/>
                <a:gd name="connsiteX833" fmla="*/ 154686 w 1502283"/>
                <a:gd name="connsiteY833" fmla="*/ 749427 h 1161573"/>
                <a:gd name="connsiteX834" fmla="*/ 154877 w 1502283"/>
                <a:gd name="connsiteY834" fmla="*/ 751046 h 1161573"/>
                <a:gd name="connsiteX835" fmla="*/ 154496 w 1502283"/>
                <a:gd name="connsiteY835" fmla="*/ 760762 h 1161573"/>
                <a:gd name="connsiteX836" fmla="*/ 154686 w 1502283"/>
                <a:gd name="connsiteY836" fmla="*/ 762381 h 1161573"/>
                <a:gd name="connsiteX837" fmla="*/ 151924 w 1502283"/>
                <a:gd name="connsiteY837" fmla="*/ 765905 h 1161573"/>
                <a:gd name="connsiteX838" fmla="*/ 146590 w 1502283"/>
                <a:gd name="connsiteY838" fmla="*/ 761809 h 1161573"/>
                <a:gd name="connsiteX839" fmla="*/ 142875 w 1502283"/>
                <a:gd name="connsiteY839" fmla="*/ 770287 h 1161573"/>
                <a:gd name="connsiteX840" fmla="*/ 139541 w 1502283"/>
                <a:gd name="connsiteY840" fmla="*/ 769144 h 1161573"/>
                <a:gd name="connsiteX841" fmla="*/ 141351 w 1502283"/>
                <a:gd name="connsiteY841" fmla="*/ 770477 h 1161573"/>
                <a:gd name="connsiteX842" fmla="*/ 141541 w 1502283"/>
                <a:gd name="connsiteY842" fmla="*/ 772097 h 1161573"/>
                <a:gd name="connsiteX843" fmla="*/ 143351 w 1502283"/>
                <a:gd name="connsiteY843" fmla="*/ 773430 h 1161573"/>
                <a:gd name="connsiteX844" fmla="*/ 140779 w 1502283"/>
                <a:gd name="connsiteY844" fmla="*/ 778574 h 1161573"/>
                <a:gd name="connsiteX845" fmla="*/ 141351 w 1502283"/>
                <a:gd name="connsiteY845" fmla="*/ 783336 h 1161573"/>
                <a:gd name="connsiteX846" fmla="*/ 138208 w 1502283"/>
                <a:gd name="connsiteY846" fmla="*/ 783717 h 1161573"/>
                <a:gd name="connsiteX847" fmla="*/ 135446 w 1502283"/>
                <a:gd name="connsiteY847" fmla="*/ 787241 h 1161573"/>
                <a:gd name="connsiteX848" fmla="*/ 133255 w 1502283"/>
                <a:gd name="connsiteY848" fmla="*/ 782669 h 1161573"/>
                <a:gd name="connsiteX849" fmla="*/ 127921 w 1502283"/>
                <a:gd name="connsiteY849" fmla="*/ 778574 h 1161573"/>
                <a:gd name="connsiteX850" fmla="*/ 125539 w 1502283"/>
                <a:gd name="connsiteY850" fmla="*/ 772478 h 1161573"/>
                <a:gd name="connsiteX851" fmla="*/ 118396 w 1502283"/>
                <a:gd name="connsiteY851" fmla="*/ 766953 h 1161573"/>
                <a:gd name="connsiteX852" fmla="*/ 118015 w 1502283"/>
                <a:gd name="connsiteY852" fmla="*/ 763810 h 1161573"/>
                <a:gd name="connsiteX853" fmla="*/ 108585 w 1502283"/>
                <a:gd name="connsiteY853" fmla="*/ 765048 h 1161573"/>
                <a:gd name="connsiteX854" fmla="*/ 102870 w 1502283"/>
                <a:gd name="connsiteY854" fmla="*/ 770573 h 1161573"/>
                <a:gd name="connsiteX855" fmla="*/ 99917 w 1502283"/>
                <a:gd name="connsiteY855" fmla="*/ 772573 h 1161573"/>
                <a:gd name="connsiteX856" fmla="*/ 99536 w 1502283"/>
                <a:gd name="connsiteY856" fmla="*/ 769430 h 1161573"/>
                <a:gd name="connsiteX857" fmla="*/ 94774 w 1502283"/>
                <a:gd name="connsiteY857" fmla="*/ 770001 h 1161573"/>
                <a:gd name="connsiteX858" fmla="*/ 92773 w 1502283"/>
                <a:gd name="connsiteY858" fmla="*/ 767048 h 1161573"/>
                <a:gd name="connsiteX859" fmla="*/ 89630 w 1502283"/>
                <a:gd name="connsiteY859" fmla="*/ 767429 h 1161573"/>
                <a:gd name="connsiteX860" fmla="*/ 85058 w 1502283"/>
                <a:gd name="connsiteY860" fmla="*/ 769620 h 1161573"/>
                <a:gd name="connsiteX861" fmla="*/ 89440 w 1502283"/>
                <a:gd name="connsiteY861" fmla="*/ 778669 h 1161573"/>
                <a:gd name="connsiteX862" fmla="*/ 88106 w 1502283"/>
                <a:gd name="connsiteY862" fmla="*/ 780479 h 1161573"/>
                <a:gd name="connsiteX863" fmla="*/ 83534 w 1502283"/>
                <a:gd name="connsiteY863" fmla="*/ 782669 h 1161573"/>
                <a:gd name="connsiteX864" fmla="*/ 84106 w 1502283"/>
                <a:gd name="connsiteY864" fmla="*/ 787432 h 1161573"/>
                <a:gd name="connsiteX865" fmla="*/ 77819 w 1502283"/>
                <a:gd name="connsiteY865" fmla="*/ 788194 h 1161573"/>
                <a:gd name="connsiteX866" fmla="*/ 79820 w 1502283"/>
                <a:gd name="connsiteY866" fmla="*/ 791147 h 1161573"/>
                <a:gd name="connsiteX867" fmla="*/ 78677 w 1502283"/>
                <a:gd name="connsiteY867" fmla="*/ 794480 h 1161573"/>
                <a:gd name="connsiteX868" fmla="*/ 76105 w 1502283"/>
                <a:gd name="connsiteY868" fmla="*/ 799624 h 1161573"/>
                <a:gd name="connsiteX869" fmla="*/ 72771 w 1502283"/>
                <a:gd name="connsiteY869" fmla="*/ 798481 h 1161573"/>
                <a:gd name="connsiteX870" fmla="*/ 70390 w 1502283"/>
                <a:gd name="connsiteY870" fmla="*/ 792385 h 1161573"/>
                <a:gd name="connsiteX871" fmla="*/ 67437 w 1502283"/>
                <a:gd name="connsiteY871" fmla="*/ 794385 h 1161573"/>
                <a:gd name="connsiteX872" fmla="*/ 64294 w 1502283"/>
                <a:gd name="connsiteY872" fmla="*/ 794766 h 1161573"/>
                <a:gd name="connsiteX873" fmla="*/ 59150 w 1502283"/>
                <a:gd name="connsiteY873" fmla="*/ 792194 h 1161573"/>
                <a:gd name="connsiteX874" fmla="*/ 57150 w 1502283"/>
                <a:gd name="connsiteY874" fmla="*/ 789242 h 1161573"/>
                <a:gd name="connsiteX875" fmla="*/ 59531 w 1502283"/>
                <a:gd name="connsiteY875" fmla="*/ 782479 h 1161573"/>
                <a:gd name="connsiteX876" fmla="*/ 56197 w 1502283"/>
                <a:gd name="connsiteY876" fmla="*/ 781336 h 1161573"/>
                <a:gd name="connsiteX877" fmla="*/ 54007 w 1502283"/>
                <a:gd name="connsiteY877" fmla="*/ 776764 h 1161573"/>
                <a:gd name="connsiteX878" fmla="*/ 50482 w 1502283"/>
                <a:gd name="connsiteY878" fmla="*/ 774001 h 1161573"/>
                <a:gd name="connsiteX879" fmla="*/ 44387 w 1502283"/>
                <a:gd name="connsiteY879" fmla="*/ 776383 h 1161573"/>
                <a:gd name="connsiteX880" fmla="*/ 46958 w 1502283"/>
                <a:gd name="connsiteY880" fmla="*/ 784098 h 1161573"/>
                <a:gd name="connsiteX881" fmla="*/ 34862 w 1502283"/>
                <a:gd name="connsiteY881" fmla="*/ 777621 h 1161573"/>
                <a:gd name="connsiteX882" fmla="*/ 28575 w 1502283"/>
                <a:gd name="connsiteY882" fmla="*/ 778383 h 1161573"/>
                <a:gd name="connsiteX883" fmla="*/ 31909 w 1502283"/>
                <a:gd name="connsiteY883" fmla="*/ 779526 h 1161573"/>
                <a:gd name="connsiteX884" fmla="*/ 35052 w 1502283"/>
                <a:gd name="connsiteY884" fmla="*/ 779145 h 1161573"/>
                <a:gd name="connsiteX885" fmla="*/ 35433 w 1502283"/>
                <a:gd name="connsiteY885" fmla="*/ 782288 h 1161573"/>
                <a:gd name="connsiteX886" fmla="*/ 38576 w 1502283"/>
                <a:gd name="connsiteY886" fmla="*/ 781907 h 1161573"/>
                <a:gd name="connsiteX887" fmla="*/ 32671 w 1502283"/>
                <a:gd name="connsiteY887" fmla="*/ 785908 h 1161573"/>
                <a:gd name="connsiteX888" fmla="*/ 30099 w 1502283"/>
                <a:gd name="connsiteY888" fmla="*/ 791051 h 1161573"/>
                <a:gd name="connsiteX889" fmla="*/ 28766 w 1502283"/>
                <a:gd name="connsiteY889" fmla="*/ 792861 h 1161573"/>
                <a:gd name="connsiteX890" fmla="*/ 27432 w 1502283"/>
                <a:gd name="connsiteY890" fmla="*/ 794671 h 1161573"/>
                <a:gd name="connsiteX891" fmla="*/ 24289 w 1502283"/>
                <a:gd name="connsiteY891" fmla="*/ 795052 h 1161573"/>
                <a:gd name="connsiteX892" fmla="*/ 19336 w 1502283"/>
                <a:gd name="connsiteY892" fmla="*/ 794099 h 1161573"/>
                <a:gd name="connsiteX893" fmla="*/ 18764 w 1502283"/>
                <a:gd name="connsiteY893" fmla="*/ 789337 h 1161573"/>
                <a:gd name="connsiteX894" fmla="*/ 13811 w 1502283"/>
                <a:gd name="connsiteY894" fmla="*/ 788384 h 1161573"/>
                <a:gd name="connsiteX895" fmla="*/ 13049 w 1502283"/>
                <a:gd name="connsiteY895" fmla="*/ 794861 h 1161573"/>
                <a:gd name="connsiteX896" fmla="*/ 15050 w 1502283"/>
                <a:gd name="connsiteY896" fmla="*/ 797814 h 1161573"/>
                <a:gd name="connsiteX897" fmla="*/ 16383 w 1502283"/>
                <a:gd name="connsiteY897" fmla="*/ 796004 h 1161573"/>
                <a:gd name="connsiteX898" fmla="*/ 16573 w 1502283"/>
                <a:gd name="connsiteY898" fmla="*/ 797624 h 1161573"/>
                <a:gd name="connsiteX899" fmla="*/ 19907 w 1502283"/>
                <a:gd name="connsiteY899" fmla="*/ 798767 h 1161573"/>
                <a:gd name="connsiteX900" fmla="*/ 21717 w 1502283"/>
                <a:gd name="connsiteY900" fmla="*/ 800100 h 1161573"/>
                <a:gd name="connsiteX901" fmla="*/ 20764 w 1502283"/>
                <a:gd name="connsiteY901" fmla="*/ 805053 h 1161573"/>
                <a:gd name="connsiteX902" fmla="*/ 17431 w 1502283"/>
                <a:gd name="connsiteY902" fmla="*/ 803910 h 1161573"/>
                <a:gd name="connsiteX903" fmla="*/ 14668 w 1502283"/>
                <a:gd name="connsiteY903" fmla="*/ 807434 h 1161573"/>
                <a:gd name="connsiteX904" fmla="*/ 13049 w 1502283"/>
                <a:gd name="connsiteY904" fmla="*/ 807625 h 1161573"/>
                <a:gd name="connsiteX905" fmla="*/ 14859 w 1502283"/>
                <a:gd name="connsiteY905" fmla="*/ 808958 h 1161573"/>
                <a:gd name="connsiteX906" fmla="*/ 21336 w 1502283"/>
                <a:gd name="connsiteY906" fmla="*/ 809720 h 1161573"/>
                <a:gd name="connsiteX907" fmla="*/ 16764 w 1502283"/>
                <a:gd name="connsiteY907" fmla="*/ 811911 h 1161573"/>
                <a:gd name="connsiteX908" fmla="*/ 14002 w 1502283"/>
                <a:gd name="connsiteY908" fmla="*/ 815435 h 1161573"/>
                <a:gd name="connsiteX909" fmla="*/ 8858 w 1502283"/>
                <a:gd name="connsiteY909" fmla="*/ 812864 h 1161573"/>
                <a:gd name="connsiteX910" fmla="*/ 7525 w 1502283"/>
                <a:gd name="connsiteY910" fmla="*/ 814673 h 1161573"/>
                <a:gd name="connsiteX911" fmla="*/ 8287 w 1502283"/>
                <a:gd name="connsiteY911" fmla="*/ 820960 h 1161573"/>
                <a:gd name="connsiteX912" fmla="*/ 6667 w 1502283"/>
                <a:gd name="connsiteY912" fmla="*/ 821150 h 1161573"/>
                <a:gd name="connsiteX913" fmla="*/ 0 w 1502283"/>
                <a:gd name="connsiteY913" fmla="*/ 831628 h 1161573"/>
                <a:gd name="connsiteX914" fmla="*/ 13430 w 1502283"/>
                <a:gd name="connsiteY914" fmla="*/ 836295 h 1161573"/>
                <a:gd name="connsiteX915" fmla="*/ 27432 w 1502283"/>
                <a:gd name="connsiteY915" fmla="*/ 845725 h 1161573"/>
                <a:gd name="connsiteX916" fmla="*/ 43434 w 1502283"/>
                <a:gd name="connsiteY916" fmla="*/ 845249 h 1161573"/>
                <a:gd name="connsiteX917" fmla="*/ 49911 w 1502283"/>
                <a:gd name="connsiteY917" fmla="*/ 846010 h 1161573"/>
                <a:gd name="connsiteX918" fmla="*/ 52864 w 1502283"/>
                <a:gd name="connsiteY918" fmla="*/ 844010 h 1161573"/>
                <a:gd name="connsiteX919" fmla="*/ 58198 w 1502283"/>
                <a:gd name="connsiteY919" fmla="*/ 848106 h 1161573"/>
                <a:gd name="connsiteX920" fmla="*/ 65913 w 1502283"/>
                <a:gd name="connsiteY920" fmla="*/ 858393 h 1161573"/>
                <a:gd name="connsiteX921" fmla="*/ 70675 w 1502283"/>
                <a:gd name="connsiteY921" fmla="*/ 857822 h 1161573"/>
                <a:gd name="connsiteX922" fmla="*/ 68866 w 1502283"/>
                <a:gd name="connsiteY922" fmla="*/ 856488 h 1161573"/>
                <a:gd name="connsiteX923" fmla="*/ 82487 w 1502283"/>
                <a:gd name="connsiteY923" fmla="*/ 862775 h 1161573"/>
                <a:gd name="connsiteX924" fmla="*/ 91821 w 1502283"/>
                <a:gd name="connsiteY924" fmla="*/ 872776 h 1161573"/>
                <a:gd name="connsiteX925" fmla="*/ 95821 w 1502283"/>
                <a:gd name="connsiteY925" fmla="*/ 878681 h 1161573"/>
                <a:gd name="connsiteX926" fmla="*/ 102965 w 1502283"/>
                <a:gd name="connsiteY926" fmla="*/ 884206 h 1161573"/>
                <a:gd name="connsiteX927" fmla="*/ 107156 w 1502283"/>
                <a:gd name="connsiteY927" fmla="*/ 891731 h 1161573"/>
                <a:gd name="connsiteX928" fmla="*/ 110490 w 1502283"/>
                <a:gd name="connsiteY928" fmla="*/ 892874 h 1161573"/>
                <a:gd name="connsiteX929" fmla="*/ 114776 w 1502283"/>
                <a:gd name="connsiteY929" fmla="*/ 889159 h 1161573"/>
                <a:gd name="connsiteX930" fmla="*/ 122682 w 1502283"/>
                <a:gd name="connsiteY930" fmla="*/ 888111 h 1161573"/>
                <a:gd name="connsiteX931" fmla="*/ 125825 w 1502283"/>
                <a:gd name="connsiteY931" fmla="*/ 887730 h 1161573"/>
                <a:gd name="connsiteX932" fmla="*/ 126016 w 1502283"/>
                <a:gd name="connsiteY932" fmla="*/ 889349 h 1161573"/>
                <a:gd name="connsiteX933" fmla="*/ 144208 w 1502283"/>
                <a:gd name="connsiteY933" fmla="*/ 893445 h 1161573"/>
                <a:gd name="connsiteX934" fmla="*/ 154305 w 1502283"/>
                <a:gd name="connsiteY934" fmla="*/ 896969 h 1161573"/>
                <a:gd name="connsiteX935" fmla="*/ 165545 w 1502283"/>
                <a:gd name="connsiteY935" fmla="*/ 884301 h 1161573"/>
                <a:gd name="connsiteX936" fmla="*/ 169259 w 1502283"/>
                <a:gd name="connsiteY936" fmla="*/ 875824 h 1161573"/>
                <a:gd name="connsiteX937" fmla="*/ 171831 w 1502283"/>
                <a:gd name="connsiteY937" fmla="*/ 870680 h 1161573"/>
                <a:gd name="connsiteX938" fmla="*/ 181546 w 1502283"/>
                <a:gd name="connsiteY938" fmla="*/ 871061 h 1161573"/>
                <a:gd name="connsiteX939" fmla="*/ 191643 w 1502283"/>
                <a:gd name="connsiteY939" fmla="*/ 874585 h 1161573"/>
                <a:gd name="connsiteX940" fmla="*/ 202692 w 1502283"/>
                <a:gd name="connsiteY940" fmla="*/ 873157 h 1161573"/>
                <a:gd name="connsiteX941" fmla="*/ 206026 w 1502283"/>
                <a:gd name="connsiteY941" fmla="*/ 874300 h 1161573"/>
                <a:gd name="connsiteX942" fmla="*/ 209169 w 1502283"/>
                <a:gd name="connsiteY942" fmla="*/ 873919 h 1161573"/>
                <a:gd name="connsiteX943" fmla="*/ 214694 w 1502283"/>
                <a:gd name="connsiteY943" fmla="*/ 866775 h 1161573"/>
                <a:gd name="connsiteX944" fmla="*/ 216884 w 1502283"/>
                <a:gd name="connsiteY944" fmla="*/ 871347 h 1161573"/>
                <a:gd name="connsiteX945" fmla="*/ 222599 w 1502283"/>
                <a:gd name="connsiteY945" fmla="*/ 878681 h 1161573"/>
                <a:gd name="connsiteX946" fmla="*/ 221456 w 1502283"/>
                <a:gd name="connsiteY946" fmla="*/ 882015 h 1161573"/>
                <a:gd name="connsiteX947" fmla="*/ 216884 w 1502283"/>
                <a:gd name="connsiteY947" fmla="*/ 884206 h 1161573"/>
                <a:gd name="connsiteX948" fmla="*/ 217456 w 1502283"/>
                <a:gd name="connsiteY948" fmla="*/ 888968 h 1161573"/>
                <a:gd name="connsiteX949" fmla="*/ 227362 w 1502283"/>
                <a:gd name="connsiteY949" fmla="*/ 890873 h 1161573"/>
                <a:gd name="connsiteX950" fmla="*/ 232886 w 1502283"/>
                <a:gd name="connsiteY950" fmla="*/ 896588 h 1161573"/>
                <a:gd name="connsiteX951" fmla="*/ 240602 w 1502283"/>
                <a:gd name="connsiteY951" fmla="*/ 894017 h 1161573"/>
                <a:gd name="connsiteX952" fmla="*/ 240030 w 1502283"/>
                <a:gd name="connsiteY952" fmla="*/ 889254 h 1161573"/>
                <a:gd name="connsiteX953" fmla="*/ 238220 w 1502283"/>
                <a:gd name="connsiteY953" fmla="*/ 887921 h 1161573"/>
                <a:gd name="connsiteX954" fmla="*/ 241363 w 1502283"/>
                <a:gd name="connsiteY954" fmla="*/ 887540 h 1161573"/>
                <a:gd name="connsiteX955" fmla="*/ 243364 w 1502283"/>
                <a:gd name="connsiteY955" fmla="*/ 890492 h 1161573"/>
                <a:gd name="connsiteX956" fmla="*/ 243554 w 1502283"/>
                <a:gd name="connsiteY956" fmla="*/ 892111 h 1161573"/>
                <a:gd name="connsiteX957" fmla="*/ 243364 w 1502283"/>
                <a:gd name="connsiteY957" fmla="*/ 903351 h 1161573"/>
                <a:gd name="connsiteX958" fmla="*/ 247079 w 1502283"/>
                <a:gd name="connsiteY958" fmla="*/ 907637 h 1161573"/>
                <a:gd name="connsiteX959" fmla="*/ 250222 w 1502283"/>
                <a:gd name="connsiteY959" fmla="*/ 907256 h 1161573"/>
                <a:gd name="connsiteX960" fmla="*/ 255746 w 1502283"/>
                <a:gd name="connsiteY960" fmla="*/ 900113 h 1161573"/>
                <a:gd name="connsiteX961" fmla="*/ 259937 w 1502283"/>
                <a:gd name="connsiteY961" fmla="*/ 907637 h 1161573"/>
                <a:gd name="connsiteX962" fmla="*/ 260509 w 1502283"/>
                <a:gd name="connsiteY962" fmla="*/ 912400 h 1161573"/>
                <a:gd name="connsiteX963" fmla="*/ 258889 w 1502283"/>
                <a:gd name="connsiteY963" fmla="*/ 912590 h 1161573"/>
                <a:gd name="connsiteX964" fmla="*/ 255556 w 1502283"/>
                <a:gd name="connsiteY964" fmla="*/ 911447 h 1161573"/>
                <a:gd name="connsiteX965" fmla="*/ 253174 w 1502283"/>
                <a:gd name="connsiteY965" fmla="*/ 905351 h 1161573"/>
                <a:gd name="connsiteX966" fmla="*/ 253365 w 1502283"/>
                <a:gd name="connsiteY966" fmla="*/ 906971 h 1161573"/>
                <a:gd name="connsiteX967" fmla="*/ 252413 w 1502283"/>
                <a:gd name="connsiteY967" fmla="*/ 911924 h 1161573"/>
                <a:gd name="connsiteX968" fmla="*/ 254603 w 1502283"/>
                <a:gd name="connsiteY968" fmla="*/ 916496 h 1161573"/>
                <a:gd name="connsiteX969" fmla="*/ 264033 w 1502283"/>
                <a:gd name="connsiteY969" fmla="*/ 915257 h 1161573"/>
                <a:gd name="connsiteX970" fmla="*/ 269938 w 1502283"/>
                <a:gd name="connsiteY970" fmla="*/ 911257 h 1161573"/>
                <a:gd name="connsiteX971" fmla="*/ 273653 w 1502283"/>
                <a:gd name="connsiteY971" fmla="*/ 915543 h 1161573"/>
                <a:gd name="connsiteX972" fmla="*/ 278606 w 1502283"/>
                <a:gd name="connsiteY972" fmla="*/ 916496 h 1161573"/>
                <a:gd name="connsiteX973" fmla="*/ 275272 w 1502283"/>
                <a:gd name="connsiteY973" fmla="*/ 928116 h 1161573"/>
                <a:gd name="connsiteX974" fmla="*/ 278797 w 1502283"/>
                <a:gd name="connsiteY974" fmla="*/ 930878 h 1161573"/>
                <a:gd name="connsiteX975" fmla="*/ 282512 w 1502283"/>
                <a:gd name="connsiteY975" fmla="*/ 935260 h 1161573"/>
                <a:gd name="connsiteX976" fmla="*/ 285655 w 1502283"/>
                <a:gd name="connsiteY976" fmla="*/ 934879 h 1161573"/>
                <a:gd name="connsiteX977" fmla="*/ 288607 w 1502283"/>
                <a:gd name="connsiteY977" fmla="*/ 932878 h 1161573"/>
                <a:gd name="connsiteX978" fmla="*/ 287560 w 1502283"/>
                <a:gd name="connsiteY978" fmla="*/ 924973 h 1161573"/>
                <a:gd name="connsiteX979" fmla="*/ 290703 w 1502283"/>
                <a:gd name="connsiteY979" fmla="*/ 924592 h 1161573"/>
                <a:gd name="connsiteX980" fmla="*/ 292513 w 1502283"/>
                <a:gd name="connsiteY980" fmla="*/ 925925 h 1161573"/>
                <a:gd name="connsiteX981" fmla="*/ 291560 w 1502283"/>
                <a:gd name="connsiteY981" fmla="*/ 930878 h 1161573"/>
                <a:gd name="connsiteX982" fmla="*/ 299466 w 1502283"/>
                <a:gd name="connsiteY982" fmla="*/ 929831 h 1161573"/>
                <a:gd name="connsiteX983" fmla="*/ 301466 w 1502283"/>
                <a:gd name="connsiteY983" fmla="*/ 932783 h 1161573"/>
                <a:gd name="connsiteX984" fmla="*/ 294418 w 1502283"/>
                <a:gd name="connsiteY984" fmla="*/ 940118 h 1161573"/>
                <a:gd name="connsiteX985" fmla="*/ 294227 w 1502283"/>
                <a:gd name="connsiteY985" fmla="*/ 951357 h 1161573"/>
                <a:gd name="connsiteX986" fmla="*/ 303086 w 1502283"/>
                <a:gd name="connsiteY986" fmla="*/ 958215 h 1161573"/>
                <a:gd name="connsiteX987" fmla="*/ 306229 w 1502283"/>
                <a:gd name="connsiteY987" fmla="*/ 957834 h 1161573"/>
                <a:gd name="connsiteX988" fmla="*/ 321088 w 1502283"/>
                <a:gd name="connsiteY988" fmla="*/ 973550 h 1161573"/>
                <a:gd name="connsiteX989" fmla="*/ 326612 w 1502283"/>
                <a:gd name="connsiteY989" fmla="*/ 979265 h 1161573"/>
                <a:gd name="connsiteX990" fmla="*/ 366141 w 1502283"/>
                <a:gd name="connsiteY990" fmla="*/ 999934 h 1161573"/>
                <a:gd name="connsiteX991" fmla="*/ 378428 w 1502283"/>
                <a:gd name="connsiteY991" fmla="*/ 1008031 h 1161573"/>
                <a:gd name="connsiteX992" fmla="*/ 388715 w 1502283"/>
                <a:gd name="connsiteY992" fmla="*/ 1013174 h 1161573"/>
                <a:gd name="connsiteX993" fmla="*/ 400526 w 1502283"/>
                <a:gd name="connsiteY993" fmla="*/ 1018032 h 1161573"/>
                <a:gd name="connsiteX994" fmla="*/ 408622 w 1502283"/>
                <a:gd name="connsiteY994" fmla="*/ 1018603 h 1161573"/>
                <a:gd name="connsiteX995" fmla="*/ 411766 w 1502283"/>
                <a:gd name="connsiteY995" fmla="*/ 1018223 h 1161573"/>
                <a:gd name="connsiteX996" fmla="*/ 411385 w 1502283"/>
                <a:gd name="connsiteY996" fmla="*/ 1015079 h 1161573"/>
                <a:gd name="connsiteX997" fmla="*/ 414719 w 1502283"/>
                <a:gd name="connsiteY997" fmla="*/ 1016222 h 1161573"/>
                <a:gd name="connsiteX998" fmla="*/ 416528 w 1502283"/>
                <a:gd name="connsiteY998" fmla="*/ 1017556 h 1161573"/>
                <a:gd name="connsiteX999" fmla="*/ 429768 w 1502283"/>
                <a:gd name="connsiteY999" fmla="*/ 1020699 h 1161573"/>
                <a:gd name="connsiteX1000" fmla="*/ 430911 w 1502283"/>
                <a:gd name="connsiteY1000" fmla="*/ 1017365 h 1161573"/>
                <a:gd name="connsiteX1001" fmla="*/ 435864 w 1502283"/>
                <a:gd name="connsiteY1001" fmla="*/ 1018318 h 1161573"/>
                <a:gd name="connsiteX1002" fmla="*/ 437674 w 1502283"/>
                <a:gd name="connsiteY1002" fmla="*/ 1019651 h 1161573"/>
                <a:gd name="connsiteX1003" fmla="*/ 440627 w 1502283"/>
                <a:gd name="connsiteY1003" fmla="*/ 1017651 h 1161573"/>
                <a:gd name="connsiteX1004" fmla="*/ 440246 w 1502283"/>
                <a:gd name="connsiteY1004" fmla="*/ 1014508 h 1161573"/>
                <a:gd name="connsiteX1005" fmla="*/ 469868 w 1502283"/>
                <a:gd name="connsiteY1005" fmla="*/ 1020318 h 1161573"/>
                <a:gd name="connsiteX1006" fmla="*/ 507206 w 1502283"/>
                <a:gd name="connsiteY1006" fmla="*/ 1023557 h 1161573"/>
                <a:gd name="connsiteX1007" fmla="*/ 517303 w 1502283"/>
                <a:gd name="connsiteY1007" fmla="*/ 1027081 h 1161573"/>
                <a:gd name="connsiteX1008" fmla="*/ 518922 w 1502283"/>
                <a:gd name="connsiteY1008" fmla="*/ 1026890 h 1161573"/>
                <a:gd name="connsiteX1009" fmla="*/ 521684 w 1502283"/>
                <a:gd name="connsiteY1009" fmla="*/ 1023366 h 1161573"/>
                <a:gd name="connsiteX1010" fmla="*/ 529590 w 1502283"/>
                <a:gd name="connsiteY1010" fmla="*/ 1022318 h 1161573"/>
                <a:gd name="connsiteX1011" fmla="*/ 542830 w 1502283"/>
                <a:gd name="connsiteY1011" fmla="*/ 1025461 h 1161573"/>
                <a:gd name="connsiteX1012" fmla="*/ 547306 w 1502283"/>
                <a:gd name="connsiteY1012" fmla="*/ 1023271 h 1161573"/>
                <a:gd name="connsiteX1013" fmla="*/ 554641 w 1502283"/>
                <a:gd name="connsiteY1013" fmla="*/ 1030319 h 1161573"/>
                <a:gd name="connsiteX1014" fmla="*/ 567880 w 1502283"/>
                <a:gd name="connsiteY1014" fmla="*/ 1033463 h 1161573"/>
                <a:gd name="connsiteX1015" fmla="*/ 573596 w 1502283"/>
                <a:gd name="connsiteY1015" fmla="*/ 1027938 h 1161573"/>
                <a:gd name="connsiteX1016" fmla="*/ 574357 w 1502283"/>
                <a:gd name="connsiteY1016" fmla="*/ 1021461 h 1161573"/>
                <a:gd name="connsiteX1017" fmla="*/ 575691 w 1502283"/>
                <a:gd name="connsiteY1017" fmla="*/ 1019651 h 1161573"/>
                <a:gd name="connsiteX1018" fmla="*/ 575310 w 1502283"/>
                <a:gd name="connsiteY1018" fmla="*/ 1016508 h 1161573"/>
                <a:gd name="connsiteX1019" fmla="*/ 577691 w 1502283"/>
                <a:gd name="connsiteY1019" fmla="*/ 1022604 h 1161573"/>
                <a:gd name="connsiteX1020" fmla="*/ 582263 w 1502283"/>
                <a:gd name="connsiteY1020" fmla="*/ 1020413 h 1161573"/>
                <a:gd name="connsiteX1021" fmla="*/ 584263 w 1502283"/>
                <a:gd name="connsiteY1021" fmla="*/ 1023366 h 1161573"/>
                <a:gd name="connsiteX1022" fmla="*/ 586264 w 1502283"/>
                <a:gd name="connsiteY1022" fmla="*/ 1026319 h 1161573"/>
                <a:gd name="connsiteX1023" fmla="*/ 583502 w 1502283"/>
                <a:gd name="connsiteY1023" fmla="*/ 1029843 h 1161573"/>
                <a:gd name="connsiteX1024" fmla="*/ 587216 w 1502283"/>
                <a:gd name="connsiteY1024" fmla="*/ 1034129 h 1161573"/>
                <a:gd name="connsiteX1025" fmla="*/ 588550 w 1502283"/>
                <a:gd name="connsiteY1025" fmla="*/ 1032319 h 1161573"/>
                <a:gd name="connsiteX1026" fmla="*/ 588931 w 1502283"/>
                <a:gd name="connsiteY1026" fmla="*/ 1035463 h 1161573"/>
                <a:gd name="connsiteX1027" fmla="*/ 599980 w 1502283"/>
                <a:gd name="connsiteY1027" fmla="*/ 1034034 h 1161573"/>
                <a:gd name="connsiteX1028" fmla="*/ 600170 w 1502283"/>
                <a:gd name="connsiteY1028" fmla="*/ 1035653 h 1161573"/>
                <a:gd name="connsiteX1029" fmla="*/ 603313 w 1502283"/>
                <a:gd name="connsiteY1029" fmla="*/ 1035272 h 1161573"/>
                <a:gd name="connsiteX1030" fmla="*/ 606266 w 1502283"/>
                <a:gd name="connsiteY1030" fmla="*/ 1033272 h 1161573"/>
                <a:gd name="connsiteX1031" fmla="*/ 607219 w 1502283"/>
                <a:gd name="connsiteY1031" fmla="*/ 1028319 h 1161573"/>
                <a:gd name="connsiteX1032" fmla="*/ 608647 w 1502283"/>
                <a:gd name="connsiteY1032" fmla="*/ 1026509 h 1161573"/>
                <a:gd name="connsiteX1033" fmla="*/ 609790 w 1502283"/>
                <a:gd name="connsiteY1033" fmla="*/ 1023176 h 1161573"/>
                <a:gd name="connsiteX1034" fmla="*/ 611410 w 1502283"/>
                <a:gd name="connsiteY1034" fmla="*/ 1022985 h 1161573"/>
                <a:gd name="connsiteX1035" fmla="*/ 613410 w 1502283"/>
                <a:gd name="connsiteY1035" fmla="*/ 1025938 h 1161573"/>
                <a:gd name="connsiteX1036" fmla="*/ 619125 w 1502283"/>
                <a:gd name="connsiteY1036" fmla="*/ 1020413 h 1161573"/>
                <a:gd name="connsiteX1037" fmla="*/ 620935 w 1502283"/>
                <a:gd name="connsiteY1037" fmla="*/ 1021747 h 1161573"/>
                <a:gd name="connsiteX1038" fmla="*/ 623888 w 1502283"/>
                <a:gd name="connsiteY1038" fmla="*/ 1019747 h 1161573"/>
                <a:gd name="connsiteX1039" fmla="*/ 626078 w 1502283"/>
                <a:gd name="connsiteY1039" fmla="*/ 1011460 h 1161573"/>
                <a:gd name="connsiteX1040" fmla="*/ 627412 w 1502283"/>
                <a:gd name="connsiteY1040" fmla="*/ 1009650 h 1161573"/>
                <a:gd name="connsiteX1041" fmla="*/ 628364 w 1502283"/>
                <a:gd name="connsiteY1041" fmla="*/ 1004697 h 1161573"/>
                <a:gd name="connsiteX1042" fmla="*/ 633889 w 1502283"/>
                <a:gd name="connsiteY1042" fmla="*/ 997553 h 1161573"/>
                <a:gd name="connsiteX1043" fmla="*/ 639985 w 1502283"/>
                <a:gd name="connsiteY1043" fmla="*/ 995172 h 1161573"/>
                <a:gd name="connsiteX1044" fmla="*/ 644366 w 1502283"/>
                <a:gd name="connsiteY1044" fmla="*/ 991457 h 1161573"/>
                <a:gd name="connsiteX1045" fmla="*/ 644938 w 1502283"/>
                <a:gd name="connsiteY1045" fmla="*/ 983361 h 1161573"/>
                <a:gd name="connsiteX1046" fmla="*/ 643128 w 1502283"/>
                <a:gd name="connsiteY1046" fmla="*/ 982027 h 1161573"/>
                <a:gd name="connsiteX1047" fmla="*/ 642938 w 1502283"/>
                <a:gd name="connsiteY1047" fmla="*/ 980408 h 1161573"/>
                <a:gd name="connsiteX1048" fmla="*/ 645128 w 1502283"/>
                <a:gd name="connsiteY1048" fmla="*/ 972122 h 1161573"/>
                <a:gd name="connsiteX1049" fmla="*/ 650462 w 1502283"/>
                <a:gd name="connsiteY1049" fmla="*/ 963454 h 1161573"/>
                <a:gd name="connsiteX1050" fmla="*/ 649700 w 1502283"/>
                <a:gd name="connsiteY1050" fmla="*/ 957167 h 1161573"/>
                <a:gd name="connsiteX1051" fmla="*/ 652463 w 1502283"/>
                <a:gd name="connsiteY1051" fmla="*/ 953643 h 1161573"/>
                <a:gd name="connsiteX1052" fmla="*/ 661130 w 1502283"/>
                <a:gd name="connsiteY1052" fmla="*/ 946118 h 1161573"/>
                <a:gd name="connsiteX1053" fmla="*/ 660940 w 1502283"/>
                <a:gd name="connsiteY1053" fmla="*/ 944499 h 1161573"/>
                <a:gd name="connsiteX1054" fmla="*/ 657606 w 1502283"/>
                <a:gd name="connsiteY1054" fmla="*/ 943356 h 1161573"/>
                <a:gd name="connsiteX1055" fmla="*/ 660749 w 1502283"/>
                <a:gd name="connsiteY1055" fmla="*/ 942975 h 1161573"/>
                <a:gd name="connsiteX1056" fmla="*/ 671417 w 1502283"/>
                <a:gd name="connsiteY1056" fmla="*/ 951262 h 1161573"/>
                <a:gd name="connsiteX1057" fmla="*/ 687610 w 1502283"/>
                <a:gd name="connsiteY1057" fmla="*/ 952405 h 1161573"/>
                <a:gd name="connsiteX1058" fmla="*/ 698468 w 1502283"/>
                <a:gd name="connsiteY1058" fmla="*/ 949452 h 1161573"/>
                <a:gd name="connsiteX1059" fmla="*/ 700659 w 1502283"/>
                <a:gd name="connsiteY1059" fmla="*/ 954024 h 1161573"/>
                <a:gd name="connsiteX1060" fmla="*/ 705231 w 1502283"/>
                <a:gd name="connsiteY1060" fmla="*/ 951833 h 1161573"/>
                <a:gd name="connsiteX1061" fmla="*/ 710565 w 1502283"/>
                <a:gd name="connsiteY1061" fmla="*/ 943166 h 1161573"/>
                <a:gd name="connsiteX1062" fmla="*/ 714661 w 1502283"/>
                <a:gd name="connsiteY1062" fmla="*/ 937832 h 1161573"/>
                <a:gd name="connsiteX1063" fmla="*/ 725519 w 1502283"/>
                <a:gd name="connsiteY1063" fmla="*/ 947642 h 1161573"/>
                <a:gd name="connsiteX1064" fmla="*/ 727520 w 1502283"/>
                <a:gd name="connsiteY1064" fmla="*/ 950595 h 1161573"/>
                <a:gd name="connsiteX1065" fmla="*/ 735044 w 1502283"/>
                <a:gd name="connsiteY1065" fmla="*/ 959263 h 1161573"/>
                <a:gd name="connsiteX1066" fmla="*/ 746474 w 1502283"/>
                <a:gd name="connsiteY1066" fmla="*/ 960977 h 1161573"/>
                <a:gd name="connsiteX1067" fmla="*/ 755142 w 1502283"/>
                <a:gd name="connsiteY1067" fmla="*/ 966311 h 1161573"/>
                <a:gd name="connsiteX1068" fmla="*/ 754380 w 1502283"/>
                <a:gd name="connsiteY1068" fmla="*/ 972788 h 1161573"/>
                <a:gd name="connsiteX1069" fmla="*/ 765810 w 1502283"/>
                <a:gd name="connsiteY1069" fmla="*/ 974503 h 1161573"/>
                <a:gd name="connsiteX1070" fmla="*/ 770572 w 1502283"/>
                <a:gd name="connsiteY1070" fmla="*/ 973931 h 1161573"/>
                <a:gd name="connsiteX1071" fmla="*/ 780193 w 1502283"/>
                <a:gd name="connsiteY1071" fmla="*/ 974312 h 1161573"/>
                <a:gd name="connsiteX1072" fmla="*/ 781812 w 1502283"/>
                <a:gd name="connsiteY1072" fmla="*/ 974122 h 1161573"/>
                <a:gd name="connsiteX1073" fmla="*/ 782764 w 1502283"/>
                <a:gd name="connsiteY1073" fmla="*/ 969169 h 1161573"/>
                <a:gd name="connsiteX1074" fmla="*/ 790480 w 1502283"/>
                <a:gd name="connsiteY1074" fmla="*/ 966597 h 1161573"/>
                <a:gd name="connsiteX1075" fmla="*/ 790670 w 1502283"/>
                <a:gd name="connsiteY1075" fmla="*/ 968216 h 1161573"/>
                <a:gd name="connsiteX1076" fmla="*/ 797338 w 1502283"/>
                <a:gd name="connsiteY1076" fmla="*/ 970598 h 1161573"/>
                <a:gd name="connsiteX1077" fmla="*/ 804005 w 1502283"/>
                <a:gd name="connsiteY1077" fmla="*/ 972979 h 1161573"/>
                <a:gd name="connsiteX1078" fmla="*/ 806387 w 1502283"/>
                <a:gd name="connsiteY1078" fmla="*/ 979075 h 1161573"/>
                <a:gd name="connsiteX1079" fmla="*/ 813721 w 1502283"/>
                <a:gd name="connsiteY1079" fmla="*/ 986123 h 1161573"/>
                <a:gd name="connsiteX1080" fmla="*/ 817150 w 1502283"/>
                <a:gd name="connsiteY1080" fmla="*/ 1000125 h 1161573"/>
                <a:gd name="connsiteX1081" fmla="*/ 818197 w 1502283"/>
                <a:gd name="connsiteY1081" fmla="*/ 1008031 h 1161573"/>
                <a:gd name="connsiteX1082" fmla="*/ 812863 w 1502283"/>
                <a:gd name="connsiteY1082" fmla="*/ 1016699 h 1161573"/>
                <a:gd name="connsiteX1083" fmla="*/ 813245 w 1502283"/>
                <a:gd name="connsiteY1083" fmla="*/ 1019842 h 1161573"/>
                <a:gd name="connsiteX1084" fmla="*/ 817436 w 1502283"/>
                <a:gd name="connsiteY1084" fmla="*/ 1027367 h 1161573"/>
                <a:gd name="connsiteX1085" fmla="*/ 819817 w 1502283"/>
                <a:gd name="connsiteY1085" fmla="*/ 1033463 h 1161573"/>
                <a:gd name="connsiteX1086" fmla="*/ 822960 w 1502283"/>
                <a:gd name="connsiteY1086" fmla="*/ 1033082 h 1161573"/>
                <a:gd name="connsiteX1087" fmla="*/ 833247 w 1502283"/>
                <a:gd name="connsiteY1087" fmla="*/ 1025366 h 1161573"/>
                <a:gd name="connsiteX1088" fmla="*/ 834771 w 1502283"/>
                <a:gd name="connsiteY1088" fmla="*/ 1025176 h 1161573"/>
                <a:gd name="connsiteX1089" fmla="*/ 836200 w 1502283"/>
                <a:gd name="connsiteY1089" fmla="*/ 1023366 h 1161573"/>
                <a:gd name="connsiteX1090" fmla="*/ 844105 w 1502283"/>
                <a:gd name="connsiteY1090" fmla="*/ 1022318 h 1161573"/>
                <a:gd name="connsiteX1091" fmla="*/ 849058 w 1502283"/>
                <a:gd name="connsiteY1091" fmla="*/ 1023271 h 1161573"/>
                <a:gd name="connsiteX1092" fmla="*/ 850868 w 1502283"/>
                <a:gd name="connsiteY1092" fmla="*/ 1024604 h 1161573"/>
                <a:gd name="connsiteX1093" fmla="*/ 854012 w 1502283"/>
                <a:gd name="connsiteY1093" fmla="*/ 1024223 h 1161573"/>
                <a:gd name="connsiteX1094" fmla="*/ 852678 w 1502283"/>
                <a:gd name="connsiteY1094" fmla="*/ 1026033 h 1161573"/>
                <a:gd name="connsiteX1095" fmla="*/ 852869 w 1502283"/>
                <a:gd name="connsiteY1095" fmla="*/ 1027652 h 1161573"/>
                <a:gd name="connsiteX1096" fmla="*/ 856012 w 1502283"/>
                <a:gd name="connsiteY1096" fmla="*/ 1027271 h 1161573"/>
                <a:gd name="connsiteX1097" fmla="*/ 857822 w 1502283"/>
                <a:gd name="connsiteY1097" fmla="*/ 1028605 h 1161573"/>
                <a:gd name="connsiteX1098" fmla="*/ 858203 w 1502283"/>
                <a:gd name="connsiteY1098" fmla="*/ 1031748 h 1161573"/>
                <a:gd name="connsiteX1099" fmla="*/ 865918 w 1502283"/>
                <a:gd name="connsiteY1099" fmla="*/ 1029176 h 1161573"/>
                <a:gd name="connsiteX1100" fmla="*/ 870109 w 1502283"/>
                <a:gd name="connsiteY1100" fmla="*/ 1036701 h 1161573"/>
                <a:gd name="connsiteX1101" fmla="*/ 870680 w 1502283"/>
                <a:gd name="connsiteY1101" fmla="*/ 1041464 h 1161573"/>
                <a:gd name="connsiteX1102" fmla="*/ 874205 w 1502283"/>
                <a:gd name="connsiteY1102" fmla="*/ 1044226 h 1161573"/>
                <a:gd name="connsiteX1103" fmla="*/ 874395 w 1502283"/>
                <a:gd name="connsiteY1103" fmla="*/ 1045845 h 1161573"/>
                <a:gd name="connsiteX1104" fmla="*/ 878967 w 1502283"/>
                <a:gd name="connsiteY1104" fmla="*/ 1043654 h 1161573"/>
                <a:gd name="connsiteX1105" fmla="*/ 884682 w 1502283"/>
                <a:gd name="connsiteY1105" fmla="*/ 1050893 h 1161573"/>
                <a:gd name="connsiteX1106" fmla="*/ 886301 w 1502283"/>
                <a:gd name="connsiteY1106" fmla="*/ 1050703 h 1161573"/>
                <a:gd name="connsiteX1107" fmla="*/ 889254 w 1502283"/>
                <a:gd name="connsiteY1107" fmla="*/ 1048702 h 1161573"/>
                <a:gd name="connsiteX1108" fmla="*/ 891064 w 1502283"/>
                <a:gd name="connsiteY1108" fmla="*/ 1050036 h 1161573"/>
                <a:gd name="connsiteX1109" fmla="*/ 895826 w 1502283"/>
                <a:gd name="connsiteY1109" fmla="*/ 1049465 h 1161573"/>
                <a:gd name="connsiteX1110" fmla="*/ 902780 w 1502283"/>
                <a:gd name="connsiteY1110" fmla="*/ 1053370 h 1161573"/>
                <a:gd name="connsiteX1111" fmla="*/ 904970 w 1502283"/>
                <a:gd name="connsiteY1111" fmla="*/ 1057942 h 1161573"/>
                <a:gd name="connsiteX1112" fmla="*/ 908875 w 1502283"/>
                <a:gd name="connsiteY1112" fmla="*/ 1050989 h 1161573"/>
                <a:gd name="connsiteX1113" fmla="*/ 913829 w 1502283"/>
                <a:gd name="connsiteY1113" fmla="*/ 1051941 h 1161573"/>
                <a:gd name="connsiteX1114" fmla="*/ 923449 w 1502283"/>
                <a:gd name="connsiteY1114" fmla="*/ 1052322 h 1161573"/>
                <a:gd name="connsiteX1115" fmla="*/ 928973 w 1502283"/>
                <a:gd name="connsiteY1115" fmla="*/ 1045178 h 1161573"/>
                <a:gd name="connsiteX1116" fmla="*/ 934498 w 1502283"/>
                <a:gd name="connsiteY1116" fmla="*/ 1050893 h 1161573"/>
                <a:gd name="connsiteX1117" fmla="*/ 953643 w 1502283"/>
                <a:gd name="connsiteY1117" fmla="*/ 1050036 h 1161573"/>
                <a:gd name="connsiteX1118" fmla="*/ 960120 w 1502283"/>
                <a:gd name="connsiteY1118" fmla="*/ 1037939 h 1161573"/>
                <a:gd name="connsiteX1119" fmla="*/ 964311 w 1502283"/>
                <a:gd name="connsiteY1119" fmla="*/ 1045464 h 1161573"/>
                <a:gd name="connsiteX1120" fmla="*/ 974027 w 1502283"/>
                <a:gd name="connsiteY1120" fmla="*/ 1045845 h 1161573"/>
                <a:gd name="connsiteX1121" fmla="*/ 976979 w 1502283"/>
                <a:gd name="connsiteY1121" fmla="*/ 1043845 h 1161573"/>
                <a:gd name="connsiteX1122" fmla="*/ 980504 w 1502283"/>
                <a:gd name="connsiteY1122" fmla="*/ 1046607 h 1161573"/>
                <a:gd name="connsiteX1123" fmla="*/ 977360 w 1502283"/>
                <a:gd name="connsiteY1123" fmla="*/ 1046988 h 1161573"/>
                <a:gd name="connsiteX1124" fmla="*/ 979551 w 1502283"/>
                <a:gd name="connsiteY1124" fmla="*/ 1051560 h 1161573"/>
                <a:gd name="connsiteX1125" fmla="*/ 983266 w 1502283"/>
                <a:gd name="connsiteY1125" fmla="*/ 1055846 h 1161573"/>
                <a:gd name="connsiteX1126" fmla="*/ 981932 w 1502283"/>
                <a:gd name="connsiteY1126" fmla="*/ 1057656 h 1161573"/>
                <a:gd name="connsiteX1127" fmla="*/ 987266 w 1502283"/>
                <a:gd name="connsiteY1127" fmla="*/ 1061752 h 1161573"/>
                <a:gd name="connsiteX1128" fmla="*/ 988028 w 1502283"/>
                <a:gd name="connsiteY1128" fmla="*/ 1068038 h 1161573"/>
                <a:gd name="connsiteX1129" fmla="*/ 988409 w 1502283"/>
                <a:gd name="connsiteY1129" fmla="*/ 1071182 h 1161573"/>
                <a:gd name="connsiteX1130" fmla="*/ 987266 w 1502283"/>
                <a:gd name="connsiteY1130" fmla="*/ 1074515 h 1161573"/>
                <a:gd name="connsiteX1131" fmla="*/ 989076 w 1502283"/>
                <a:gd name="connsiteY1131" fmla="*/ 1075849 h 1161573"/>
                <a:gd name="connsiteX1132" fmla="*/ 987743 w 1502283"/>
                <a:gd name="connsiteY1132" fmla="*/ 1077659 h 1161573"/>
                <a:gd name="connsiteX1133" fmla="*/ 988123 w 1502283"/>
                <a:gd name="connsiteY1133" fmla="*/ 1080802 h 1161573"/>
                <a:gd name="connsiteX1134" fmla="*/ 986504 w 1502283"/>
                <a:gd name="connsiteY1134" fmla="*/ 1080992 h 1161573"/>
                <a:gd name="connsiteX1135" fmla="*/ 986695 w 1502283"/>
                <a:gd name="connsiteY1135" fmla="*/ 1082611 h 1161573"/>
                <a:gd name="connsiteX1136" fmla="*/ 984123 w 1502283"/>
                <a:gd name="connsiteY1136" fmla="*/ 1087755 h 1161573"/>
                <a:gd name="connsiteX1137" fmla="*/ 984695 w 1502283"/>
                <a:gd name="connsiteY1137" fmla="*/ 1092518 h 1161573"/>
                <a:gd name="connsiteX1138" fmla="*/ 991362 w 1502283"/>
                <a:gd name="connsiteY1138" fmla="*/ 1094899 h 1161573"/>
                <a:gd name="connsiteX1139" fmla="*/ 993553 w 1502283"/>
                <a:gd name="connsiteY1139" fmla="*/ 1099471 h 1161573"/>
                <a:gd name="connsiteX1140" fmla="*/ 992219 w 1502283"/>
                <a:gd name="connsiteY1140" fmla="*/ 1101281 h 1161573"/>
                <a:gd name="connsiteX1141" fmla="*/ 994029 w 1502283"/>
                <a:gd name="connsiteY1141" fmla="*/ 1102614 h 1161573"/>
                <a:gd name="connsiteX1142" fmla="*/ 992696 w 1502283"/>
                <a:gd name="connsiteY1142" fmla="*/ 1104424 h 1161573"/>
                <a:gd name="connsiteX1143" fmla="*/ 994886 w 1502283"/>
                <a:gd name="connsiteY1143" fmla="*/ 1108996 h 1161573"/>
                <a:gd name="connsiteX1144" fmla="*/ 993934 w 1502283"/>
                <a:gd name="connsiteY1144" fmla="*/ 1113949 h 1161573"/>
                <a:gd name="connsiteX1145" fmla="*/ 990981 w 1502283"/>
                <a:gd name="connsiteY1145" fmla="*/ 1115949 h 1161573"/>
                <a:gd name="connsiteX1146" fmla="*/ 993362 w 1502283"/>
                <a:gd name="connsiteY1146" fmla="*/ 1122045 h 1161573"/>
                <a:gd name="connsiteX1147" fmla="*/ 992029 w 1502283"/>
                <a:gd name="connsiteY1147" fmla="*/ 1123855 h 1161573"/>
                <a:gd name="connsiteX1148" fmla="*/ 995744 w 1502283"/>
                <a:gd name="connsiteY1148" fmla="*/ 1128141 h 1161573"/>
                <a:gd name="connsiteX1149" fmla="*/ 997363 w 1502283"/>
                <a:gd name="connsiteY1149" fmla="*/ 1127951 h 1161573"/>
                <a:gd name="connsiteX1150" fmla="*/ 997934 w 1502283"/>
                <a:gd name="connsiteY1150" fmla="*/ 1132713 h 1161573"/>
                <a:gd name="connsiteX1151" fmla="*/ 996601 w 1502283"/>
                <a:gd name="connsiteY1151" fmla="*/ 1134523 h 1161573"/>
                <a:gd name="connsiteX1152" fmla="*/ 997363 w 1502283"/>
                <a:gd name="connsiteY1152" fmla="*/ 1140809 h 1161573"/>
                <a:gd name="connsiteX1153" fmla="*/ 993457 w 1502283"/>
                <a:gd name="connsiteY1153" fmla="*/ 1147763 h 1161573"/>
                <a:gd name="connsiteX1154" fmla="*/ 992505 w 1502283"/>
                <a:gd name="connsiteY1154" fmla="*/ 1152716 h 1161573"/>
                <a:gd name="connsiteX1155" fmla="*/ 999172 w 1502283"/>
                <a:gd name="connsiteY1155" fmla="*/ 1155097 h 1161573"/>
                <a:gd name="connsiteX1156" fmla="*/ 1007459 w 1502283"/>
                <a:gd name="connsiteY1156" fmla="*/ 1157288 h 1161573"/>
                <a:gd name="connsiteX1157" fmla="*/ 1011174 w 1502283"/>
                <a:gd name="connsiteY1157" fmla="*/ 1161574 h 1161573"/>
                <a:gd name="connsiteX1158" fmla="*/ 1010983 w 1502283"/>
                <a:gd name="connsiteY1158" fmla="*/ 1159955 h 1161573"/>
                <a:gd name="connsiteX1159" fmla="*/ 1010412 w 1502283"/>
                <a:gd name="connsiteY1159" fmla="*/ 1155192 h 1161573"/>
                <a:gd name="connsiteX1160" fmla="*/ 1015365 w 1502283"/>
                <a:gd name="connsiteY1160" fmla="*/ 1156144 h 1161573"/>
                <a:gd name="connsiteX1161" fmla="*/ 1016889 w 1502283"/>
                <a:gd name="connsiteY1161" fmla="*/ 1155954 h 1161573"/>
                <a:gd name="connsiteX1162" fmla="*/ 1015079 w 1502283"/>
                <a:gd name="connsiteY1162" fmla="*/ 1154621 h 1161573"/>
                <a:gd name="connsiteX1163" fmla="*/ 1014698 w 1502283"/>
                <a:gd name="connsiteY1163" fmla="*/ 1151477 h 1161573"/>
                <a:gd name="connsiteX1164" fmla="*/ 1017841 w 1502283"/>
                <a:gd name="connsiteY1164" fmla="*/ 1151096 h 1161573"/>
                <a:gd name="connsiteX1165" fmla="*/ 1017080 w 1502283"/>
                <a:gd name="connsiteY1165" fmla="*/ 1144810 h 1161573"/>
                <a:gd name="connsiteX1166" fmla="*/ 1018604 w 1502283"/>
                <a:gd name="connsiteY1166" fmla="*/ 1144619 h 1161573"/>
                <a:gd name="connsiteX1167" fmla="*/ 1020794 w 1502283"/>
                <a:gd name="connsiteY1167" fmla="*/ 1149191 h 1161573"/>
                <a:gd name="connsiteX1168" fmla="*/ 1020223 w 1502283"/>
                <a:gd name="connsiteY1168" fmla="*/ 1144429 h 1161573"/>
                <a:gd name="connsiteX1169" fmla="*/ 1025366 w 1502283"/>
                <a:gd name="connsiteY1169" fmla="*/ 1147001 h 1161573"/>
                <a:gd name="connsiteX1170" fmla="*/ 1026795 w 1502283"/>
                <a:gd name="connsiteY1170" fmla="*/ 1145191 h 1161573"/>
                <a:gd name="connsiteX1171" fmla="*/ 1023271 w 1502283"/>
                <a:gd name="connsiteY1171" fmla="*/ 1142428 h 1161573"/>
                <a:gd name="connsiteX1172" fmla="*/ 1026414 w 1502283"/>
                <a:gd name="connsiteY1172" fmla="*/ 1142048 h 1161573"/>
                <a:gd name="connsiteX1173" fmla="*/ 1020508 w 1502283"/>
                <a:gd name="connsiteY1173" fmla="*/ 1133189 h 1161573"/>
                <a:gd name="connsiteX1174" fmla="*/ 1021937 w 1502283"/>
                <a:gd name="connsiteY1174" fmla="*/ 1131380 h 1161573"/>
                <a:gd name="connsiteX1175" fmla="*/ 1027271 w 1502283"/>
                <a:gd name="connsiteY1175" fmla="*/ 1135475 h 1161573"/>
                <a:gd name="connsiteX1176" fmla="*/ 1025080 w 1502283"/>
                <a:gd name="connsiteY1176" fmla="*/ 1130903 h 1161573"/>
                <a:gd name="connsiteX1177" fmla="*/ 1029653 w 1502283"/>
                <a:gd name="connsiteY1177" fmla="*/ 1128713 h 1161573"/>
                <a:gd name="connsiteX1178" fmla="*/ 1024319 w 1502283"/>
                <a:gd name="connsiteY1178" fmla="*/ 1124617 h 1161573"/>
                <a:gd name="connsiteX1179" fmla="*/ 1032034 w 1502283"/>
                <a:gd name="connsiteY1179" fmla="*/ 1122045 h 1161573"/>
                <a:gd name="connsiteX1180" fmla="*/ 1026700 w 1502283"/>
                <a:gd name="connsiteY1180" fmla="*/ 1117949 h 1161573"/>
                <a:gd name="connsiteX1181" fmla="*/ 1026223 w 1502283"/>
                <a:gd name="connsiteY1181" fmla="*/ 1101947 h 1161573"/>
                <a:gd name="connsiteX1182" fmla="*/ 1030510 w 1502283"/>
                <a:gd name="connsiteY1182" fmla="*/ 1098233 h 1161573"/>
                <a:gd name="connsiteX1183" fmla="*/ 1026795 w 1502283"/>
                <a:gd name="connsiteY1183" fmla="*/ 1093946 h 1161573"/>
                <a:gd name="connsiteX1184" fmla="*/ 1028129 w 1502283"/>
                <a:gd name="connsiteY1184" fmla="*/ 1092136 h 1161573"/>
                <a:gd name="connsiteX1185" fmla="*/ 1030319 w 1502283"/>
                <a:gd name="connsiteY1185" fmla="*/ 1096709 h 1161573"/>
                <a:gd name="connsiteX1186" fmla="*/ 1031653 w 1502283"/>
                <a:gd name="connsiteY1186" fmla="*/ 1094899 h 1161573"/>
                <a:gd name="connsiteX1187" fmla="*/ 1030891 w 1502283"/>
                <a:gd name="connsiteY1187" fmla="*/ 1088612 h 1161573"/>
                <a:gd name="connsiteX1188" fmla="*/ 1032510 w 1502283"/>
                <a:gd name="connsiteY1188" fmla="*/ 1088422 h 1161573"/>
                <a:gd name="connsiteX1189" fmla="*/ 1031938 w 1502283"/>
                <a:gd name="connsiteY1189" fmla="*/ 1083659 h 1161573"/>
                <a:gd name="connsiteX1190" fmla="*/ 1034891 w 1502283"/>
                <a:gd name="connsiteY1190" fmla="*/ 1081659 h 1161573"/>
                <a:gd name="connsiteX1191" fmla="*/ 1034129 w 1502283"/>
                <a:gd name="connsiteY1191" fmla="*/ 1075373 h 1161573"/>
                <a:gd name="connsiteX1192" fmla="*/ 1035463 w 1502283"/>
                <a:gd name="connsiteY1192" fmla="*/ 1073563 h 1161573"/>
                <a:gd name="connsiteX1193" fmla="*/ 1038987 w 1502283"/>
                <a:gd name="connsiteY1193" fmla="*/ 1076325 h 1161573"/>
                <a:gd name="connsiteX1194" fmla="*/ 1042130 w 1502283"/>
                <a:gd name="connsiteY1194" fmla="*/ 1075944 h 1161573"/>
                <a:gd name="connsiteX1195" fmla="*/ 1041940 w 1502283"/>
                <a:gd name="connsiteY1195" fmla="*/ 1074325 h 1161573"/>
                <a:gd name="connsiteX1196" fmla="*/ 1043083 w 1502283"/>
                <a:gd name="connsiteY1196" fmla="*/ 1070991 h 1161573"/>
                <a:gd name="connsiteX1197" fmla="*/ 1046607 w 1502283"/>
                <a:gd name="connsiteY1197" fmla="*/ 1073753 h 1161573"/>
                <a:gd name="connsiteX1198" fmla="*/ 1049179 w 1502283"/>
                <a:gd name="connsiteY1198" fmla="*/ 1068610 h 1161573"/>
                <a:gd name="connsiteX1199" fmla="*/ 1044416 w 1502283"/>
                <a:gd name="connsiteY1199" fmla="*/ 1069181 h 1161573"/>
                <a:gd name="connsiteX1200" fmla="*/ 1045750 w 1502283"/>
                <a:gd name="connsiteY1200" fmla="*/ 1067372 h 1161573"/>
                <a:gd name="connsiteX1201" fmla="*/ 1042416 w 1502283"/>
                <a:gd name="connsiteY1201" fmla="*/ 1066228 h 1161573"/>
                <a:gd name="connsiteX1202" fmla="*/ 1043749 w 1502283"/>
                <a:gd name="connsiteY1202" fmla="*/ 1064419 h 1161573"/>
                <a:gd name="connsiteX1203" fmla="*/ 1053179 w 1502283"/>
                <a:gd name="connsiteY1203" fmla="*/ 1063181 h 1161573"/>
                <a:gd name="connsiteX1204" fmla="*/ 1048036 w 1502283"/>
                <a:gd name="connsiteY1204" fmla="*/ 1060609 h 1161573"/>
                <a:gd name="connsiteX1205" fmla="*/ 1049179 w 1502283"/>
                <a:gd name="connsiteY1205" fmla="*/ 1057275 h 1161573"/>
                <a:gd name="connsiteX1206" fmla="*/ 1047845 w 1502283"/>
                <a:gd name="connsiteY1206" fmla="*/ 1059085 h 1161573"/>
                <a:gd name="connsiteX1207" fmla="*/ 1046036 w 1502283"/>
                <a:gd name="connsiteY1207" fmla="*/ 1057751 h 1161573"/>
                <a:gd name="connsiteX1208" fmla="*/ 1047179 w 1502283"/>
                <a:gd name="connsiteY1208" fmla="*/ 1054418 h 1161573"/>
                <a:gd name="connsiteX1209" fmla="*/ 1048988 w 1502283"/>
                <a:gd name="connsiteY1209" fmla="*/ 1055751 h 1161573"/>
                <a:gd name="connsiteX1210" fmla="*/ 1047179 w 1502283"/>
                <a:gd name="connsiteY1210" fmla="*/ 1054418 h 1161573"/>
                <a:gd name="connsiteX1211" fmla="*/ 1048131 w 1502283"/>
                <a:gd name="connsiteY1211" fmla="*/ 1049465 h 1161573"/>
                <a:gd name="connsiteX1212" fmla="*/ 1049941 w 1502283"/>
                <a:gd name="connsiteY1212" fmla="*/ 1050798 h 1161573"/>
                <a:gd name="connsiteX1213" fmla="*/ 1051370 w 1502283"/>
                <a:gd name="connsiteY1213" fmla="*/ 1048988 h 1161573"/>
                <a:gd name="connsiteX1214" fmla="*/ 1049560 w 1502283"/>
                <a:gd name="connsiteY1214" fmla="*/ 1047655 h 1161573"/>
                <a:gd name="connsiteX1215" fmla="*/ 1048988 w 1502283"/>
                <a:gd name="connsiteY1215" fmla="*/ 1042892 h 1161573"/>
                <a:gd name="connsiteX1216" fmla="*/ 1051941 w 1502283"/>
                <a:gd name="connsiteY1216" fmla="*/ 1040892 h 1161573"/>
                <a:gd name="connsiteX1217" fmla="*/ 1048798 w 1502283"/>
                <a:gd name="connsiteY1217" fmla="*/ 1041273 h 1161573"/>
                <a:gd name="connsiteX1218" fmla="*/ 1048226 w 1502283"/>
                <a:gd name="connsiteY1218" fmla="*/ 1036510 h 1161573"/>
                <a:gd name="connsiteX1219" fmla="*/ 1046607 w 1502283"/>
                <a:gd name="connsiteY1219" fmla="*/ 1036701 h 1161573"/>
                <a:gd name="connsiteX1220" fmla="*/ 1044988 w 1502283"/>
                <a:gd name="connsiteY1220" fmla="*/ 1036892 h 1161573"/>
                <a:gd name="connsiteX1221" fmla="*/ 1049369 w 1502283"/>
                <a:gd name="connsiteY1221" fmla="*/ 1033177 h 1161573"/>
                <a:gd name="connsiteX1222" fmla="*/ 1052703 w 1502283"/>
                <a:gd name="connsiteY1222" fmla="*/ 1034320 h 1161573"/>
                <a:gd name="connsiteX1223" fmla="*/ 1052322 w 1502283"/>
                <a:gd name="connsiteY1223" fmla="*/ 1031176 h 1161573"/>
                <a:gd name="connsiteX1224" fmla="*/ 1055656 w 1502283"/>
                <a:gd name="connsiteY1224" fmla="*/ 1032319 h 1161573"/>
                <a:gd name="connsiteX1225" fmla="*/ 1056799 w 1502283"/>
                <a:gd name="connsiteY1225" fmla="*/ 1028986 h 1161573"/>
                <a:gd name="connsiteX1226" fmla="*/ 1057751 w 1502283"/>
                <a:gd name="connsiteY1226" fmla="*/ 1024033 h 1161573"/>
                <a:gd name="connsiteX1227" fmla="*/ 1059561 w 1502283"/>
                <a:gd name="connsiteY1227" fmla="*/ 1025366 h 1161573"/>
                <a:gd name="connsiteX1228" fmla="*/ 1058989 w 1502283"/>
                <a:gd name="connsiteY1228" fmla="*/ 1020604 h 1161573"/>
                <a:gd name="connsiteX1229" fmla="*/ 1065276 w 1502283"/>
                <a:gd name="connsiteY1229" fmla="*/ 1019842 h 1161573"/>
                <a:gd name="connsiteX1230" fmla="*/ 1064514 w 1502283"/>
                <a:gd name="connsiteY1230" fmla="*/ 1013555 h 1161573"/>
                <a:gd name="connsiteX1231" fmla="*/ 1066895 w 1502283"/>
                <a:gd name="connsiteY1231" fmla="*/ 1006793 h 1161573"/>
                <a:gd name="connsiteX1232" fmla="*/ 1072801 w 1502283"/>
                <a:gd name="connsiteY1232" fmla="*/ 1002792 h 1161573"/>
                <a:gd name="connsiteX1233" fmla="*/ 1075373 w 1502283"/>
                <a:gd name="connsiteY1233" fmla="*/ 997649 h 1161573"/>
                <a:gd name="connsiteX1234" fmla="*/ 1079659 w 1502283"/>
                <a:gd name="connsiteY1234" fmla="*/ 993934 h 1161573"/>
                <a:gd name="connsiteX1235" fmla="*/ 1079468 w 1502283"/>
                <a:gd name="connsiteY1235" fmla="*/ 992315 h 1161573"/>
                <a:gd name="connsiteX1236" fmla="*/ 1076706 w 1502283"/>
                <a:gd name="connsiteY1236" fmla="*/ 995839 h 1161573"/>
                <a:gd name="connsiteX1237" fmla="*/ 1074896 w 1502283"/>
                <a:gd name="connsiteY1237" fmla="*/ 994505 h 1161573"/>
                <a:gd name="connsiteX1238" fmla="*/ 1078230 w 1502283"/>
                <a:gd name="connsiteY1238" fmla="*/ 982885 h 1161573"/>
                <a:gd name="connsiteX1239" fmla="*/ 1078039 w 1502283"/>
                <a:gd name="connsiteY1239" fmla="*/ 981266 h 1161573"/>
                <a:gd name="connsiteX1240" fmla="*/ 1083183 w 1502283"/>
                <a:gd name="connsiteY1240" fmla="*/ 983837 h 1161573"/>
                <a:gd name="connsiteX1241" fmla="*/ 1084326 w 1502283"/>
                <a:gd name="connsiteY1241" fmla="*/ 980503 h 1161573"/>
                <a:gd name="connsiteX1242" fmla="*/ 1086136 w 1502283"/>
                <a:gd name="connsiteY1242" fmla="*/ 981837 h 1161573"/>
                <a:gd name="connsiteX1243" fmla="*/ 1087469 w 1502283"/>
                <a:gd name="connsiteY1243" fmla="*/ 980027 h 1161573"/>
                <a:gd name="connsiteX1244" fmla="*/ 1085660 w 1502283"/>
                <a:gd name="connsiteY1244" fmla="*/ 978694 h 1161573"/>
                <a:gd name="connsiteX1245" fmla="*/ 1090613 w 1502283"/>
                <a:gd name="connsiteY1245" fmla="*/ 979646 h 1161573"/>
                <a:gd name="connsiteX1246" fmla="*/ 1093565 w 1502283"/>
                <a:gd name="connsiteY1246" fmla="*/ 977646 h 1161573"/>
                <a:gd name="connsiteX1247" fmla="*/ 1088422 w 1502283"/>
                <a:gd name="connsiteY1247" fmla="*/ 975074 h 1161573"/>
                <a:gd name="connsiteX1248" fmla="*/ 1088231 w 1502283"/>
                <a:gd name="connsiteY1248" fmla="*/ 973455 h 1161573"/>
                <a:gd name="connsiteX1249" fmla="*/ 1090041 w 1502283"/>
                <a:gd name="connsiteY1249" fmla="*/ 974789 h 1161573"/>
                <a:gd name="connsiteX1250" fmla="*/ 1094804 w 1502283"/>
                <a:gd name="connsiteY1250" fmla="*/ 974217 h 1161573"/>
                <a:gd name="connsiteX1251" fmla="*/ 1094423 w 1502283"/>
                <a:gd name="connsiteY1251" fmla="*/ 971074 h 1161573"/>
                <a:gd name="connsiteX1252" fmla="*/ 1095756 w 1502283"/>
                <a:gd name="connsiteY1252" fmla="*/ 969264 h 1161573"/>
                <a:gd name="connsiteX1253" fmla="*/ 1097566 w 1502283"/>
                <a:gd name="connsiteY1253" fmla="*/ 970598 h 1161573"/>
                <a:gd name="connsiteX1254" fmla="*/ 1097185 w 1502283"/>
                <a:gd name="connsiteY1254" fmla="*/ 967454 h 1161573"/>
                <a:gd name="connsiteX1255" fmla="*/ 1098804 w 1502283"/>
                <a:gd name="connsiteY1255" fmla="*/ 967264 h 1161573"/>
                <a:gd name="connsiteX1256" fmla="*/ 1103186 w 1502283"/>
                <a:gd name="connsiteY1256" fmla="*/ 963549 h 1161573"/>
                <a:gd name="connsiteX1257" fmla="*/ 1105186 w 1502283"/>
                <a:gd name="connsiteY1257" fmla="*/ 966502 h 1161573"/>
                <a:gd name="connsiteX1258" fmla="*/ 1112044 w 1502283"/>
                <a:gd name="connsiteY1258" fmla="*/ 957643 h 1161573"/>
                <a:gd name="connsiteX1259" fmla="*/ 1108710 w 1502283"/>
                <a:gd name="connsiteY1259" fmla="*/ 956501 h 1161573"/>
                <a:gd name="connsiteX1260" fmla="*/ 1109472 w 1502283"/>
                <a:gd name="connsiteY1260" fmla="*/ 950024 h 1161573"/>
                <a:gd name="connsiteX1261" fmla="*/ 1112234 w 1502283"/>
                <a:gd name="connsiteY1261" fmla="*/ 946499 h 1161573"/>
                <a:gd name="connsiteX1262" fmla="*/ 1113854 w 1502283"/>
                <a:gd name="connsiteY1262" fmla="*/ 946309 h 1161573"/>
                <a:gd name="connsiteX1263" fmla="*/ 1111853 w 1502283"/>
                <a:gd name="connsiteY1263" fmla="*/ 943356 h 1161573"/>
                <a:gd name="connsiteX1264" fmla="*/ 1113473 w 1502283"/>
                <a:gd name="connsiteY1264" fmla="*/ 943166 h 1161573"/>
                <a:gd name="connsiteX1265" fmla="*/ 1114997 w 1502283"/>
                <a:gd name="connsiteY1265" fmla="*/ 942975 h 1161573"/>
                <a:gd name="connsiteX1266" fmla="*/ 1114615 w 1502283"/>
                <a:gd name="connsiteY1266" fmla="*/ 939832 h 1161573"/>
                <a:gd name="connsiteX1267" fmla="*/ 1117759 w 1502283"/>
                <a:gd name="connsiteY1267" fmla="*/ 939451 h 1161573"/>
                <a:gd name="connsiteX1268" fmla="*/ 1117378 w 1502283"/>
                <a:gd name="connsiteY1268" fmla="*/ 936308 h 1161573"/>
                <a:gd name="connsiteX1269" fmla="*/ 1120140 w 1502283"/>
                <a:gd name="connsiteY1269" fmla="*/ 932783 h 1161573"/>
                <a:gd name="connsiteX1270" fmla="*/ 1121093 w 1502283"/>
                <a:gd name="connsiteY1270" fmla="*/ 927830 h 1161573"/>
                <a:gd name="connsiteX1271" fmla="*/ 1118521 w 1502283"/>
                <a:gd name="connsiteY1271" fmla="*/ 920115 h 1161573"/>
                <a:gd name="connsiteX1272" fmla="*/ 1120712 w 1502283"/>
                <a:gd name="connsiteY1272" fmla="*/ 911828 h 1161573"/>
                <a:gd name="connsiteX1273" fmla="*/ 1118902 w 1502283"/>
                <a:gd name="connsiteY1273" fmla="*/ 910495 h 1161573"/>
                <a:gd name="connsiteX1274" fmla="*/ 1123188 w 1502283"/>
                <a:gd name="connsiteY1274" fmla="*/ 906780 h 1161573"/>
                <a:gd name="connsiteX1275" fmla="*/ 1121188 w 1502283"/>
                <a:gd name="connsiteY1275" fmla="*/ 903827 h 1161573"/>
                <a:gd name="connsiteX1276" fmla="*/ 1124331 w 1502283"/>
                <a:gd name="connsiteY1276" fmla="*/ 903446 h 1161573"/>
                <a:gd name="connsiteX1277" fmla="*/ 1126903 w 1502283"/>
                <a:gd name="connsiteY1277" fmla="*/ 898303 h 1161573"/>
                <a:gd name="connsiteX1278" fmla="*/ 1138714 w 1502283"/>
                <a:gd name="connsiteY1278" fmla="*/ 903160 h 1161573"/>
                <a:gd name="connsiteX1279" fmla="*/ 1146620 w 1502283"/>
                <a:gd name="connsiteY1279" fmla="*/ 902113 h 1161573"/>
                <a:gd name="connsiteX1280" fmla="*/ 1149763 w 1502283"/>
                <a:gd name="connsiteY1280" fmla="*/ 901732 h 1161573"/>
                <a:gd name="connsiteX1281" fmla="*/ 1150715 w 1502283"/>
                <a:gd name="connsiteY1281" fmla="*/ 896779 h 1161573"/>
                <a:gd name="connsiteX1282" fmla="*/ 1153668 w 1502283"/>
                <a:gd name="connsiteY1282" fmla="*/ 894778 h 1161573"/>
                <a:gd name="connsiteX1283" fmla="*/ 1153668 w 1502283"/>
                <a:gd name="connsiteY1283" fmla="*/ 894778 h 1161573"/>
                <a:gd name="connsiteX1284" fmla="*/ 1150525 w 1502283"/>
                <a:gd name="connsiteY1284" fmla="*/ 895159 h 1161573"/>
                <a:gd name="connsiteX1285" fmla="*/ 1151287 w 1502283"/>
                <a:gd name="connsiteY1285" fmla="*/ 888683 h 1161573"/>
                <a:gd name="connsiteX1286" fmla="*/ 1153287 w 1502283"/>
                <a:gd name="connsiteY1286" fmla="*/ 891635 h 1161573"/>
                <a:gd name="connsiteX1287" fmla="*/ 1157764 w 1502283"/>
                <a:gd name="connsiteY1287" fmla="*/ 889444 h 1161573"/>
                <a:gd name="connsiteX1288" fmla="*/ 1155764 w 1502283"/>
                <a:gd name="connsiteY1288" fmla="*/ 886492 h 1161573"/>
                <a:gd name="connsiteX1289" fmla="*/ 1160716 w 1502283"/>
                <a:gd name="connsiteY1289" fmla="*/ 887444 h 1161573"/>
                <a:gd name="connsiteX1290" fmla="*/ 1160526 w 1502283"/>
                <a:gd name="connsiteY1290" fmla="*/ 885825 h 1161573"/>
                <a:gd name="connsiteX1291" fmla="*/ 1158526 w 1502283"/>
                <a:gd name="connsiteY1291" fmla="*/ 882872 h 1161573"/>
                <a:gd name="connsiteX1292" fmla="*/ 1161669 w 1502283"/>
                <a:gd name="connsiteY1292" fmla="*/ 882491 h 1161573"/>
                <a:gd name="connsiteX1293" fmla="*/ 1164622 w 1502283"/>
                <a:gd name="connsiteY1293" fmla="*/ 880491 h 1161573"/>
                <a:gd name="connsiteX1294" fmla="*/ 1162622 w 1502283"/>
                <a:gd name="connsiteY1294" fmla="*/ 877538 h 1161573"/>
                <a:gd name="connsiteX1295" fmla="*/ 1165574 w 1502283"/>
                <a:gd name="connsiteY1295" fmla="*/ 875538 h 1161573"/>
                <a:gd name="connsiteX1296" fmla="*/ 1167194 w 1502283"/>
                <a:gd name="connsiteY1296" fmla="*/ 875348 h 1161573"/>
                <a:gd name="connsiteX1297" fmla="*/ 1166241 w 1502283"/>
                <a:gd name="connsiteY1297" fmla="*/ 880301 h 1161573"/>
                <a:gd name="connsiteX1298" fmla="*/ 1169384 w 1502283"/>
                <a:gd name="connsiteY1298" fmla="*/ 879919 h 1161573"/>
                <a:gd name="connsiteX1299" fmla="*/ 1169003 w 1502283"/>
                <a:gd name="connsiteY1299" fmla="*/ 876776 h 1161573"/>
                <a:gd name="connsiteX1300" fmla="*/ 1166813 w 1502283"/>
                <a:gd name="connsiteY1300" fmla="*/ 872204 h 1161573"/>
                <a:gd name="connsiteX1301" fmla="*/ 1166431 w 1502283"/>
                <a:gd name="connsiteY1301" fmla="*/ 869061 h 1161573"/>
                <a:gd name="connsiteX1302" fmla="*/ 1167765 w 1502283"/>
                <a:gd name="connsiteY1302" fmla="*/ 867251 h 1161573"/>
                <a:gd name="connsiteX1303" fmla="*/ 1174528 w 1502283"/>
                <a:gd name="connsiteY1303" fmla="*/ 869633 h 1161573"/>
                <a:gd name="connsiteX1304" fmla="*/ 1173956 w 1502283"/>
                <a:gd name="connsiteY1304" fmla="*/ 864870 h 1161573"/>
                <a:gd name="connsiteX1305" fmla="*/ 1179671 w 1502283"/>
                <a:gd name="connsiteY1305" fmla="*/ 859346 h 1161573"/>
                <a:gd name="connsiteX1306" fmla="*/ 1182814 w 1502283"/>
                <a:gd name="connsiteY1306" fmla="*/ 858965 h 1161573"/>
                <a:gd name="connsiteX1307" fmla="*/ 1182814 w 1502283"/>
                <a:gd name="connsiteY1307" fmla="*/ 858965 h 1161573"/>
                <a:gd name="connsiteX1308" fmla="*/ 1185958 w 1502283"/>
                <a:gd name="connsiteY1308" fmla="*/ 858584 h 1161573"/>
                <a:gd name="connsiteX1309" fmla="*/ 1187577 w 1502283"/>
                <a:gd name="connsiteY1309" fmla="*/ 858393 h 1161573"/>
                <a:gd name="connsiteX1310" fmla="*/ 1187768 w 1502283"/>
                <a:gd name="connsiteY1310" fmla="*/ 860012 h 1161573"/>
                <a:gd name="connsiteX1311" fmla="*/ 1189577 w 1502283"/>
                <a:gd name="connsiteY1311" fmla="*/ 861346 h 1161573"/>
                <a:gd name="connsiteX1312" fmla="*/ 1190911 w 1502283"/>
                <a:gd name="connsiteY1312" fmla="*/ 859536 h 1161573"/>
                <a:gd name="connsiteX1313" fmla="*/ 1196054 w 1502283"/>
                <a:gd name="connsiteY1313" fmla="*/ 862108 h 1161573"/>
                <a:gd name="connsiteX1314" fmla="*/ 1200340 w 1502283"/>
                <a:gd name="connsiteY1314" fmla="*/ 858393 h 1161573"/>
                <a:gd name="connsiteX1315" fmla="*/ 1202531 w 1502283"/>
                <a:gd name="connsiteY1315" fmla="*/ 862965 h 1161573"/>
                <a:gd name="connsiteX1316" fmla="*/ 1205865 w 1502283"/>
                <a:gd name="connsiteY1316" fmla="*/ 864108 h 1161573"/>
                <a:gd name="connsiteX1317" fmla="*/ 1209389 w 1502283"/>
                <a:gd name="connsiteY1317" fmla="*/ 866870 h 1161573"/>
                <a:gd name="connsiteX1318" fmla="*/ 1217295 w 1502283"/>
                <a:gd name="connsiteY1318" fmla="*/ 865823 h 1161573"/>
                <a:gd name="connsiteX1319" fmla="*/ 1221296 w 1502283"/>
                <a:gd name="connsiteY1319" fmla="*/ 871728 h 1161573"/>
                <a:gd name="connsiteX1320" fmla="*/ 1227963 w 1502283"/>
                <a:gd name="connsiteY1320" fmla="*/ 874109 h 1161573"/>
                <a:gd name="connsiteX1321" fmla="*/ 1234249 w 1502283"/>
                <a:gd name="connsiteY1321" fmla="*/ 873347 h 1161573"/>
                <a:gd name="connsiteX1322" fmla="*/ 1240727 w 1502283"/>
                <a:gd name="connsiteY1322" fmla="*/ 874109 h 1161573"/>
                <a:gd name="connsiteX1323" fmla="*/ 1243108 w 1502283"/>
                <a:gd name="connsiteY1323" fmla="*/ 880205 h 1161573"/>
                <a:gd name="connsiteX1324" fmla="*/ 1255205 w 1502283"/>
                <a:gd name="connsiteY1324" fmla="*/ 886682 h 1161573"/>
                <a:gd name="connsiteX1325" fmla="*/ 1259205 w 1502283"/>
                <a:gd name="connsiteY1325" fmla="*/ 892588 h 1161573"/>
                <a:gd name="connsiteX1326" fmla="*/ 1264158 w 1502283"/>
                <a:gd name="connsiteY1326" fmla="*/ 893540 h 1161573"/>
                <a:gd name="connsiteX1327" fmla="*/ 1270254 w 1502283"/>
                <a:gd name="connsiteY1327" fmla="*/ 891159 h 1161573"/>
                <a:gd name="connsiteX1328" fmla="*/ 1272064 w 1502283"/>
                <a:gd name="connsiteY1328" fmla="*/ 892493 h 1161573"/>
                <a:gd name="connsiteX1329" fmla="*/ 1274445 w 1502283"/>
                <a:gd name="connsiteY1329" fmla="*/ 898589 h 1161573"/>
                <a:gd name="connsiteX1330" fmla="*/ 1280160 w 1502283"/>
                <a:gd name="connsiteY1330" fmla="*/ 905827 h 1161573"/>
                <a:gd name="connsiteX1331" fmla="*/ 1290638 w 1502283"/>
                <a:gd name="connsiteY1331" fmla="*/ 912495 h 1161573"/>
                <a:gd name="connsiteX1332" fmla="*/ 1292828 w 1502283"/>
                <a:gd name="connsiteY1332" fmla="*/ 917067 h 1161573"/>
                <a:gd name="connsiteX1333" fmla="*/ 1295972 w 1502283"/>
                <a:gd name="connsiteY1333" fmla="*/ 916686 h 1161573"/>
                <a:gd name="connsiteX1334" fmla="*/ 1302068 w 1502283"/>
                <a:gd name="connsiteY1334" fmla="*/ 927164 h 1161573"/>
                <a:gd name="connsiteX1335" fmla="*/ 1314069 w 1502283"/>
                <a:gd name="connsiteY1335" fmla="*/ 920782 h 1161573"/>
                <a:gd name="connsiteX1336" fmla="*/ 1319213 w 1502283"/>
                <a:gd name="connsiteY1336" fmla="*/ 923353 h 1161573"/>
                <a:gd name="connsiteX1337" fmla="*/ 1322356 w 1502283"/>
                <a:gd name="connsiteY1337" fmla="*/ 922973 h 1161573"/>
                <a:gd name="connsiteX1338" fmla="*/ 1325880 w 1502283"/>
                <a:gd name="connsiteY1338" fmla="*/ 925735 h 1161573"/>
                <a:gd name="connsiteX1339" fmla="*/ 1331405 w 1502283"/>
                <a:gd name="connsiteY1339" fmla="*/ 918591 h 1161573"/>
                <a:gd name="connsiteX1340" fmla="*/ 1338644 w 1502283"/>
                <a:gd name="connsiteY1340" fmla="*/ 912876 h 1161573"/>
                <a:gd name="connsiteX1341" fmla="*/ 1341406 w 1502283"/>
                <a:gd name="connsiteY1341" fmla="*/ 909352 h 1161573"/>
                <a:gd name="connsiteX1342" fmla="*/ 1347883 w 1502283"/>
                <a:gd name="connsiteY1342" fmla="*/ 910114 h 1161573"/>
                <a:gd name="connsiteX1343" fmla="*/ 1350455 w 1502283"/>
                <a:gd name="connsiteY1343" fmla="*/ 904970 h 1161573"/>
                <a:gd name="connsiteX1344" fmla="*/ 1353979 w 1502283"/>
                <a:gd name="connsiteY1344" fmla="*/ 894874 h 1161573"/>
                <a:gd name="connsiteX1345" fmla="*/ 1359313 w 1502283"/>
                <a:gd name="connsiteY1345" fmla="*/ 898969 h 1161573"/>
                <a:gd name="connsiteX1346" fmla="*/ 1358741 w 1502283"/>
                <a:gd name="connsiteY1346" fmla="*/ 894207 h 1161573"/>
                <a:gd name="connsiteX1347" fmla="*/ 1364266 w 1502283"/>
                <a:gd name="connsiteY1347" fmla="*/ 887063 h 1161573"/>
                <a:gd name="connsiteX1348" fmla="*/ 1382649 w 1502283"/>
                <a:gd name="connsiteY1348" fmla="*/ 892778 h 1161573"/>
                <a:gd name="connsiteX1349" fmla="*/ 1387793 w 1502283"/>
                <a:gd name="connsiteY1349" fmla="*/ 895350 h 1161573"/>
                <a:gd name="connsiteX1350" fmla="*/ 1395698 w 1502283"/>
                <a:gd name="connsiteY1350" fmla="*/ 907161 h 1161573"/>
                <a:gd name="connsiteX1351" fmla="*/ 1406747 w 1502283"/>
                <a:gd name="connsiteY1351" fmla="*/ 918591 h 1161573"/>
                <a:gd name="connsiteX1352" fmla="*/ 1405128 w 1502283"/>
                <a:gd name="connsiteY1352" fmla="*/ 918782 h 1161573"/>
                <a:gd name="connsiteX1353" fmla="*/ 1406938 w 1502283"/>
                <a:gd name="connsiteY1353" fmla="*/ 920115 h 1161573"/>
                <a:gd name="connsiteX1354" fmla="*/ 1412462 w 1502283"/>
                <a:gd name="connsiteY1354" fmla="*/ 925830 h 1161573"/>
                <a:gd name="connsiteX1355" fmla="*/ 1420368 w 1502283"/>
                <a:gd name="connsiteY1355" fmla="*/ 924782 h 1161573"/>
                <a:gd name="connsiteX1356" fmla="*/ 1427416 w 1502283"/>
                <a:gd name="connsiteY1356" fmla="*/ 917448 h 1161573"/>
                <a:gd name="connsiteX1357" fmla="*/ 1435703 w 1502283"/>
                <a:gd name="connsiteY1357" fmla="*/ 919639 h 1161573"/>
                <a:gd name="connsiteX1358" fmla="*/ 1442371 w 1502283"/>
                <a:gd name="connsiteY1358" fmla="*/ 909161 h 1161573"/>
                <a:gd name="connsiteX1359" fmla="*/ 1450657 w 1502283"/>
                <a:gd name="connsiteY1359" fmla="*/ 911352 h 1161573"/>
                <a:gd name="connsiteX1360" fmla="*/ 1455230 w 1502283"/>
                <a:gd name="connsiteY1360" fmla="*/ 909161 h 1161573"/>
                <a:gd name="connsiteX1361" fmla="*/ 1463326 w 1502283"/>
                <a:gd name="connsiteY1361" fmla="*/ 909733 h 1161573"/>
                <a:gd name="connsiteX1362" fmla="*/ 1467612 w 1502283"/>
                <a:gd name="connsiteY1362" fmla="*/ 906018 h 1161573"/>
                <a:gd name="connsiteX1363" fmla="*/ 1469327 w 1502283"/>
                <a:gd name="connsiteY1363" fmla="*/ 894588 h 1161573"/>
                <a:gd name="connsiteX1364" fmla="*/ 1472089 w 1502283"/>
                <a:gd name="connsiteY1364" fmla="*/ 891064 h 1161573"/>
                <a:gd name="connsiteX1365" fmla="*/ 1484757 w 1502283"/>
                <a:gd name="connsiteY1365" fmla="*/ 889444 h 1161573"/>
                <a:gd name="connsiteX1366" fmla="*/ 1485519 w 1502283"/>
                <a:gd name="connsiteY1366" fmla="*/ 882968 h 1161573"/>
                <a:gd name="connsiteX1367" fmla="*/ 1491044 w 1502283"/>
                <a:gd name="connsiteY1367" fmla="*/ 875824 h 1161573"/>
                <a:gd name="connsiteX1368" fmla="*/ 1497330 w 1502283"/>
                <a:gd name="connsiteY1368" fmla="*/ 875062 h 1161573"/>
                <a:gd name="connsiteX1369" fmla="*/ 1502283 w 1502283"/>
                <a:gd name="connsiteY1369" fmla="*/ 876014 h 1161573"/>
                <a:gd name="connsiteX1370" fmla="*/ 1495139 w 1502283"/>
                <a:gd name="connsiteY1370" fmla="*/ 857726 h 1161573"/>
                <a:gd name="connsiteX1371" fmla="*/ 1495139 w 1502283"/>
                <a:gd name="connsiteY1371" fmla="*/ 857726 h 1161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</a:cxnLst>
              <a:rect l="l" t="t" r="r" b="b"/>
              <a:pathLst>
                <a:path w="1502283" h="1161573">
                  <a:moveTo>
                    <a:pt x="1496282" y="857155"/>
                  </a:moveTo>
                  <a:lnTo>
                    <a:pt x="1495711" y="852392"/>
                  </a:lnTo>
                  <a:lnTo>
                    <a:pt x="1497330" y="852202"/>
                  </a:lnTo>
                  <a:lnTo>
                    <a:pt x="1495520" y="850868"/>
                  </a:lnTo>
                  <a:lnTo>
                    <a:pt x="1498282" y="847344"/>
                  </a:lnTo>
                  <a:lnTo>
                    <a:pt x="1490567" y="849916"/>
                  </a:lnTo>
                  <a:lnTo>
                    <a:pt x="1486853" y="845630"/>
                  </a:lnTo>
                  <a:lnTo>
                    <a:pt x="1487996" y="842296"/>
                  </a:lnTo>
                  <a:lnTo>
                    <a:pt x="1481899" y="831818"/>
                  </a:lnTo>
                  <a:lnTo>
                    <a:pt x="1469803" y="812483"/>
                  </a:lnTo>
                  <a:lnTo>
                    <a:pt x="1458563" y="812292"/>
                  </a:lnTo>
                  <a:lnTo>
                    <a:pt x="1442371" y="798290"/>
                  </a:lnTo>
                  <a:lnTo>
                    <a:pt x="1437608" y="798862"/>
                  </a:lnTo>
                  <a:lnTo>
                    <a:pt x="1433513" y="804196"/>
                  </a:lnTo>
                  <a:lnTo>
                    <a:pt x="1424845" y="798862"/>
                  </a:lnTo>
                  <a:lnTo>
                    <a:pt x="1432274" y="781907"/>
                  </a:lnTo>
                  <a:lnTo>
                    <a:pt x="1431703" y="777145"/>
                  </a:lnTo>
                  <a:lnTo>
                    <a:pt x="1434465" y="773621"/>
                  </a:lnTo>
                  <a:lnTo>
                    <a:pt x="1425797" y="768287"/>
                  </a:lnTo>
                  <a:lnTo>
                    <a:pt x="1411796" y="758857"/>
                  </a:lnTo>
                  <a:lnTo>
                    <a:pt x="1402937" y="764762"/>
                  </a:lnTo>
                  <a:lnTo>
                    <a:pt x="1400937" y="761809"/>
                  </a:lnTo>
                  <a:lnTo>
                    <a:pt x="1394365" y="748189"/>
                  </a:lnTo>
                  <a:lnTo>
                    <a:pt x="1395413" y="756095"/>
                  </a:lnTo>
                  <a:lnTo>
                    <a:pt x="1381601" y="761048"/>
                  </a:lnTo>
                  <a:lnTo>
                    <a:pt x="1375886" y="753809"/>
                  </a:lnTo>
                  <a:lnTo>
                    <a:pt x="1372933" y="755809"/>
                  </a:lnTo>
                  <a:lnTo>
                    <a:pt x="1372743" y="754190"/>
                  </a:lnTo>
                  <a:lnTo>
                    <a:pt x="1366838" y="758190"/>
                  </a:lnTo>
                  <a:lnTo>
                    <a:pt x="1365028" y="756857"/>
                  </a:lnTo>
                  <a:lnTo>
                    <a:pt x="1362265" y="760381"/>
                  </a:lnTo>
                  <a:lnTo>
                    <a:pt x="1360456" y="759047"/>
                  </a:lnTo>
                  <a:lnTo>
                    <a:pt x="1348645" y="766953"/>
                  </a:lnTo>
                  <a:lnTo>
                    <a:pt x="1339596" y="758476"/>
                  </a:lnTo>
                  <a:lnTo>
                    <a:pt x="1337977" y="758666"/>
                  </a:lnTo>
                  <a:lnTo>
                    <a:pt x="1328642" y="748665"/>
                  </a:lnTo>
                  <a:lnTo>
                    <a:pt x="1321689" y="744760"/>
                  </a:lnTo>
                  <a:lnTo>
                    <a:pt x="1320260" y="733711"/>
                  </a:lnTo>
                  <a:lnTo>
                    <a:pt x="1309402" y="736663"/>
                  </a:lnTo>
                  <a:lnTo>
                    <a:pt x="1307021" y="743331"/>
                  </a:lnTo>
                  <a:lnTo>
                    <a:pt x="1304830" y="738759"/>
                  </a:lnTo>
                  <a:lnTo>
                    <a:pt x="1303496" y="740569"/>
                  </a:lnTo>
                  <a:lnTo>
                    <a:pt x="1300163" y="739426"/>
                  </a:lnTo>
                  <a:lnTo>
                    <a:pt x="1298829" y="741236"/>
                  </a:lnTo>
                  <a:lnTo>
                    <a:pt x="1292162" y="738854"/>
                  </a:lnTo>
                  <a:lnTo>
                    <a:pt x="1290352" y="737521"/>
                  </a:lnTo>
                  <a:lnTo>
                    <a:pt x="1290161" y="735901"/>
                  </a:lnTo>
                  <a:lnTo>
                    <a:pt x="1291304" y="732568"/>
                  </a:lnTo>
                  <a:lnTo>
                    <a:pt x="1289495" y="731234"/>
                  </a:lnTo>
                  <a:lnTo>
                    <a:pt x="1293590" y="725900"/>
                  </a:lnTo>
                  <a:lnTo>
                    <a:pt x="1293209" y="722757"/>
                  </a:lnTo>
                  <a:lnTo>
                    <a:pt x="1294352" y="719423"/>
                  </a:lnTo>
                  <a:lnTo>
                    <a:pt x="1292352" y="716471"/>
                  </a:lnTo>
                  <a:lnTo>
                    <a:pt x="1294543" y="708184"/>
                  </a:lnTo>
                  <a:lnTo>
                    <a:pt x="1289209" y="704088"/>
                  </a:lnTo>
                  <a:lnTo>
                    <a:pt x="1288066" y="707422"/>
                  </a:lnTo>
                  <a:lnTo>
                    <a:pt x="1281113" y="703517"/>
                  </a:lnTo>
                  <a:lnTo>
                    <a:pt x="1282256" y="700183"/>
                  </a:lnTo>
                  <a:lnTo>
                    <a:pt x="1276922" y="696087"/>
                  </a:lnTo>
                  <a:lnTo>
                    <a:pt x="1269397" y="700278"/>
                  </a:lnTo>
                  <a:lnTo>
                    <a:pt x="1266063" y="699135"/>
                  </a:lnTo>
                  <a:lnTo>
                    <a:pt x="1259777" y="699897"/>
                  </a:lnTo>
                  <a:lnTo>
                    <a:pt x="1257586" y="695325"/>
                  </a:lnTo>
                  <a:lnTo>
                    <a:pt x="1254252" y="694182"/>
                  </a:lnTo>
                  <a:lnTo>
                    <a:pt x="1252633" y="694373"/>
                  </a:lnTo>
                  <a:lnTo>
                    <a:pt x="1251299" y="696182"/>
                  </a:lnTo>
                  <a:lnTo>
                    <a:pt x="1244822" y="695420"/>
                  </a:lnTo>
                  <a:lnTo>
                    <a:pt x="1245013" y="697040"/>
                  </a:lnTo>
                  <a:lnTo>
                    <a:pt x="1241489" y="694277"/>
                  </a:lnTo>
                  <a:lnTo>
                    <a:pt x="1238726" y="697801"/>
                  </a:lnTo>
                  <a:lnTo>
                    <a:pt x="1233964" y="698373"/>
                  </a:lnTo>
                  <a:lnTo>
                    <a:pt x="1233964" y="685514"/>
                  </a:lnTo>
                  <a:cubicBezTo>
                    <a:pt x="1233964" y="685514"/>
                    <a:pt x="1230344" y="682752"/>
                    <a:pt x="1230344" y="682752"/>
                  </a:cubicBezTo>
                  <a:lnTo>
                    <a:pt x="1227963" y="676656"/>
                  </a:lnTo>
                  <a:lnTo>
                    <a:pt x="1223010" y="675704"/>
                  </a:lnTo>
                  <a:lnTo>
                    <a:pt x="1218724" y="679418"/>
                  </a:lnTo>
                  <a:lnTo>
                    <a:pt x="1217105" y="679609"/>
                  </a:lnTo>
                  <a:lnTo>
                    <a:pt x="1215866" y="670179"/>
                  </a:lnTo>
                  <a:lnTo>
                    <a:pt x="1199674" y="669036"/>
                  </a:lnTo>
                  <a:lnTo>
                    <a:pt x="1197293" y="675704"/>
                  </a:lnTo>
                  <a:lnTo>
                    <a:pt x="1194340" y="677704"/>
                  </a:lnTo>
                  <a:lnTo>
                    <a:pt x="1192339" y="674751"/>
                  </a:lnTo>
                  <a:lnTo>
                    <a:pt x="1193482" y="671417"/>
                  </a:lnTo>
                  <a:lnTo>
                    <a:pt x="1195864" y="664750"/>
                  </a:lnTo>
                  <a:lnTo>
                    <a:pt x="1195483" y="661607"/>
                  </a:lnTo>
                  <a:lnTo>
                    <a:pt x="1199579" y="656273"/>
                  </a:lnTo>
                  <a:lnTo>
                    <a:pt x="1200531" y="651320"/>
                  </a:lnTo>
                  <a:lnTo>
                    <a:pt x="1200912" y="641604"/>
                  </a:lnTo>
                  <a:lnTo>
                    <a:pt x="1198721" y="637032"/>
                  </a:lnTo>
                  <a:lnTo>
                    <a:pt x="1198150" y="632270"/>
                  </a:lnTo>
                  <a:lnTo>
                    <a:pt x="1196149" y="629317"/>
                  </a:lnTo>
                  <a:lnTo>
                    <a:pt x="1191197" y="628364"/>
                  </a:lnTo>
                  <a:lnTo>
                    <a:pt x="1187577" y="612743"/>
                  </a:lnTo>
                  <a:lnTo>
                    <a:pt x="1185767" y="611410"/>
                  </a:lnTo>
                  <a:lnTo>
                    <a:pt x="1177671" y="610838"/>
                  </a:lnTo>
                  <a:lnTo>
                    <a:pt x="1167384" y="618554"/>
                  </a:lnTo>
                  <a:lnTo>
                    <a:pt x="1156525" y="621506"/>
                  </a:lnTo>
                  <a:lnTo>
                    <a:pt x="1151954" y="623697"/>
                  </a:lnTo>
                  <a:lnTo>
                    <a:pt x="1148620" y="622554"/>
                  </a:lnTo>
                  <a:lnTo>
                    <a:pt x="1145667" y="624554"/>
                  </a:lnTo>
                  <a:lnTo>
                    <a:pt x="1142524" y="624935"/>
                  </a:lnTo>
                  <a:lnTo>
                    <a:pt x="1138619" y="631888"/>
                  </a:lnTo>
                  <a:lnTo>
                    <a:pt x="1135094" y="629126"/>
                  </a:lnTo>
                  <a:lnTo>
                    <a:pt x="1130618" y="631317"/>
                  </a:lnTo>
                  <a:lnTo>
                    <a:pt x="1114235" y="628555"/>
                  </a:lnTo>
                  <a:lnTo>
                    <a:pt x="1120140" y="624554"/>
                  </a:lnTo>
                  <a:lnTo>
                    <a:pt x="1120902" y="618077"/>
                  </a:lnTo>
                  <a:lnTo>
                    <a:pt x="1118711" y="613505"/>
                  </a:lnTo>
                  <a:lnTo>
                    <a:pt x="1117282" y="615315"/>
                  </a:lnTo>
                  <a:lnTo>
                    <a:pt x="1115092" y="597980"/>
                  </a:lnTo>
                  <a:lnTo>
                    <a:pt x="1126522" y="599694"/>
                  </a:lnTo>
                  <a:lnTo>
                    <a:pt x="1129856" y="600837"/>
                  </a:lnTo>
                  <a:lnTo>
                    <a:pt x="1134142" y="597122"/>
                  </a:lnTo>
                  <a:lnTo>
                    <a:pt x="1133094" y="589217"/>
                  </a:lnTo>
                  <a:lnTo>
                    <a:pt x="1134713" y="589026"/>
                  </a:lnTo>
                  <a:lnTo>
                    <a:pt x="1137666" y="574262"/>
                  </a:lnTo>
                  <a:lnTo>
                    <a:pt x="1138047" y="564642"/>
                  </a:lnTo>
                  <a:lnTo>
                    <a:pt x="1142619" y="562451"/>
                  </a:lnTo>
                  <a:lnTo>
                    <a:pt x="1149096" y="563213"/>
                  </a:lnTo>
                  <a:lnTo>
                    <a:pt x="1150906" y="564547"/>
                  </a:lnTo>
                  <a:lnTo>
                    <a:pt x="1154049" y="564166"/>
                  </a:lnTo>
                  <a:lnTo>
                    <a:pt x="1155192" y="560832"/>
                  </a:lnTo>
                  <a:lnTo>
                    <a:pt x="1156335" y="557498"/>
                  </a:lnTo>
                  <a:lnTo>
                    <a:pt x="1159669" y="558641"/>
                  </a:lnTo>
                  <a:lnTo>
                    <a:pt x="1161002" y="556832"/>
                  </a:lnTo>
                  <a:lnTo>
                    <a:pt x="1165955" y="557784"/>
                  </a:lnTo>
                  <a:lnTo>
                    <a:pt x="1169480" y="534924"/>
                  </a:lnTo>
                  <a:lnTo>
                    <a:pt x="1174052" y="532733"/>
                  </a:lnTo>
                  <a:lnTo>
                    <a:pt x="1172051" y="529780"/>
                  </a:lnTo>
                  <a:lnTo>
                    <a:pt x="1173671" y="529590"/>
                  </a:lnTo>
                  <a:lnTo>
                    <a:pt x="1171670" y="526637"/>
                  </a:lnTo>
                  <a:lnTo>
                    <a:pt x="1172813" y="523304"/>
                  </a:lnTo>
                  <a:lnTo>
                    <a:pt x="1176147" y="511683"/>
                  </a:lnTo>
                  <a:lnTo>
                    <a:pt x="1172147" y="505778"/>
                  </a:lnTo>
                  <a:lnTo>
                    <a:pt x="1170623" y="505968"/>
                  </a:lnTo>
                  <a:lnTo>
                    <a:pt x="1165479" y="516255"/>
                  </a:lnTo>
                  <a:lnTo>
                    <a:pt x="1160907" y="518446"/>
                  </a:lnTo>
                  <a:lnTo>
                    <a:pt x="1157383" y="515684"/>
                  </a:lnTo>
                  <a:lnTo>
                    <a:pt x="1154239" y="516065"/>
                  </a:lnTo>
                  <a:lnTo>
                    <a:pt x="1152430" y="514731"/>
                  </a:lnTo>
                  <a:lnTo>
                    <a:pt x="1141381" y="516160"/>
                  </a:lnTo>
                  <a:lnTo>
                    <a:pt x="1141952" y="520922"/>
                  </a:lnTo>
                  <a:lnTo>
                    <a:pt x="1136618" y="516826"/>
                  </a:lnTo>
                  <a:lnTo>
                    <a:pt x="1140714" y="511492"/>
                  </a:lnTo>
                  <a:lnTo>
                    <a:pt x="1141476" y="505016"/>
                  </a:lnTo>
                  <a:lnTo>
                    <a:pt x="1143286" y="506349"/>
                  </a:lnTo>
                  <a:lnTo>
                    <a:pt x="1149001" y="500825"/>
                  </a:lnTo>
                  <a:lnTo>
                    <a:pt x="1146810" y="496253"/>
                  </a:lnTo>
                  <a:lnTo>
                    <a:pt x="1145191" y="496443"/>
                  </a:lnTo>
                  <a:lnTo>
                    <a:pt x="1143381" y="495109"/>
                  </a:lnTo>
                  <a:lnTo>
                    <a:pt x="1140047" y="493967"/>
                  </a:lnTo>
                  <a:lnTo>
                    <a:pt x="1137095" y="483108"/>
                  </a:lnTo>
                  <a:lnTo>
                    <a:pt x="1132904" y="475583"/>
                  </a:lnTo>
                  <a:lnTo>
                    <a:pt x="1127570" y="471488"/>
                  </a:lnTo>
                  <a:lnTo>
                    <a:pt x="1133856" y="457867"/>
                  </a:lnTo>
                  <a:lnTo>
                    <a:pt x="1132808" y="449961"/>
                  </a:lnTo>
                  <a:lnTo>
                    <a:pt x="1129094" y="445675"/>
                  </a:lnTo>
                  <a:lnTo>
                    <a:pt x="1126903" y="441103"/>
                  </a:lnTo>
                  <a:lnTo>
                    <a:pt x="1121759" y="438531"/>
                  </a:lnTo>
                  <a:lnTo>
                    <a:pt x="1122521" y="432054"/>
                  </a:lnTo>
                  <a:lnTo>
                    <a:pt x="1128427" y="428054"/>
                  </a:lnTo>
                  <a:lnTo>
                    <a:pt x="1130998" y="422910"/>
                  </a:lnTo>
                  <a:lnTo>
                    <a:pt x="1135571" y="420719"/>
                  </a:lnTo>
                  <a:lnTo>
                    <a:pt x="1137475" y="410813"/>
                  </a:lnTo>
                  <a:lnTo>
                    <a:pt x="1137285" y="409194"/>
                  </a:lnTo>
                  <a:lnTo>
                    <a:pt x="1141190" y="402241"/>
                  </a:lnTo>
                  <a:lnTo>
                    <a:pt x="1142810" y="402050"/>
                  </a:lnTo>
                  <a:lnTo>
                    <a:pt x="1142429" y="398907"/>
                  </a:lnTo>
                  <a:lnTo>
                    <a:pt x="1142238" y="397288"/>
                  </a:lnTo>
                  <a:lnTo>
                    <a:pt x="1139285" y="399288"/>
                  </a:lnTo>
                  <a:lnTo>
                    <a:pt x="1140428" y="395954"/>
                  </a:lnTo>
                  <a:lnTo>
                    <a:pt x="1138619" y="394621"/>
                  </a:lnTo>
                  <a:lnTo>
                    <a:pt x="1135856" y="385382"/>
                  </a:lnTo>
                  <a:lnTo>
                    <a:pt x="1135285" y="380619"/>
                  </a:lnTo>
                  <a:lnTo>
                    <a:pt x="1133475" y="379286"/>
                  </a:lnTo>
                  <a:lnTo>
                    <a:pt x="1132141" y="381095"/>
                  </a:lnTo>
                  <a:lnTo>
                    <a:pt x="1129951" y="376523"/>
                  </a:lnTo>
                  <a:lnTo>
                    <a:pt x="1129189" y="370237"/>
                  </a:lnTo>
                  <a:lnTo>
                    <a:pt x="1126617" y="362521"/>
                  </a:lnTo>
                  <a:lnTo>
                    <a:pt x="1122616" y="356616"/>
                  </a:lnTo>
                  <a:lnTo>
                    <a:pt x="1125569" y="354616"/>
                  </a:lnTo>
                  <a:lnTo>
                    <a:pt x="1125379" y="352996"/>
                  </a:lnTo>
                  <a:lnTo>
                    <a:pt x="1126522" y="349663"/>
                  </a:lnTo>
                  <a:lnTo>
                    <a:pt x="1125760" y="343376"/>
                  </a:lnTo>
                  <a:lnTo>
                    <a:pt x="1118045" y="345948"/>
                  </a:lnTo>
                  <a:lnTo>
                    <a:pt x="1112139" y="337090"/>
                  </a:lnTo>
                  <a:lnTo>
                    <a:pt x="1108424" y="332804"/>
                  </a:lnTo>
                  <a:lnTo>
                    <a:pt x="1109758" y="330994"/>
                  </a:lnTo>
                  <a:lnTo>
                    <a:pt x="1104805" y="330041"/>
                  </a:lnTo>
                  <a:lnTo>
                    <a:pt x="1096328" y="326326"/>
                  </a:lnTo>
                  <a:lnTo>
                    <a:pt x="1093184" y="326708"/>
                  </a:lnTo>
                  <a:lnTo>
                    <a:pt x="1091851" y="328517"/>
                  </a:lnTo>
                  <a:lnTo>
                    <a:pt x="1083183" y="323183"/>
                  </a:lnTo>
                  <a:lnTo>
                    <a:pt x="1080040" y="323564"/>
                  </a:lnTo>
                  <a:lnTo>
                    <a:pt x="1078516" y="323755"/>
                  </a:lnTo>
                  <a:lnTo>
                    <a:pt x="1078325" y="322136"/>
                  </a:lnTo>
                  <a:lnTo>
                    <a:pt x="1071563" y="319754"/>
                  </a:lnTo>
                  <a:lnTo>
                    <a:pt x="1069562" y="316801"/>
                  </a:lnTo>
                  <a:lnTo>
                    <a:pt x="1070896" y="314992"/>
                  </a:lnTo>
                  <a:lnTo>
                    <a:pt x="1060799" y="311467"/>
                  </a:lnTo>
                  <a:lnTo>
                    <a:pt x="1059466" y="313277"/>
                  </a:lnTo>
                  <a:lnTo>
                    <a:pt x="1055465" y="307372"/>
                  </a:lnTo>
                  <a:lnTo>
                    <a:pt x="1060037" y="305181"/>
                  </a:lnTo>
                  <a:lnTo>
                    <a:pt x="1060990" y="300228"/>
                  </a:lnTo>
                  <a:lnTo>
                    <a:pt x="1059180" y="298895"/>
                  </a:lnTo>
                  <a:lnTo>
                    <a:pt x="1059180" y="298895"/>
                  </a:lnTo>
                  <a:lnTo>
                    <a:pt x="1057180" y="295942"/>
                  </a:lnTo>
                  <a:lnTo>
                    <a:pt x="1062514" y="287274"/>
                  </a:lnTo>
                  <a:lnTo>
                    <a:pt x="1065276" y="283750"/>
                  </a:lnTo>
                  <a:lnTo>
                    <a:pt x="1063276" y="280797"/>
                  </a:lnTo>
                  <a:lnTo>
                    <a:pt x="1064228" y="275844"/>
                  </a:lnTo>
                  <a:lnTo>
                    <a:pt x="1068324" y="270510"/>
                  </a:lnTo>
                  <a:lnTo>
                    <a:pt x="1067562" y="264224"/>
                  </a:lnTo>
                  <a:lnTo>
                    <a:pt x="1063752" y="259937"/>
                  </a:lnTo>
                  <a:lnTo>
                    <a:pt x="1061371" y="253841"/>
                  </a:lnTo>
                  <a:lnTo>
                    <a:pt x="1059180" y="249269"/>
                  </a:lnTo>
                  <a:lnTo>
                    <a:pt x="1057561" y="249460"/>
                  </a:lnTo>
                  <a:lnTo>
                    <a:pt x="1059752" y="254032"/>
                  </a:lnTo>
                  <a:lnTo>
                    <a:pt x="1056989" y="257556"/>
                  </a:lnTo>
                  <a:lnTo>
                    <a:pt x="1057370" y="260699"/>
                  </a:lnTo>
                  <a:lnTo>
                    <a:pt x="1052608" y="261271"/>
                  </a:lnTo>
                  <a:lnTo>
                    <a:pt x="1055941" y="262414"/>
                  </a:lnTo>
                  <a:lnTo>
                    <a:pt x="1054989" y="267367"/>
                  </a:lnTo>
                  <a:lnTo>
                    <a:pt x="1056608" y="267176"/>
                  </a:lnTo>
                  <a:lnTo>
                    <a:pt x="1056989" y="270320"/>
                  </a:lnTo>
                  <a:lnTo>
                    <a:pt x="1058323" y="268510"/>
                  </a:lnTo>
                  <a:lnTo>
                    <a:pt x="1055561" y="272034"/>
                  </a:lnTo>
                  <a:lnTo>
                    <a:pt x="1055561" y="272034"/>
                  </a:lnTo>
                  <a:lnTo>
                    <a:pt x="1055751" y="273653"/>
                  </a:lnTo>
                  <a:lnTo>
                    <a:pt x="1050798" y="272701"/>
                  </a:lnTo>
                  <a:lnTo>
                    <a:pt x="1049179" y="272891"/>
                  </a:lnTo>
                  <a:lnTo>
                    <a:pt x="1049369" y="274511"/>
                  </a:lnTo>
                  <a:lnTo>
                    <a:pt x="1046226" y="274892"/>
                  </a:lnTo>
                  <a:lnTo>
                    <a:pt x="1045655" y="270129"/>
                  </a:lnTo>
                  <a:lnTo>
                    <a:pt x="1046797" y="266795"/>
                  </a:lnTo>
                  <a:lnTo>
                    <a:pt x="1043654" y="267176"/>
                  </a:lnTo>
                  <a:lnTo>
                    <a:pt x="1041273" y="261080"/>
                  </a:lnTo>
                  <a:lnTo>
                    <a:pt x="1039654" y="261271"/>
                  </a:lnTo>
                  <a:lnTo>
                    <a:pt x="1042225" y="256127"/>
                  </a:lnTo>
                  <a:lnTo>
                    <a:pt x="1032796" y="257366"/>
                  </a:lnTo>
                  <a:lnTo>
                    <a:pt x="1032224" y="252603"/>
                  </a:lnTo>
                  <a:lnTo>
                    <a:pt x="1035558" y="253746"/>
                  </a:lnTo>
                  <a:lnTo>
                    <a:pt x="1034987" y="248984"/>
                  </a:lnTo>
                  <a:lnTo>
                    <a:pt x="1033367" y="249174"/>
                  </a:lnTo>
                  <a:lnTo>
                    <a:pt x="1035748" y="242507"/>
                  </a:lnTo>
                  <a:lnTo>
                    <a:pt x="1035368" y="239363"/>
                  </a:lnTo>
                  <a:lnTo>
                    <a:pt x="1030605" y="239935"/>
                  </a:lnTo>
                  <a:lnTo>
                    <a:pt x="1030224" y="236792"/>
                  </a:lnTo>
                  <a:lnTo>
                    <a:pt x="1025652" y="238982"/>
                  </a:lnTo>
                  <a:lnTo>
                    <a:pt x="1020699" y="238030"/>
                  </a:lnTo>
                  <a:lnTo>
                    <a:pt x="1013555" y="232505"/>
                  </a:lnTo>
                  <a:lnTo>
                    <a:pt x="1014698" y="229171"/>
                  </a:lnTo>
                  <a:lnTo>
                    <a:pt x="1016508" y="230505"/>
                  </a:lnTo>
                  <a:lnTo>
                    <a:pt x="1017270" y="224028"/>
                  </a:lnTo>
                  <a:lnTo>
                    <a:pt x="1016698" y="219266"/>
                  </a:lnTo>
                  <a:lnTo>
                    <a:pt x="1012127" y="208598"/>
                  </a:lnTo>
                  <a:lnTo>
                    <a:pt x="1011936" y="206978"/>
                  </a:lnTo>
                  <a:lnTo>
                    <a:pt x="1013555" y="206788"/>
                  </a:lnTo>
                  <a:lnTo>
                    <a:pt x="1012507" y="198882"/>
                  </a:lnTo>
                  <a:lnTo>
                    <a:pt x="1010698" y="197453"/>
                  </a:lnTo>
                  <a:lnTo>
                    <a:pt x="1008697" y="194500"/>
                  </a:lnTo>
                  <a:lnTo>
                    <a:pt x="1005745" y="196501"/>
                  </a:lnTo>
                  <a:lnTo>
                    <a:pt x="1002221" y="193738"/>
                  </a:lnTo>
                  <a:lnTo>
                    <a:pt x="1000601" y="193929"/>
                  </a:lnTo>
                  <a:lnTo>
                    <a:pt x="1000220" y="190786"/>
                  </a:lnTo>
                  <a:lnTo>
                    <a:pt x="1004983" y="190214"/>
                  </a:lnTo>
                  <a:lnTo>
                    <a:pt x="1006316" y="188404"/>
                  </a:lnTo>
                  <a:lnTo>
                    <a:pt x="1004316" y="185452"/>
                  </a:lnTo>
                  <a:lnTo>
                    <a:pt x="992886" y="183737"/>
                  </a:lnTo>
                  <a:lnTo>
                    <a:pt x="992314" y="178975"/>
                  </a:lnTo>
                  <a:lnTo>
                    <a:pt x="989171" y="179356"/>
                  </a:lnTo>
                  <a:lnTo>
                    <a:pt x="987171" y="176403"/>
                  </a:lnTo>
                  <a:lnTo>
                    <a:pt x="993457" y="175641"/>
                  </a:lnTo>
                  <a:lnTo>
                    <a:pt x="992219" y="166211"/>
                  </a:lnTo>
                  <a:lnTo>
                    <a:pt x="985266" y="162306"/>
                  </a:lnTo>
                  <a:lnTo>
                    <a:pt x="983266" y="159353"/>
                  </a:lnTo>
                  <a:lnTo>
                    <a:pt x="984599" y="157544"/>
                  </a:lnTo>
                  <a:lnTo>
                    <a:pt x="981265" y="156400"/>
                  </a:lnTo>
                  <a:lnTo>
                    <a:pt x="981075" y="154781"/>
                  </a:lnTo>
                  <a:lnTo>
                    <a:pt x="977741" y="153638"/>
                  </a:lnTo>
                  <a:lnTo>
                    <a:pt x="973836" y="160592"/>
                  </a:lnTo>
                  <a:lnTo>
                    <a:pt x="962787" y="149162"/>
                  </a:lnTo>
                  <a:lnTo>
                    <a:pt x="960977" y="147828"/>
                  </a:lnTo>
                  <a:lnTo>
                    <a:pt x="958215" y="151352"/>
                  </a:lnTo>
                  <a:lnTo>
                    <a:pt x="954881" y="150209"/>
                  </a:lnTo>
                  <a:lnTo>
                    <a:pt x="940118" y="160115"/>
                  </a:lnTo>
                  <a:lnTo>
                    <a:pt x="935355" y="160687"/>
                  </a:lnTo>
                  <a:lnTo>
                    <a:pt x="932402" y="162687"/>
                  </a:lnTo>
                  <a:lnTo>
                    <a:pt x="934212" y="164021"/>
                  </a:lnTo>
                  <a:lnTo>
                    <a:pt x="935831" y="163830"/>
                  </a:lnTo>
                  <a:lnTo>
                    <a:pt x="937641" y="165163"/>
                  </a:lnTo>
                  <a:lnTo>
                    <a:pt x="934498" y="165545"/>
                  </a:lnTo>
                  <a:lnTo>
                    <a:pt x="933545" y="170498"/>
                  </a:lnTo>
                  <a:lnTo>
                    <a:pt x="930593" y="172498"/>
                  </a:lnTo>
                  <a:lnTo>
                    <a:pt x="925449" y="169926"/>
                  </a:lnTo>
                  <a:lnTo>
                    <a:pt x="921163" y="173641"/>
                  </a:lnTo>
                  <a:lnTo>
                    <a:pt x="927449" y="172879"/>
                  </a:lnTo>
                  <a:lnTo>
                    <a:pt x="931164" y="177165"/>
                  </a:lnTo>
                  <a:lnTo>
                    <a:pt x="928783" y="183833"/>
                  </a:lnTo>
                  <a:lnTo>
                    <a:pt x="930402" y="183642"/>
                  </a:lnTo>
                  <a:lnTo>
                    <a:pt x="933736" y="184785"/>
                  </a:lnTo>
                  <a:lnTo>
                    <a:pt x="936688" y="182785"/>
                  </a:lnTo>
                  <a:lnTo>
                    <a:pt x="936879" y="184404"/>
                  </a:lnTo>
                  <a:lnTo>
                    <a:pt x="938689" y="185738"/>
                  </a:lnTo>
                  <a:lnTo>
                    <a:pt x="941070" y="191834"/>
                  </a:lnTo>
                  <a:lnTo>
                    <a:pt x="942689" y="191643"/>
                  </a:lnTo>
                  <a:lnTo>
                    <a:pt x="943261" y="196405"/>
                  </a:lnTo>
                  <a:lnTo>
                    <a:pt x="944594" y="194596"/>
                  </a:lnTo>
                  <a:lnTo>
                    <a:pt x="949357" y="194024"/>
                  </a:lnTo>
                  <a:lnTo>
                    <a:pt x="949738" y="197167"/>
                  </a:lnTo>
                  <a:lnTo>
                    <a:pt x="953072" y="198311"/>
                  </a:lnTo>
                  <a:lnTo>
                    <a:pt x="951929" y="201644"/>
                  </a:lnTo>
                  <a:lnTo>
                    <a:pt x="952119" y="203263"/>
                  </a:lnTo>
                  <a:lnTo>
                    <a:pt x="947642" y="205454"/>
                  </a:lnTo>
                  <a:lnTo>
                    <a:pt x="946499" y="208788"/>
                  </a:lnTo>
                  <a:lnTo>
                    <a:pt x="948499" y="211741"/>
                  </a:lnTo>
                  <a:lnTo>
                    <a:pt x="956786" y="213932"/>
                  </a:lnTo>
                  <a:lnTo>
                    <a:pt x="958596" y="215265"/>
                  </a:lnTo>
                  <a:lnTo>
                    <a:pt x="957834" y="221742"/>
                  </a:lnTo>
                  <a:lnTo>
                    <a:pt x="965168" y="228791"/>
                  </a:lnTo>
                  <a:lnTo>
                    <a:pt x="959453" y="234315"/>
                  </a:lnTo>
                  <a:lnTo>
                    <a:pt x="956500" y="236315"/>
                  </a:lnTo>
                  <a:lnTo>
                    <a:pt x="952500" y="230410"/>
                  </a:lnTo>
                  <a:lnTo>
                    <a:pt x="949357" y="243650"/>
                  </a:lnTo>
                  <a:lnTo>
                    <a:pt x="947738" y="243840"/>
                  </a:lnTo>
                  <a:lnTo>
                    <a:pt x="948309" y="248603"/>
                  </a:lnTo>
                  <a:lnTo>
                    <a:pt x="948499" y="250222"/>
                  </a:lnTo>
                  <a:lnTo>
                    <a:pt x="947738" y="256699"/>
                  </a:lnTo>
                  <a:lnTo>
                    <a:pt x="951547" y="260985"/>
                  </a:lnTo>
                  <a:lnTo>
                    <a:pt x="948214" y="259842"/>
                  </a:lnTo>
                  <a:lnTo>
                    <a:pt x="943928" y="263557"/>
                  </a:lnTo>
                  <a:lnTo>
                    <a:pt x="939165" y="264128"/>
                  </a:lnTo>
                  <a:lnTo>
                    <a:pt x="933260" y="268129"/>
                  </a:lnTo>
                  <a:lnTo>
                    <a:pt x="928116" y="278416"/>
                  </a:lnTo>
                  <a:lnTo>
                    <a:pt x="928497" y="281559"/>
                  </a:lnTo>
                  <a:lnTo>
                    <a:pt x="925544" y="283559"/>
                  </a:lnTo>
                  <a:lnTo>
                    <a:pt x="921544" y="277654"/>
                  </a:lnTo>
                  <a:lnTo>
                    <a:pt x="911447" y="274130"/>
                  </a:lnTo>
                  <a:lnTo>
                    <a:pt x="903922" y="265462"/>
                  </a:lnTo>
                  <a:lnTo>
                    <a:pt x="886778" y="256413"/>
                  </a:lnTo>
                  <a:lnTo>
                    <a:pt x="889159" y="249746"/>
                  </a:lnTo>
                  <a:lnTo>
                    <a:pt x="884206" y="248793"/>
                  </a:lnTo>
                  <a:lnTo>
                    <a:pt x="883063" y="252127"/>
                  </a:lnTo>
                  <a:lnTo>
                    <a:pt x="879729" y="250984"/>
                  </a:lnTo>
                  <a:lnTo>
                    <a:pt x="878967" y="244697"/>
                  </a:lnTo>
                  <a:lnTo>
                    <a:pt x="881348" y="238030"/>
                  </a:lnTo>
                  <a:lnTo>
                    <a:pt x="880967" y="234887"/>
                  </a:lnTo>
                  <a:lnTo>
                    <a:pt x="883539" y="229743"/>
                  </a:lnTo>
                  <a:lnTo>
                    <a:pt x="890016" y="230505"/>
                  </a:lnTo>
                  <a:lnTo>
                    <a:pt x="891445" y="228695"/>
                  </a:lnTo>
                  <a:lnTo>
                    <a:pt x="897731" y="227933"/>
                  </a:lnTo>
                  <a:lnTo>
                    <a:pt x="899065" y="226124"/>
                  </a:lnTo>
                  <a:lnTo>
                    <a:pt x="900874" y="227457"/>
                  </a:lnTo>
                  <a:lnTo>
                    <a:pt x="901827" y="222504"/>
                  </a:lnTo>
                  <a:lnTo>
                    <a:pt x="901446" y="219361"/>
                  </a:lnTo>
                  <a:lnTo>
                    <a:pt x="896493" y="218408"/>
                  </a:lnTo>
                  <a:lnTo>
                    <a:pt x="897827" y="216599"/>
                  </a:lnTo>
                  <a:lnTo>
                    <a:pt x="895636" y="212026"/>
                  </a:lnTo>
                  <a:lnTo>
                    <a:pt x="892493" y="212408"/>
                  </a:lnTo>
                  <a:lnTo>
                    <a:pt x="894683" y="204121"/>
                  </a:lnTo>
                  <a:lnTo>
                    <a:pt x="892873" y="202787"/>
                  </a:lnTo>
                  <a:lnTo>
                    <a:pt x="886587" y="203549"/>
                  </a:lnTo>
                  <a:lnTo>
                    <a:pt x="884587" y="200596"/>
                  </a:lnTo>
                  <a:lnTo>
                    <a:pt x="879634" y="199644"/>
                  </a:lnTo>
                  <a:lnTo>
                    <a:pt x="880586" y="181928"/>
                  </a:lnTo>
                  <a:lnTo>
                    <a:pt x="877253" y="180784"/>
                  </a:lnTo>
                  <a:lnTo>
                    <a:pt x="880396" y="180404"/>
                  </a:lnTo>
                  <a:lnTo>
                    <a:pt x="880205" y="178784"/>
                  </a:lnTo>
                  <a:lnTo>
                    <a:pt x="876205" y="172879"/>
                  </a:lnTo>
                  <a:lnTo>
                    <a:pt x="875633" y="168116"/>
                  </a:lnTo>
                  <a:lnTo>
                    <a:pt x="873633" y="165163"/>
                  </a:lnTo>
                  <a:lnTo>
                    <a:pt x="872871" y="158877"/>
                  </a:lnTo>
                  <a:lnTo>
                    <a:pt x="869156" y="154496"/>
                  </a:lnTo>
                  <a:lnTo>
                    <a:pt x="872490" y="142875"/>
                  </a:lnTo>
                  <a:lnTo>
                    <a:pt x="870490" y="139922"/>
                  </a:lnTo>
                  <a:lnTo>
                    <a:pt x="876205" y="134398"/>
                  </a:lnTo>
                  <a:lnTo>
                    <a:pt x="879538" y="135541"/>
                  </a:lnTo>
                  <a:lnTo>
                    <a:pt x="882491" y="133541"/>
                  </a:lnTo>
                  <a:lnTo>
                    <a:pt x="883825" y="131731"/>
                  </a:lnTo>
                  <a:lnTo>
                    <a:pt x="882777" y="123825"/>
                  </a:lnTo>
                  <a:lnTo>
                    <a:pt x="880777" y="120872"/>
                  </a:lnTo>
                  <a:lnTo>
                    <a:pt x="884682" y="113919"/>
                  </a:lnTo>
                  <a:lnTo>
                    <a:pt x="889254" y="111728"/>
                  </a:lnTo>
                  <a:lnTo>
                    <a:pt x="894397" y="114300"/>
                  </a:lnTo>
                  <a:lnTo>
                    <a:pt x="900684" y="113538"/>
                  </a:lnTo>
                  <a:lnTo>
                    <a:pt x="902018" y="111728"/>
                  </a:lnTo>
                  <a:lnTo>
                    <a:pt x="900398" y="111919"/>
                  </a:lnTo>
                  <a:lnTo>
                    <a:pt x="898588" y="110585"/>
                  </a:lnTo>
                  <a:lnTo>
                    <a:pt x="895636" y="112586"/>
                  </a:lnTo>
                  <a:lnTo>
                    <a:pt x="895445" y="110966"/>
                  </a:lnTo>
                  <a:lnTo>
                    <a:pt x="890492" y="110014"/>
                  </a:lnTo>
                  <a:lnTo>
                    <a:pt x="888682" y="108680"/>
                  </a:lnTo>
                  <a:lnTo>
                    <a:pt x="887539" y="112014"/>
                  </a:lnTo>
                  <a:lnTo>
                    <a:pt x="887158" y="108871"/>
                  </a:lnTo>
                  <a:lnTo>
                    <a:pt x="888587" y="107061"/>
                  </a:lnTo>
                  <a:lnTo>
                    <a:pt x="884206" y="110776"/>
                  </a:lnTo>
                  <a:lnTo>
                    <a:pt x="876110" y="110204"/>
                  </a:lnTo>
                  <a:lnTo>
                    <a:pt x="867442" y="104870"/>
                  </a:lnTo>
                  <a:lnTo>
                    <a:pt x="865441" y="101917"/>
                  </a:lnTo>
                  <a:lnTo>
                    <a:pt x="858774" y="99536"/>
                  </a:lnTo>
                  <a:lnTo>
                    <a:pt x="855821" y="101537"/>
                  </a:lnTo>
                  <a:lnTo>
                    <a:pt x="850868" y="100584"/>
                  </a:lnTo>
                  <a:lnTo>
                    <a:pt x="847535" y="99441"/>
                  </a:lnTo>
                  <a:lnTo>
                    <a:pt x="841438" y="101822"/>
                  </a:lnTo>
                  <a:lnTo>
                    <a:pt x="834962" y="101060"/>
                  </a:lnTo>
                  <a:lnTo>
                    <a:pt x="837343" y="94393"/>
                  </a:lnTo>
                  <a:lnTo>
                    <a:pt x="840296" y="92392"/>
                  </a:lnTo>
                  <a:lnTo>
                    <a:pt x="842486" y="84106"/>
                  </a:lnTo>
                  <a:lnTo>
                    <a:pt x="845248" y="80582"/>
                  </a:lnTo>
                  <a:lnTo>
                    <a:pt x="845058" y="78962"/>
                  </a:lnTo>
                  <a:lnTo>
                    <a:pt x="844868" y="77343"/>
                  </a:lnTo>
                  <a:lnTo>
                    <a:pt x="841724" y="77724"/>
                  </a:lnTo>
                  <a:lnTo>
                    <a:pt x="839914" y="76391"/>
                  </a:lnTo>
                  <a:lnTo>
                    <a:pt x="840677" y="69913"/>
                  </a:lnTo>
                  <a:lnTo>
                    <a:pt x="838295" y="63817"/>
                  </a:lnTo>
                  <a:lnTo>
                    <a:pt x="838105" y="62198"/>
                  </a:lnTo>
                  <a:lnTo>
                    <a:pt x="841057" y="60198"/>
                  </a:lnTo>
                  <a:lnTo>
                    <a:pt x="838867" y="55626"/>
                  </a:lnTo>
                  <a:lnTo>
                    <a:pt x="842010" y="55245"/>
                  </a:lnTo>
                  <a:lnTo>
                    <a:pt x="838010" y="49340"/>
                  </a:lnTo>
                  <a:lnTo>
                    <a:pt x="843534" y="55054"/>
                  </a:lnTo>
                  <a:lnTo>
                    <a:pt x="850202" y="57436"/>
                  </a:lnTo>
                  <a:lnTo>
                    <a:pt x="852202" y="60388"/>
                  </a:lnTo>
                  <a:lnTo>
                    <a:pt x="853154" y="55436"/>
                  </a:lnTo>
                  <a:lnTo>
                    <a:pt x="855345" y="60008"/>
                  </a:lnTo>
                  <a:lnTo>
                    <a:pt x="858298" y="58007"/>
                  </a:lnTo>
                  <a:lnTo>
                    <a:pt x="861822" y="60770"/>
                  </a:lnTo>
                  <a:lnTo>
                    <a:pt x="864013" y="65342"/>
                  </a:lnTo>
                  <a:lnTo>
                    <a:pt x="865822" y="66675"/>
                  </a:lnTo>
                  <a:lnTo>
                    <a:pt x="873538" y="64103"/>
                  </a:lnTo>
                  <a:lnTo>
                    <a:pt x="878014" y="61913"/>
                  </a:lnTo>
                  <a:lnTo>
                    <a:pt x="879157" y="58579"/>
                  </a:lnTo>
                  <a:lnTo>
                    <a:pt x="875824" y="57436"/>
                  </a:lnTo>
                  <a:lnTo>
                    <a:pt x="873443" y="51340"/>
                  </a:lnTo>
                  <a:lnTo>
                    <a:pt x="868489" y="50387"/>
                  </a:lnTo>
                  <a:lnTo>
                    <a:pt x="869252" y="43910"/>
                  </a:lnTo>
                  <a:lnTo>
                    <a:pt x="871061" y="45244"/>
                  </a:lnTo>
                  <a:lnTo>
                    <a:pt x="875538" y="43053"/>
                  </a:lnTo>
                  <a:lnTo>
                    <a:pt x="875157" y="39910"/>
                  </a:lnTo>
                  <a:lnTo>
                    <a:pt x="881253" y="37529"/>
                  </a:lnTo>
                  <a:lnTo>
                    <a:pt x="879443" y="36195"/>
                  </a:lnTo>
                  <a:lnTo>
                    <a:pt x="865441" y="39624"/>
                  </a:lnTo>
                  <a:lnTo>
                    <a:pt x="858488" y="35719"/>
                  </a:lnTo>
                  <a:lnTo>
                    <a:pt x="846391" y="29242"/>
                  </a:lnTo>
                  <a:lnTo>
                    <a:pt x="843058" y="28099"/>
                  </a:lnTo>
                  <a:lnTo>
                    <a:pt x="824294" y="19241"/>
                  </a:lnTo>
                  <a:lnTo>
                    <a:pt x="822674" y="19431"/>
                  </a:lnTo>
                  <a:lnTo>
                    <a:pt x="819340" y="18288"/>
                  </a:lnTo>
                  <a:lnTo>
                    <a:pt x="816959" y="12192"/>
                  </a:lnTo>
                  <a:lnTo>
                    <a:pt x="802100" y="9239"/>
                  </a:lnTo>
                  <a:lnTo>
                    <a:pt x="804863" y="5715"/>
                  </a:lnTo>
                  <a:lnTo>
                    <a:pt x="798957" y="9716"/>
                  </a:lnTo>
                  <a:lnTo>
                    <a:pt x="795623" y="8573"/>
                  </a:lnTo>
                  <a:lnTo>
                    <a:pt x="794290" y="10382"/>
                  </a:lnTo>
                  <a:lnTo>
                    <a:pt x="790956" y="9239"/>
                  </a:lnTo>
                  <a:lnTo>
                    <a:pt x="782288" y="3905"/>
                  </a:lnTo>
                  <a:lnTo>
                    <a:pt x="780955" y="5715"/>
                  </a:lnTo>
                  <a:lnTo>
                    <a:pt x="784288" y="6858"/>
                  </a:lnTo>
                  <a:lnTo>
                    <a:pt x="784670" y="10001"/>
                  </a:lnTo>
                  <a:lnTo>
                    <a:pt x="778002" y="7620"/>
                  </a:lnTo>
                  <a:lnTo>
                    <a:pt x="772478" y="14764"/>
                  </a:lnTo>
                  <a:lnTo>
                    <a:pt x="759809" y="3524"/>
                  </a:lnTo>
                  <a:lnTo>
                    <a:pt x="749713" y="0"/>
                  </a:lnTo>
                  <a:lnTo>
                    <a:pt x="748094" y="191"/>
                  </a:lnTo>
                  <a:lnTo>
                    <a:pt x="747141" y="5144"/>
                  </a:lnTo>
                  <a:lnTo>
                    <a:pt x="749141" y="8096"/>
                  </a:lnTo>
                  <a:lnTo>
                    <a:pt x="745998" y="8477"/>
                  </a:lnTo>
                  <a:lnTo>
                    <a:pt x="746188" y="10096"/>
                  </a:lnTo>
                  <a:lnTo>
                    <a:pt x="738283" y="11144"/>
                  </a:lnTo>
                  <a:lnTo>
                    <a:pt x="738283" y="11144"/>
                  </a:lnTo>
                  <a:lnTo>
                    <a:pt x="734949" y="10001"/>
                  </a:lnTo>
                  <a:lnTo>
                    <a:pt x="729805" y="7429"/>
                  </a:lnTo>
                  <a:lnTo>
                    <a:pt x="725519" y="11144"/>
                  </a:lnTo>
                  <a:lnTo>
                    <a:pt x="718566" y="7239"/>
                  </a:lnTo>
                  <a:lnTo>
                    <a:pt x="717995" y="2476"/>
                  </a:lnTo>
                  <a:lnTo>
                    <a:pt x="713708" y="6287"/>
                  </a:lnTo>
                  <a:lnTo>
                    <a:pt x="712089" y="6477"/>
                  </a:lnTo>
                  <a:lnTo>
                    <a:pt x="708565" y="3715"/>
                  </a:lnTo>
                  <a:lnTo>
                    <a:pt x="703802" y="4286"/>
                  </a:lnTo>
                  <a:lnTo>
                    <a:pt x="700849" y="6287"/>
                  </a:lnTo>
                  <a:lnTo>
                    <a:pt x="701230" y="9430"/>
                  </a:lnTo>
                  <a:lnTo>
                    <a:pt x="697135" y="14764"/>
                  </a:lnTo>
                  <a:lnTo>
                    <a:pt x="698182" y="22670"/>
                  </a:lnTo>
                  <a:lnTo>
                    <a:pt x="698754" y="27432"/>
                  </a:lnTo>
                  <a:lnTo>
                    <a:pt x="697421" y="29242"/>
                  </a:lnTo>
                  <a:lnTo>
                    <a:pt x="697611" y="30861"/>
                  </a:lnTo>
                  <a:lnTo>
                    <a:pt x="693706" y="37814"/>
                  </a:lnTo>
                  <a:lnTo>
                    <a:pt x="696087" y="43910"/>
                  </a:lnTo>
                  <a:lnTo>
                    <a:pt x="696468" y="47054"/>
                  </a:lnTo>
                  <a:lnTo>
                    <a:pt x="693515" y="49054"/>
                  </a:lnTo>
                  <a:lnTo>
                    <a:pt x="693134" y="45911"/>
                  </a:lnTo>
                  <a:lnTo>
                    <a:pt x="690181" y="47911"/>
                  </a:lnTo>
                  <a:lnTo>
                    <a:pt x="677132" y="46387"/>
                  </a:lnTo>
                  <a:lnTo>
                    <a:pt x="677513" y="49530"/>
                  </a:lnTo>
                  <a:lnTo>
                    <a:pt x="674180" y="48387"/>
                  </a:lnTo>
                  <a:lnTo>
                    <a:pt x="672370" y="47054"/>
                  </a:lnTo>
                  <a:lnTo>
                    <a:pt x="669417" y="49054"/>
                  </a:lnTo>
                  <a:lnTo>
                    <a:pt x="667607" y="47720"/>
                  </a:lnTo>
                  <a:lnTo>
                    <a:pt x="660082" y="39053"/>
                  </a:lnTo>
                  <a:lnTo>
                    <a:pt x="656939" y="39433"/>
                  </a:lnTo>
                  <a:lnTo>
                    <a:pt x="646938" y="48768"/>
                  </a:lnTo>
                  <a:lnTo>
                    <a:pt x="640461" y="48006"/>
                  </a:lnTo>
                  <a:lnTo>
                    <a:pt x="637508" y="50006"/>
                  </a:lnTo>
                  <a:lnTo>
                    <a:pt x="634365" y="50387"/>
                  </a:lnTo>
                  <a:lnTo>
                    <a:pt x="631412" y="52388"/>
                  </a:lnTo>
                  <a:lnTo>
                    <a:pt x="628269" y="52769"/>
                  </a:lnTo>
                  <a:lnTo>
                    <a:pt x="630269" y="42863"/>
                  </a:lnTo>
                  <a:lnTo>
                    <a:pt x="625126" y="40291"/>
                  </a:lnTo>
                  <a:lnTo>
                    <a:pt x="623506" y="40481"/>
                  </a:lnTo>
                  <a:lnTo>
                    <a:pt x="621697" y="39148"/>
                  </a:lnTo>
                  <a:lnTo>
                    <a:pt x="619125" y="44291"/>
                  </a:lnTo>
                  <a:lnTo>
                    <a:pt x="614553" y="46482"/>
                  </a:lnTo>
                  <a:lnTo>
                    <a:pt x="607886" y="44101"/>
                  </a:lnTo>
                  <a:lnTo>
                    <a:pt x="606933" y="49054"/>
                  </a:lnTo>
                  <a:lnTo>
                    <a:pt x="609505" y="56769"/>
                  </a:lnTo>
                  <a:lnTo>
                    <a:pt x="600837" y="64294"/>
                  </a:lnTo>
                  <a:lnTo>
                    <a:pt x="601599" y="70580"/>
                  </a:lnTo>
                  <a:lnTo>
                    <a:pt x="596455" y="68008"/>
                  </a:lnTo>
                  <a:lnTo>
                    <a:pt x="592455" y="62103"/>
                  </a:lnTo>
                  <a:lnTo>
                    <a:pt x="589121" y="60960"/>
                  </a:lnTo>
                  <a:lnTo>
                    <a:pt x="591122" y="63913"/>
                  </a:lnTo>
                  <a:lnTo>
                    <a:pt x="592360" y="73342"/>
                  </a:lnTo>
                  <a:lnTo>
                    <a:pt x="591026" y="75152"/>
                  </a:lnTo>
                  <a:lnTo>
                    <a:pt x="589407" y="75343"/>
                  </a:lnTo>
                  <a:lnTo>
                    <a:pt x="590169" y="81629"/>
                  </a:lnTo>
                  <a:lnTo>
                    <a:pt x="586264" y="88583"/>
                  </a:lnTo>
                  <a:lnTo>
                    <a:pt x="585121" y="91916"/>
                  </a:lnTo>
                  <a:lnTo>
                    <a:pt x="578834" y="92678"/>
                  </a:lnTo>
                  <a:lnTo>
                    <a:pt x="577691" y="96012"/>
                  </a:lnTo>
                  <a:lnTo>
                    <a:pt x="581025" y="97155"/>
                  </a:lnTo>
                  <a:lnTo>
                    <a:pt x="581597" y="101917"/>
                  </a:lnTo>
                  <a:lnTo>
                    <a:pt x="583121" y="101727"/>
                  </a:lnTo>
                  <a:lnTo>
                    <a:pt x="584930" y="103061"/>
                  </a:lnTo>
                  <a:lnTo>
                    <a:pt x="586740" y="104394"/>
                  </a:lnTo>
                  <a:lnTo>
                    <a:pt x="588740" y="107347"/>
                  </a:lnTo>
                  <a:lnTo>
                    <a:pt x="593503" y="106775"/>
                  </a:lnTo>
                  <a:lnTo>
                    <a:pt x="593693" y="108395"/>
                  </a:lnTo>
                  <a:lnTo>
                    <a:pt x="605123" y="110109"/>
                  </a:lnTo>
                  <a:lnTo>
                    <a:pt x="609314" y="117634"/>
                  </a:lnTo>
                  <a:lnTo>
                    <a:pt x="610362" y="125540"/>
                  </a:lnTo>
                  <a:lnTo>
                    <a:pt x="604456" y="142304"/>
                  </a:lnTo>
                  <a:lnTo>
                    <a:pt x="599694" y="142875"/>
                  </a:lnTo>
                  <a:lnTo>
                    <a:pt x="595979" y="151352"/>
                  </a:lnTo>
                  <a:lnTo>
                    <a:pt x="590074" y="155353"/>
                  </a:lnTo>
                  <a:lnTo>
                    <a:pt x="590455" y="158496"/>
                  </a:lnTo>
                  <a:lnTo>
                    <a:pt x="587693" y="162020"/>
                  </a:lnTo>
                  <a:lnTo>
                    <a:pt x="579977" y="164592"/>
                  </a:lnTo>
                  <a:lnTo>
                    <a:pt x="575596" y="155543"/>
                  </a:lnTo>
                  <a:lnTo>
                    <a:pt x="573596" y="152591"/>
                  </a:lnTo>
                  <a:lnTo>
                    <a:pt x="567309" y="153353"/>
                  </a:lnTo>
                  <a:lnTo>
                    <a:pt x="565975" y="155162"/>
                  </a:lnTo>
                  <a:lnTo>
                    <a:pt x="571310" y="159258"/>
                  </a:lnTo>
                  <a:lnTo>
                    <a:pt x="571500" y="160877"/>
                  </a:lnTo>
                  <a:lnTo>
                    <a:pt x="570357" y="164211"/>
                  </a:lnTo>
                  <a:lnTo>
                    <a:pt x="572548" y="168783"/>
                  </a:lnTo>
                  <a:lnTo>
                    <a:pt x="579501" y="172688"/>
                  </a:lnTo>
                  <a:lnTo>
                    <a:pt x="581311" y="174022"/>
                  </a:lnTo>
                  <a:lnTo>
                    <a:pt x="582454" y="170688"/>
                  </a:lnTo>
                  <a:lnTo>
                    <a:pt x="587407" y="171641"/>
                  </a:lnTo>
                  <a:lnTo>
                    <a:pt x="583121" y="175355"/>
                  </a:lnTo>
                  <a:lnTo>
                    <a:pt x="583502" y="178499"/>
                  </a:lnTo>
                  <a:lnTo>
                    <a:pt x="585502" y="181451"/>
                  </a:lnTo>
                  <a:lnTo>
                    <a:pt x="591979" y="182213"/>
                  </a:lnTo>
                  <a:lnTo>
                    <a:pt x="591217" y="188690"/>
                  </a:lnTo>
                  <a:lnTo>
                    <a:pt x="580739" y="194786"/>
                  </a:lnTo>
                  <a:lnTo>
                    <a:pt x="586454" y="202121"/>
                  </a:lnTo>
                  <a:lnTo>
                    <a:pt x="584073" y="208788"/>
                  </a:lnTo>
                  <a:lnTo>
                    <a:pt x="578168" y="212788"/>
                  </a:lnTo>
                  <a:lnTo>
                    <a:pt x="575596" y="217932"/>
                  </a:lnTo>
                  <a:lnTo>
                    <a:pt x="574834" y="224409"/>
                  </a:lnTo>
                  <a:lnTo>
                    <a:pt x="582549" y="234696"/>
                  </a:lnTo>
                  <a:lnTo>
                    <a:pt x="579787" y="238220"/>
                  </a:lnTo>
                  <a:lnTo>
                    <a:pt x="578644" y="241554"/>
                  </a:lnTo>
                  <a:lnTo>
                    <a:pt x="582168" y="244316"/>
                  </a:lnTo>
                  <a:lnTo>
                    <a:pt x="577882" y="248031"/>
                  </a:lnTo>
                  <a:lnTo>
                    <a:pt x="580072" y="252603"/>
                  </a:lnTo>
                  <a:lnTo>
                    <a:pt x="583406" y="253746"/>
                  </a:lnTo>
                  <a:lnTo>
                    <a:pt x="589312" y="249746"/>
                  </a:lnTo>
                  <a:lnTo>
                    <a:pt x="590074" y="256032"/>
                  </a:lnTo>
                  <a:lnTo>
                    <a:pt x="587312" y="259556"/>
                  </a:lnTo>
                  <a:lnTo>
                    <a:pt x="586169" y="262890"/>
                  </a:lnTo>
                  <a:lnTo>
                    <a:pt x="586930" y="269176"/>
                  </a:lnTo>
                  <a:lnTo>
                    <a:pt x="584740" y="277463"/>
                  </a:lnTo>
                  <a:lnTo>
                    <a:pt x="585311" y="282226"/>
                  </a:lnTo>
                  <a:lnTo>
                    <a:pt x="581978" y="281083"/>
                  </a:lnTo>
                  <a:lnTo>
                    <a:pt x="582168" y="282702"/>
                  </a:lnTo>
                  <a:lnTo>
                    <a:pt x="585121" y="293561"/>
                  </a:lnTo>
                  <a:lnTo>
                    <a:pt x="588264" y="293180"/>
                  </a:lnTo>
                  <a:lnTo>
                    <a:pt x="582739" y="300323"/>
                  </a:lnTo>
                  <a:lnTo>
                    <a:pt x="588455" y="307562"/>
                  </a:lnTo>
                  <a:lnTo>
                    <a:pt x="588645" y="309182"/>
                  </a:lnTo>
                  <a:lnTo>
                    <a:pt x="592360" y="313563"/>
                  </a:lnTo>
                  <a:lnTo>
                    <a:pt x="589026" y="312420"/>
                  </a:lnTo>
                  <a:lnTo>
                    <a:pt x="592360" y="313563"/>
                  </a:lnTo>
                  <a:lnTo>
                    <a:pt x="591407" y="318516"/>
                  </a:lnTo>
                  <a:lnTo>
                    <a:pt x="585121" y="319278"/>
                  </a:lnTo>
                  <a:lnTo>
                    <a:pt x="583978" y="322612"/>
                  </a:lnTo>
                  <a:lnTo>
                    <a:pt x="576739" y="328327"/>
                  </a:lnTo>
                  <a:lnTo>
                    <a:pt x="571976" y="328898"/>
                  </a:lnTo>
                  <a:lnTo>
                    <a:pt x="572167" y="330517"/>
                  </a:lnTo>
                  <a:lnTo>
                    <a:pt x="568071" y="335851"/>
                  </a:lnTo>
                  <a:lnTo>
                    <a:pt x="568262" y="337471"/>
                  </a:lnTo>
                  <a:lnTo>
                    <a:pt x="564928" y="336328"/>
                  </a:lnTo>
                  <a:lnTo>
                    <a:pt x="564166" y="330041"/>
                  </a:lnTo>
                  <a:lnTo>
                    <a:pt x="557879" y="330803"/>
                  </a:lnTo>
                  <a:lnTo>
                    <a:pt x="556450" y="332613"/>
                  </a:lnTo>
                  <a:lnTo>
                    <a:pt x="557022" y="337375"/>
                  </a:lnTo>
                  <a:lnTo>
                    <a:pt x="554260" y="340900"/>
                  </a:lnTo>
                  <a:lnTo>
                    <a:pt x="542639" y="350425"/>
                  </a:lnTo>
                  <a:lnTo>
                    <a:pt x="539305" y="349282"/>
                  </a:lnTo>
                  <a:lnTo>
                    <a:pt x="535019" y="352996"/>
                  </a:lnTo>
                  <a:lnTo>
                    <a:pt x="527113" y="354044"/>
                  </a:lnTo>
                  <a:lnTo>
                    <a:pt x="525494" y="354235"/>
                  </a:lnTo>
                  <a:lnTo>
                    <a:pt x="526066" y="358997"/>
                  </a:lnTo>
                  <a:lnTo>
                    <a:pt x="526256" y="360617"/>
                  </a:lnTo>
                  <a:lnTo>
                    <a:pt x="524923" y="362426"/>
                  </a:lnTo>
                  <a:lnTo>
                    <a:pt x="528923" y="368332"/>
                  </a:lnTo>
                  <a:lnTo>
                    <a:pt x="525971" y="370332"/>
                  </a:lnTo>
                  <a:lnTo>
                    <a:pt x="526542" y="375095"/>
                  </a:lnTo>
                  <a:lnTo>
                    <a:pt x="523780" y="378619"/>
                  </a:lnTo>
                  <a:lnTo>
                    <a:pt x="519017" y="379190"/>
                  </a:lnTo>
                  <a:lnTo>
                    <a:pt x="516255" y="382715"/>
                  </a:lnTo>
                  <a:lnTo>
                    <a:pt x="519779" y="385477"/>
                  </a:lnTo>
                  <a:lnTo>
                    <a:pt x="519970" y="387096"/>
                  </a:lnTo>
                  <a:lnTo>
                    <a:pt x="515017" y="386144"/>
                  </a:lnTo>
                  <a:lnTo>
                    <a:pt x="515398" y="389287"/>
                  </a:lnTo>
                  <a:lnTo>
                    <a:pt x="507682" y="391859"/>
                  </a:lnTo>
                  <a:lnTo>
                    <a:pt x="505873" y="390525"/>
                  </a:lnTo>
                  <a:lnTo>
                    <a:pt x="504444" y="392335"/>
                  </a:lnTo>
                  <a:lnTo>
                    <a:pt x="502253" y="400621"/>
                  </a:lnTo>
                  <a:lnTo>
                    <a:pt x="503301" y="408527"/>
                  </a:lnTo>
                  <a:lnTo>
                    <a:pt x="505492" y="413099"/>
                  </a:lnTo>
                  <a:lnTo>
                    <a:pt x="514921" y="411861"/>
                  </a:lnTo>
                  <a:lnTo>
                    <a:pt x="515112" y="413480"/>
                  </a:lnTo>
                  <a:lnTo>
                    <a:pt x="518446" y="414623"/>
                  </a:lnTo>
                  <a:lnTo>
                    <a:pt x="517493" y="419576"/>
                  </a:lnTo>
                  <a:lnTo>
                    <a:pt x="524447" y="423482"/>
                  </a:lnTo>
                  <a:lnTo>
                    <a:pt x="525494" y="431387"/>
                  </a:lnTo>
                  <a:lnTo>
                    <a:pt x="522351" y="431768"/>
                  </a:lnTo>
                  <a:lnTo>
                    <a:pt x="521018" y="433578"/>
                  </a:lnTo>
                  <a:lnTo>
                    <a:pt x="516446" y="435769"/>
                  </a:lnTo>
                  <a:lnTo>
                    <a:pt x="515112" y="437579"/>
                  </a:lnTo>
                  <a:lnTo>
                    <a:pt x="511969" y="437959"/>
                  </a:lnTo>
                  <a:lnTo>
                    <a:pt x="509969" y="435007"/>
                  </a:lnTo>
                  <a:lnTo>
                    <a:pt x="503682" y="435769"/>
                  </a:lnTo>
                  <a:lnTo>
                    <a:pt x="502063" y="435959"/>
                  </a:lnTo>
                  <a:lnTo>
                    <a:pt x="499300" y="439484"/>
                  </a:lnTo>
                  <a:lnTo>
                    <a:pt x="499872" y="444246"/>
                  </a:lnTo>
                  <a:lnTo>
                    <a:pt x="495776" y="449580"/>
                  </a:lnTo>
                  <a:lnTo>
                    <a:pt x="491109" y="463010"/>
                  </a:lnTo>
                  <a:lnTo>
                    <a:pt x="488537" y="468154"/>
                  </a:lnTo>
                  <a:lnTo>
                    <a:pt x="490919" y="474250"/>
                  </a:lnTo>
                  <a:lnTo>
                    <a:pt x="487204" y="482727"/>
                  </a:lnTo>
                  <a:lnTo>
                    <a:pt x="490728" y="485489"/>
                  </a:lnTo>
                  <a:lnTo>
                    <a:pt x="495490" y="484918"/>
                  </a:lnTo>
                  <a:lnTo>
                    <a:pt x="502158" y="487299"/>
                  </a:lnTo>
                  <a:lnTo>
                    <a:pt x="506921" y="486728"/>
                  </a:lnTo>
                  <a:lnTo>
                    <a:pt x="510635" y="491014"/>
                  </a:lnTo>
                  <a:lnTo>
                    <a:pt x="516160" y="496729"/>
                  </a:lnTo>
                  <a:lnTo>
                    <a:pt x="515207" y="501682"/>
                  </a:lnTo>
                  <a:lnTo>
                    <a:pt x="513397" y="500348"/>
                  </a:lnTo>
                  <a:lnTo>
                    <a:pt x="512255" y="503682"/>
                  </a:lnTo>
                  <a:lnTo>
                    <a:pt x="513683" y="514731"/>
                  </a:lnTo>
                  <a:lnTo>
                    <a:pt x="518636" y="515684"/>
                  </a:lnTo>
                  <a:lnTo>
                    <a:pt x="514921" y="524161"/>
                  </a:lnTo>
                  <a:lnTo>
                    <a:pt x="507968" y="520255"/>
                  </a:lnTo>
                  <a:lnTo>
                    <a:pt x="508349" y="523399"/>
                  </a:lnTo>
                  <a:lnTo>
                    <a:pt x="505587" y="526923"/>
                  </a:lnTo>
                  <a:lnTo>
                    <a:pt x="495681" y="525018"/>
                  </a:lnTo>
                  <a:lnTo>
                    <a:pt x="487775" y="526066"/>
                  </a:lnTo>
                  <a:lnTo>
                    <a:pt x="485775" y="535972"/>
                  </a:lnTo>
                  <a:lnTo>
                    <a:pt x="483013" y="539496"/>
                  </a:lnTo>
                  <a:lnTo>
                    <a:pt x="487966" y="540449"/>
                  </a:lnTo>
                  <a:lnTo>
                    <a:pt x="485394" y="545592"/>
                  </a:lnTo>
                  <a:lnTo>
                    <a:pt x="489966" y="543401"/>
                  </a:lnTo>
                  <a:lnTo>
                    <a:pt x="492157" y="547973"/>
                  </a:lnTo>
                  <a:lnTo>
                    <a:pt x="492728" y="552736"/>
                  </a:lnTo>
                  <a:lnTo>
                    <a:pt x="498253" y="558451"/>
                  </a:lnTo>
                  <a:lnTo>
                    <a:pt x="495490" y="561975"/>
                  </a:lnTo>
                  <a:lnTo>
                    <a:pt x="493681" y="560642"/>
                  </a:lnTo>
                  <a:lnTo>
                    <a:pt x="492728" y="565595"/>
                  </a:lnTo>
                  <a:lnTo>
                    <a:pt x="490156" y="570738"/>
                  </a:lnTo>
                  <a:lnTo>
                    <a:pt x="491776" y="570548"/>
                  </a:lnTo>
                  <a:lnTo>
                    <a:pt x="492919" y="567214"/>
                  </a:lnTo>
                  <a:lnTo>
                    <a:pt x="497872" y="568166"/>
                  </a:lnTo>
                  <a:lnTo>
                    <a:pt x="505111" y="562451"/>
                  </a:lnTo>
                  <a:lnTo>
                    <a:pt x="504539" y="557689"/>
                  </a:lnTo>
                  <a:lnTo>
                    <a:pt x="507873" y="558832"/>
                  </a:lnTo>
                  <a:lnTo>
                    <a:pt x="508445" y="563594"/>
                  </a:lnTo>
                  <a:lnTo>
                    <a:pt x="504730" y="572072"/>
                  </a:lnTo>
                  <a:lnTo>
                    <a:pt x="512826" y="572643"/>
                  </a:lnTo>
                  <a:lnTo>
                    <a:pt x="513397" y="577405"/>
                  </a:lnTo>
                  <a:lnTo>
                    <a:pt x="516541" y="577025"/>
                  </a:lnTo>
                  <a:lnTo>
                    <a:pt x="513779" y="593408"/>
                  </a:lnTo>
                  <a:lnTo>
                    <a:pt x="513969" y="595027"/>
                  </a:lnTo>
                  <a:lnTo>
                    <a:pt x="512159" y="593693"/>
                  </a:lnTo>
                  <a:lnTo>
                    <a:pt x="509588" y="598837"/>
                  </a:lnTo>
                  <a:lnTo>
                    <a:pt x="506825" y="602361"/>
                  </a:lnTo>
                  <a:lnTo>
                    <a:pt x="505682" y="605695"/>
                  </a:lnTo>
                  <a:lnTo>
                    <a:pt x="501110" y="607886"/>
                  </a:lnTo>
                  <a:lnTo>
                    <a:pt x="499967" y="611219"/>
                  </a:lnTo>
                  <a:lnTo>
                    <a:pt x="496824" y="611600"/>
                  </a:lnTo>
                  <a:lnTo>
                    <a:pt x="492252" y="613791"/>
                  </a:lnTo>
                  <a:lnTo>
                    <a:pt x="485775" y="613029"/>
                  </a:lnTo>
                  <a:lnTo>
                    <a:pt x="481013" y="613601"/>
                  </a:lnTo>
                  <a:lnTo>
                    <a:pt x="480060" y="618554"/>
                  </a:lnTo>
                  <a:lnTo>
                    <a:pt x="485965" y="627412"/>
                  </a:lnTo>
                  <a:lnTo>
                    <a:pt x="486346" y="630555"/>
                  </a:lnTo>
                  <a:lnTo>
                    <a:pt x="481584" y="631126"/>
                  </a:lnTo>
                  <a:lnTo>
                    <a:pt x="477488" y="636461"/>
                  </a:lnTo>
                  <a:lnTo>
                    <a:pt x="477869" y="639604"/>
                  </a:lnTo>
                  <a:lnTo>
                    <a:pt x="473773" y="644938"/>
                  </a:lnTo>
                  <a:lnTo>
                    <a:pt x="466820" y="641033"/>
                  </a:lnTo>
                  <a:lnTo>
                    <a:pt x="459296" y="645224"/>
                  </a:lnTo>
                  <a:lnTo>
                    <a:pt x="454152" y="642652"/>
                  </a:lnTo>
                  <a:lnTo>
                    <a:pt x="451390" y="646176"/>
                  </a:lnTo>
                  <a:lnTo>
                    <a:pt x="444437" y="642271"/>
                  </a:lnTo>
                  <a:lnTo>
                    <a:pt x="439674" y="642842"/>
                  </a:lnTo>
                  <a:lnTo>
                    <a:pt x="436912" y="646367"/>
                  </a:lnTo>
                  <a:lnTo>
                    <a:pt x="432149" y="646938"/>
                  </a:lnTo>
                  <a:lnTo>
                    <a:pt x="421672" y="653034"/>
                  </a:lnTo>
                  <a:lnTo>
                    <a:pt x="419862" y="651701"/>
                  </a:lnTo>
                  <a:lnTo>
                    <a:pt x="421672" y="653034"/>
                  </a:lnTo>
                  <a:lnTo>
                    <a:pt x="416147" y="660178"/>
                  </a:lnTo>
                  <a:lnTo>
                    <a:pt x="424624" y="663893"/>
                  </a:lnTo>
                  <a:lnTo>
                    <a:pt x="425196" y="668655"/>
                  </a:lnTo>
                  <a:lnTo>
                    <a:pt x="428530" y="669798"/>
                  </a:lnTo>
                  <a:lnTo>
                    <a:pt x="428911" y="672941"/>
                  </a:lnTo>
                  <a:lnTo>
                    <a:pt x="419862" y="677323"/>
                  </a:lnTo>
                  <a:lnTo>
                    <a:pt x="417671" y="672751"/>
                  </a:lnTo>
                  <a:lnTo>
                    <a:pt x="414528" y="673132"/>
                  </a:lnTo>
                  <a:lnTo>
                    <a:pt x="413575" y="678085"/>
                  </a:lnTo>
                  <a:lnTo>
                    <a:pt x="410623" y="680085"/>
                  </a:lnTo>
                  <a:lnTo>
                    <a:pt x="413956" y="681228"/>
                  </a:lnTo>
                  <a:lnTo>
                    <a:pt x="411004" y="683228"/>
                  </a:lnTo>
                  <a:lnTo>
                    <a:pt x="409670" y="685038"/>
                  </a:lnTo>
                  <a:lnTo>
                    <a:pt x="399383" y="679895"/>
                  </a:lnTo>
                  <a:lnTo>
                    <a:pt x="398050" y="681704"/>
                  </a:lnTo>
                  <a:lnTo>
                    <a:pt x="396907" y="685038"/>
                  </a:lnTo>
                  <a:lnTo>
                    <a:pt x="391763" y="682466"/>
                  </a:lnTo>
                  <a:lnTo>
                    <a:pt x="387001" y="683038"/>
                  </a:lnTo>
                  <a:lnTo>
                    <a:pt x="385572" y="684848"/>
                  </a:lnTo>
                  <a:lnTo>
                    <a:pt x="387953" y="690944"/>
                  </a:lnTo>
                  <a:lnTo>
                    <a:pt x="388144" y="692563"/>
                  </a:lnTo>
                  <a:lnTo>
                    <a:pt x="384620" y="689801"/>
                  </a:lnTo>
                  <a:lnTo>
                    <a:pt x="380619" y="683895"/>
                  </a:lnTo>
                  <a:lnTo>
                    <a:pt x="375666" y="682943"/>
                  </a:lnTo>
                  <a:lnTo>
                    <a:pt x="374523" y="686276"/>
                  </a:lnTo>
                  <a:lnTo>
                    <a:pt x="371189" y="685133"/>
                  </a:lnTo>
                  <a:lnTo>
                    <a:pt x="364046" y="679609"/>
                  </a:lnTo>
                  <a:lnTo>
                    <a:pt x="362426" y="679799"/>
                  </a:lnTo>
                  <a:lnTo>
                    <a:pt x="357664" y="680371"/>
                  </a:lnTo>
                  <a:lnTo>
                    <a:pt x="357473" y="678751"/>
                  </a:lnTo>
                  <a:lnTo>
                    <a:pt x="352711" y="679323"/>
                  </a:lnTo>
                  <a:lnTo>
                    <a:pt x="352139" y="674561"/>
                  </a:lnTo>
                  <a:lnTo>
                    <a:pt x="350330" y="673227"/>
                  </a:lnTo>
                  <a:lnTo>
                    <a:pt x="347186" y="673608"/>
                  </a:lnTo>
                  <a:lnTo>
                    <a:pt x="347567" y="676751"/>
                  </a:lnTo>
                  <a:lnTo>
                    <a:pt x="349568" y="679704"/>
                  </a:lnTo>
                  <a:lnTo>
                    <a:pt x="348805" y="686181"/>
                  </a:lnTo>
                  <a:lnTo>
                    <a:pt x="344043" y="686753"/>
                  </a:lnTo>
                  <a:lnTo>
                    <a:pt x="340138" y="693706"/>
                  </a:lnTo>
                  <a:lnTo>
                    <a:pt x="336995" y="694087"/>
                  </a:lnTo>
                  <a:lnTo>
                    <a:pt x="334042" y="696087"/>
                  </a:lnTo>
                  <a:lnTo>
                    <a:pt x="325946" y="695516"/>
                  </a:lnTo>
                  <a:lnTo>
                    <a:pt x="319469" y="694754"/>
                  </a:lnTo>
                  <a:lnTo>
                    <a:pt x="312325" y="689229"/>
                  </a:lnTo>
                  <a:lnTo>
                    <a:pt x="310324" y="686276"/>
                  </a:lnTo>
                  <a:lnTo>
                    <a:pt x="313468" y="685895"/>
                  </a:lnTo>
                  <a:lnTo>
                    <a:pt x="309944" y="683133"/>
                  </a:lnTo>
                  <a:lnTo>
                    <a:pt x="309753" y="681514"/>
                  </a:lnTo>
                  <a:lnTo>
                    <a:pt x="310134" y="684657"/>
                  </a:lnTo>
                  <a:lnTo>
                    <a:pt x="308800" y="686467"/>
                  </a:lnTo>
                  <a:lnTo>
                    <a:pt x="306800" y="683514"/>
                  </a:lnTo>
                  <a:lnTo>
                    <a:pt x="303657" y="683895"/>
                  </a:lnTo>
                  <a:lnTo>
                    <a:pt x="303276" y="680752"/>
                  </a:lnTo>
                  <a:lnTo>
                    <a:pt x="305086" y="682085"/>
                  </a:lnTo>
                  <a:lnTo>
                    <a:pt x="303086" y="679133"/>
                  </a:lnTo>
                  <a:lnTo>
                    <a:pt x="304514" y="677323"/>
                  </a:lnTo>
                  <a:lnTo>
                    <a:pt x="305657" y="673989"/>
                  </a:lnTo>
                  <a:lnTo>
                    <a:pt x="302323" y="672846"/>
                  </a:lnTo>
                  <a:lnTo>
                    <a:pt x="300133" y="668274"/>
                  </a:lnTo>
                  <a:lnTo>
                    <a:pt x="299752" y="665131"/>
                  </a:lnTo>
                  <a:lnTo>
                    <a:pt x="297752" y="662178"/>
                  </a:lnTo>
                  <a:lnTo>
                    <a:pt x="290513" y="667893"/>
                  </a:lnTo>
                  <a:lnTo>
                    <a:pt x="286607" y="674846"/>
                  </a:lnTo>
                  <a:lnTo>
                    <a:pt x="276130" y="668179"/>
                  </a:lnTo>
                  <a:lnTo>
                    <a:pt x="276130" y="681038"/>
                  </a:lnTo>
                  <a:cubicBezTo>
                    <a:pt x="276130" y="681038"/>
                    <a:pt x="279559" y="682180"/>
                    <a:pt x="279559" y="682180"/>
                  </a:cubicBezTo>
                  <a:lnTo>
                    <a:pt x="270700" y="688086"/>
                  </a:lnTo>
                  <a:lnTo>
                    <a:pt x="265176" y="695230"/>
                  </a:lnTo>
                  <a:lnTo>
                    <a:pt x="263176" y="692277"/>
                  </a:lnTo>
                  <a:lnTo>
                    <a:pt x="260223" y="694277"/>
                  </a:lnTo>
                  <a:lnTo>
                    <a:pt x="255270" y="693325"/>
                  </a:lnTo>
                  <a:lnTo>
                    <a:pt x="256699" y="691515"/>
                  </a:lnTo>
                  <a:lnTo>
                    <a:pt x="261461" y="690944"/>
                  </a:lnTo>
                  <a:lnTo>
                    <a:pt x="261271" y="689324"/>
                  </a:lnTo>
                  <a:lnTo>
                    <a:pt x="250793" y="682657"/>
                  </a:lnTo>
                  <a:lnTo>
                    <a:pt x="246031" y="683228"/>
                  </a:lnTo>
                  <a:lnTo>
                    <a:pt x="242697" y="682085"/>
                  </a:lnTo>
                  <a:lnTo>
                    <a:pt x="245078" y="688181"/>
                  </a:lnTo>
                  <a:lnTo>
                    <a:pt x="242316" y="691705"/>
                  </a:lnTo>
                  <a:lnTo>
                    <a:pt x="242888" y="696468"/>
                  </a:lnTo>
                  <a:lnTo>
                    <a:pt x="238982" y="703421"/>
                  </a:lnTo>
                  <a:lnTo>
                    <a:pt x="242316" y="704564"/>
                  </a:lnTo>
                  <a:lnTo>
                    <a:pt x="240982" y="706374"/>
                  </a:lnTo>
                  <a:lnTo>
                    <a:pt x="239363" y="706565"/>
                  </a:lnTo>
                  <a:lnTo>
                    <a:pt x="241554" y="711137"/>
                  </a:lnTo>
                  <a:lnTo>
                    <a:pt x="239935" y="711327"/>
                  </a:lnTo>
                  <a:lnTo>
                    <a:pt x="236791" y="711708"/>
                  </a:lnTo>
                  <a:lnTo>
                    <a:pt x="234029" y="715232"/>
                  </a:lnTo>
                  <a:lnTo>
                    <a:pt x="237554" y="717995"/>
                  </a:lnTo>
                  <a:lnTo>
                    <a:pt x="231457" y="720376"/>
                  </a:lnTo>
                  <a:lnTo>
                    <a:pt x="230696" y="714089"/>
                  </a:lnTo>
                  <a:lnTo>
                    <a:pt x="227552" y="714470"/>
                  </a:lnTo>
                  <a:lnTo>
                    <a:pt x="219075" y="710755"/>
                  </a:lnTo>
                  <a:lnTo>
                    <a:pt x="216503" y="715899"/>
                  </a:lnTo>
                  <a:lnTo>
                    <a:pt x="209550" y="711994"/>
                  </a:lnTo>
                  <a:lnTo>
                    <a:pt x="204025" y="719138"/>
                  </a:lnTo>
                  <a:lnTo>
                    <a:pt x="197072" y="715232"/>
                  </a:lnTo>
                  <a:lnTo>
                    <a:pt x="194500" y="720376"/>
                  </a:lnTo>
                  <a:lnTo>
                    <a:pt x="187166" y="726091"/>
                  </a:lnTo>
                  <a:lnTo>
                    <a:pt x="185547" y="726281"/>
                  </a:lnTo>
                  <a:lnTo>
                    <a:pt x="181451" y="731615"/>
                  </a:lnTo>
                  <a:lnTo>
                    <a:pt x="187928" y="732377"/>
                  </a:lnTo>
                  <a:lnTo>
                    <a:pt x="188119" y="733997"/>
                  </a:lnTo>
                  <a:lnTo>
                    <a:pt x="186499" y="734187"/>
                  </a:lnTo>
                  <a:lnTo>
                    <a:pt x="185356" y="737521"/>
                  </a:lnTo>
                  <a:lnTo>
                    <a:pt x="180594" y="738092"/>
                  </a:lnTo>
                  <a:lnTo>
                    <a:pt x="180594" y="738092"/>
                  </a:lnTo>
                  <a:lnTo>
                    <a:pt x="178403" y="746379"/>
                  </a:lnTo>
                  <a:lnTo>
                    <a:pt x="170879" y="750570"/>
                  </a:lnTo>
                  <a:lnTo>
                    <a:pt x="158020" y="750570"/>
                  </a:lnTo>
                  <a:cubicBezTo>
                    <a:pt x="158020" y="750570"/>
                    <a:pt x="154686" y="749427"/>
                    <a:pt x="154686" y="749427"/>
                  </a:cubicBezTo>
                  <a:lnTo>
                    <a:pt x="154877" y="751046"/>
                  </a:lnTo>
                  <a:lnTo>
                    <a:pt x="154496" y="760762"/>
                  </a:lnTo>
                  <a:lnTo>
                    <a:pt x="154686" y="762381"/>
                  </a:lnTo>
                  <a:lnTo>
                    <a:pt x="151924" y="765905"/>
                  </a:lnTo>
                  <a:lnTo>
                    <a:pt x="146590" y="761809"/>
                  </a:lnTo>
                  <a:lnTo>
                    <a:pt x="142875" y="770287"/>
                  </a:lnTo>
                  <a:lnTo>
                    <a:pt x="139541" y="769144"/>
                  </a:lnTo>
                  <a:lnTo>
                    <a:pt x="141351" y="770477"/>
                  </a:lnTo>
                  <a:lnTo>
                    <a:pt x="141541" y="772097"/>
                  </a:lnTo>
                  <a:lnTo>
                    <a:pt x="143351" y="773430"/>
                  </a:lnTo>
                  <a:lnTo>
                    <a:pt x="140779" y="778574"/>
                  </a:lnTo>
                  <a:lnTo>
                    <a:pt x="141351" y="783336"/>
                  </a:lnTo>
                  <a:lnTo>
                    <a:pt x="138208" y="783717"/>
                  </a:lnTo>
                  <a:lnTo>
                    <a:pt x="135446" y="787241"/>
                  </a:lnTo>
                  <a:lnTo>
                    <a:pt x="133255" y="782669"/>
                  </a:lnTo>
                  <a:lnTo>
                    <a:pt x="127921" y="778574"/>
                  </a:lnTo>
                  <a:lnTo>
                    <a:pt x="125539" y="772478"/>
                  </a:lnTo>
                  <a:lnTo>
                    <a:pt x="118396" y="766953"/>
                  </a:lnTo>
                  <a:lnTo>
                    <a:pt x="118015" y="763810"/>
                  </a:lnTo>
                  <a:lnTo>
                    <a:pt x="108585" y="765048"/>
                  </a:lnTo>
                  <a:lnTo>
                    <a:pt x="102870" y="770573"/>
                  </a:lnTo>
                  <a:lnTo>
                    <a:pt x="99917" y="772573"/>
                  </a:lnTo>
                  <a:lnTo>
                    <a:pt x="99536" y="769430"/>
                  </a:lnTo>
                  <a:lnTo>
                    <a:pt x="94774" y="770001"/>
                  </a:lnTo>
                  <a:lnTo>
                    <a:pt x="92773" y="767048"/>
                  </a:lnTo>
                  <a:lnTo>
                    <a:pt x="89630" y="767429"/>
                  </a:lnTo>
                  <a:lnTo>
                    <a:pt x="85058" y="769620"/>
                  </a:lnTo>
                  <a:lnTo>
                    <a:pt x="89440" y="778669"/>
                  </a:lnTo>
                  <a:lnTo>
                    <a:pt x="88106" y="780479"/>
                  </a:lnTo>
                  <a:lnTo>
                    <a:pt x="83534" y="782669"/>
                  </a:lnTo>
                  <a:lnTo>
                    <a:pt x="84106" y="787432"/>
                  </a:lnTo>
                  <a:lnTo>
                    <a:pt x="77819" y="788194"/>
                  </a:lnTo>
                  <a:lnTo>
                    <a:pt x="79820" y="791147"/>
                  </a:lnTo>
                  <a:lnTo>
                    <a:pt x="78677" y="794480"/>
                  </a:lnTo>
                  <a:lnTo>
                    <a:pt x="76105" y="799624"/>
                  </a:lnTo>
                  <a:lnTo>
                    <a:pt x="72771" y="798481"/>
                  </a:lnTo>
                  <a:lnTo>
                    <a:pt x="70390" y="792385"/>
                  </a:lnTo>
                  <a:lnTo>
                    <a:pt x="67437" y="794385"/>
                  </a:lnTo>
                  <a:lnTo>
                    <a:pt x="64294" y="794766"/>
                  </a:lnTo>
                  <a:lnTo>
                    <a:pt x="59150" y="792194"/>
                  </a:lnTo>
                  <a:lnTo>
                    <a:pt x="57150" y="789242"/>
                  </a:lnTo>
                  <a:lnTo>
                    <a:pt x="59531" y="782479"/>
                  </a:lnTo>
                  <a:lnTo>
                    <a:pt x="56197" y="781336"/>
                  </a:lnTo>
                  <a:lnTo>
                    <a:pt x="54007" y="776764"/>
                  </a:lnTo>
                  <a:lnTo>
                    <a:pt x="50482" y="774001"/>
                  </a:lnTo>
                  <a:lnTo>
                    <a:pt x="44387" y="776383"/>
                  </a:lnTo>
                  <a:lnTo>
                    <a:pt x="46958" y="784098"/>
                  </a:lnTo>
                  <a:lnTo>
                    <a:pt x="34862" y="777621"/>
                  </a:lnTo>
                  <a:lnTo>
                    <a:pt x="28575" y="778383"/>
                  </a:lnTo>
                  <a:lnTo>
                    <a:pt x="31909" y="779526"/>
                  </a:lnTo>
                  <a:lnTo>
                    <a:pt x="35052" y="779145"/>
                  </a:lnTo>
                  <a:lnTo>
                    <a:pt x="35433" y="782288"/>
                  </a:lnTo>
                  <a:lnTo>
                    <a:pt x="38576" y="781907"/>
                  </a:lnTo>
                  <a:lnTo>
                    <a:pt x="32671" y="785908"/>
                  </a:lnTo>
                  <a:lnTo>
                    <a:pt x="30099" y="791051"/>
                  </a:lnTo>
                  <a:lnTo>
                    <a:pt x="28766" y="792861"/>
                  </a:lnTo>
                  <a:lnTo>
                    <a:pt x="27432" y="794671"/>
                  </a:lnTo>
                  <a:lnTo>
                    <a:pt x="24289" y="795052"/>
                  </a:lnTo>
                  <a:lnTo>
                    <a:pt x="19336" y="794099"/>
                  </a:lnTo>
                  <a:lnTo>
                    <a:pt x="18764" y="789337"/>
                  </a:lnTo>
                  <a:lnTo>
                    <a:pt x="13811" y="788384"/>
                  </a:lnTo>
                  <a:lnTo>
                    <a:pt x="13049" y="794861"/>
                  </a:lnTo>
                  <a:lnTo>
                    <a:pt x="15050" y="797814"/>
                  </a:lnTo>
                  <a:lnTo>
                    <a:pt x="16383" y="796004"/>
                  </a:lnTo>
                  <a:lnTo>
                    <a:pt x="16573" y="797624"/>
                  </a:lnTo>
                  <a:lnTo>
                    <a:pt x="19907" y="798767"/>
                  </a:lnTo>
                  <a:lnTo>
                    <a:pt x="21717" y="800100"/>
                  </a:lnTo>
                  <a:lnTo>
                    <a:pt x="20764" y="805053"/>
                  </a:lnTo>
                  <a:lnTo>
                    <a:pt x="17431" y="803910"/>
                  </a:lnTo>
                  <a:lnTo>
                    <a:pt x="14668" y="807434"/>
                  </a:lnTo>
                  <a:lnTo>
                    <a:pt x="13049" y="807625"/>
                  </a:lnTo>
                  <a:lnTo>
                    <a:pt x="14859" y="808958"/>
                  </a:lnTo>
                  <a:lnTo>
                    <a:pt x="21336" y="809720"/>
                  </a:lnTo>
                  <a:lnTo>
                    <a:pt x="16764" y="811911"/>
                  </a:lnTo>
                  <a:lnTo>
                    <a:pt x="14002" y="815435"/>
                  </a:lnTo>
                  <a:lnTo>
                    <a:pt x="8858" y="812864"/>
                  </a:lnTo>
                  <a:lnTo>
                    <a:pt x="7525" y="814673"/>
                  </a:lnTo>
                  <a:lnTo>
                    <a:pt x="8287" y="820960"/>
                  </a:lnTo>
                  <a:lnTo>
                    <a:pt x="6667" y="821150"/>
                  </a:lnTo>
                  <a:lnTo>
                    <a:pt x="0" y="831628"/>
                  </a:lnTo>
                  <a:lnTo>
                    <a:pt x="13430" y="836295"/>
                  </a:lnTo>
                  <a:lnTo>
                    <a:pt x="27432" y="845725"/>
                  </a:lnTo>
                  <a:lnTo>
                    <a:pt x="43434" y="845249"/>
                  </a:lnTo>
                  <a:lnTo>
                    <a:pt x="49911" y="846010"/>
                  </a:lnTo>
                  <a:lnTo>
                    <a:pt x="52864" y="844010"/>
                  </a:lnTo>
                  <a:lnTo>
                    <a:pt x="58198" y="848106"/>
                  </a:lnTo>
                  <a:lnTo>
                    <a:pt x="65913" y="858393"/>
                  </a:lnTo>
                  <a:lnTo>
                    <a:pt x="70675" y="857822"/>
                  </a:lnTo>
                  <a:lnTo>
                    <a:pt x="68866" y="856488"/>
                  </a:lnTo>
                  <a:lnTo>
                    <a:pt x="82487" y="862775"/>
                  </a:lnTo>
                  <a:lnTo>
                    <a:pt x="91821" y="872776"/>
                  </a:lnTo>
                  <a:lnTo>
                    <a:pt x="95821" y="878681"/>
                  </a:lnTo>
                  <a:lnTo>
                    <a:pt x="102965" y="884206"/>
                  </a:lnTo>
                  <a:lnTo>
                    <a:pt x="107156" y="891731"/>
                  </a:lnTo>
                  <a:lnTo>
                    <a:pt x="110490" y="892874"/>
                  </a:lnTo>
                  <a:lnTo>
                    <a:pt x="114776" y="889159"/>
                  </a:lnTo>
                  <a:lnTo>
                    <a:pt x="122682" y="888111"/>
                  </a:lnTo>
                  <a:lnTo>
                    <a:pt x="125825" y="887730"/>
                  </a:lnTo>
                  <a:lnTo>
                    <a:pt x="126016" y="889349"/>
                  </a:lnTo>
                  <a:lnTo>
                    <a:pt x="144208" y="893445"/>
                  </a:lnTo>
                  <a:lnTo>
                    <a:pt x="154305" y="896969"/>
                  </a:lnTo>
                  <a:lnTo>
                    <a:pt x="165545" y="884301"/>
                  </a:lnTo>
                  <a:lnTo>
                    <a:pt x="169259" y="875824"/>
                  </a:lnTo>
                  <a:lnTo>
                    <a:pt x="171831" y="870680"/>
                  </a:lnTo>
                  <a:lnTo>
                    <a:pt x="181546" y="871061"/>
                  </a:lnTo>
                  <a:lnTo>
                    <a:pt x="191643" y="874585"/>
                  </a:lnTo>
                  <a:lnTo>
                    <a:pt x="202692" y="873157"/>
                  </a:lnTo>
                  <a:lnTo>
                    <a:pt x="206026" y="874300"/>
                  </a:lnTo>
                  <a:lnTo>
                    <a:pt x="209169" y="873919"/>
                  </a:lnTo>
                  <a:lnTo>
                    <a:pt x="214694" y="866775"/>
                  </a:lnTo>
                  <a:lnTo>
                    <a:pt x="216884" y="871347"/>
                  </a:lnTo>
                  <a:lnTo>
                    <a:pt x="222599" y="878681"/>
                  </a:lnTo>
                  <a:lnTo>
                    <a:pt x="221456" y="882015"/>
                  </a:lnTo>
                  <a:lnTo>
                    <a:pt x="216884" y="884206"/>
                  </a:lnTo>
                  <a:lnTo>
                    <a:pt x="217456" y="888968"/>
                  </a:lnTo>
                  <a:lnTo>
                    <a:pt x="227362" y="890873"/>
                  </a:lnTo>
                  <a:lnTo>
                    <a:pt x="232886" y="896588"/>
                  </a:lnTo>
                  <a:lnTo>
                    <a:pt x="240602" y="894017"/>
                  </a:lnTo>
                  <a:lnTo>
                    <a:pt x="240030" y="889254"/>
                  </a:lnTo>
                  <a:lnTo>
                    <a:pt x="238220" y="887921"/>
                  </a:lnTo>
                  <a:lnTo>
                    <a:pt x="241363" y="887540"/>
                  </a:lnTo>
                  <a:lnTo>
                    <a:pt x="243364" y="890492"/>
                  </a:lnTo>
                  <a:lnTo>
                    <a:pt x="243554" y="892111"/>
                  </a:lnTo>
                  <a:lnTo>
                    <a:pt x="243364" y="903351"/>
                  </a:lnTo>
                  <a:lnTo>
                    <a:pt x="247079" y="907637"/>
                  </a:lnTo>
                  <a:lnTo>
                    <a:pt x="250222" y="907256"/>
                  </a:lnTo>
                  <a:lnTo>
                    <a:pt x="255746" y="900113"/>
                  </a:lnTo>
                  <a:lnTo>
                    <a:pt x="259937" y="907637"/>
                  </a:lnTo>
                  <a:lnTo>
                    <a:pt x="260509" y="912400"/>
                  </a:lnTo>
                  <a:lnTo>
                    <a:pt x="258889" y="912590"/>
                  </a:lnTo>
                  <a:lnTo>
                    <a:pt x="255556" y="911447"/>
                  </a:lnTo>
                  <a:lnTo>
                    <a:pt x="253174" y="905351"/>
                  </a:lnTo>
                  <a:lnTo>
                    <a:pt x="253365" y="906971"/>
                  </a:lnTo>
                  <a:lnTo>
                    <a:pt x="252413" y="911924"/>
                  </a:lnTo>
                  <a:lnTo>
                    <a:pt x="254603" y="916496"/>
                  </a:lnTo>
                  <a:lnTo>
                    <a:pt x="264033" y="915257"/>
                  </a:lnTo>
                  <a:lnTo>
                    <a:pt x="269938" y="911257"/>
                  </a:lnTo>
                  <a:lnTo>
                    <a:pt x="273653" y="915543"/>
                  </a:lnTo>
                  <a:lnTo>
                    <a:pt x="278606" y="916496"/>
                  </a:lnTo>
                  <a:lnTo>
                    <a:pt x="275272" y="928116"/>
                  </a:lnTo>
                  <a:lnTo>
                    <a:pt x="278797" y="930878"/>
                  </a:lnTo>
                  <a:lnTo>
                    <a:pt x="282512" y="935260"/>
                  </a:lnTo>
                  <a:lnTo>
                    <a:pt x="285655" y="934879"/>
                  </a:lnTo>
                  <a:lnTo>
                    <a:pt x="288607" y="932878"/>
                  </a:lnTo>
                  <a:lnTo>
                    <a:pt x="287560" y="924973"/>
                  </a:lnTo>
                  <a:lnTo>
                    <a:pt x="290703" y="924592"/>
                  </a:lnTo>
                  <a:lnTo>
                    <a:pt x="292513" y="925925"/>
                  </a:lnTo>
                  <a:lnTo>
                    <a:pt x="291560" y="930878"/>
                  </a:lnTo>
                  <a:lnTo>
                    <a:pt x="299466" y="929831"/>
                  </a:lnTo>
                  <a:lnTo>
                    <a:pt x="301466" y="932783"/>
                  </a:lnTo>
                  <a:lnTo>
                    <a:pt x="294418" y="940118"/>
                  </a:lnTo>
                  <a:lnTo>
                    <a:pt x="294227" y="951357"/>
                  </a:lnTo>
                  <a:lnTo>
                    <a:pt x="303086" y="958215"/>
                  </a:lnTo>
                  <a:lnTo>
                    <a:pt x="306229" y="957834"/>
                  </a:lnTo>
                  <a:lnTo>
                    <a:pt x="321088" y="973550"/>
                  </a:lnTo>
                  <a:lnTo>
                    <a:pt x="326612" y="979265"/>
                  </a:lnTo>
                  <a:lnTo>
                    <a:pt x="366141" y="999934"/>
                  </a:lnTo>
                  <a:lnTo>
                    <a:pt x="378428" y="1008031"/>
                  </a:lnTo>
                  <a:lnTo>
                    <a:pt x="388715" y="1013174"/>
                  </a:lnTo>
                  <a:lnTo>
                    <a:pt x="400526" y="1018032"/>
                  </a:lnTo>
                  <a:lnTo>
                    <a:pt x="408622" y="1018603"/>
                  </a:lnTo>
                  <a:lnTo>
                    <a:pt x="411766" y="1018223"/>
                  </a:lnTo>
                  <a:lnTo>
                    <a:pt x="411385" y="1015079"/>
                  </a:lnTo>
                  <a:lnTo>
                    <a:pt x="414719" y="1016222"/>
                  </a:lnTo>
                  <a:lnTo>
                    <a:pt x="416528" y="1017556"/>
                  </a:lnTo>
                  <a:lnTo>
                    <a:pt x="429768" y="1020699"/>
                  </a:lnTo>
                  <a:lnTo>
                    <a:pt x="430911" y="1017365"/>
                  </a:lnTo>
                  <a:lnTo>
                    <a:pt x="435864" y="1018318"/>
                  </a:lnTo>
                  <a:lnTo>
                    <a:pt x="437674" y="1019651"/>
                  </a:lnTo>
                  <a:lnTo>
                    <a:pt x="440627" y="1017651"/>
                  </a:lnTo>
                  <a:lnTo>
                    <a:pt x="440246" y="1014508"/>
                  </a:lnTo>
                  <a:lnTo>
                    <a:pt x="469868" y="1020318"/>
                  </a:lnTo>
                  <a:lnTo>
                    <a:pt x="507206" y="1023557"/>
                  </a:lnTo>
                  <a:lnTo>
                    <a:pt x="517303" y="1027081"/>
                  </a:lnTo>
                  <a:lnTo>
                    <a:pt x="518922" y="1026890"/>
                  </a:lnTo>
                  <a:lnTo>
                    <a:pt x="521684" y="1023366"/>
                  </a:lnTo>
                  <a:lnTo>
                    <a:pt x="529590" y="1022318"/>
                  </a:lnTo>
                  <a:lnTo>
                    <a:pt x="542830" y="1025461"/>
                  </a:lnTo>
                  <a:lnTo>
                    <a:pt x="547306" y="1023271"/>
                  </a:lnTo>
                  <a:lnTo>
                    <a:pt x="554641" y="1030319"/>
                  </a:lnTo>
                  <a:lnTo>
                    <a:pt x="567880" y="1033463"/>
                  </a:lnTo>
                  <a:lnTo>
                    <a:pt x="573596" y="1027938"/>
                  </a:lnTo>
                  <a:lnTo>
                    <a:pt x="574357" y="1021461"/>
                  </a:lnTo>
                  <a:lnTo>
                    <a:pt x="575691" y="1019651"/>
                  </a:lnTo>
                  <a:lnTo>
                    <a:pt x="575310" y="1016508"/>
                  </a:lnTo>
                  <a:lnTo>
                    <a:pt x="577691" y="1022604"/>
                  </a:lnTo>
                  <a:lnTo>
                    <a:pt x="582263" y="1020413"/>
                  </a:lnTo>
                  <a:lnTo>
                    <a:pt x="584263" y="1023366"/>
                  </a:lnTo>
                  <a:lnTo>
                    <a:pt x="586264" y="1026319"/>
                  </a:lnTo>
                  <a:lnTo>
                    <a:pt x="583502" y="1029843"/>
                  </a:lnTo>
                  <a:lnTo>
                    <a:pt x="587216" y="1034129"/>
                  </a:lnTo>
                  <a:lnTo>
                    <a:pt x="588550" y="1032319"/>
                  </a:lnTo>
                  <a:lnTo>
                    <a:pt x="588931" y="1035463"/>
                  </a:lnTo>
                  <a:lnTo>
                    <a:pt x="599980" y="1034034"/>
                  </a:lnTo>
                  <a:lnTo>
                    <a:pt x="600170" y="1035653"/>
                  </a:lnTo>
                  <a:lnTo>
                    <a:pt x="603313" y="1035272"/>
                  </a:lnTo>
                  <a:lnTo>
                    <a:pt x="606266" y="1033272"/>
                  </a:lnTo>
                  <a:lnTo>
                    <a:pt x="607219" y="1028319"/>
                  </a:lnTo>
                  <a:lnTo>
                    <a:pt x="608647" y="1026509"/>
                  </a:lnTo>
                  <a:lnTo>
                    <a:pt x="609790" y="1023176"/>
                  </a:lnTo>
                  <a:lnTo>
                    <a:pt x="611410" y="1022985"/>
                  </a:lnTo>
                  <a:lnTo>
                    <a:pt x="613410" y="1025938"/>
                  </a:lnTo>
                  <a:lnTo>
                    <a:pt x="619125" y="1020413"/>
                  </a:lnTo>
                  <a:lnTo>
                    <a:pt x="620935" y="1021747"/>
                  </a:lnTo>
                  <a:lnTo>
                    <a:pt x="623888" y="1019747"/>
                  </a:lnTo>
                  <a:lnTo>
                    <a:pt x="626078" y="1011460"/>
                  </a:lnTo>
                  <a:lnTo>
                    <a:pt x="627412" y="1009650"/>
                  </a:lnTo>
                  <a:lnTo>
                    <a:pt x="628364" y="1004697"/>
                  </a:lnTo>
                  <a:lnTo>
                    <a:pt x="633889" y="997553"/>
                  </a:lnTo>
                  <a:lnTo>
                    <a:pt x="639985" y="995172"/>
                  </a:lnTo>
                  <a:lnTo>
                    <a:pt x="644366" y="991457"/>
                  </a:lnTo>
                  <a:lnTo>
                    <a:pt x="644938" y="983361"/>
                  </a:lnTo>
                  <a:lnTo>
                    <a:pt x="643128" y="982027"/>
                  </a:lnTo>
                  <a:lnTo>
                    <a:pt x="642938" y="980408"/>
                  </a:lnTo>
                  <a:lnTo>
                    <a:pt x="645128" y="972122"/>
                  </a:lnTo>
                  <a:lnTo>
                    <a:pt x="650462" y="963454"/>
                  </a:lnTo>
                  <a:lnTo>
                    <a:pt x="649700" y="957167"/>
                  </a:lnTo>
                  <a:lnTo>
                    <a:pt x="652463" y="953643"/>
                  </a:lnTo>
                  <a:lnTo>
                    <a:pt x="661130" y="946118"/>
                  </a:lnTo>
                  <a:lnTo>
                    <a:pt x="660940" y="944499"/>
                  </a:lnTo>
                  <a:lnTo>
                    <a:pt x="657606" y="943356"/>
                  </a:lnTo>
                  <a:lnTo>
                    <a:pt x="660749" y="942975"/>
                  </a:lnTo>
                  <a:lnTo>
                    <a:pt x="671417" y="951262"/>
                  </a:lnTo>
                  <a:lnTo>
                    <a:pt x="687610" y="952405"/>
                  </a:lnTo>
                  <a:lnTo>
                    <a:pt x="698468" y="949452"/>
                  </a:lnTo>
                  <a:lnTo>
                    <a:pt x="700659" y="954024"/>
                  </a:lnTo>
                  <a:lnTo>
                    <a:pt x="705231" y="951833"/>
                  </a:lnTo>
                  <a:lnTo>
                    <a:pt x="710565" y="943166"/>
                  </a:lnTo>
                  <a:lnTo>
                    <a:pt x="714661" y="937832"/>
                  </a:lnTo>
                  <a:lnTo>
                    <a:pt x="725519" y="947642"/>
                  </a:lnTo>
                  <a:lnTo>
                    <a:pt x="727520" y="950595"/>
                  </a:lnTo>
                  <a:lnTo>
                    <a:pt x="735044" y="959263"/>
                  </a:lnTo>
                  <a:lnTo>
                    <a:pt x="746474" y="960977"/>
                  </a:lnTo>
                  <a:lnTo>
                    <a:pt x="755142" y="966311"/>
                  </a:lnTo>
                  <a:lnTo>
                    <a:pt x="754380" y="972788"/>
                  </a:lnTo>
                  <a:lnTo>
                    <a:pt x="765810" y="974503"/>
                  </a:lnTo>
                  <a:lnTo>
                    <a:pt x="770572" y="973931"/>
                  </a:lnTo>
                  <a:lnTo>
                    <a:pt x="780193" y="974312"/>
                  </a:lnTo>
                  <a:lnTo>
                    <a:pt x="781812" y="974122"/>
                  </a:lnTo>
                  <a:lnTo>
                    <a:pt x="782764" y="969169"/>
                  </a:lnTo>
                  <a:lnTo>
                    <a:pt x="790480" y="966597"/>
                  </a:lnTo>
                  <a:lnTo>
                    <a:pt x="790670" y="968216"/>
                  </a:lnTo>
                  <a:lnTo>
                    <a:pt x="797338" y="970598"/>
                  </a:lnTo>
                  <a:lnTo>
                    <a:pt x="804005" y="972979"/>
                  </a:lnTo>
                  <a:lnTo>
                    <a:pt x="806387" y="979075"/>
                  </a:lnTo>
                  <a:lnTo>
                    <a:pt x="813721" y="986123"/>
                  </a:lnTo>
                  <a:lnTo>
                    <a:pt x="817150" y="1000125"/>
                  </a:lnTo>
                  <a:lnTo>
                    <a:pt x="818197" y="1008031"/>
                  </a:lnTo>
                  <a:lnTo>
                    <a:pt x="812863" y="1016699"/>
                  </a:lnTo>
                  <a:lnTo>
                    <a:pt x="813245" y="1019842"/>
                  </a:lnTo>
                  <a:lnTo>
                    <a:pt x="817436" y="1027367"/>
                  </a:lnTo>
                  <a:lnTo>
                    <a:pt x="819817" y="1033463"/>
                  </a:lnTo>
                  <a:lnTo>
                    <a:pt x="822960" y="1033082"/>
                  </a:lnTo>
                  <a:lnTo>
                    <a:pt x="833247" y="1025366"/>
                  </a:lnTo>
                  <a:lnTo>
                    <a:pt x="834771" y="1025176"/>
                  </a:lnTo>
                  <a:lnTo>
                    <a:pt x="836200" y="1023366"/>
                  </a:lnTo>
                  <a:lnTo>
                    <a:pt x="844105" y="1022318"/>
                  </a:lnTo>
                  <a:lnTo>
                    <a:pt x="849058" y="1023271"/>
                  </a:lnTo>
                  <a:lnTo>
                    <a:pt x="850868" y="1024604"/>
                  </a:lnTo>
                  <a:lnTo>
                    <a:pt x="854012" y="1024223"/>
                  </a:lnTo>
                  <a:lnTo>
                    <a:pt x="852678" y="1026033"/>
                  </a:lnTo>
                  <a:lnTo>
                    <a:pt x="852869" y="1027652"/>
                  </a:lnTo>
                  <a:lnTo>
                    <a:pt x="856012" y="1027271"/>
                  </a:lnTo>
                  <a:lnTo>
                    <a:pt x="857822" y="1028605"/>
                  </a:lnTo>
                  <a:lnTo>
                    <a:pt x="858203" y="1031748"/>
                  </a:lnTo>
                  <a:lnTo>
                    <a:pt x="865918" y="1029176"/>
                  </a:lnTo>
                  <a:lnTo>
                    <a:pt x="870109" y="1036701"/>
                  </a:lnTo>
                  <a:lnTo>
                    <a:pt x="870680" y="1041464"/>
                  </a:lnTo>
                  <a:lnTo>
                    <a:pt x="874205" y="1044226"/>
                  </a:lnTo>
                  <a:lnTo>
                    <a:pt x="874395" y="1045845"/>
                  </a:lnTo>
                  <a:lnTo>
                    <a:pt x="878967" y="1043654"/>
                  </a:lnTo>
                  <a:lnTo>
                    <a:pt x="884682" y="1050893"/>
                  </a:lnTo>
                  <a:lnTo>
                    <a:pt x="886301" y="1050703"/>
                  </a:lnTo>
                  <a:lnTo>
                    <a:pt x="889254" y="1048702"/>
                  </a:lnTo>
                  <a:lnTo>
                    <a:pt x="891064" y="1050036"/>
                  </a:lnTo>
                  <a:lnTo>
                    <a:pt x="895826" y="1049465"/>
                  </a:lnTo>
                  <a:lnTo>
                    <a:pt x="902780" y="1053370"/>
                  </a:lnTo>
                  <a:lnTo>
                    <a:pt x="904970" y="1057942"/>
                  </a:lnTo>
                  <a:lnTo>
                    <a:pt x="908875" y="1050989"/>
                  </a:lnTo>
                  <a:lnTo>
                    <a:pt x="913829" y="1051941"/>
                  </a:lnTo>
                  <a:lnTo>
                    <a:pt x="923449" y="1052322"/>
                  </a:lnTo>
                  <a:lnTo>
                    <a:pt x="928973" y="1045178"/>
                  </a:lnTo>
                  <a:lnTo>
                    <a:pt x="934498" y="1050893"/>
                  </a:lnTo>
                  <a:lnTo>
                    <a:pt x="953643" y="1050036"/>
                  </a:lnTo>
                  <a:lnTo>
                    <a:pt x="960120" y="1037939"/>
                  </a:lnTo>
                  <a:lnTo>
                    <a:pt x="964311" y="1045464"/>
                  </a:lnTo>
                  <a:lnTo>
                    <a:pt x="974027" y="1045845"/>
                  </a:lnTo>
                  <a:lnTo>
                    <a:pt x="976979" y="1043845"/>
                  </a:lnTo>
                  <a:lnTo>
                    <a:pt x="980504" y="1046607"/>
                  </a:lnTo>
                  <a:lnTo>
                    <a:pt x="977360" y="1046988"/>
                  </a:lnTo>
                  <a:lnTo>
                    <a:pt x="979551" y="1051560"/>
                  </a:lnTo>
                  <a:lnTo>
                    <a:pt x="983266" y="1055846"/>
                  </a:lnTo>
                  <a:lnTo>
                    <a:pt x="981932" y="1057656"/>
                  </a:lnTo>
                  <a:lnTo>
                    <a:pt x="987266" y="1061752"/>
                  </a:lnTo>
                  <a:lnTo>
                    <a:pt x="988028" y="1068038"/>
                  </a:lnTo>
                  <a:lnTo>
                    <a:pt x="988409" y="1071182"/>
                  </a:lnTo>
                  <a:lnTo>
                    <a:pt x="987266" y="1074515"/>
                  </a:lnTo>
                  <a:lnTo>
                    <a:pt x="989076" y="1075849"/>
                  </a:lnTo>
                  <a:lnTo>
                    <a:pt x="987743" y="1077659"/>
                  </a:lnTo>
                  <a:lnTo>
                    <a:pt x="988123" y="1080802"/>
                  </a:lnTo>
                  <a:lnTo>
                    <a:pt x="986504" y="1080992"/>
                  </a:lnTo>
                  <a:lnTo>
                    <a:pt x="986695" y="1082611"/>
                  </a:lnTo>
                  <a:lnTo>
                    <a:pt x="984123" y="1087755"/>
                  </a:lnTo>
                  <a:lnTo>
                    <a:pt x="984695" y="1092518"/>
                  </a:lnTo>
                  <a:lnTo>
                    <a:pt x="991362" y="1094899"/>
                  </a:lnTo>
                  <a:lnTo>
                    <a:pt x="993553" y="1099471"/>
                  </a:lnTo>
                  <a:lnTo>
                    <a:pt x="992219" y="1101281"/>
                  </a:lnTo>
                  <a:lnTo>
                    <a:pt x="994029" y="1102614"/>
                  </a:lnTo>
                  <a:lnTo>
                    <a:pt x="992696" y="1104424"/>
                  </a:lnTo>
                  <a:lnTo>
                    <a:pt x="994886" y="1108996"/>
                  </a:lnTo>
                  <a:lnTo>
                    <a:pt x="993934" y="1113949"/>
                  </a:lnTo>
                  <a:lnTo>
                    <a:pt x="990981" y="1115949"/>
                  </a:lnTo>
                  <a:lnTo>
                    <a:pt x="993362" y="1122045"/>
                  </a:lnTo>
                  <a:lnTo>
                    <a:pt x="992029" y="1123855"/>
                  </a:lnTo>
                  <a:lnTo>
                    <a:pt x="995744" y="1128141"/>
                  </a:lnTo>
                  <a:lnTo>
                    <a:pt x="997363" y="1127951"/>
                  </a:lnTo>
                  <a:lnTo>
                    <a:pt x="997934" y="1132713"/>
                  </a:lnTo>
                  <a:lnTo>
                    <a:pt x="996601" y="1134523"/>
                  </a:lnTo>
                  <a:lnTo>
                    <a:pt x="997363" y="1140809"/>
                  </a:lnTo>
                  <a:lnTo>
                    <a:pt x="993457" y="1147763"/>
                  </a:lnTo>
                  <a:lnTo>
                    <a:pt x="992505" y="1152716"/>
                  </a:lnTo>
                  <a:lnTo>
                    <a:pt x="999172" y="1155097"/>
                  </a:lnTo>
                  <a:lnTo>
                    <a:pt x="1007459" y="1157288"/>
                  </a:lnTo>
                  <a:lnTo>
                    <a:pt x="1011174" y="1161574"/>
                  </a:lnTo>
                  <a:lnTo>
                    <a:pt x="1010983" y="1159955"/>
                  </a:lnTo>
                  <a:lnTo>
                    <a:pt x="1010412" y="1155192"/>
                  </a:lnTo>
                  <a:lnTo>
                    <a:pt x="1015365" y="1156144"/>
                  </a:lnTo>
                  <a:lnTo>
                    <a:pt x="1016889" y="1155954"/>
                  </a:lnTo>
                  <a:lnTo>
                    <a:pt x="1015079" y="1154621"/>
                  </a:lnTo>
                  <a:lnTo>
                    <a:pt x="1014698" y="1151477"/>
                  </a:lnTo>
                  <a:lnTo>
                    <a:pt x="1017841" y="1151096"/>
                  </a:lnTo>
                  <a:lnTo>
                    <a:pt x="1017080" y="1144810"/>
                  </a:lnTo>
                  <a:lnTo>
                    <a:pt x="1018604" y="1144619"/>
                  </a:lnTo>
                  <a:lnTo>
                    <a:pt x="1020794" y="1149191"/>
                  </a:lnTo>
                  <a:lnTo>
                    <a:pt x="1020223" y="1144429"/>
                  </a:lnTo>
                  <a:lnTo>
                    <a:pt x="1025366" y="1147001"/>
                  </a:lnTo>
                  <a:lnTo>
                    <a:pt x="1026795" y="1145191"/>
                  </a:lnTo>
                  <a:lnTo>
                    <a:pt x="1023271" y="1142428"/>
                  </a:lnTo>
                  <a:lnTo>
                    <a:pt x="1026414" y="1142048"/>
                  </a:lnTo>
                  <a:lnTo>
                    <a:pt x="1020508" y="1133189"/>
                  </a:lnTo>
                  <a:lnTo>
                    <a:pt x="1021937" y="1131380"/>
                  </a:lnTo>
                  <a:lnTo>
                    <a:pt x="1027271" y="1135475"/>
                  </a:lnTo>
                  <a:lnTo>
                    <a:pt x="1025080" y="1130903"/>
                  </a:lnTo>
                  <a:lnTo>
                    <a:pt x="1029653" y="1128713"/>
                  </a:lnTo>
                  <a:lnTo>
                    <a:pt x="1024319" y="1124617"/>
                  </a:lnTo>
                  <a:lnTo>
                    <a:pt x="1032034" y="1122045"/>
                  </a:lnTo>
                  <a:lnTo>
                    <a:pt x="1026700" y="1117949"/>
                  </a:lnTo>
                  <a:lnTo>
                    <a:pt x="1026223" y="1101947"/>
                  </a:lnTo>
                  <a:lnTo>
                    <a:pt x="1030510" y="1098233"/>
                  </a:lnTo>
                  <a:lnTo>
                    <a:pt x="1026795" y="1093946"/>
                  </a:lnTo>
                  <a:lnTo>
                    <a:pt x="1028129" y="1092136"/>
                  </a:lnTo>
                  <a:lnTo>
                    <a:pt x="1030319" y="1096709"/>
                  </a:lnTo>
                  <a:lnTo>
                    <a:pt x="1031653" y="1094899"/>
                  </a:lnTo>
                  <a:lnTo>
                    <a:pt x="1030891" y="1088612"/>
                  </a:lnTo>
                  <a:lnTo>
                    <a:pt x="1032510" y="1088422"/>
                  </a:lnTo>
                  <a:lnTo>
                    <a:pt x="1031938" y="1083659"/>
                  </a:lnTo>
                  <a:lnTo>
                    <a:pt x="1034891" y="1081659"/>
                  </a:lnTo>
                  <a:lnTo>
                    <a:pt x="1034129" y="1075373"/>
                  </a:lnTo>
                  <a:lnTo>
                    <a:pt x="1035463" y="1073563"/>
                  </a:lnTo>
                  <a:lnTo>
                    <a:pt x="1038987" y="1076325"/>
                  </a:lnTo>
                  <a:lnTo>
                    <a:pt x="1042130" y="1075944"/>
                  </a:lnTo>
                  <a:lnTo>
                    <a:pt x="1041940" y="1074325"/>
                  </a:lnTo>
                  <a:lnTo>
                    <a:pt x="1043083" y="1070991"/>
                  </a:lnTo>
                  <a:lnTo>
                    <a:pt x="1046607" y="1073753"/>
                  </a:lnTo>
                  <a:lnTo>
                    <a:pt x="1049179" y="1068610"/>
                  </a:lnTo>
                  <a:lnTo>
                    <a:pt x="1044416" y="1069181"/>
                  </a:lnTo>
                  <a:lnTo>
                    <a:pt x="1045750" y="1067372"/>
                  </a:lnTo>
                  <a:lnTo>
                    <a:pt x="1042416" y="1066228"/>
                  </a:lnTo>
                  <a:lnTo>
                    <a:pt x="1043749" y="1064419"/>
                  </a:lnTo>
                  <a:lnTo>
                    <a:pt x="1053179" y="1063181"/>
                  </a:lnTo>
                  <a:lnTo>
                    <a:pt x="1048036" y="1060609"/>
                  </a:lnTo>
                  <a:lnTo>
                    <a:pt x="1049179" y="1057275"/>
                  </a:lnTo>
                  <a:lnTo>
                    <a:pt x="1047845" y="1059085"/>
                  </a:lnTo>
                  <a:lnTo>
                    <a:pt x="1046036" y="1057751"/>
                  </a:lnTo>
                  <a:lnTo>
                    <a:pt x="1047179" y="1054418"/>
                  </a:lnTo>
                  <a:lnTo>
                    <a:pt x="1048988" y="1055751"/>
                  </a:lnTo>
                  <a:lnTo>
                    <a:pt x="1047179" y="1054418"/>
                  </a:lnTo>
                  <a:lnTo>
                    <a:pt x="1048131" y="1049465"/>
                  </a:lnTo>
                  <a:lnTo>
                    <a:pt x="1049941" y="1050798"/>
                  </a:lnTo>
                  <a:lnTo>
                    <a:pt x="1051370" y="1048988"/>
                  </a:lnTo>
                  <a:lnTo>
                    <a:pt x="1049560" y="1047655"/>
                  </a:lnTo>
                  <a:lnTo>
                    <a:pt x="1048988" y="1042892"/>
                  </a:lnTo>
                  <a:lnTo>
                    <a:pt x="1051941" y="1040892"/>
                  </a:lnTo>
                  <a:lnTo>
                    <a:pt x="1048798" y="1041273"/>
                  </a:lnTo>
                  <a:lnTo>
                    <a:pt x="1048226" y="1036510"/>
                  </a:lnTo>
                  <a:lnTo>
                    <a:pt x="1046607" y="1036701"/>
                  </a:lnTo>
                  <a:lnTo>
                    <a:pt x="1044988" y="1036892"/>
                  </a:lnTo>
                  <a:lnTo>
                    <a:pt x="1049369" y="1033177"/>
                  </a:lnTo>
                  <a:lnTo>
                    <a:pt x="1052703" y="1034320"/>
                  </a:lnTo>
                  <a:lnTo>
                    <a:pt x="1052322" y="1031176"/>
                  </a:lnTo>
                  <a:lnTo>
                    <a:pt x="1055656" y="1032319"/>
                  </a:lnTo>
                  <a:lnTo>
                    <a:pt x="1056799" y="1028986"/>
                  </a:lnTo>
                  <a:lnTo>
                    <a:pt x="1057751" y="1024033"/>
                  </a:lnTo>
                  <a:lnTo>
                    <a:pt x="1059561" y="1025366"/>
                  </a:lnTo>
                  <a:lnTo>
                    <a:pt x="1058989" y="1020604"/>
                  </a:lnTo>
                  <a:lnTo>
                    <a:pt x="1065276" y="1019842"/>
                  </a:lnTo>
                  <a:lnTo>
                    <a:pt x="1064514" y="1013555"/>
                  </a:lnTo>
                  <a:lnTo>
                    <a:pt x="1066895" y="1006793"/>
                  </a:lnTo>
                  <a:lnTo>
                    <a:pt x="1072801" y="1002792"/>
                  </a:lnTo>
                  <a:lnTo>
                    <a:pt x="1075373" y="997649"/>
                  </a:lnTo>
                  <a:lnTo>
                    <a:pt x="1079659" y="993934"/>
                  </a:lnTo>
                  <a:lnTo>
                    <a:pt x="1079468" y="992315"/>
                  </a:lnTo>
                  <a:lnTo>
                    <a:pt x="1076706" y="995839"/>
                  </a:lnTo>
                  <a:lnTo>
                    <a:pt x="1074896" y="994505"/>
                  </a:lnTo>
                  <a:lnTo>
                    <a:pt x="1078230" y="982885"/>
                  </a:lnTo>
                  <a:lnTo>
                    <a:pt x="1078039" y="981266"/>
                  </a:lnTo>
                  <a:lnTo>
                    <a:pt x="1083183" y="983837"/>
                  </a:lnTo>
                  <a:lnTo>
                    <a:pt x="1084326" y="980503"/>
                  </a:lnTo>
                  <a:lnTo>
                    <a:pt x="1086136" y="981837"/>
                  </a:lnTo>
                  <a:lnTo>
                    <a:pt x="1087469" y="980027"/>
                  </a:lnTo>
                  <a:lnTo>
                    <a:pt x="1085660" y="978694"/>
                  </a:lnTo>
                  <a:lnTo>
                    <a:pt x="1090613" y="979646"/>
                  </a:lnTo>
                  <a:lnTo>
                    <a:pt x="1093565" y="977646"/>
                  </a:lnTo>
                  <a:lnTo>
                    <a:pt x="1088422" y="975074"/>
                  </a:lnTo>
                  <a:lnTo>
                    <a:pt x="1088231" y="973455"/>
                  </a:lnTo>
                  <a:lnTo>
                    <a:pt x="1090041" y="974789"/>
                  </a:lnTo>
                  <a:lnTo>
                    <a:pt x="1094804" y="974217"/>
                  </a:lnTo>
                  <a:lnTo>
                    <a:pt x="1094423" y="971074"/>
                  </a:lnTo>
                  <a:lnTo>
                    <a:pt x="1095756" y="969264"/>
                  </a:lnTo>
                  <a:lnTo>
                    <a:pt x="1097566" y="970598"/>
                  </a:lnTo>
                  <a:lnTo>
                    <a:pt x="1097185" y="967454"/>
                  </a:lnTo>
                  <a:lnTo>
                    <a:pt x="1098804" y="967264"/>
                  </a:lnTo>
                  <a:lnTo>
                    <a:pt x="1103186" y="963549"/>
                  </a:lnTo>
                  <a:lnTo>
                    <a:pt x="1105186" y="966502"/>
                  </a:lnTo>
                  <a:lnTo>
                    <a:pt x="1112044" y="957643"/>
                  </a:lnTo>
                  <a:lnTo>
                    <a:pt x="1108710" y="956501"/>
                  </a:lnTo>
                  <a:lnTo>
                    <a:pt x="1109472" y="950024"/>
                  </a:lnTo>
                  <a:lnTo>
                    <a:pt x="1112234" y="946499"/>
                  </a:lnTo>
                  <a:lnTo>
                    <a:pt x="1113854" y="946309"/>
                  </a:lnTo>
                  <a:lnTo>
                    <a:pt x="1111853" y="943356"/>
                  </a:lnTo>
                  <a:lnTo>
                    <a:pt x="1113473" y="943166"/>
                  </a:lnTo>
                  <a:lnTo>
                    <a:pt x="1114997" y="942975"/>
                  </a:lnTo>
                  <a:lnTo>
                    <a:pt x="1114615" y="939832"/>
                  </a:lnTo>
                  <a:lnTo>
                    <a:pt x="1117759" y="939451"/>
                  </a:lnTo>
                  <a:lnTo>
                    <a:pt x="1117378" y="936308"/>
                  </a:lnTo>
                  <a:lnTo>
                    <a:pt x="1120140" y="932783"/>
                  </a:lnTo>
                  <a:lnTo>
                    <a:pt x="1121093" y="927830"/>
                  </a:lnTo>
                  <a:lnTo>
                    <a:pt x="1118521" y="920115"/>
                  </a:lnTo>
                  <a:lnTo>
                    <a:pt x="1120712" y="911828"/>
                  </a:lnTo>
                  <a:lnTo>
                    <a:pt x="1118902" y="910495"/>
                  </a:lnTo>
                  <a:lnTo>
                    <a:pt x="1123188" y="906780"/>
                  </a:lnTo>
                  <a:lnTo>
                    <a:pt x="1121188" y="903827"/>
                  </a:lnTo>
                  <a:lnTo>
                    <a:pt x="1124331" y="903446"/>
                  </a:lnTo>
                  <a:lnTo>
                    <a:pt x="1126903" y="898303"/>
                  </a:lnTo>
                  <a:lnTo>
                    <a:pt x="1138714" y="903160"/>
                  </a:lnTo>
                  <a:lnTo>
                    <a:pt x="1146620" y="902113"/>
                  </a:lnTo>
                  <a:lnTo>
                    <a:pt x="1149763" y="901732"/>
                  </a:lnTo>
                  <a:lnTo>
                    <a:pt x="1150715" y="896779"/>
                  </a:lnTo>
                  <a:lnTo>
                    <a:pt x="1153668" y="894778"/>
                  </a:lnTo>
                  <a:lnTo>
                    <a:pt x="1153668" y="894778"/>
                  </a:lnTo>
                  <a:lnTo>
                    <a:pt x="1150525" y="895159"/>
                  </a:lnTo>
                  <a:lnTo>
                    <a:pt x="1151287" y="888683"/>
                  </a:lnTo>
                  <a:lnTo>
                    <a:pt x="1153287" y="891635"/>
                  </a:lnTo>
                  <a:lnTo>
                    <a:pt x="1157764" y="889444"/>
                  </a:lnTo>
                  <a:lnTo>
                    <a:pt x="1155764" y="886492"/>
                  </a:lnTo>
                  <a:lnTo>
                    <a:pt x="1160716" y="887444"/>
                  </a:lnTo>
                  <a:lnTo>
                    <a:pt x="1160526" y="885825"/>
                  </a:lnTo>
                  <a:lnTo>
                    <a:pt x="1158526" y="882872"/>
                  </a:lnTo>
                  <a:lnTo>
                    <a:pt x="1161669" y="882491"/>
                  </a:lnTo>
                  <a:lnTo>
                    <a:pt x="1164622" y="880491"/>
                  </a:lnTo>
                  <a:lnTo>
                    <a:pt x="1162622" y="877538"/>
                  </a:lnTo>
                  <a:lnTo>
                    <a:pt x="1165574" y="875538"/>
                  </a:lnTo>
                  <a:lnTo>
                    <a:pt x="1167194" y="875348"/>
                  </a:lnTo>
                  <a:lnTo>
                    <a:pt x="1166241" y="880301"/>
                  </a:lnTo>
                  <a:lnTo>
                    <a:pt x="1169384" y="879919"/>
                  </a:lnTo>
                  <a:lnTo>
                    <a:pt x="1169003" y="876776"/>
                  </a:lnTo>
                  <a:lnTo>
                    <a:pt x="1166813" y="872204"/>
                  </a:lnTo>
                  <a:lnTo>
                    <a:pt x="1166431" y="869061"/>
                  </a:lnTo>
                  <a:lnTo>
                    <a:pt x="1167765" y="867251"/>
                  </a:lnTo>
                  <a:lnTo>
                    <a:pt x="1174528" y="869633"/>
                  </a:lnTo>
                  <a:lnTo>
                    <a:pt x="1173956" y="864870"/>
                  </a:lnTo>
                  <a:lnTo>
                    <a:pt x="1179671" y="859346"/>
                  </a:lnTo>
                  <a:lnTo>
                    <a:pt x="1182814" y="858965"/>
                  </a:lnTo>
                  <a:lnTo>
                    <a:pt x="1182814" y="858965"/>
                  </a:lnTo>
                  <a:lnTo>
                    <a:pt x="1185958" y="858584"/>
                  </a:lnTo>
                  <a:lnTo>
                    <a:pt x="1187577" y="858393"/>
                  </a:lnTo>
                  <a:lnTo>
                    <a:pt x="1187768" y="860012"/>
                  </a:lnTo>
                  <a:lnTo>
                    <a:pt x="1189577" y="861346"/>
                  </a:lnTo>
                  <a:lnTo>
                    <a:pt x="1190911" y="859536"/>
                  </a:lnTo>
                  <a:lnTo>
                    <a:pt x="1196054" y="862108"/>
                  </a:lnTo>
                  <a:lnTo>
                    <a:pt x="1200340" y="858393"/>
                  </a:lnTo>
                  <a:lnTo>
                    <a:pt x="1202531" y="862965"/>
                  </a:lnTo>
                  <a:lnTo>
                    <a:pt x="1205865" y="864108"/>
                  </a:lnTo>
                  <a:lnTo>
                    <a:pt x="1209389" y="866870"/>
                  </a:lnTo>
                  <a:lnTo>
                    <a:pt x="1217295" y="865823"/>
                  </a:lnTo>
                  <a:lnTo>
                    <a:pt x="1221296" y="871728"/>
                  </a:lnTo>
                  <a:lnTo>
                    <a:pt x="1227963" y="874109"/>
                  </a:lnTo>
                  <a:lnTo>
                    <a:pt x="1234249" y="873347"/>
                  </a:lnTo>
                  <a:lnTo>
                    <a:pt x="1240727" y="874109"/>
                  </a:lnTo>
                  <a:lnTo>
                    <a:pt x="1243108" y="880205"/>
                  </a:lnTo>
                  <a:lnTo>
                    <a:pt x="1255205" y="886682"/>
                  </a:lnTo>
                  <a:lnTo>
                    <a:pt x="1259205" y="892588"/>
                  </a:lnTo>
                  <a:lnTo>
                    <a:pt x="1264158" y="893540"/>
                  </a:lnTo>
                  <a:lnTo>
                    <a:pt x="1270254" y="891159"/>
                  </a:lnTo>
                  <a:lnTo>
                    <a:pt x="1272064" y="892493"/>
                  </a:lnTo>
                  <a:lnTo>
                    <a:pt x="1274445" y="898589"/>
                  </a:lnTo>
                  <a:lnTo>
                    <a:pt x="1280160" y="905827"/>
                  </a:lnTo>
                  <a:lnTo>
                    <a:pt x="1290638" y="912495"/>
                  </a:lnTo>
                  <a:lnTo>
                    <a:pt x="1292828" y="917067"/>
                  </a:lnTo>
                  <a:lnTo>
                    <a:pt x="1295972" y="916686"/>
                  </a:lnTo>
                  <a:lnTo>
                    <a:pt x="1302068" y="927164"/>
                  </a:lnTo>
                  <a:lnTo>
                    <a:pt x="1314069" y="920782"/>
                  </a:lnTo>
                  <a:lnTo>
                    <a:pt x="1319213" y="923353"/>
                  </a:lnTo>
                  <a:lnTo>
                    <a:pt x="1322356" y="922973"/>
                  </a:lnTo>
                  <a:lnTo>
                    <a:pt x="1325880" y="925735"/>
                  </a:lnTo>
                  <a:lnTo>
                    <a:pt x="1331405" y="918591"/>
                  </a:lnTo>
                  <a:lnTo>
                    <a:pt x="1338644" y="912876"/>
                  </a:lnTo>
                  <a:lnTo>
                    <a:pt x="1341406" y="909352"/>
                  </a:lnTo>
                  <a:lnTo>
                    <a:pt x="1347883" y="910114"/>
                  </a:lnTo>
                  <a:lnTo>
                    <a:pt x="1350455" y="904970"/>
                  </a:lnTo>
                  <a:lnTo>
                    <a:pt x="1353979" y="894874"/>
                  </a:lnTo>
                  <a:lnTo>
                    <a:pt x="1359313" y="898969"/>
                  </a:lnTo>
                  <a:lnTo>
                    <a:pt x="1358741" y="894207"/>
                  </a:lnTo>
                  <a:lnTo>
                    <a:pt x="1364266" y="887063"/>
                  </a:lnTo>
                  <a:lnTo>
                    <a:pt x="1382649" y="892778"/>
                  </a:lnTo>
                  <a:lnTo>
                    <a:pt x="1387793" y="895350"/>
                  </a:lnTo>
                  <a:lnTo>
                    <a:pt x="1395698" y="907161"/>
                  </a:lnTo>
                  <a:lnTo>
                    <a:pt x="1406747" y="918591"/>
                  </a:lnTo>
                  <a:lnTo>
                    <a:pt x="1405128" y="918782"/>
                  </a:lnTo>
                  <a:lnTo>
                    <a:pt x="1406938" y="920115"/>
                  </a:lnTo>
                  <a:lnTo>
                    <a:pt x="1412462" y="925830"/>
                  </a:lnTo>
                  <a:lnTo>
                    <a:pt x="1420368" y="924782"/>
                  </a:lnTo>
                  <a:lnTo>
                    <a:pt x="1427416" y="917448"/>
                  </a:lnTo>
                  <a:lnTo>
                    <a:pt x="1435703" y="919639"/>
                  </a:lnTo>
                  <a:lnTo>
                    <a:pt x="1442371" y="909161"/>
                  </a:lnTo>
                  <a:lnTo>
                    <a:pt x="1450657" y="911352"/>
                  </a:lnTo>
                  <a:lnTo>
                    <a:pt x="1455230" y="909161"/>
                  </a:lnTo>
                  <a:lnTo>
                    <a:pt x="1463326" y="909733"/>
                  </a:lnTo>
                  <a:lnTo>
                    <a:pt x="1467612" y="906018"/>
                  </a:lnTo>
                  <a:lnTo>
                    <a:pt x="1469327" y="894588"/>
                  </a:lnTo>
                  <a:lnTo>
                    <a:pt x="1472089" y="891064"/>
                  </a:lnTo>
                  <a:lnTo>
                    <a:pt x="1484757" y="889444"/>
                  </a:lnTo>
                  <a:lnTo>
                    <a:pt x="1485519" y="882968"/>
                  </a:lnTo>
                  <a:lnTo>
                    <a:pt x="1491044" y="875824"/>
                  </a:lnTo>
                  <a:lnTo>
                    <a:pt x="1497330" y="875062"/>
                  </a:lnTo>
                  <a:lnTo>
                    <a:pt x="1502283" y="876014"/>
                  </a:lnTo>
                  <a:lnTo>
                    <a:pt x="1495139" y="857726"/>
                  </a:lnTo>
                  <a:lnTo>
                    <a:pt x="1495139" y="857726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4" name="Volný tvar: obrazec 33">
              <a:extLst>
                <a:ext uri="{FF2B5EF4-FFF2-40B4-BE49-F238E27FC236}">
                  <a16:creationId xmlns:a16="http://schemas.microsoft.com/office/drawing/2014/main" id="{AF0FE014-DC31-8FB6-039E-2FA37EF4F69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90470" y="2042826"/>
              <a:ext cx="887920" cy="627602"/>
            </a:xfrm>
            <a:custGeom>
              <a:avLst/>
              <a:gdLst>
                <a:gd name="connsiteX0" fmla="*/ 883920 w 887920"/>
                <a:gd name="connsiteY0" fmla="*/ 565595 h 627602"/>
                <a:gd name="connsiteX1" fmla="*/ 883158 w 887920"/>
                <a:gd name="connsiteY1" fmla="*/ 559308 h 627602"/>
                <a:gd name="connsiteX2" fmla="*/ 881634 w 887920"/>
                <a:gd name="connsiteY2" fmla="*/ 559499 h 627602"/>
                <a:gd name="connsiteX3" fmla="*/ 877443 w 887920"/>
                <a:gd name="connsiteY3" fmla="*/ 551974 h 627602"/>
                <a:gd name="connsiteX4" fmla="*/ 873824 w 887920"/>
                <a:gd name="connsiteY4" fmla="*/ 549212 h 627602"/>
                <a:gd name="connsiteX5" fmla="*/ 873443 w 887920"/>
                <a:gd name="connsiteY5" fmla="*/ 546068 h 627602"/>
                <a:gd name="connsiteX6" fmla="*/ 868109 w 887920"/>
                <a:gd name="connsiteY6" fmla="*/ 541973 h 627602"/>
                <a:gd name="connsiteX7" fmla="*/ 865727 w 887920"/>
                <a:gd name="connsiteY7" fmla="*/ 535877 h 627602"/>
                <a:gd name="connsiteX8" fmla="*/ 859250 w 887920"/>
                <a:gd name="connsiteY8" fmla="*/ 535019 h 627602"/>
                <a:gd name="connsiteX9" fmla="*/ 859060 w 887920"/>
                <a:gd name="connsiteY9" fmla="*/ 533495 h 627602"/>
                <a:gd name="connsiteX10" fmla="*/ 863918 w 887920"/>
                <a:gd name="connsiteY10" fmla="*/ 534448 h 627602"/>
                <a:gd name="connsiteX11" fmla="*/ 852869 w 887920"/>
                <a:gd name="connsiteY11" fmla="*/ 523018 h 627602"/>
                <a:gd name="connsiteX12" fmla="*/ 857441 w 887920"/>
                <a:gd name="connsiteY12" fmla="*/ 520827 h 627602"/>
                <a:gd name="connsiteX13" fmla="*/ 860012 w 887920"/>
                <a:gd name="connsiteY13" fmla="*/ 515684 h 627602"/>
                <a:gd name="connsiteX14" fmla="*/ 850297 w 887920"/>
                <a:gd name="connsiteY14" fmla="*/ 515303 h 627602"/>
                <a:gd name="connsiteX15" fmla="*/ 843153 w 887920"/>
                <a:gd name="connsiteY15" fmla="*/ 509873 h 627602"/>
                <a:gd name="connsiteX16" fmla="*/ 853631 w 887920"/>
                <a:gd name="connsiteY16" fmla="*/ 490919 h 627602"/>
                <a:gd name="connsiteX17" fmla="*/ 851440 w 887920"/>
                <a:gd name="connsiteY17" fmla="*/ 486347 h 627602"/>
                <a:gd name="connsiteX18" fmla="*/ 858107 w 887920"/>
                <a:gd name="connsiteY18" fmla="*/ 475869 h 627602"/>
                <a:gd name="connsiteX19" fmla="*/ 863822 w 887920"/>
                <a:gd name="connsiteY19" fmla="*/ 470345 h 627602"/>
                <a:gd name="connsiteX20" fmla="*/ 855155 w 887920"/>
                <a:gd name="connsiteY20" fmla="*/ 465011 h 627602"/>
                <a:gd name="connsiteX21" fmla="*/ 854297 w 887920"/>
                <a:gd name="connsiteY21" fmla="*/ 458724 h 627602"/>
                <a:gd name="connsiteX22" fmla="*/ 850106 w 887920"/>
                <a:gd name="connsiteY22" fmla="*/ 451199 h 627602"/>
                <a:gd name="connsiteX23" fmla="*/ 839629 w 887920"/>
                <a:gd name="connsiteY23" fmla="*/ 444532 h 627602"/>
                <a:gd name="connsiteX24" fmla="*/ 839438 w 887920"/>
                <a:gd name="connsiteY24" fmla="*/ 442913 h 627602"/>
                <a:gd name="connsiteX25" fmla="*/ 844582 w 887920"/>
                <a:gd name="connsiteY25" fmla="*/ 432721 h 627602"/>
                <a:gd name="connsiteX26" fmla="*/ 851630 w 887920"/>
                <a:gd name="connsiteY26" fmla="*/ 425387 h 627602"/>
                <a:gd name="connsiteX27" fmla="*/ 844582 w 887920"/>
                <a:gd name="connsiteY27" fmla="*/ 419862 h 627602"/>
                <a:gd name="connsiteX28" fmla="*/ 838200 w 887920"/>
                <a:gd name="connsiteY28" fmla="*/ 395002 h 627602"/>
                <a:gd name="connsiteX29" fmla="*/ 836390 w 887920"/>
                <a:gd name="connsiteY29" fmla="*/ 393668 h 627602"/>
                <a:gd name="connsiteX30" fmla="*/ 835819 w 887920"/>
                <a:gd name="connsiteY30" fmla="*/ 388906 h 627602"/>
                <a:gd name="connsiteX31" fmla="*/ 839343 w 887920"/>
                <a:gd name="connsiteY31" fmla="*/ 378809 h 627602"/>
                <a:gd name="connsiteX32" fmla="*/ 837343 w 887920"/>
                <a:gd name="connsiteY32" fmla="*/ 375857 h 627602"/>
                <a:gd name="connsiteX33" fmla="*/ 838867 w 887920"/>
                <a:gd name="connsiteY33" fmla="*/ 362807 h 627602"/>
                <a:gd name="connsiteX34" fmla="*/ 831723 w 887920"/>
                <a:gd name="connsiteY34" fmla="*/ 357378 h 627602"/>
                <a:gd name="connsiteX35" fmla="*/ 832961 w 887920"/>
                <a:gd name="connsiteY35" fmla="*/ 353949 h 627602"/>
                <a:gd name="connsiteX36" fmla="*/ 840772 w 887920"/>
                <a:gd name="connsiteY36" fmla="*/ 340138 h 627602"/>
                <a:gd name="connsiteX37" fmla="*/ 842963 w 887920"/>
                <a:gd name="connsiteY37" fmla="*/ 331851 h 627602"/>
                <a:gd name="connsiteX38" fmla="*/ 838391 w 887920"/>
                <a:gd name="connsiteY38" fmla="*/ 321183 h 627602"/>
                <a:gd name="connsiteX39" fmla="*/ 822579 w 887920"/>
                <a:gd name="connsiteY39" fmla="*/ 310420 h 627602"/>
                <a:gd name="connsiteX40" fmla="*/ 818579 w 887920"/>
                <a:gd name="connsiteY40" fmla="*/ 304514 h 627602"/>
                <a:gd name="connsiteX41" fmla="*/ 817626 w 887920"/>
                <a:gd name="connsiteY41" fmla="*/ 296609 h 627602"/>
                <a:gd name="connsiteX42" fmla="*/ 817340 w 887920"/>
                <a:gd name="connsiteY42" fmla="*/ 282226 h 627602"/>
                <a:gd name="connsiteX43" fmla="*/ 808101 w 887920"/>
                <a:gd name="connsiteY43" fmla="*/ 284988 h 627602"/>
                <a:gd name="connsiteX44" fmla="*/ 799624 w 887920"/>
                <a:gd name="connsiteY44" fmla="*/ 268415 h 627602"/>
                <a:gd name="connsiteX45" fmla="*/ 791909 w 887920"/>
                <a:gd name="connsiteY45" fmla="*/ 270986 h 627602"/>
                <a:gd name="connsiteX46" fmla="*/ 778669 w 887920"/>
                <a:gd name="connsiteY46" fmla="*/ 267843 h 627602"/>
                <a:gd name="connsiteX47" fmla="*/ 774764 w 887920"/>
                <a:gd name="connsiteY47" fmla="*/ 261938 h 627602"/>
                <a:gd name="connsiteX48" fmla="*/ 767620 w 887920"/>
                <a:gd name="connsiteY48" fmla="*/ 256508 h 627602"/>
                <a:gd name="connsiteX49" fmla="*/ 759333 w 887920"/>
                <a:gd name="connsiteY49" fmla="*/ 254318 h 627602"/>
                <a:gd name="connsiteX50" fmla="*/ 757142 w 887920"/>
                <a:gd name="connsiteY50" fmla="*/ 249746 h 627602"/>
                <a:gd name="connsiteX51" fmla="*/ 750380 w 887920"/>
                <a:gd name="connsiteY51" fmla="*/ 247460 h 627602"/>
                <a:gd name="connsiteX52" fmla="*/ 745712 w 887920"/>
                <a:gd name="connsiteY52" fmla="*/ 248031 h 627602"/>
                <a:gd name="connsiteX53" fmla="*/ 741140 w 887920"/>
                <a:gd name="connsiteY53" fmla="*/ 250222 h 627602"/>
                <a:gd name="connsiteX54" fmla="*/ 729520 w 887920"/>
                <a:gd name="connsiteY54" fmla="*/ 272510 h 627602"/>
                <a:gd name="connsiteX55" fmla="*/ 718376 w 887920"/>
                <a:gd name="connsiteY55" fmla="*/ 285179 h 627602"/>
                <a:gd name="connsiteX56" fmla="*/ 713613 w 887920"/>
                <a:gd name="connsiteY56" fmla="*/ 285750 h 627602"/>
                <a:gd name="connsiteX57" fmla="*/ 710089 w 887920"/>
                <a:gd name="connsiteY57" fmla="*/ 283083 h 627602"/>
                <a:gd name="connsiteX58" fmla="*/ 706850 w 887920"/>
                <a:gd name="connsiteY58" fmla="*/ 283464 h 627602"/>
                <a:gd name="connsiteX59" fmla="*/ 703136 w 887920"/>
                <a:gd name="connsiteY59" fmla="*/ 279083 h 627602"/>
                <a:gd name="connsiteX60" fmla="*/ 705898 w 887920"/>
                <a:gd name="connsiteY60" fmla="*/ 275558 h 627602"/>
                <a:gd name="connsiteX61" fmla="*/ 705517 w 887920"/>
                <a:gd name="connsiteY61" fmla="*/ 272415 h 627602"/>
                <a:gd name="connsiteX62" fmla="*/ 706660 w 887920"/>
                <a:gd name="connsiteY62" fmla="*/ 269081 h 627602"/>
                <a:gd name="connsiteX63" fmla="*/ 704660 w 887920"/>
                <a:gd name="connsiteY63" fmla="*/ 266129 h 627602"/>
                <a:gd name="connsiteX64" fmla="*/ 704279 w 887920"/>
                <a:gd name="connsiteY64" fmla="*/ 262890 h 627602"/>
                <a:gd name="connsiteX65" fmla="*/ 699897 w 887920"/>
                <a:gd name="connsiteY65" fmla="*/ 253841 h 627602"/>
                <a:gd name="connsiteX66" fmla="*/ 705803 w 887920"/>
                <a:gd name="connsiteY66" fmla="*/ 249936 h 627602"/>
                <a:gd name="connsiteX67" fmla="*/ 703802 w 887920"/>
                <a:gd name="connsiteY67" fmla="*/ 246983 h 627602"/>
                <a:gd name="connsiteX68" fmla="*/ 706565 w 887920"/>
                <a:gd name="connsiteY68" fmla="*/ 243364 h 627602"/>
                <a:gd name="connsiteX69" fmla="*/ 702850 w 887920"/>
                <a:gd name="connsiteY69" fmla="*/ 239078 h 627602"/>
                <a:gd name="connsiteX70" fmla="*/ 706755 w 887920"/>
                <a:gd name="connsiteY70" fmla="*/ 232124 h 627602"/>
                <a:gd name="connsiteX71" fmla="*/ 704945 w 887920"/>
                <a:gd name="connsiteY71" fmla="*/ 230791 h 627602"/>
                <a:gd name="connsiteX72" fmla="*/ 701231 w 887920"/>
                <a:gd name="connsiteY72" fmla="*/ 213646 h 627602"/>
                <a:gd name="connsiteX73" fmla="*/ 695420 w 887920"/>
                <a:gd name="connsiteY73" fmla="*/ 206312 h 627602"/>
                <a:gd name="connsiteX74" fmla="*/ 691134 w 887920"/>
                <a:gd name="connsiteY74" fmla="*/ 197263 h 627602"/>
                <a:gd name="connsiteX75" fmla="*/ 689515 w 887920"/>
                <a:gd name="connsiteY75" fmla="*/ 197453 h 627602"/>
                <a:gd name="connsiteX76" fmla="*/ 686181 w 887920"/>
                <a:gd name="connsiteY76" fmla="*/ 196310 h 627602"/>
                <a:gd name="connsiteX77" fmla="*/ 684562 w 887920"/>
                <a:gd name="connsiteY77" fmla="*/ 196501 h 627602"/>
                <a:gd name="connsiteX78" fmla="*/ 684181 w 887920"/>
                <a:gd name="connsiteY78" fmla="*/ 193358 h 627602"/>
                <a:gd name="connsiteX79" fmla="*/ 682847 w 887920"/>
                <a:gd name="connsiteY79" fmla="*/ 195072 h 627602"/>
                <a:gd name="connsiteX80" fmla="*/ 680847 w 887920"/>
                <a:gd name="connsiteY80" fmla="*/ 192119 h 627602"/>
                <a:gd name="connsiteX81" fmla="*/ 674465 w 887920"/>
                <a:gd name="connsiteY81" fmla="*/ 192977 h 627602"/>
                <a:gd name="connsiteX82" fmla="*/ 674084 w 887920"/>
                <a:gd name="connsiteY82" fmla="*/ 189833 h 627602"/>
                <a:gd name="connsiteX83" fmla="*/ 672560 w 887920"/>
                <a:gd name="connsiteY83" fmla="*/ 190024 h 627602"/>
                <a:gd name="connsiteX84" fmla="*/ 665798 w 887920"/>
                <a:gd name="connsiteY84" fmla="*/ 187643 h 627602"/>
                <a:gd name="connsiteX85" fmla="*/ 660654 w 887920"/>
                <a:gd name="connsiteY85" fmla="*/ 185071 h 627602"/>
                <a:gd name="connsiteX86" fmla="*/ 649224 w 887920"/>
                <a:gd name="connsiteY86" fmla="*/ 170498 h 627602"/>
                <a:gd name="connsiteX87" fmla="*/ 648367 w 887920"/>
                <a:gd name="connsiteY87" fmla="*/ 164211 h 627602"/>
                <a:gd name="connsiteX88" fmla="*/ 640842 w 887920"/>
                <a:gd name="connsiteY88" fmla="*/ 155543 h 627602"/>
                <a:gd name="connsiteX89" fmla="*/ 638651 w 887920"/>
                <a:gd name="connsiteY89" fmla="*/ 150971 h 627602"/>
                <a:gd name="connsiteX90" fmla="*/ 635318 w 887920"/>
                <a:gd name="connsiteY90" fmla="*/ 124206 h 627602"/>
                <a:gd name="connsiteX91" fmla="*/ 631508 w 887920"/>
                <a:gd name="connsiteY91" fmla="*/ 119824 h 627602"/>
                <a:gd name="connsiteX92" fmla="*/ 633698 w 887920"/>
                <a:gd name="connsiteY92" fmla="*/ 111538 h 627602"/>
                <a:gd name="connsiteX93" fmla="*/ 632841 w 887920"/>
                <a:gd name="connsiteY93" fmla="*/ 105251 h 627602"/>
                <a:gd name="connsiteX94" fmla="*/ 634079 w 887920"/>
                <a:gd name="connsiteY94" fmla="*/ 101918 h 627602"/>
                <a:gd name="connsiteX95" fmla="*/ 638366 w 887920"/>
                <a:gd name="connsiteY95" fmla="*/ 98108 h 627602"/>
                <a:gd name="connsiteX96" fmla="*/ 639509 w 887920"/>
                <a:gd name="connsiteY96" fmla="*/ 94774 h 627602"/>
                <a:gd name="connsiteX97" fmla="*/ 646843 w 887920"/>
                <a:gd name="connsiteY97" fmla="*/ 89059 h 627602"/>
                <a:gd name="connsiteX98" fmla="*/ 647605 w 887920"/>
                <a:gd name="connsiteY98" fmla="*/ 82487 h 627602"/>
                <a:gd name="connsiteX99" fmla="*/ 643223 w 887920"/>
                <a:gd name="connsiteY99" fmla="*/ 73438 h 627602"/>
                <a:gd name="connsiteX100" fmla="*/ 636556 w 887920"/>
                <a:gd name="connsiteY100" fmla="*/ 71057 h 627602"/>
                <a:gd name="connsiteX101" fmla="*/ 638270 w 887920"/>
                <a:gd name="connsiteY101" fmla="*/ 59626 h 627602"/>
                <a:gd name="connsiteX102" fmla="*/ 637318 w 887920"/>
                <a:gd name="connsiteY102" fmla="*/ 51721 h 627602"/>
                <a:gd name="connsiteX103" fmla="*/ 622459 w 887920"/>
                <a:gd name="connsiteY103" fmla="*/ 48863 h 627602"/>
                <a:gd name="connsiteX104" fmla="*/ 619316 w 887920"/>
                <a:gd name="connsiteY104" fmla="*/ 49244 h 627602"/>
                <a:gd name="connsiteX105" fmla="*/ 617982 w 887920"/>
                <a:gd name="connsiteY105" fmla="*/ 51054 h 627602"/>
                <a:gd name="connsiteX106" fmla="*/ 612172 w 887920"/>
                <a:gd name="connsiteY106" fmla="*/ 43720 h 627602"/>
                <a:gd name="connsiteX107" fmla="*/ 615125 w 887920"/>
                <a:gd name="connsiteY107" fmla="*/ 41720 h 627602"/>
                <a:gd name="connsiteX108" fmla="*/ 613124 w 887920"/>
                <a:gd name="connsiteY108" fmla="*/ 38767 h 627602"/>
                <a:gd name="connsiteX109" fmla="*/ 610743 w 887920"/>
                <a:gd name="connsiteY109" fmla="*/ 32671 h 627602"/>
                <a:gd name="connsiteX110" fmla="*/ 613696 w 887920"/>
                <a:gd name="connsiteY110" fmla="*/ 30670 h 627602"/>
                <a:gd name="connsiteX111" fmla="*/ 611981 w 887920"/>
                <a:gd name="connsiteY111" fmla="*/ 29337 h 627602"/>
                <a:gd name="connsiteX112" fmla="*/ 597980 w 887920"/>
                <a:gd name="connsiteY112" fmla="*/ 32671 h 627602"/>
                <a:gd name="connsiteX113" fmla="*/ 592074 w 887920"/>
                <a:gd name="connsiteY113" fmla="*/ 36671 h 627602"/>
                <a:gd name="connsiteX114" fmla="*/ 587121 w 887920"/>
                <a:gd name="connsiteY114" fmla="*/ 35719 h 627602"/>
                <a:gd name="connsiteX115" fmla="*/ 583025 w 887920"/>
                <a:gd name="connsiteY115" fmla="*/ 41053 h 627602"/>
                <a:gd name="connsiteX116" fmla="*/ 583787 w 887920"/>
                <a:gd name="connsiteY116" fmla="*/ 47339 h 627602"/>
                <a:gd name="connsiteX117" fmla="*/ 577691 w 887920"/>
                <a:gd name="connsiteY117" fmla="*/ 49720 h 627602"/>
                <a:gd name="connsiteX118" fmla="*/ 569024 w 887920"/>
                <a:gd name="connsiteY118" fmla="*/ 44387 h 627602"/>
                <a:gd name="connsiteX119" fmla="*/ 565595 w 887920"/>
                <a:gd name="connsiteY119" fmla="*/ 43244 h 627602"/>
                <a:gd name="connsiteX120" fmla="*/ 568547 w 887920"/>
                <a:gd name="connsiteY120" fmla="*/ 41243 h 627602"/>
                <a:gd name="connsiteX121" fmla="*/ 569309 w 887920"/>
                <a:gd name="connsiteY121" fmla="*/ 34766 h 627602"/>
                <a:gd name="connsiteX122" fmla="*/ 568928 w 887920"/>
                <a:gd name="connsiteY122" fmla="*/ 31623 h 627602"/>
                <a:gd name="connsiteX123" fmla="*/ 568547 w 887920"/>
                <a:gd name="connsiteY123" fmla="*/ 15621 h 627602"/>
                <a:gd name="connsiteX124" fmla="*/ 565499 w 887920"/>
                <a:gd name="connsiteY124" fmla="*/ 4763 h 627602"/>
                <a:gd name="connsiteX125" fmla="*/ 553498 w 887920"/>
                <a:gd name="connsiteY125" fmla="*/ 11144 h 627602"/>
                <a:gd name="connsiteX126" fmla="*/ 545592 w 887920"/>
                <a:gd name="connsiteY126" fmla="*/ 12097 h 627602"/>
                <a:gd name="connsiteX127" fmla="*/ 544830 w 887920"/>
                <a:gd name="connsiteY127" fmla="*/ 18669 h 627602"/>
                <a:gd name="connsiteX128" fmla="*/ 539591 w 887920"/>
                <a:gd name="connsiteY128" fmla="*/ 27337 h 627602"/>
                <a:gd name="connsiteX129" fmla="*/ 538734 w 887920"/>
                <a:gd name="connsiteY129" fmla="*/ 33814 h 627602"/>
                <a:gd name="connsiteX130" fmla="*/ 542163 w 887920"/>
                <a:gd name="connsiteY130" fmla="*/ 35052 h 627602"/>
                <a:gd name="connsiteX131" fmla="*/ 545687 w 887920"/>
                <a:gd name="connsiteY131" fmla="*/ 37814 h 627602"/>
                <a:gd name="connsiteX132" fmla="*/ 540734 w 887920"/>
                <a:gd name="connsiteY132" fmla="*/ 36767 h 627602"/>
                <a:gd name="connsiteX133" fmla="*/ 536258 w 887920"/>
                <a:gd name="connsiteY133" fmla="*/ 38957 h 627602"/>
                <a:gd name="connsiteX134" fmla="*/ 530924 w 887920"/>
                <a:gd name="connsiteY134" fmla="*/ 34862 h 627602"/>
                <a:gd name="connsiteX135" fmla="*/ 524542 w 887920"/>
                <a:gd name="connsiteY135" fmla="*/ 35624 h 627602"/>
                <a:gd name="connsiteX136" fmla="*/ 519875 w 887920"/>
                <a:gd name="connsiteY136" fmla="*/ 36290 h 627602"/>
                <a:gd name="connsiteX137" fmla="*/ 515684 w 887920"/>
                <a:gd name="connsiteY137" fmla="*/ 28766 h 627602"/>
                <a:gd name="connsiteX138" fmla="*/ 515112 w 887920"/>
                <a:gd name="connsiteY138" fmla="*/ 24003 h 627602"/>
                <a:gd name="connsiteX139" fmla="*/ 522161 w 887920"/>
                <a:gd name="connsiteY139" fmla="*/ 16669 h 627602"/>
                <a:gd name="connsiteX140" fmla="*/ 518351 w 887920"/>
                <a:gd name="connsiteY140" fmla="*/ 12383 h 627602"/>
                <a:gd name="connsiteX141" fmla="*/ 505397 w 887920"/>
                <a:gd name="connsiteY141" fmla="*/ 10859 h 627602"/>
                <a:gd name="connsiteX142" fmla="*/ 500634 w 887920"/>
                <a:gd name="connsiteY142" fmla="*/ 11430 h 627602"/>
                <a:gd name="connsiteX143" fmla="*/ 500063 w 887920"/>
                <a:gd name="connsiteY143" fmla="*/ 6668 h 627602"/>
                <a:gd name="connsiteX144" fmla="*/ 495110 w 887920"/>
                <a:gd name="connsiteY144" fmla="*/ 5715 h 627602"/>
                <a:gd name="connsiteX145" fmla="*/ 494729 w 887920"/>
                <a:gd name="connsiteY145" fmla="*/ 2572 h 627602"/>
                <a:gd name="connsiteX146" fmla="*/ 489585 w 887920"/>
                <a:gd name="connsiteY146" fmla="*/ 0 h 627602"/>
                <a:gd name="connsiteX147" fmla="*/ 487966 w 887920"/>
                <a:gd name="connsiteY147" fmla="*/ 190 h 627602"/>
                <a:gd name="connsiteX148" fmla="*/ 487775 w 887920"/>
                <a:gd name="connsiteY148" fmla="*/ 11430 h 627602"/>
                <a:gd name="connsiteX149" fmla="*/ 481679 w 887920"/>
                <a:gd name="connsiteY149" fmla="*/ 13811 h 627602"/>
                <a:gd name="connsiteX150" fmla="*/ 471869 w 887920"/>
                <a:gd name="connsiteY150" fmla="*/ 11906 h 627602"/>
                <a:gd name="connsiteX151" fmla="*/ 471392 w 887920"/>
                <a:gd name="connsiteY151" fmla="*/ 8763 h 627602"/>
                <a:gd name="connsiteX152" fmla="*/ 471202 w 887920"/>
                <a:gd name="connsiteY152" fmla="*/ 7144 h 627602"/>
                <a:gd name="connsiteX153" fmla="*/ 470630 w 887920"/>
                <a:gd name="connsiteY153" fmla="*/ 2477 h 627602"/>
                <a:gd name="connsiteX154" fmla="*/ 463868 w 887920"/>
                <a:gd name="connsiteY154" fmla="*/ 95 h 627602"/>
                <a:gd name="connsiteX155" fmla="*/ 459200 w 887920"/>
                <a:gd name="connsiteY155" fmla="*/ 667 h 627602"/>
                <a:gd name="connsiteX156" fmla="*/ 458438 w 887920"/>
                <a:gd name="connsiteY156" fmla="*/ 7239 h 627602"/>
                <a:gd name="connsiteX157" fmla="*/ 455200 w 887920"/>
                <a:gd name="connsiteY157" fmla="*/ 7620 h 627602"/>
                <a:gd name="connsiteX158" fmla="*/ 449485 w 887920"/>
                <a:gd name="connsiteY158" fmla="*/ 13145 h 627602"/>
                <a:gd name="connsiteX159" fmla="*/ 445008 w 887920"/>
                <a:gd name="connsiteY159" fmla="*/ 15335 h 627602"/>
                <a:gd name="connsiteX160" fmla="*/ 438436 w 887920"/>
                <a:gd name="connsiteY160" fmla="*/ 14573 h 627602"/>
                <a:gd name="connsiteX161" fmla="*/ 435959 w 887920"/>
                <a:gd name="connsiteY161" fmla="*/ 19717 h 627602"/>
                <a:gd name="connsiteX162" fmla="*/ 426911 w 887920"/>
                <a:gd name="connsiteY162" fmla="*/ 36862 h 627602"/>
                <a:gd name="connsiteX163" fmla="*/ 432245 w 887920"/>
                <a:gd name="connsiteY163" fmla="*/ 40958 h 627602"/>
                <a:gd name="connsiteX164" fmla="*/ 440150 w 887920"/>
                <a:gd name="connsiteY164" fmla="*/ 52864 h 627602"/>
                <a:gd name="connsiteX165" fmla="*/ 444246 w 887920"/>
                <a:gd name="connsiteY165" fmla="*/ 47435 h 627602"/>
                <a:gd name="connsiteX166" fmla="*/ 451771 w 887920"/>
                <a:gd name="connsiteY166" fmla="*/ 43339 h 627602"/>
                <a:gd name="connsiteX167" fmla="*/ 453581 w 887920"/>
                <a:gd name="connsiteY167" fmla="*/ 44672 h 627602"/>
                <a:gd name="connsiteX168" fmla="*/ 458534 w 887920"/>
                <a:gd name="connsiteY168" fmla="*/ 58484 h 627602"/>
                <a:gd name="connsiteX169" fmla="*/ 462725 w 887920"/>
                <a:gd name="connsiteY169" fmla="*/ 66008 h 627602"/>
                <a:gd name="connsiteX170" fmla="*/ 460915 w 887920"/>
                <a:gd name="connsiteY170" fmla="*/ 64580 h 627602"/>
                <a:gd name="connsiteX171" fmla="*/ 455200 w 887920"/>
                <a:gd name="connsiteY171" fmla="*/ 70104 h 627602"/>
                <a:gd name="connsiteX172" fmla="*/ 458534 w 887920"/>
                <a:gd name="connsiteY172" fmla="*/ 84106 h 627602"/>
                <a:gd name="connsiteX173" fmla="*/ 456248 w 887920"/>
                <a:gd name="connsiteY173" fmla="*/ 90869 h 627602"/>
                <a:gd name="connsiteX174" fmla="*/ 458248 w 887920"/>
                <a:gd name="connsiteY174" fmla="*/ 93821 h 627602"/>
                <a:gd name="connsiteX175" fmla="*/ 448723 w 887920"/>
                <a:gd name="connsiteY175" fmla="*/ 107823 h 627602"/>
                <a:gd name="connsiteX176" fmla="*/ 445770 w 887920"/>
                <a:gd name="connsiteY176" fmla="*/ 109823 h 627602"/>
                <a:gd name="connsiteX177" fmla="*/ 441674 w 887920"/>
                <a:gd name="connsiteY177" fmla="*/ 115157 h 627602"/>
                <a:gd name="connsiteX178" fmla="*/ 444056 w 887920"/>
                <a:gd name="connsiteY178" fmla="*/ 121253 h 627602"/>
                <a:gd name="connsiteX179" fmla="*/ 448056 w 887920"/>
                <a:gd name="connsiteY179" fmla="*/ 127159 h 627602"/>
                <a:gd name="connsiteX180" fmla="*/ 448818 w 887920"/>
                <a:gd name="connsiteY180" fmla="*/ 133541 h 627602"/>
                <a:gd name="connsiteX181" fmla="*/ 453581 w 887920"/>
                <a:gd name="connsiteY181" fmla="*/ 132874 h 627602"/>
                <a:gd name="connsiteX182" fmla="*/ 446437 w 887920"/>
                <a:gd name="connsiteY182" fmla="*/ 140208 h 627602"/>
                <a:gd name="connsiteX183" fmla="*/ 447294 w 887920"/>
                <a:gd name="connsiteY183" fmla="*/ 146495 h 627602"/>
                <a:gd name="connsiteX184" fmla="*/ 444532 w 887920"/>
                <a:gd name="connsiteY184" fmla="*/ 150114 h 627602"/>
                <a:gd name="connsiteX185" fmla="*/ 448056 w 887920"/>
                <a:gd name="connsiteY185" fmla="*/ 152876 h 627602"/>
                <a:gd name="connsiteX186" fmla="*/ 450056 w 887920"/>
                <a:gd name="connsiteY186" fmla="*/ 168593 h 627602"/>
                <a:gd name="connsiteX187" fmla="*/ 451104 w 887920"/>
                <a:gd name="connsiteY187" fmla="*/ 176498 h 627602"/>
                <a:gd name="connsiteX188" fmla="*/ 447961 w 887920"/>
                <a:gd name="connsiteY188" fmla="*/ 176879 h 627602"/>
                <a:gd name="connsiteX189" fmla="*/ 433578 w 887920"/>
                <a:gd name="connsiteY189" fmla="*/ 177165 h 627602"/>
                <a:gd name="connsiteX190" fmla="*/ 429387 w 887920"/>
                <a:gd name="connsiteY190" fmla="*/ 182499 h 627602"/>
                <a:gd name="connsiteX191" fmla="*/ 421481 w 887920"/>
                <a:gd name="connsiteY191" fmla="*/ 183452 h 627602"/>
                <a:gd name="connsiteX192" fmla="*/ 413195 w 887920"/>
                <a:gd name="connsiteY192" fmla="*/ 181356 h 627602"/>
                <a:gd name="connsiteX193" fmla="*/ 407670 w 887920"/>
                <a:gd name="connsiteY193" fmla="*/ 175641 h 627602"/>
                <a:gd name="connsiteX194" fmla="*/ 381000 w 887920"/>
                <a:gd name="connsiteY194" fmla="*/ 167831 h 627602"/>
                <a:gd name="connsiteX195" fmla="*/ 379095 w 887920"/>
                <a:gd name="connsiteY195" fmla="*/ 177641 h 627602"/>
                <a:gd name="connsiteX196" fmla="*/ 363093 w 887920"/>
                <a:gd name="connsiteY196" fmla="*/ 165259 h 627602"/>
                <a:gd name="connsiteX197" fmla="*/ 356711 w 887920"/>
                <a:gd name="connsiteY197" fmla="*/ 166116 h 627602"/>
                <a:gd name="connsiteX198" fmla="*/ 356140 w 887920"/>
                <a:gd name="connsiteY198" fmla="*/ 174212 h 627602"/>
                <a:gd name="connsiteX199" fmla="*/ 349853 w 887920"/>
                <a:gd name="connsiteY199" fmla="*/ 174974 h 627602"/>
                <a:gd name="connsiteX200" fmla="*/ 344900 w 887920"/>
                <a:gd name="connsiteY200" fmla="*/ 174022 h 627602"/>
                <a:gd name="connsiteX201" fmla="*/ 340233 w 887920"/>
                <a:gd name="connsiteY201" fmla="*/ 174593 h 627602"/>
                <a:gd name="connsiteX202" fmla="*/ 333280 w 887920"/>
                <a:gd name="connsiteY202" fmla="*/ 170688 h 627602"/>
                <a:gd name="connsiteX203" fmla="*/ 328803 w 887920"/>
                <a:gd name="connsiteY203" fmla="*/ 172879 h 627602"/>
                <a:gd name="connsiteX204" fmla="*/ 329184 w 887920"/>
                <a:gd name="connsiteY204" fmla="*/ 176022 h 627602"/>
                <a:gd name="connsiteX205" fmla="*/ 325660 w 887920"/>
                <a:gd name="connsiteY205" fmla="*/ 186119 h 627602"/>
                <a:gd name="connsiteX206" fmla="*/ 320326 w 887920"/>
                <a:gd name="connsiteY206" fmla="*/ 194786 h 627602"/>
                <a:gd name="connsiteX207" fmla="*/ 314420 w 887920"/>
                <a:gd name="connsiteY207" fmla="*/ 211550 h 627602"/>
                <a:gd name="connsiteX208" fmla="*/ 312896 w 887920"/>
                <a:gd name="connsiteY208" fmla="*/ 224600 h 627602"/>
                <a:gd name="connsiteX209" fmla="*/ 307181 w 887920"/>
                <a:gd name="connsiteY209" fmla="*/ 230124 h 627602"/>
                <a:gd name="connsiteX210" fmla="*/ 308324 w 887920"/>
                <a:gd name="connsiteY210" fmla="*/ 226790 h 627602"/>
                <a:gd name="connsiteX211" fmla="*/ 306610 w 887920"/>
                <a:gd name="connsiteY211" fmla="*/ 225362 h 627602"/>
                <a:gd name="connsiteX212" fmla="*/ 297752 w 887920"/>
                <a:gd name="connsiteY212" fmla="*/ 231362 h 627602"/>
                <a:gd name="connsiteX213" fmla="*/ 289655 w 887920"/>
                <a:gd name="connsiteY213" fmla="*/ 230791 h 627602"/>
                <a:gd name="connsiteX214" fmla="*/ 289179 w 887920"/>
                <a:gd name="connsiteY214" fmla="*/ 227648 h 627602"/>
                <a:gd name="connsiteX215" fmla="*/ 286036 w 887920"/>
                <a:gd name="connsiteY215" fmla="*/ 228029 h 627602"/>
                <a:gd name="connsiteX216" fmla="*/ 284131 w 887920"/>
                <a:gd name="connsiteY216" fmla="*/ 225076 h 627602"/>
                <a:gd name="connsiteX217" fmla="*/ 279178 w 887920"/>
                <a:gd name="connsiteY217" fmla="*/ 224123 h 627602"/>
                <a:gd name="connsiteX218" fmla="*/ 273844 w 887920"/>
                <a:gd name="connsiteY218" fmla="*/ 219932 h 627602"/>
                <a:gd name="connsiteX219" fmla="*/ 268891 w 887920"/>
                <a:gd name="connsiteY219" fmla="*/ 218980 h 627602"/>
                <a:gd name="connsiteX220" fmla="*/ 266319 w 887920"/>
                <a:gd name="connsiteY220" fmla="*/ 224123 h 627602"/>
                <a:gd name="connsiteX221" fmla="*/ 258604 w 887920"/>
                <a:gd name="connsiteY221" fmla="*/ 226695 h 627602"/>
                <a:gd name="connsiteX222" fmla="*/ 255270 w 887920"/>
                <a:gd name="connsiteY222" fmla="*/ 225552 h 627602"/>
                <a:gd name="connsiteX223" fmla="*/ 255080 w 887920"/>
                <a:gd name="connsiteY223" fmla="*/ 223933 h 627602"/>
                <a:gd name="connsiteX224" fmla="*/ 257270 w 887920"/>
                <a:gd name="connsiteY224" fmla="*/ 215646 h 627602"/>
                <a:gd name="connsiteX225" fmla="*/ 249746 w 887920"/>
                <a:gd name="connsiteY225" fmla="*/ 206978 h 627602"/>
                <a:gd name="connsiteX226" fmla="*/ 237077 w 887920"/>
                <a:gd name="connsiteY226" fmla="*/ 208598 h 627602"/>
                <a:gd name="connsiteX227" fmla="*/ 231743 w 887920"/>
                <a:gd name="connsiteY227" fmla="*/ 204502 h 627602"/>
                <a:gd name="connsiteX228" fmla="*/ 217742 w 887920"/>
                <a:gd name="connsiteY228" fmla="*/ 194977 h 627602"/>
                <a:gd name="connsiteX229" fmla="*/ 208407 w 887920"/>
                <a:gd name="connsiteY229" fmla="*/ 197834 h 627602"/>
                <a:gd name="connsiteX230" fmla="*/ 196215 w 887920"/>
                <a:gd name="connsiteY230" fmla="*/ 189738 h 627602"/>
                <a:gd name="connsiteX231" fmla="*/ 187738 w 887920"/>
                <a:gd name="connsiteY231" fmla="*/ 186023 h 627602"/>
                <a:gd name="connsiteX232" fmla="*/ 180213 w 887920"/>
                <a:gd name="connsiteY232" fmla="*/ 202978 h 627602"/>
                <a:gd name="connsiteX233" fmla="*/ 177260 w 887920"/>
                <a:gd name="connsiteY233" fmla="*/ 204978 h 627602"/>
                <a:gd name="connsiteX234" fmla="*/ 172593 w 887920"/>
                <a:gd name="connsiteY234" fmla="*/ 205550 h 627602"/>
                <a:gd name="connsiteX235" fmla="*/ 168212 w 887920"/>
                <a:gd name="connsiteY235" fmla="*/ 209360 h 627602"/>
                <a:gd name="connsiteX236" fmla="*/ 153448 w 887920"/>
                <a:gd name="connsiteY236" fmla="*/ 206407 h 627602"/>
                <a:gd name="connsiteX237" fmla="*/ 152210 w 887920"/>
                <a:gd name="connsiteY237" fmla="*/ 209741 h 627602"/>
                <a:gd name="connsiteX238" fmla="*/ 154781 w 887920"/>
                <a:gd name="connsiteY238" fmla="*/ 217456 h 627602"/>
                <a:gd name="connsiteX239" fmla="*/ 150495 w 887920"/>
                <a:gd name="connsiteY239" fmla="*/ 221266 h 627602"/>
                <a:gd name="connsiteX240" fmla="*/ 151448 w 887920"/>
                <a:gd name="connsiteY240" fmla="*/ 229076 h 627602"/>
                <a:gd name="connsiteX241" fmla="*/ 148971 w 887920"/>
                <a:gd name="connsiteY241" fmla="*/ 234220 h 627602"/>
                <a:gd name="connsiteX242" fmla="*/ 150114 w 887920"/>
                <a:gd name="connsiteY242" fmla="*/ 243745 h 627602"/>
                <a:gd name="connsiteX243" fmla="*/ 148019 w 887920"/>
                <a:gd name="connsiteY243" fmla="*/ 252032 h 627602"/>
                <a:gd name="connsiteX244" fmla="*/ 140303 w 887920"/>
                <a:gd name="connsiteY244" fmla="*/ 254603 h 627602"/>
                <a:gd name="connsiteX245" fmla="*/ 135541 w 887920"/>
                <a:gd name="connsiteY245" fmla="*/ 255175 h 627602"/>
                <a:gd name="connsiteX246" fmla="*/ 135350 w 887920"/>
                <a:gd name="connsiteY246" fmla="*/ 253651 h 627602"/>
                <a:gd name="connsiteX247" fmla="*/ 134398 w 887920"/>
                <a:gd name="connsiteY247" fmla="*/ 258604 h 627602"/>
                <a:gd name="connsiteX248" fmla="*/ 130683 w 887920"/>
                <a:gd name="connsiteY248" fmla="*/ 254222 h 627602"/>
                <a:gd name="connsiteX249" fmla="*/ 124301 w 887920"/>
                <a:gd name="connsiteY249" fmla="*/ 255080 h 627602"/>
                <a:gd name="connsiteX250" fmla="*/ 122301 w 887920"/>
                <a:gd name="connsiteY250" fmla="*/ 252127 h 627602"/>
                <a:gd name="connsiteX251" fmla="*/ 114014 w 887920"/>
                <a:gd name="connsiteY251" fmla="*/ 249936 h 627602"/>
                <a:gd name="connsiteX252" fmla="*/ 111633 w 887920"/>
                <a:gd name="connsiteY252" fmla="*/ 243840 h 627602"/>
                <a:gd name="connsiteX253" fmla="*/ 102965 w 887920"/>
                <a:gd name="connsiteY253" fmla="*/ 238506 h 627602"/>
                <a:gd name="connsiteX254" fmla="*/ 99822 w 887920"/>
                <a:gd name="connsiteY254" fmla="*/ 238887 h 627602"/>
                <a:gd name="connsiteX255" fmla="*/ 98393 w 887920"/>
                <a:gd name="connsiteY255" fmla="*/ 240697 h 627602"/>
                <a:gd name="connsiteX256" fmla="*/ 96679 w 887920"/>
                <a:gd name="connsiteY256" fmla="*/ 239268 h 627602"/>
                <a:gd name="connsiteX257" fmla="*/ 92107 w 887920"/>
                <a:gd name="connsiteY257" fmla="*/ 241459 h 627602"/>
                <a:gd name="connsiteX258" fmla="*/ 94869 w 887920"/>
                <a:gd name="connsiteY258" fmla="*/ 237935 h 627602"/>
                <a:gd name="connsiteX259" fmla="*/ 95822 w 887920"/>
                <a:gd name="connsiteY259" fmla="*/ 232982 h 627602"/>
                <a:gd name="connsiteX260" fmla="*/ 92678 w 887920"/>
                <a:gd name="connsiteY260" fmla="*/ 233363 h 627602"/>
                <a:gd name="connsiteX261" fmla="*/ 90964 w 887920"/>
                <a:gd name="connsiteY261" fmla="*/ 232029 h 627602"/>
                <a:gd name="connsiteX262" fmla="*/ 83249 w 887920"/>
                <a:gd name="connsiteY262" fmla="*/ 234601 h 627602"/>
                <a:gd name="connsiteX263" fmla="*/ 79058 w 887920"/>
                <a:gd name="connsiteY263" fmla="*/ 239935 h 627602"/>
                <a:gd name="connsiteX264" fmla="*/ 73533 w 887920"/>
                <a:gd name="connsiteY264" fmla="*/ 234220 h 627602"/>
                <a:gd name="connsiteX265" fmla="*/ 67437 w 887920"/>
                <a:gd name="connsiteY265" fmla="*/ 236601 h 627602"/>
                <a:gd name="connsiteX266" fmla="*/ 71247 w 887920"/>
                <a:gd name="connsiteY266" fmla="*/ 240983 h 627602"/>
                <a:gd name="connsiteX267" fmla="*/ 69818 w 887920"/>
                <a:gd name="connsiteY267" fmla="*/ 242697 h 627602"/>
                <a:gd name="connsiteX268" fmla="*/ 73152 w 887920"/>
                <a:gd name="connsiteY268" fmla="*/ 243935 h 627602"/>
                <a:gd name="connsiteX269" fmla="*/ 74581 w 887920"/>
                <a:gd name="connsiteY269" fmla="*/ 242126 h 627602"/>
                <a:gd name="connsiteX270" fmla="*/ 77915 w 887920"/>
                <a:gd name="connsiteY270" fmla="*/ 243269 h 627602"/>
                <a:gd name="connsiteX271" fmla="*/ 78296 w 887920"/>
                <a:gd name="connsiteY271" fmla="*/ 246507 h 627602"/>
                <a:gd name="connsiteX272" fmla="*/ 74771 w 887920"/>
                <a:gd name="connsiteY272" fmla="*/ 243745 h 627602"/>
                <a:gd name="connsiteX273" fmla="*/ 72200 w 887920"/>
                <a:gd name="connsiteY273" fmla="*/ 248888 h 627602"/>
                <a:gd name="connsiteX274" fmla="*/ 74009 w 887920"/>
                <a:gd name="connsiteY274" fmla="*/ 250222 h 627602"/>
                <a:gd name="connsiteX275" fmla="*/ 73057 w 887920"/>
                <a:gd name="connsiteY275" fmla="*/ 255175 h 627602"/>
                <a:gd name="connsiteX276" fmla="*/ 74771 w 887920"/>
                <a:gd name="connsiteY276" fmla="*/ 256508 h 627602"/>
                <a:gd name="connsiteX277" fmla="*/ 76391 w 887920"/>
                <a:gd name="connsiteY277" fmla="*/ 256318 h 627602"/>
                <a:gd name="connsiteX278" fmla="*/ 78200 w 887920"/>
                <a:gd name="connsiteY278" fmla="*/ 257746 h 627602"/>
                <a:gd name="connsiteX279" fmla="*/ 78391 w 887920"/>
                <a:gd name="connsiteY279" fmla="*/ 259270 h 627602"/>
                <a:gd name="connsiteX280" fmla="*/ 78581 w 887920"/>
                <a:gd name="connsiteY280" fmla="*/ 260890 h 627602"/>
                <a:gd name="connsiteX281" fmla="*/ 72676 w 887920"/>
                <a:gd name="connsiteY281" fmla="*/ 264795 h 627602"/>
                <a:gd name="connsiteX282" fmla="*/ 71438 w 887920"/>
                <a:gd name="connsiteY282" fmla="*/ 268224 h 627602"/>
                <a:gd name="connsiteX283" fmla="*/ 77057 w 887920"/>
                <a:gd name="connsiteY283" fmla="*/ 273844 h 627602"/>
                <a:gd name="connsiteX284" fmla="*/ 71723 w 887920"/>
                <a:gd name="connsiteY284" fmla="*/ 282607 h 627602"/>
                <a:gd name="connsiteX285" fmla="*/ 66580 w 887920"/>
                <a:gd name="connsiteY285" fmla="*/ 280035 h 627602"/>
                <a:gd name="connsiteX286" fmla="*/ 61817 w 887920"/>
                <a:gd name="connsiteY286" fmla="*/ 280607 h 627602"/>
                <a:gd name="connsiteX287" fmla="*/ 62008 w 887920"/>
                <a:gd name="connsiteY287" fmla="*/ 282226 h 627602"/>
                <a:gd name="connsiteX288" fmla="*/ 56483 w 887920"/>
                <a:gd name="connsiteY288" fmla="*/ 289370 h 627602"/>
                <a:gd name="connsiteX289" fmla="*/ 54959 w 887920"/>
                <a:gd name="connsiteY289" fmla="*/ 302324 h 627602"/>
                <a:gd name="connsiteX290" fmla="*/ 54007 w 887920"/>
                <a:gd name="connsiteY290" fmla="*/ 307277 h 627602"/>
                <a:gd name="connsiteX291" fmla="*/ 51054 w 887920"/>
                <a:gd name="connsiteY291" fmla="*/ 309277 h 627602"/>
                <a:gd name="connsiteX292" fmla="*/ 50292 w 887920"/>
                <a:gd name="connsiteY292" fmla="*/ 315754 h 627602"/>
                <a:gd name="connsiteX293" fmla="*/ 59150 w 887920"/>
                <a:gd name="connsiteY293" fmla="*/ 322707 h 627602"/>
                <a:gd name="connsiteX294" fmla="*/ 56388 w 887920"/>
                <a:gd name="connsiteY294" fmla="*/ 326231 h 627602"/>
                <a:gd name="connsiteX295" fmla="*/ 50102 w 887920"/>
                <a:gd name="connsiteY295" fmla="*/ 326993 h 627602"/>
                <a:gd name="connsiteX296" fmla="*/ 48482 w 887920"/>
                <a:gd name="connsiteY296" fmla="*/ 327279 h 627602"/>
                <a:gd name="connsiteX297" fmla="*/ 49721 w 887920"/>
                <a:gd name="connsiteY297" fmla="*/ 323850 h 627602"/>
                <a:gd name="connsiteX298" fmla="*/ 47339 w 887920"/>
                <a:gd name="connsiteY298" fmla="*/ 317754 h 627602"/>
                <a:gd name="connsiteX299" fmla="*/ 44768 w 887920"/>
                <a:gd name="connsiteY299" fmla="*/ 322898 h 627602"/>
                <a:gd name="connsiteX300" fmla="*/ 44958 w 887920"/>
                <a:gd name="connsiteY300" fmla="*/ 324517 h 627602"/>
                <a:gd name="connsiteX301" fmla="*/ 41243 w 887920"/>
                <a:gd name="connsiteY301" fmla="*/ 332994 h 627602"/>
                <a:gd name="connsiteX302" fmla="*/ 32195 w 887920"/>
                <a:gd name="connsiteY302" fmla="*/ 337376 h 627602"/>
                <a:gd name="connsiteX303" fmla="*/ 22860 w 887920"/>
                <a:gd name="connsiteY303" fmla="*/ 340138 h 627602"/>
                <a:gd name="connsiteX304" fmla="*/ 18955 w 887920"/>
                <a:gd name="connsiteY304" fmla="*/ 346996 h 627602"/>
                <a:gd name="connsiteX305" fmla="*/ 19812 w 887920"/>
                <a:gd name="connsiteY305" fmla="*/ 353378 h 627602"/>
                <a:gd name="connsiteX306" fmla="*/ 15621 w 887920"/>
                <a:gd name="connsiteY306" fmla="*/ 358712 h 627602"/>
                <a:gd name="connsiteX307" fmla="*/ 15050 w 887920"/>
                <a:gd name="connsiteY307" fmla="*/ 366808 h 627602"/>
                <a:gd name="connsiteX308" fmla="*/ 22003 w 887920"/>
                <a:gd name="connsiteY308" fmla="*/ 370713 h 627602"/>
                <a:gd name="connsiteX309" fmla="*/ 22574 w 887920"/>
                <a:gd name="connsiteY309" fmla="*/ 375476 h 627602"/>
                <a:gd name="connsiteX310" fmla="*/ 8192 w 887920"/>
                <a:gd name="connsiteY310" fmla="*/ 388525 h 627602"/>
                <a:gd name="connsiteX311" fmla="*/ 6477 w 887920"/>
                <a:gd name="connsiteY311" fmla="*/ 387096 h 627602"/>
                <a:gd name="connsiteX312" fmla="*/ 191 w 887920"/>
                <a:gd name="connsiteY312" fmla="*/ 400717 h 627602"/>
                <a:gd name="connsiteX313" fmla="*/ 0 w 887920"/>
                <a:gd name="connsiteY313" fmla="*/ 412052 h 627602"/>
                <a:gd name="connsiteX314" fmla="*/ 4953 w 887920"/>
                <a:gd name="connsiteY314" fmla="*/ 413004 h 627602"/>
                <a:gd name="connsiteX315" fmla="*/ 9620 w 887920"/>
                <a:gd name="connsiteY315" fmla="*/ 412337 h 627602"/>
                <a:gd name="connsiteX316" fmla="*/ 11240 w 887920"/>
                <a:gd name="connsiteY316" fmla="*/ 412147 h 627602"/>
                <a:gd name="connsiteX317" fmla="*/ 10478 w 887920"/>
                <a:gd name="connsiteY317" fmla="*/ 418719 h 627602"/>
                <a:gd name="connsiteX318" fmla="*/ 10859 w 887920"/>
                <a:gd name="connsiteY318" fmla="*/ 421862 h 627602"/>
                <a:gd name="connsiteX319" fmla="*/ 11049 w 887920"/>
                <a:gd name="connsiteY319" fmla="*/ 423386 h 627602"/>
                <a:gd name="connsiteX320" fmla="*/ 13811 w 887920"/>
                <a:gd name="connsiteY320" fmla="*/ 432721 h 627602"/>
                <a:gd name="connsiteX321" fmla="*/ 14288 w 887920"/>
                <a:gd name="connsiteY321" fmla="*/ 435864 h 627602"/>
                <a:gd name="connsiteX322" fmla="*/ 10763 w 887920"/>
                <a:gd name="connsiteY322" fmla="*/ 445961 h 627602"/>
                <a:gd name="connsiteX323" fmla="*/ 17812 w 887920"/>
                <a:gd name="connsiteY323" fmla="*/ 451390 h 627602"/>
                <a:gd name="connsiteX324" fmla="*/ 16478 w 887920"/>
                <a:gd name="connsiteY324" fmla="*/ 453200 h 627602"/>
                <a:gd name="connsiteX325" fmla="*/ 16859 w 887920"/>
                <a:gd name="connsiteY325" fmla="*/ 456343 h 627602"/>
                <a:gd name="connsiteX326" fmla="*/ 24003 w 887920"/>
                <a:gd name="connsiteY326" fmla="*/ 461867 h 627602"/>
                <a:gd name="connsiteX327" fmla="*/ 26956 w 887920"/>
                <a:gd name="connsiteY327" fmla="*/ 472726 h 627602"/>
                <a:gd name="connsiteX328" fmla="*/ 24384 w 887920"/>
                <a:gd name="connsiteY328" fmla="*/ 477869 h 627602"/>
                <a:gd name="connsiteX329" fmla="*/ 29337 w 887920"/>
                <a:gd name="connsiteY329" fmla="*/ 478822 h 627602"/>
                <a:gd name="connsiteX330" fmla="*/ 33338 w 887920"/>
                <a:gd name="connsiteY330" fmla="*/ 484727 h 627602"/>
                <a:gd name="connsiteX331" fmla="*/ 32099 w 887920"/>
                <a:gd name="connsiteY331" fmla="*/ 488061 h 627602"/>
                <a:gd name="connsiteX332" fmla="*/ 42196 w 887920"/>
                <a:gd name="connsiteY332" fmla="*/ 491585 h 627602"/>
                <a:gd name="connsiteX333" fmla="*/ 41434 w 887920"/>
                <a:gd name="connsiteY333" fmla="*/ 498158 h 627602"/>
                <a:gd name="connsiteX334" fmla="*/ 43053 w 887920"/>
                <a:gd name="connsiteY334" fmla="*/ 497967 h 627602"/>
                <a:gd name="connsiteX335" fmla="*/ 41624 w 887920"/>
                <a:gd name="connsiteY335" fmla="*/ 499682 h 627602"/>
                <a:gd name="connsiteX336" fmla="*/ 44768 w 887920"/>
                <a:gd name="connsiteY336" fmla="*/ 499301 h 627602"/>
                <a:gd name="connsiteX337" fmla="*/ 46006 w 887920"/>
                <a:gd name="connsiteY337" fmla="*/ 508826 h 627602"/>
                <a:gd name="connsiteX338" fmla="*/ 47625 w 887920"/>
                <a:gd name="connsiteY338" fmla="*/ 508540 h 627602"/>
                <a:gd name="connsiteX339" fmla="*/ 48006 w 887920"/>
                <a:gd name="connsiteY339" fmla="*/ 511778 h 627602"/>
                <a:gd name="connsiteX340" fmla="*/ 50006 w 887920"/>
                <a:gd name="connsiteY340" fmla="*/ 514731 h 627602"/>
                <a:gd name="connsiteX341" fmla="*/ 51149 w 887920"/>
                <a:gd name="connsiteY341" fmla="*/ 524161 h 627602"/>
                <a:gd name="connsiteX342" fmla="*/ 50006 w 887920"/>
                <a:gd name="connsiteY342" fmla="*/ 527495 h 627602"/>
                <a:gd name="connsiteX343" fmla="*/ 56864 w 887920"/>
                <a:gd name="connsiteY343" fmla="*/ 531400 h 627602"/>
                <a:gd name="connsiteX344" fmla="*/ 59531 w 887920"/>
                <a:gd name="connsiteY344" fmla="*/ 539115 h 627602"/>
                <a:gd name="connsiteX345" fmla="*/ 61055 w 887920"/>
                <a:gd name="connsiteY345" fmla="*/ 538925 h 627602"/>
                <a:gd name="connsiteX346" fmla="*/ 59722 w 887920"/>
                <a:gd name="connsiteY346" fmla="*/ 540734 h 627602"/>
                <a:gd name="connsiteX347" fmla="*/ 62865 w 887920"/>
                <a:gd name="connsiteY347" fmla="*/ 540353 h 627602"/>
                <a:gd name="connsiteX348" fmla="*/ 61627 w 887920"/>
                <a:gd name="connsiteY348" fmla="*/ 543687 h 627602"/>
                <a:gd name="connsiteX349" fmla="*/ 63437 w 887920"/>
                <a:gd name="connsiteY349" fmla="*/ 545021 h 627602"/>
                <a:gd name="connsiteX350" fmla="*/ 62103 w 887920"/>
                <a:gd name="connsiteY350" fmla="*/ 546830 h 627602"/>
                <a:gd name="connsiteX351" fmla="*/ 63627 w 887920"/>
                <a:gd name="connsiteY351" fmla="*/ 546640 h 627602"/>
                <a:gd name="connsiteX352" fmla="*/ 65246 w 887920"/>
                <a:gd name="connsiteY352" fmla="*/ 546449 h 627602"/>
                <a:gd name="connsiteX353" fmla="*/ 65437 w 887920"/>
                <a:gd name="connsiteY353" fmla="*/ 547973 h 627602"/>
                <a:gd name="connsiteX354" fmla="*/ 64484 w 887920"/>
                <a:gd name="connsiteY354" fmla="*/ 552926 h 627602"/>
                <a:gd name="connsiteX355" fmla="*/ 66389 w 887920"/>
                <a:gd name="connsiteY355" fmla="*/ 555879 h 627602"/>
                <a:gd name="connsiteX356" fmla="*/ 67818 w 887920"/>
                <a:gd name="connsiteY356" fmla="*/ 554069 h 627602"/>
                <a:gd name="connsiteX357" fmla="*/ 67056 w 887920"/>
                <a:gd name="connsiteY357" fmla="*/ 560642 h 627602"/>
                <a:gd name="connsiteX358" fmla="*/ 75343 w 887920"/>
                <a:gd name="connsiteY358" fmla="*/ 562737 h 627602"/>
                <a:gd name="connsiteX359" fmla="*/ 76676 w 887920"/>
                <a:gd name="connsiteY359" fmla="*/ 561023 h 627602"/>
                <a:gd name="connsiteX360" fmla="*/ 76867 w 887920"/>
                <a:gd name="connsiteY360" fmla="*/ 562547 h 627602"/>
                <a:gd name="connsiteX361" fmla="*/ 76867 w 887920"/>
                <a:gd name="connsiteY361" fmla="*/ 562547 h 627602"/>
                <a:gd name="connsiteX362" fmla="*/ 78677 w 887920"/>
                <a:gd name="connsiteY362" fmla="*/ 563975 h 627602"/>
                <a:gd name="connsiteX363" fmla="*/ 78486 w 887920"/>
                <a:gd name="connsiteY363" fmla="*/ 562356 h 627602"/>
                <a:gd name="connsiteX364" fmla="*/ 83439 w 887920"/>
                <a:gd name="connsiteY364" fmla="*/ 563309 h 627602"/>
                <a:gd name="connsiteX365" fmla="*/ 86582 w 887920"/>
                <a:gd name="connsiteY365" fmla="*/ 562928 h 627602"/>
                <a:gd name="connsiteX366" fmla="*/ 86773 w 887920"/>
                <a:gd name="connsiteY366" fmla="*/ 564547 h 627602"/>
                <a:gd name="connsiteX367" fmla="*/ 85439 w 887920"/>
                <a:gd name="connsiteY367" fmla="*/ 566261 h 627602"/>
                <a:gd name="connsiteX368" fmla="*/ 90297 w 887920"/>
                <a:gd name="connsiteY368" fmla="*/ 567309 h 627602"/>
                <a:gd name="connsiteX369" fmla="*/ 89726 w 887920"/>
                <a:gd name="connsiteY369" fmla="*/ 575405 h 627602"/>
                <a:gd name="connsiteX370" fmla="*/ 93155 w 887920"/>
                <a:gd name="connsiteY370" fmla="*/ 576548 h 627602"/>
                <a:gd name="connsiteX371" fmla="*/ 95345 w 887920"/>
                <a:gd name="connsiteY371" fmla="*/ 581120 h 627602"/>
                <a:gd name="connsiteX372" fmla="*/ 97917 w 887920"/>
                <a:gd name="connsiteY372" fmla="*/ 588740 h 627602"/>
                <a:gd name="connsiteX373" fmla="*/ 99441 w 887920"/>
                <a:gd name="connsiteY373" fmla="*/ 588550 h 627602"/>
                <a:gd name="connsiteX374" fmla="*/ 98679 w 887920"/>
                <a:gd name="connsiteY374" fmla="*/ 595122 h 627602"/>
                <a:gd name="connsiteX375" fmla="*/ 105251 w 887920"/>
                <a:gd name="connsiteY375" fmla="*/ 595884 h 627602"/>
                <a:gd name="connsiteX376" fmla="*/ 103823 w 887920"/>
                <a:gd name="connsiteY376" fmla="*/ 597599 h 627602"/>
                <a:gd name="connsiteX377" fmla="*/ 107633 w 887920"/>
                <a:gd name="connsiteY377" fmla="*/ 601980 h 627602"/>
                <a:gd name="connsiteX378" fmla="*/ 109919 w 887920"/>
                <a:gd name="connsiteY378" fmla="*/ 595217 h 627602"/>
                <a:gd name="connsiteX379" fmla="*/ 108204 w 887920"/>
                <a:gd name="connsiteY379" fmla="*/ 593884 h 627602"/>
                <a:gd name="connsiteX380" fmla="*/ 113252 w 887920"/>
                <a:gd name="connsiteY380" fmla="*/ 583597 h 627602"/>
                <a:gd name="connsiteX381" fmla="*/ 124301 w 887920"/>
                <a:gd name="connsiteY381" fmla="*/ 582168 h 627602"/>
                <a:gd name="connsiteX382" fmla="*/ 121349 w 887920"/>
                <a:gd name="connsiteY382" fmla="*/ 584168 h 627602"/>
                <a:gd name="connsiteX383" fmla="*/ 125159 w 887920"/>
                <a:gd name="connsiteY383" fmla="*/ 588550 h 627602"/>
                <a:gd name="connsiteX384" fmla="*/ 127730 w 887920"/>
                <a:gd name="connsiteY384" fmla="*/ 596170 h 627602"/>
                <a:gd name="connsiteX385" fmla="*/ 129445 w 887920"/>
                <a:gd name="connsiteY385" fmla="*/ 597599 h 627602"/>
                <a:gd name="connsiteX386" fmla="*/ 137732 w 887920"/>
                <a:gd name="connsiteY386" fmla="*/ 599694 h 627602"/>
                <a:gd name="connsiteX387" fmla="*/ 142494 w 887920"/>
                <a:gd name="connsiteY387" fmla="*/ 599123 h 627602"/>
                <a:gd name="connsiteX388" fmla="*/ 145256 w 887920"/>
                <a:gd name="connsiteY388" fmla="*/ 595598 h 627602"/>
                <a:gd name="connsiteX389" fmla="*/ 139732 w 887920"/>
                <a:gd name="connsiteY389" fmla="*/ 589883 h 627602"/>
                <a:gd name="connsiteX390" fmla="*/ 139541 w 887920"/>
                <a:gd name="connsiteY390" fmla="*/ 588264 h 627602"/>
                <a:gd name="connsiteX391" fmla="*/ 149162 w 887920"/>
                <a:gd name="connsiteY391" fmla="*/ 588645 h 627602"/>
                <a:gd name="connsiteX392" fmla="*/ 150590 w 887920"/>
                <a:gd name="connsiteY392" fmla="*/ 586835 h 627602"/>
                <a:gd name="connsiteX393" fmla="*/ 153162 w 887920"/>
                <a:gd name="connsiteY393" fmla="*/ 581692 h 627602"/>
                <a:gd name="connsiteX394" fmla="*/ 159639 w 887920"/>
                <a:gd name="connsiteY394" fmla="*/ 582549 h 627602"/>
                <a:gd name="connsiteX395" fmla="*/ 161258 w 887920"/>
                <a:gd name="connsiteY395" fmla="*/ 582263 h 627602"/>
                <a:gd name="connsiteX396" fmla="*/ 161449 w 887920"/>
                <a:gd name="connsiteY396" fmla="*/ 583883 h 627602"/>
                <a:gd name="connsiteX397" fmla="*/ 160020 w 887920"/>
                <a:gd name="connsiteY397" fmla="*/ 585692 h 627602"/>
                <a:gd name="connsiteX398" fmla="*/ 160687 w 887920"/>
                <a:gd name="connsiteY398" fmla="*/ 590360 h 627602"/>
                <a:gd name="connsiteX399" fmla="*/ 159258 w 887920"/>
                <a:gd name="connsiteY399" fmla="*/ 592169 h 627602"/>
                <a:gd name="connsiteX400" fmla="*/ 164783 w 887920"/>
                <a:gd name="connsiteY400" fmla="*/ 597884 h 627602"/>
                <a:gd name="connsiteX401" fmla="*/ 163068 w 887920"/>
                <a:gd name="connsiteY401" fmla="*/ 596551 h 627602"/>
                <a:gd name="connsiteX402" fmla="*/ 160306 w 887920"/>
                <a:gd name="connsiteY402" fmla="*/ 600075 h 627602"/>
                <a:gd name="connsiteX403" fmla="*/ 159258 w 887920"/>
                <a:gd name="connsiteY403" fmla="*/ 605028 h 627602"/>
                <a:gd name="connsiteX404" fmla="*/ 161068 w 887920"/>
                <a:gd name="connsiteY404" fmla="*/ 606362 h 627602"/>
                <a:gd name="connsiteX405" fmla="*/ 162497 w 887920"/>
                <a:gd name="connsiteY405" fmla="*/ 617411 h 627602"/>
                <a:gd name="connsiteX406" fmla="*/ 168021 w 887920"/>
                <a:gd name="connsiteY406" fmla="*/ 623126 h 627602"/>
                <a:gd name="connsiteX407" fmla="*/ 169640 w 887920"/>
                <a:gd name="connsiteY407" fmla="*/ 622935 h 627602"/>
                <a:gd name="connsiteX408" fmla="*/ 170593 w 887920"/>
                <a:gd name="connsiteY408" fmla="*/ 617982 h 627602"/>
                <a:gd name="connsiteX409" fmla="*/ 172593 w 887920"/>
                <a:gd name="connsiteY409" fmla="*/ 620935 h 627602"/>
                <a:gd name="connsiteX410" fmla="*/ 173927 w 887920"/>
                <a:gd name="connsiteY410" fmla="*/ 619220 h 627602"/>
                <a:gd name="connsiteX411" fmla="*/ 174117 w 887920"/>
                <a:gd name="connsiteY411" fmla="*/ 620744 h 627602"/>
                <a:gd name="connsiteX412" fmla="*/ 177260 w 887920"/>
                <a:gd name="connsiteY412" fmla="*/ 620363 h 627602"/>
                <a:gd name="connsiteX413" fmla="*/ 175927 w 887920"/>
                <a:gd name="connsiteY413" fmla="*/ 622173 h 627602"/>
                <a:gd name="connsiteX414" fmla="*/ 175927 w 887920"/>
                <a:gd name="connsiteY414" fmla="*/ 622173 h 627602"/>
                <a:gd name="connsiteX415" fmla="*/ 181070 w 887920"/>
                <a:gd name="connsiteY415" fmla="*/ 624650 h 627602"/>
                <a:gd name="connsiteX416" fmla="*/ 183071 w 887920"/>
                <a:gd name="connsiteY416" fmla="*/ 627602 h 627602"/>
                <a:gd name="connsiteX417" fmla="*/ 185738 w 887920"/>
                <a:gd name="connsiteY417" fmla="*/ 624078 h 627602"/>
                <a:gd name="connsiteX418" fmla="*/ 183642 w 887920"/>
                <a:gd name="connsiteY418" fmla="*/ 619506 h 627602"/>
                <a:gd name="connsiteX419" fmla="*/ 187738 w 887920"/>
                <a:gd name="connsiteY419" fmla="*/ 614172 h 627602"/>
                <a:gd name="connsiteX420" fmla="*/ 188119 w 887920"/>
                <a:gd name="connsiteY420" fmla="*/ 617411 h 627602"/>
                <a:gd name="connsiteX421" fmla="*/ 194691 w 887920"/>
                <a:gd name="connsiteY421" fmla="*/ 618173 h 627602"/>
                <a:gd name="connsiteX422" fmla="*/ 196215 w 887920"/>
                <a:gd name="connsiteY422" fmla="*/ 617982 h 627602"/>
                <a:gd name="connsiteX423" fmla="*/ 196977 w 887920"/>
                <a:gd name="connsiteY423" fmla="*/ 611410 h 627602"/>
                <a:gd name="connsiteX424" fmla="*/ 201930 w 887920"/>
                <a:gd name="connsiteY424" fmla="*/ 612362 h 627602"/>
                <a:gd name="connsiteX425" fmla="*/ 204121 w 887920"/>
                <a:gd name="connsiteY425" fmla="*/ 616934 h 627602"/>
                <a:gd name="connsiteX426" fmla="*/ 209074 w 887920"/>
                <a:gd name="connsiteY426" fmla="*/ 617887 h 627602"/>
                <a:gd name="connsiteX427" fmla="*/ 208407 w 887920"/>
                <a:gd name="connsiteY427" fmla="*/ 613220 h 627602"/>
                <a:gd name="connsiteX428" fmla="*/ 209836 w 887920"/>
                <a:gd name="connsiteY428" fmla="*/ 611410 h 627602"/>
                <a:gd name="connsiteX429" fmla="*/ 221266 w 887920"/>
                <a:gd name="connsiteY429" fmla="*/ 613124 h 627602"/>
                <a:gd name="connsiteX430" fmla="*/ 227552 w 887920"/>
                <a:gd name="connsiteY430" fmla="*/ 612362 h 627602"/>
                <a:gd name="connsiteX431" fmla="*/ 227362 w 887920"/>
                <a:gd name="connsiteY431" fmla="*/ 610743 h 627602"/>
                <a:gd name="connsiteX432" fmla="*/ 237839 w 887920"/>
                <a:gd name="connsiteY432" fmla="*/ 617411 h 627602"/>
                <a:gd name="connsiteX433" fmla="*/ 237839 w 887920"/>
                <a:gd name="connsiteY433" fmla="*/ 617411 h 627602"/>
                <a:gd name="connsiteX434" fmla="*/ 239268 w 887920"/>
                <a:gd name="connsiteY434" fmla="*/ 615696 h 627602"/>
                <a:gd name="connsiteX435" fmla="*/ 236220 w 887920"/>
                <a:gd name="connsiteY435" fmla="*/ 604838 h 627602"/>
                <a:gd name="connsiteX436" fmla="*/ 242316 w 887920"/>
                <a:gd name="connsiteY436" fmla="*/ 602456 h 627602"/>
                <a:gd name="connsiteX437" fmla="*/ 242126 w 887920"/>
                <a:gd name="connsiteY437" fmla="*/ 600837 h 627602"/>
                <a:gd name="connsiteX438" fmla="*/ 251841 w 887920"/>
                <a:gd name="connsiteY438" fmla="*/ 601218 h 627602"/>
                <a:gd name="connsiteX439" fmla="*/ 254603 w 887920"/>
                <a:gd name="connsiteY439" fmla="*/ 597694 h 627602"/>
                <a:gd name="connsiteX440" fmla="*/ 257937 w 887920"/>
                <a:gd name="connsiteY440" fmla="*/ 598837 h 627602"/>
                <a:gd name="connsiteX441" fmla="*/ 261652 w 887920"/>
                <a:gd name="connsiteY441" fmla="*/ 577501 h 627602"/>
                <a:gd name="connsiteX442" fmla="*/ 261271 w 887920"/>
                <a:gd name="connsiteY442" fmla="*/ 574358 h 627602"/>
                <a:gd name="connsiteX443" fmla="*/ 280988 w 887920"/>
                <a:gd name="connsiteY443" fmla="*/ 578263 h 627602"/>
                <a:gd name="connsiteX444" fmla="*/ 282131 w 887920"/>
                <a:gd name="connsiteY444" fmla="*/ 574929 h 627602"/>
                <a:gd name="connsiteX445" fmla="*/ 284131 w 887920"/>
                <a:gd name="connsiteY445" fmla="*/ 565023 h 627602"/>
                <a:gd name="connsiteX446" fmla="*/ 278130 w 887920"/>
                <a:gd name="connsiteY446" fmla="*/ 543401 h 627602"/>
                <a:gd name="connsiteX447" fmla="*/ 278321 w 887920"/>
                <a:gd name="connsiteY447" fmla="*/ 532067 h 627602"/>
                <a:gd name="connsiteX448" fmla="*/ 312896 w 887920"/>
                <a:gd name="connsiteY448" fmla="*/ 538925 h 627602"/>
                <a:gd name="connsiteX449" fmla="*/ 332232 w 887920"/>
                <a:gd name="connsiteY449" fmla="*/ 552450 h 627602"/>
                <a:gd name="connsiteX450" fmla="*/ 346424 w 887920"/>
                <a:gd name="connsiteY450" fmla="*/ 537877 h 627602"/>
                <a:gd name="connsiteX451" fmla="*/ 349568 w 887920"/>
                <a:gd name="connsiteY451" fmla="*/ 537496 h 627602"/>
                <a:gd name="connsiteX452" fmla="*/ 352330 w 887920"/>
                <a:gd name="connsiteY452" fmla="*/ 533876 h 627602"/>
                <a:gd name="connsiteX453" fmla="*/ 353473 w 887920"/>
                <a:gd name="connsiteY453" fmla="*/ 530543 h 627602"/>
                <a:gd name="connsiteX454" fmla="*/ 351473 w 887920"/>
                <a:gd name="connsiteY454" fmla="*/ 527590 h 627602"/>
                <a:gd name="connsiteX455" fmla="*/ 346139 w 887920"/>
                <a:gd name="connsiteY455" fmla="*/ 523494 h 627602"/>
                <a:gd name="connsiteX456" fmla="*/ 347091 w 887920"/>
                <a:gd name="connsiteY456" fmla="*/ 518541 h 627602"/>
                <a:gd name="connsiteX457" fmla="*/ 345186 w 887920"/>
                <a:gd name="connsiteY457" fmla="*/ 515588 h 627602"/>
                <a:gd name="connsiteX458" fmla="*/ 357569 w 887920"/>
                <a:gd name="connsiteY458" fmla="*/ 512350 h 627602"/>
                <a:gd name="connsiteX459" fmla="*/ 357378 w 887920"/>
                <a:gd name="connsiteY459" fmla="*/ 510826 h 627602"/>
                <a:gd name="connsiteX460" fmla="*/ 364903 w 887920"/>
                <a:gd name="connsiteY460" fmla="*/ 506635 h 627602"/>
                <a:gd name="connsiteX461" fmla="*/ 369570 w 887920"/>
                <a:gd name="connsiteY461" fmla="*/ 506063 h 627602"/>
                <a:gd name="connsiteX462" fmla="*/ 372713 w 887920"/>
                <a:gd name="connsiteY462" fmla="*/ 505587 h 627602"/>
                <a:gd name="connsiteX463" fmla="*/ 375476 w 887920"/>
                <a:gd name="connsiteY463" fmla="*/ 502063 h 627602"/>
                <a:gd name="connsiteX464" fmla="*/ 376142 w 887920"/>
                <a:gd name="connsiteY464" fmla="*/ 506825 h 627602"/>
                <a:gd name="connsiteX465" fmla="*/ 381857 w 887920"/>
                <a:gd name="connsiteY465" fmla="*/ 501301 h 627602"/>
                <a:gd name="connsiteX466" fmla="*/ 387953 w 887920"/>
                <a:gd name="connsiteY466" fmla="*/ 498920 h 627602"/>
                <a:gd name="connsiteX467" fmla="*/ 383572 w 887920"/>
                <a:gd name="connsiteY467" fmla="*/ 489871 h 627602"/>
                <a:gd name="connsiteX468" fmla="*/ 385191 w 887920"/>
                <a:gd name="connsiteY468" fmla="*/ 489585 h 627602"/>
                <a:gd name="connsiteX469" fmla="*/ 380810 w 887920"/>
                <a:gd name="connsiteY469" fmla="*/ 480536 h 627602"/>
                <a:gd name="connsiteX470" fmla="*/ 377666 w 887920"/>
                <a:gd name="connsiteY470" fmla="*/ 480917 h 627602"/>
                <a:gd name="connsiteX471" fmla="*/ 383762 w 887920"/>
                <a:gd name="connsiteY471" fmla="*/ 478536 h 627602"/>
                <a:gd name="connsiteX472" fmla="*/ 385096 w 887920"/>
                <a:gd name="connsiteY472" fmla="*/ 476822 h 627602"/>
                <a:gd name="connsiteX473" fmla="*/ 388430 w 887920"/>
                <a:gd name="connsiteY473" fmla="*/ 477965 h 627602"/>
                <a:gd name="connsiteX474" fmla="*/ 388239 w 887920"/>
                <a:gd name="connsiteY474" fmla="*/ 476441 h 627602"/>
                <a:gd name="connsiteX475" fmla="*/ 391478 w 887920"/>
                <a:gd name="connsiteY475" fmla="*/ 475964 h 627602"/>
                <a:gd name="connsiteX476" fmla="*/ 393192 w 887920"/>
                <a:gd name="connsiteY476" fmla="*/ 477393 h 627602"/>
                <a:gd name="connsiteX477" fmla="*/ 386620 w 887920"/>
                <a:gd name="connsiteY477" fmla="*/ 463772 h 627602"/>
                <a:gd name="connsiteX478" fmla="*/ 391192 w 887920"/>
                <a:gd name="connsiteY478" fmla="*/ 461582 h 627602"/>
                <a:gd name="connsiteX479" fmla="*/ 404241 w 887920"/>
                <a:gd name="connsiteY479" fmla="*/ 463106 h 627602"/>
                <a:gd name="connsiteX480" fmla="*/ 402812 w 887920"/>
                <a:gd name="connsiteY480" fmla="*/ 464915 h 627602"/>
                <a:gd name="connsiteX481" fmla="*/ 405194 w 887920"/>
                <a:gd name="connsiteY481" fmla="*/ 471011 h 627602"/>
                <a:gd name="connsiteX482" fmla="*/ 402241 w 887920"/>
                <a:gd name="connsiteY482" fmla="*/ 473012 h 627602"/>
                <a:gd name="connsiteX483" fmla="*/ 404241 w 887920"/>
                <a:gd name="connsiteY483" fmla="*/ 475964 h 627602"/>
                <a:gd name="connsiteX484" fmla="*/ 407384 w 887920"/>
                <a:gd name="connsiteY484" fmla="*/ 475583 h 627602"/>
                <a:gd name="connsiteX485" fmla="*/ 411004 w 887920"/>
                <a:gd name="connsiteY485" fmla="*/ 478346 h 627602"/>
                <a:gd name="connsiteX486" fmla="*/ 410528 w 887920"/>
                <a:gd name="connsiteY486" fmla="*/ 475202 h 627602"/>
                <a:gd name="connsiteX487" fmla="*/ 415481 w 887920"/>
                <a:gd name="connsiteY487" fmla="*/ 476155 h 627602"/>
                <a:gd name="connsiteX488" fmla="*/ 419862 w 887920"/>
                <a:gd name="connsiteY488" fmla="*/ 485204 h 627602"/>
                <a:gd name="connsiteX489" fmla="*/ 415100 w 887920"/>
                <a:gd name="connsiteY489" fmla="*/ 485775 h 627602"/>
                <a:gd name="connsiteX490" fmla="*/ 418529 w 887920"/>
                <a:gd name="connsiteY490" fmla="*/ 487013 h 627602"/>
                <a:gd name="connsiteX491" fmla="*/ 420434 w 887920"/>
                <a:gd name="connsiteY491" fmla="*/ 489966 h 627602"/>
                <a:gd name="connsiteX492" fmla="*/ 425196 w 887920"/>
                <a:gd name="connsiteY492" fmla="*/ 489299 h 627602"/>
                <a:gd name="connsiteX493" fmla="*/ 428720 w 887920"/>
                <a:gd name="connsiteY493" fmla="*/ 492062 h 627602"/>
                <a:gd name="connsiteX494" fmla="*/ 427958 w 887920"/>
                <a:gd name="connsiteY494" fmla="*/ 485775 h 627602"/>
                <a:gd name="connsiteX495" fmla="*/ 432721 w 887920"/>
                <a:gd name="connsiteY495" fmla="*/ 485204 h 627602"/>
                <a:gd name="connsiteX496" fmla="*/ 433483 w 887920"/>
                <a:gd name="connsiteY496" fmla="*/ 478631 h 627602"/>
                <a:gd name="connsiteX497" fmla="*/ 434816 w 887920"/>
                <a:gd name="connsiteY497" fmla="*/ 476917 h 627602"/>
                <a:gd name="connsiteX498" fmla="*/ 438245 w 887920"/>
                <a:gd name="connsiteY498" fmla="*/ 478060 h 627602"/>
                <a:gd name="connsiteX499" fmla="*/ 435293 w 887920"/>
                <a:gd name="connsiteY499" fmla="*/ 480060 h 627602"/>
                <a:gd name="connsiteX500" fmla="*/ 437007 w 887920"/>
                <a:gd name="connsiteY500" fmla="*/ 481394 h 627602"/>
                <a:gd name="connsiteX501" fmla="*/ 440150 w 887920"/>
                <a:gd name="connsiteY501" fmla="*/ 481013 h 627602"/>
                <a:gd name="connsiteX502" fmla="*/ 442151 w 887920"/>
                <a:gd name="connsiteY502" fmla="*/ 483965 h 627602"/>
                <a:gd name="connsiteX503" fmla="*/ 446913 w 887920"/>
                <a:gd name="connsiteY503" fmla="*/ 483394 h 627602"/>
                <a:gd name="connsiteX504" fmla="*/ 450056 w 887920"/>
                <a:gd name="connsiteY504" fmla="*/ 482918 h 627602"/>
                <a:gd name="connsiteX505" fmla="*/ 455962 w 887920"/>
                <a:gd name="connsiteY505" fmla="*/ 479012 h 627602"/>
                <a:gd name="connsiteX506" fmla="*/ 456343 w 887920"/>
                <a:gd name="connsiteY506" fmla="*/ 482156 h 627602"/>
                <a:gd name="connsiteX507" fmla="*/ 455200 w 887920"/>
                <a:gd name="connsiteY507" fmla="*/ 485489 h 627602"/>
                <a:gd name="connsiteX508" fmla="*/ 457010 w 887920"/>
                <a:gd name="connsiteY508" fmla="*/ 486918 h 627602"/>
                <a:gd name="connsiteX509" fmla="*/ 463487 w 887920"/>
                <a:gd name="connsiteY509" fmla="*/ 500444 h 627602"/>
                <a:gd name="connsiteX510" fmla="*/ 465106 w 887920"/>
                <a:gd name="connsiteY510" fmla="*/ 500253 h 627602"/>
                <a:gd name="connsiteX511" fmla="*/ 466630 w 887920"/>
                <a:gd name="connsiteY511" fmla="*/ 500063 h 627602"/>
                <a:gd name="connsiteX512" fmla="*/ 471773 w 887920"/>
                <a:gd name="connsiteY512" fmla="*/ 502634 h 627602"/>
                <a:gd name="connsiteX513" fmla="*/ 472631 w 887920"/>
                <a:gd name="connsiteY513" fmla="*/ 508921 h 627602"/>
                <a:gd name="connsiteX514" fmla="*/ 473964 w 887920"/>
                <a:gd name="connsiteY514" fmla="*/ 507206 h 627602"/>
                <a:gd name="connsiteX515" fmla="*/ 477107 w 887920"/>
                <a:gd name="connsiteY515" fmla="*/ 506730 h 627602"/>
                <a:gd name="connsiteX516" fmla="*/ 477298 w 887920"/>
                <a:gd name="connsiteY516" fmla="*/ 508349 h 627602"/>
                <a:gd name="connsiteX517" fmla="*/ 476345 w 887920"/>
                <a:gd name="connsiteY517" fmla="*/ 513302 h 627602"/>
                <a:gd name="connsiteX518" fmla="*/ 480155 w 887920"/>
                <a:gd name="connsiteY518" fmla="*/ 517589 h 627602"/>
                <a:gd name="connsiteX519" fmla="*/ 479108 w 887920"/>
                <a:gd name="connsiteY519" fmla="*/ 522542 h 627602"/>
                <a:gd name="connsiteX520" fmla="*/ 483489 w 887920"/>
                <a:gd name="connsiteY520" fmla="*/ 518827 h 627602"/>
                <a:gd name="connsiteX521" fmla="*/ 485299 w 887920"/>
                <a:gd name="connsiteY521" fmla="*/ 520160 h 627602"/>
                <a:gd name="connsiteX522" fmla="*/ 489776 w 887920"/>
                <a:gd name="connsiteY522" fmla="*/ 517970 h 627602"/>
                <a:gd name="connsiteX523" fmla="*/ 494538 w 887920"/>
                <a:gd name="connsiteY523" fmla="*/ 517398 h 627602"/>
                <a:gd name="connsiteX524" fmla="*/ 494538 w 887920"/>
                <a:gd name="connsiteY524" fmla="*/ 517398 h 627602"/>
                <a:gd name="connsiteX525" fmla="*/ 498729 w 887920"/>
                <a:gd name="connsiteY525" fmla="*/ 524828 h 627602"/>
                <a:gd name="connsiteX526" fmla="*/ 503873 w 887920"/>
                <a:gd name="connsiteY526" fmla="*/ 527399 h 627602"/>
                <a:gd name="connsiteX527" fmla="*/ 502634 w 887920"/>
                <a:gd name="connsiteY527" fmla="*/ 530828 h 627602"/>
                <a:gd name="connsiteX528" fmla="*/ 507397 w 887920"/>
                <a:gd name="connsiteY528" fmla="*/ 530162 h 627602"/>
                <a:gd name="connsiteX529" fmla="*/ 516255 w 887920"/>
                <a:gd name="connsiteY529" fmla="*/ 537020 h 627602"/>
                <a:gd name="connsiteX530" fmla="*/ 513493 w 887920"/>
                <a:gd name="connsiteY530" fmla="*/ 540639 h 627602"/>
                <a:gd name="connsiteX531" fmla="*/ 513683 w 887920"/>
                <a:gd name="connsiteY531" fmla="*/ 542163 h 627602"/>
                <a:gd name="connsiteX532" fmla="*/ 516731 w 887920"/>
                <a:gd name="connsiteY532" fmla="*/ 540258 h 627602"/>
                <a:gd name="connsiteX533" fmla="*/ 515684 w 887920"/>
                <a:gd name="connsiteY533" fmla="*/ 545116 h 627602"/>
                <a:gd name="connsiteX534" fmla="*/ 519113 w 887920"/>
                <a:gd name="connsiteY534" fmla="*/ 559118 h 627602"/>
                <a:gd name="connsiteX535" fmla="*/ 520922 w 887920"/>
                <a:gd name="connsiteY535" fmla="*/ 560546 h 627602"/>
                <a:gd name="connsiteX536" fmla="*/ 522827 w 887920"/>
                <a:gd name="connsiteY536" fmla="*/ 563499 h 627602"/>
                <a:gd name="connsiteX537" fmla="*/ 530543 w 887920"/>
                <a:gd name="connsiteY537" fmla="*/ 560927 h 627602"/>
                <a:gd name="connsiteX538" fmla="*/ 530924 w 887920"/>
                <a:gd name="connsiteY538" fmla="*/ 564071 h 627602"/>
                <a:gd name="connsiteX539" fmla="*/ 532543 w 887920"/>
                <a:gd name="connsiteY539" fmla="*/ 563880 h 627602"/>
                <a:gd name="connsiteX540" fmla="*/ 532733 w 887920"/>
                <a:gd name="connsiteY540" fmla="*/ 565404 h 627602"/>
                <a:gd name="connsiteX541" fmla="*/ 537305 w 887920"/>
                <a:gd name="connsiteY541" fmla="*/ 563309 h 627602"/>
                <a:gd name="connsiteX542" fmla="*/ 542163 w 887920"/>
                <a:gd name="connsiteY542" fmla="*/ 564261 h 627602"/>
                <a:gd name="connsiteX543" fmla="*/ 547497 w 887920"/>
                <a:gd name="connsiteY543" fmla="*/ 568357 h 627602"/>
                <a:gd name="connsiteX544" fmla="*/ 546164 w 887920"/>
                <a:gd name="connsiteY544" fmla="*/ 570167 h 627602"/>
                <a:gd name="connsiteX545" fmla="*/ 547783 w 887920"/>
                <a:gd name="connsiteY545" fmla="*/ 569976 h 627602"/>
                <a:gd name="connsiteX546" fmla="*/ 548164 w 887920"/>
                <a:gd name="connsiteY546" fmla="*/ 573119 h 627602"/>
                <a:gd name="connsiteX547" fmla="*/ 551307 w 887920"/>
                <a:gd name="connsiteY547" fmla="*/ 572738 h 627602"/>
                <a:gd name="connsiteX548" fmla="*/ 553307 w 887920"/>
                <a:gd name="connsiteY548" fmla="*/ 575691 h 627602"/>
                <a:gd name="connsiteX549" fmla="*/ 553879 w 887920"/>
                <a:gd name="connsiteY549" fmla="*/ 580358 h 627602"/>
                <a:gd name="connsiteX550" fmla="*/ 558832 w 887920"/>
                <a:gd name="connsiteY550" fmla="*/ 581406 h 627602"/>
                <a:gd name="connsiteX551" fmla="*/ 560165 w 887920"/>
                <a:gd name="connsiteY551" fmla="*/ 579596 h 627602"/>
                <a:gd name="connsiteX552" fmla="*/ 572262 w 887920"/>
                <a:gd name="connsiteY552" fmla="*/ 586073 h 627602"/>
                <a:gd name="connsiteX553" fmla="*/ 575786 w 887920"/>
                <a:gd name="connsiteY553" fmla="*/ 588836 h 627602"/>
                <a:gd name="connsiteX554" fmla="*/ 579596 w 887920"/>
                <a:gd name="connsiteY554" fmla="*/ 593122 h 627602"/>
                <a:gd name="connsiteX555" fmla="*/ 587883 w 887920"/>
                <a:gd name="connsiteY555" fmla="*/ 595313 h 627602"/>
                <a:gd name="connsiteX556" fmla="*/ 596360 w 887920"/>
                <a:gd name="connsiteY556" fmla="*/ 599027 h 627602"/>
                <a:gd name="connsiteX557" fmla="*/ 605409 w 887920"/>
                <a:gd name="connsiteY557" fmla="*/ 607505 h 627602"/>
                <a:gd name="connsiteX558" fmla="*/ 609981 w 887920"/>
                <a:gd name="connsiteY558" fmla="*/ 605314 h 627602"/>
                <a:gd name="connsiteX559" fmla="*/ 613124 w 887920"/>
                <a:gd name="connsiteY559" fmla="*/ 604933 h 627602"/>
                <a:gd name="connsiteX560" fmla="*/ 617887 w 887920"/>
                <a:gd name="connsiteY560" fmla="*/ 604266 h 627602"/>
                <a:gd name="connsiteX561" fmla="*/ 617506 w 887920"/>
                <a:gd name="connsiteY561" fmla="*/ 601123 h 627602"/>
                <a:gd name="connsiteX562" fmla="*/ 618268 w 887920"/>
                <a:gd name="connsiteY562" fmla="*/ 594646 h 627602"/>
                <a:gd name="connsiteX563" fmla="*/ 616268 w 887920"/>
                <a:gd name="connsiteY563" fmla="*/ 591693 h 627602"/>
                <a:gd name="connsiteX564" fmla="*/ 621221 w 887920"/>
                <a:gd name="connsiteY564" fmla="*/ 592646 h 627602"/>
                <a:gd name="connsiteX565" fmla="*/ 620363 w 887920"/>
                <a:gd name="connsiteY565" fmla="*/ 586359 h 627602"/>
                <a:gd name="connsiteX566" fmla="*/ 628079 w 887920"/>
                <a:gd name="connsiteY566" fmla="*/ 583787 h 627602"/>
                <a:gd name="connsiteX567" fmla="*/ 626269 w 887920"/>
                <a:gd name="connsiteY567" fmla="*/ 582359 h 627602"/>
                <a:gd name="connsiteX568" fmla="*/ 629031 w 887920"/>
                <a:gd name="connsiteY568" fmla="*/ 578834 h 627602"/>
                <a:gd name="connsiteX569" fmla="*/ 630650 w 887920"/>
                <a:gd name="connsiteY569" fmla="*/ 578644 h 627602"/>
                <a:gd name="connsiteX570" fmla="*/ 631793 w 887920"/>
                <a:gd name="connsiteY570" fmla="*/ 575310 h 627602"/>
                <a:gd name="connsiteX571" fmla="*/ 634937 w 887920"/>
                <a:gd name="connsiteY571" fmla="*/ 574834 h 627602"/>
                <a:gd name="connsiteX572" fmla="*/ 636175 w 887920"/>
                <a:gd name="connsiteY572" fmla="*/ 571500 h 627602"/>
                <a:gd name="connsiteX573" fmla="*/ 639890 w 887920"/>
                <a:gd name="connsiteY573" fmla="*/ 575882 h 627602"/>
                <a:gd name="connsiteX574" fmla="*/ 641318 w 887920"/>
                <a:gd name="connsiteY574" fmla="*/ 574072 h 627602"/>
                <a:gd name="connsiteX575" fmla="*/ 645986 w 887920"/>
                <a:gd name="connsiteY575" fmla="*/ 573500 h 627602"/>
                <a:gd name="connsiteX576" fmla="*/ 649605 w 887920"/>
                <a:gd name="connsiteY576" fmla="*/ 576167 h 627602"/>
                <a:gd name="connsiteX577" fmla="*/ 650939 w 887920"/>
                <a:gd name="connsiteY577" fmla="*/ 574453 h 627602"/>
                <a:gd name="connsiteX578" fmla="*/ 659606 w 887920"/>
                <a:gd name="connsiteY578" fmla="*/ 579692 h 627602"/>
                <a:gd name="connsiteX579" fmla="*/ 658463 w 887920"/>
                <a:gd name="connsiteY579" fmla="*/ 583121 h 627602"/>
                <a:gd name="connsiteX580" fmla="*/ 666750 w 887920"/>
                <a:gd name="connsiteY580" fmla="*/ 585216 h 627602"/>
                <a:gd name="connsiteX581" fmla="*/ 668750 w 887920"/>
                <a:gd name="connsiteY581" fmla="*/ 588169 h 627602"/>
                <a:gd name="connsiteX582" fmla="*/ 672846 w 887920"/>
                <a:gd name="connsiteY582" fmla="*/ 582835 h 627602"/>
                <a:gd name="connsiteX583" fmla="*/ 675037 w 887920"/>
                <a:gd name="connsiteY583" fmla="*/ 587407 h 627602"/>
                <a:gd name="connsiteX584" fmla="*/ 676656 w 887920"/>
                <a:gd name="connsiteY584" fmla="*/ 587216 h 627602"/>
                <a:gd name="connsiteX585" fmla="*/ 677799 w 887920"/>
                <a:gd name="connsiteY585" fmla="*/ 583883 h 627602"/>
                <a:gd name="connsiteX586" fmla="*/ 686086 w 887920"/>
                <a:gd name="connsiteY586" fmla="*/ 585978 h 627602"/>
                <a:gd name="connsiteX587" fmla="*/ 684943 w 887920"/>
                <a:gd name="connsiteY587" fmla="*/ 589312 h 627602"/>
                <a:gd name="connsiteX588" fmla="*/ 689039 w 887920"/>
                <a:gd name="connsiteY588" fmla="*/ 596837 h 627602"/>
                <a:gd name="connsiteX589" fmla="*/ 690658 w 887920"/>
                <a:gd name="connsiteY589" fmla="*/ 596646 h 627602"/>
                <a:gd name="connsiteX590" fmla="*/ 697421 w 887920"/>
                <a:gd name="connsiteY590" fmla="*/ 599027 h 627602"/>
                <a:gd name="connsiteX591" fmla="*/ 699516 w 887920"/>
                <a:gd name="connsiteY591" fmla="*/ 603504 h 627602"/>
                <a:gd name="connsiteX592" fmla="*/ 706469 w 887920"/>
                <a:gd name="connsiteY592" fmla="*/ 607409 h 627602"/>
                <a:gd name="connsiteX593" fmla="*/ 706660 w 887920"/>
                <a:gd name="connsiteY593" fmla="*/ 596170 h 627602"/>
                <a:gd name="connsiteX594" fmla="*/ 712565 w 887920"/>
                <a:gd name="connsiteY594" fmla="*/ 592265 h 627602"/>
                <a:gd name="connsiteX595" fmla="*/ 715899 w 887920"/>
                <a:gd name="connsiteY595" fmla="*/ 593408 h 627602"/>
                <a:gd name="connsiteX596" fmla="*/ 714756 w 887920"/>
                <a:gd name="connsiteY596" fmla="*/ 596741 h 627602"/>
                <a:gd name="connsiteX597" fmla="*/ 718852 w 887920"/>
                <a:gd name="connsiteY597" fmla="*/ 604266 h 627602"/>
                <a:gd name="connsiteX598" fmla="*/ 715709 w 887920"/>
                <a:gd name="connsiteY598" fmla="*/ 604647 h 627602"/>
                <a:gd name="connsiteX599" fmla="*/ 717899 w 887920"/>
                <a:gd name="connsiteY599" fmla="*/ 609219 h 627602"/>
                <a:gd name="connsiteX600" fmla="*/ 721233 w 887920"/>
                <a:gd name="connsiteY600" fmla="*/ 610362 h 627602"/>
                <a:gd name="connsiteX601" fmla="*/ 721519 w 887920"/>
                <a:gd name="connsiteY601" fmla="*/ 611981 h 627602"/>
                <a:gd name="connsiteX602" fmla="*/ 713423 w 887920"/>
                <a:gd name="connsiteY602" fmla="*/ 611410 h 627602"/>
                <a:gd name="connsiteX603" fmla="*/ 715328 w 887920"/>
                <a:gd name="connsiteY603" fmla="*/ 614363 h 627602"/>
                <a:gd name="connsiteX604" fmla="*/ 720090 w 887920"/>
                <a:gd name="connsiteY604" fmla="*/ 613696 h 627602"/>
                <a:gd name="connsiteX605" fmla="*/ 720471 w 887920"/>
                <a:gd name="connsiteY605" fmla="*/ 616934 h 627602"/>
                <a:gd name="connsiteX606" fmla="*/ 717328 w 887920"/>
                <a:gd name="connsiteY606" fmla="*/ 617315 h 627602"/>
                <a:gd name="connsiteX607" fmla="*/ 720662 w 887920"/>
                <a:gd name="connsiteY607" fmla="*/ 618458 h 627602"/>
                <a:gd name="connsiteX608" fmla="*/ 721328 w 887920"/>
                <a:gd name="connsiteY608" fmla="*/ 623221 h 627602"/>
                <a:gd name="connsiteX609" fmla="*/ 727805 w 887920"/>
                <a:gd name="connsiteY609" fmla="*/ 623983 h 627602"/>
                <a:gd name="connsiteX610" fmla="*/ 732377 w 887920"/>
                <a:gd name="connsiteY610" fmla="*/ 621792 h 627602"/>
                <a:gd name="connsiteX611" fmla="*/ 737330 w 887920"/>
                <a:gd name="connsiteY611" fmla="*/ 622745 h 627602"/>
                <a:gd name="connsiteX612" fmla="*/ 738473 w 887920"/>
                <a:gd name="connsiteY612" fmla="*/ 619411 h 627602"/>
                <a:gd name="connsiteX613" fmla="*/ 743617 w 887920"/>
                <a:gd name="connsiteY613" fmla="*/ 621983 h 627602"/>
                <a:gd name="connsiteX614" fmla="*/ 743426 w 887920"/>
                <a:gd name="connsiteY614" fmla="*/ 620363 h 627602"/>
                <a:gd name="connsiteX615" fmla="*/ 746760 w 887920"/>
                <a:gd name="connsiteY615" fmla="*/ 621602 h 627602"/>
                <a:gd name="connsiteX616" fmla="*/ 746570 w 887920"/>
                <a:gd name="connsiteY616" fmla="*/ 619982 h 627602"/>
                <a:gd name="connsiteX617" fmla="*/ 742760 w 887920"/>
                <a:gd name="connsiteY617" fmla="*/ 615696 h 627602"/>
                <a:gd name="connsiteX618" fmla="*/ 745522 w 887920"/>
                <a:gd name="connsiteY618" fmla="*/ 612077 h 627602"/>
                <a:gd name="connsiteX619" fmla="*/ 748475 w 887920"/>
                <a:gd name="connsiteY619" fmla="*/ 610076 h 627602"/>
                <a:gd name="connsiteX620" fmla="*/ 750856 w 887920"/>
                <a:gd name="connsiteY620" fmla="*/ 616268 h 627602"/>
                <a:gd name="connsiteX621" fmla="*/ 755809 w 887920"/>
                <a:gd name="connsiteY621" fmla="*/ 617220 h 627602"/>
                <a:gd name="connsiteX622" fmla="*/ 756761 w 887920"/>
                <a:gd name="connsiteY622" fmla="*/ 612267 h 627602"/>
                <a:gd name="connsiteX623" fmla="*/ 759524 w 887920"/>
                <a:gd name="connsiteY623" fmla="*/ 608743 h 627602"/>
                <a:gd name="connsiteX624" fmla="*/ 757619 w 887920"/>
                <a:gd name="connsiteY624" fmla="*/ 605790 h 627602"/>
                <a:gd name="connsiteX625" fmla="*/ 762286 w 887920"/>
                <a:gd name="connsiteY625" fmla="*/ 605123 h 627602"/>
                <a:gd name="connsiteX626" fmla="*/ 763334 w 887920"/>
                <a:gd name="connsiteY626" fmla="*/ 600170 h 627602"/>
                <a:gd name="connsiteX627" fmla="*/ 756380 w 887920"/>
                <a:gd name="connsiteY627" fmla="*/ 596265 h 627602"/>
                <a:gd name="connsiteX628" fmla="*/ 755142 w 887920"/>
                <a:gd name="connsiteY628" fmla="*/ 586835 h 627602"/>
                <a:gd name="connsiteX629" fmla="*/ 751427 w 887920"/>
                <a:gd name="connsiteY629" fmla="*/ 582454 h 627602"/>
                <a:gd name="connsiteX630" fmla="*/ 752761 w 887920"/>
                <a:gd name="connsiteY630" fmla="*/ 580739 h 627602"/>
                <a:gd name="connsiteX631" fmla="*/ 753713 w 887920"/>
                <a:gd name="connsiteY631" fmla="*/ 575786 h 627602"/>
                <a:gd name="connsiteX632" fmla="*/ 763048 w 887920"/>
                <a:gd name="connsiteY632" fmla="*/ 573024 h 627602"/>
                <a:gd name="connsiteX633" fmla="*/ 764762 w 887920"/>
                <a:gd name="connsiteY633" fmla="*/ 574358 h 627602"/>
                <a:gd name="connsiteX634" fmla="*/ 772478 w 887920"/>
                <a:gd name="connsiteY634" fmla="*/ 571786 h 627602"/>
                <a:gd name="connsiteX635" fmla="*/ 772668 w 887920"/>
                <a:gd name="connsiteY635" fmla="*/ 560546 h 627602"/>
                <a:gd name="connsiteX636" fmla="*/ 778002 w 887920"/>
                <a:gd name="connsiteY636" fmla="*/ 564642 h 627602"/>
                <a:gd name="connsiteX637" fmla="*/ 779336 w 887920"/>
                <a:gd name="connsiteY637" fmla="*/ 562832 h 627602"/>
                <a:gd name="connsiteX638" fmla="*/ 781145 w 887920"/>
                <a:gd name="connsiteY638" fmla="*/ 564261 h 627602"/>
                <a:gd name="connsiteX639" fmla="*/ 782098 w 887920"/>
                <a:gd name="connsiteY639" fmla="*/ 559308 h 627602"/>
                <a:gd name="connsiteX640" fmla="*/ 778383 w 887920"/>
                <a:gd name="connsiteY640" fmla="*/ 555022 h 627602"/>
                <a:gd name="connsiteX641" fmla="*/ 781145 w 887920"/>
                <a:gd name="connsiteY641" fmla="*/ 551402 h 627602"/>
                <a:gd name="connsiteX642" fmla="*/ 779526 w 887920"/>
                <a:gd name="connsiteY642" fmla="*/ 551593 h 627602"/>
                <a:gd name="connsiteX643" fmla="*/ 778955 w 887920"/>
                <a:gd name="connsiteY643" fmla="*/ 546926 h 627602"/>
                <a:gd name="connsiteX644" fmla="*/ 792385 w 887920"/>
                <a:gd name="connsiteY644" fmla="*/ 551593 h 627602"/>
                <a:gd name="connsiteX645" fmla="*/ 794385 w 887920"/>
                <a:gd name="connsiteY645" fmla="*/ 554546 h 627602"/>
                <a:gd name="connsiteX646" fmla="*/ 794766 w 887920"/>
                <a:gd name="connsiteY646" fmla="*/ 557689 h 627602"/>
                <a:gd name="connsiteX647" fmla="*/ 792956 w 887920"/>
                <a:gd name="connsiteY647" fmla="*/ 556355 h 627602"/>
                <a:gd name="connsiteX648" fmla="*/ 792194 w 887920"/>
                <a:gd name="connsiteY648" fmla="*/ 562832 h 627602"/>
                <a:gd name="connsiteX649" fmla="*/ 803243 w 887920"/>
                <a:gd name="connsiteY649" fmla="*/ 574262 h 627602"/>
                <a:gd name="connsiteX650" fmla="*/ 804101 w 887920"/>
                <a:gd name="connsiteY650" fmla="*/ 580549 h 627602"/>
                <a:gd name="connsiteX651" fmla="*/ 810387 w 887920"/>
                <a:gd name="connsiteY651" fmla="*/ 579787 h 627602"/>
                <a:gd name="connsiteX652" fmla="*/ 812387 w 887920"/>
                <a:gd name="connsiteY652" fmla="*/ 582740 h 627602"/>
                <a:gd name="connsiteX653" fmla="*/ 816864 w 887920"/>
                <a:gd name="connsiteY653" fmla="*/ 580549 h 627602"/>
                <a:gd name="connsiteX654" fmla="*/ 819055 w 887920"/>
                <a:gd name="connsiteY654" fmla="*/ 585121 h 627602"/>
                <a:gd name="connsiteX655" fmla="*/ 826961 w 887920"/>
                <a:gd name="connsiteY655" fmla="*/ 584073 h 627602"/>
                <a:gd name="connsiteX656" fmla="*/ 826008 w 887920"/>
                <a:gd name="connsiteY656" fmla="*/ 576167 h 627602"/>
                <a:gd name="connsiteX657" fmla="*/ 829342 w 887920"/>
                <a:gd name="connsiteY657" fmla="*/ 577310 h 627602"/>
                <a:gd name="connsiteX658" fmla="*/ 833914 w 887920"/>
                <a:gd name="connsiteY658" fmla="*/ 575215 h 627602"/>
                <a:gd name="connsiteX659" fmla="*/ 835438 w 887920"/>
                <a:gd name="connsiteY659" fmla="*/ 574929 h 627602"/>
                <a:gd name="connsiteX660" fmla="*/ 841343 w 887920"/>
                <a:gd name="connsiteY660" fmla="*/ 571024 h 627602"/>
                <a:gd name="connsiteX661" fmla="*/ 842963 w 887920"/>
                <a:gd name="connsiteY661" fmla="*/ 570833 h 627602"/>
                <a:gd name="connsiteX662" fmla="*/ 843344 w 887920"/>
                <a:gd name="connsiteY662" fmla="*/ 573977 h 627602"/>
                <a:gd name="connsiteX663" fmla="*/ 844677 w 887920"/>
                <a:gd name="connsiteY663" fmla="*/ 572167 h 627602"/>
                <a:gd name="connsiteX664" fmla="*/ 845153 w 887920"/>
                <a:gd name="connsiteY664" fmla="*/ 575310 h 627602"/>
                <a:gd name="connsiteX665" fmla="*/ 848487 w 887920"/>
                <a:gd name="connsiteY665" fmla="*/ 576548 h 627602"/>
                <a:gd name="connsiteX666" fmla="*/ 848297 w 887920"/>
                <a:gd name="connsiteY666" fmla="*/ 574929 h 627602"/>
                <a:gd name="connsiteX667" fmla="*/ 851440 w 887920"/>
                <a:gd name="connsiteY667" fmla="*/ 574548 h 627602"/>
                <a:gd name="connsiteX668" fmla="*/ 852678 w 887920"/>
                <a:gd name="connsiteY668" fmla="*/ 583978 h 627602"/>
                <a:gd name="connsiteX669" fmla="*/ 855821 w 887920"/>
                <a:gd name="connsiteY669" fmla="*/ 583597 h 627602"/>
                <a:gd name="connsiteX670" fmla="*/ 853821 w 887920"/>
                <a:gd name="connsiteY670" fmla="*/ 580644 h 627602"/>
                <a:gd name="connsiteX671" fmla="*/ 856583 w 887920"/>
                <a:gd name="connsiteY671" fmla="*/ 577120 h 627602"/>
                <a:gd name="connsiteX672" fmla="*/ 858774 w 887920"/>
                <a:gd name="connsiteY672" fmla="*/ 581597 h 627602"/>
                <a:gd name="connsiteX673" fmla="*/ 860108 w 887920"/>
                <a:gd name="connsiteY673" fmla="*/ 579882 h 627602"/>
                <a:gd name="connsiteX674" fmla="*/ 864680 w 887920"/>
                <a:gd name="connsiteY674" fmla="*/ 577691 h 627602"/>
                <a:gd name="connsiteX675" fmla="*/ 886778 w 887920"/>
                <a:gd name="connsiteY675" fmla="*/ 574834 h 627602"/>
                <a:gd name="connsiteX676" fmla="*/ 887921 w 887920"/>
                <a:gd name="connsiteY676" fmla="*/ 571500 h 627602"/>
                <a:gd name="connsiteX677" fmla="*/ 883920 w 887920"/>
                <a:gd name="connsiteY677" fmla="*/ 565595 h 627602"/>
                <a:gd name="connsiteX678" fmla="*/ 883920 w 887920"/>
                <a:gd name="connsiteY678" fmla="*/ 565595 h 627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</a:cxnLst>
              <a:rect l="l" t="t" r="r" b="b"/>
              <a:pathLst>
                <a:path w="887920" h="627602">
                  <a:moveTo>
                    <a:pt x="883920" y="565595"/>
                  </a:moveTo>
                  <a:lnTo>
                    <a:pt x="883158" y="559308"/>
                  </a:lnTo>
                  <a:lnTo>
                    <a:pt x="881634" y="559499"/>
                  </a:lnTo>
                  <a:lnTo>
                    <a:pt x="877443" y="551974"/>
                  </a:lnTo>
                  <a:lnTo>
                    <a:pt x="873824" y="549212"/>
                  </a:lnTo>
                  <a:lnTo>
                    <a:pt x="873443" y="546068"/>
                  </a:lnTo>
                  <a:lnTo>
                    <a:pt x="868109" y="541973"/>
                  </a:lnTo>
                  <a:lnTo>
                    <a:pt x="865727" y="535877"/>
                  </a:lnTo>
                  <a:lnTo>
                    <a:pt x="859250" y="535019"/>
                  </a:lnTo>
                  <a:lnTo>
                    <a:pt x="859060" y="533495"/>
                  </a:lnTo>
                  <a:lnTo>
                    <a:pt x="863918" y="534448"/>
                  </a:lnTo>
                  <a:lnTo>
                    <a:pt x="852869" y="523018"/>
                  </a:lnTo>
                  <a:lnTo>
                    <a:pt x="857441" y="520827"/>
                  </a:lnTo>
                  <a:lnTo>
                    <a:pt x="860012" y="515684"/>
                  </a:lnTo>
                  <a:lnTo>
                    <a:pt x="850297" y="515303"/>
                  </a:lnTo>
                  <a:lnTo>
                    <a:pt x="843153" y="509873"/>
                  </a:lnTo>
                  <a:lnTo>
                    <a:pt x="853631" y="490919"/>
                  </a:lnTo>
                  <a:lnTo>
                    <a:pt x="851440" y="486347"/>
                  </a:lnTo>
                  <a:lnTo>
                    <a:pt x="858107" y="475869"/>
                  </a:lnTo>
                  <a:lnTo>
                    <a:pt x="863822" y="470345"/>
                  </a:lnTo>
                  <a:lnTo>
                    <a:pt x="855155" y="465011"/>
                  </a:lnTo>
                  <a:lnTo>
                    <a:pt x="854297" y="458724"/>
                  </a:lnTo>
                  <a:lnTo>
                    <a:pt x="850106" y="451199"/>
                  </a:lnTo>
                  <a:lnTo>
                    <a:pt x="839629" y="444532"/>
                  </a:lnTo>
                  <a:lnTo>
                    <a:pt x="839438" y="442913"/>
                  </a:lnTo>
                  <a:lnTo>
                    <a:pt x="844582" y="432721"/>
                  </a:lnTo>
                  <a:lnTo>
                    <a:pt x="851630" y="425387"/>
                  </a:lnTo>
                  <a:lnTo>
                    <a:pt x="844582" y="419862"/>
                  </a:lnTo>
                  <a:lnTo>
                    <a:pt x="838200" y="395002"/>
                  </a:lnTo>
                  <a:lnTo>
                    <a:pt x="836390" y="393668"/>
                  </a:lnTo>
                  <a:lnTo>
                    <a:pt x="835819" y="388906"/>
                  </a:lnTo>
                  <a:lnTo>
                    <a:pt x="839343" y="378809"/>
                  </a:lnTo>
                  <a:lnTo>
                    <a:pt x="837343" y="375857"/>
                  </a:lnTo>
                  <a:lnTo>
                    <a:pt x="838867" y="362807"/>
                  </a:lnTo>
                  <a:lnTo>
                    <a:pt x="831723" y="357378"/>
                  </a:lnTo>
                  <a:lnTo>
                    <a:pt x="832961" y="353949"/>
                  </a:lnTo>
                  <a:lnTo>
                    <a:pt x="840772" y="340138"/>
                  </a:lnTo>
                  <a:lnTo>
                    <a:pt x="842963" y="331851"/>
                  </a:lnTo>
                  <a:lnTo>
                    <a:pt x="838391" y="321183"/>
                  </a:lnTo>
                  <a:lnTo>
                    <a:pt x="822579" y="310420"/>
                  </a:lnTo>
                  <a:lnTo>
                    <a:pt x="818579" y="304514"/>
                  </a:lnTo>
                  <a:lnTo>
                    <a:pt x="817626" y="296609"/>
                  </a:lnTo>
                  <a:lnTo>
                    <a:pt x="817340" y="282226"/>
                  </a:lnTo>
                  <a:lnTo>
                    <a:pt x="808101" y="284988"/>
                  </a:lnTo>
                  <a:lnTo>
                    <a:pt x="799624" y="268415"/>
                  </a:lnTo>
                  <a:lnTo>
                    <a:pt x="791909" y="270986"/>
                  </a:lnTo>
                  <a:lnTo>
                    <a:pt x="778669" y="267843"/>
                  </a:lnTo>
                  <a:lnTo>
                    <a:pt x="774764" y="261938"/>
                  </a:lnTo>
                  <a:lnTo>
                    <a:pt x="767620" y="256508"/>
                  </a:lnTo>
                  <a:lnTo>
                    <a:pt x="759333" y="254318"/>
                  </a:lnTo>
                  <a:lnTo>
                    <a:pt x="757142" y="249746"/>
                  </a:lnTo>
                  <a:lnTo>
                    <a:pt x="750380" y="247460"/>
                  </a:lnTo>
                  <a:lnTo>
                    <a:pt x="745712" y="248031"/>
                  </a:lnTo>
                  <a:lnTo>
                    <a:pt x="741140" y="250222"/>
                  </a:lnTo>
                  <a:lnTo>
                    <a:pt x="729520" y="272510"/>
                  </a:lnTo>
                  <a:lnTo>
                    <a:pt x="718376" y="285179"/>
                  </a:lnTo>
                  <a:lnTo>
                    <a:pt x="713613" y="285750"/>
                  </a:lnTo>
                  <a:lnTo>
                    <a:pt x="710089" y="283083"/>
                  </a:lnTo>
                  <a:lnTo>
                    <a:pt x="706850" y="283464"/>
                  </a:lnTo>
                  <a:lnTo>
                    <a:pt x="703136" y="279083"/>
                  </a:lnTo>
                  <a:lnTo>
                    <a:pt x="705898" y="275558"/>
                  </a:lnTo>
                  <a:lnTo>
                    <a:pt x="705517" y="272415"/>
                  </a:lnTo>
                  <a:lnTo>
                    <a:pt x="706660" y="269081"/>
                  </a:lnTo>
                  <a:lnTo>
                    <a:pt x="704660" y="266129"/>
                  </a:lnTo>
                  <a:lnTo>
                    <a:pt x="704279" y="262890"/>
                  </a:lnTo>
                  <a:lnTo>
                    <a:pt x="699897" y="253841"/>
                  </a:lnTo>
                  <a:lnTo>
                    <a:pt x="705803" y="249936"/>
                  </a:lnTo>
                  <a:lnTo>
                    <a:pt x="703802" y="246983"/>
                  </a:lnTo>
                  <a:lnTo>
                    <a:pt x="706565" y="243364"/>
                  </a:lnTo>
                  <a:lnTo>
                    <a:pt x="702850" y="239078"/>
                  </a:lnTo>
                  <a:lnTo>
                    <a:pt x="706755" y="232124"/>
                  </a:lnTo>
                  <a:lnTo>
                    <a:pt x="704945" y="230791"/>
                  </a:lnTo>
                  <a:lnTo>
                    <a:pt x="701231" y="213646"/>
                  </a:lnTo>
                  <a:lnTo>
                    <a:pt x="695420" y="206312"/>
                  </a:lnTo>
                  <a:lnTo>
                    <a:pt x="691134" y="197263"/>
                  </a:lnTo>
                  <a:lnTo>
                    <a:pt x="689515" y="197453"/>
                  </a:lnTo>
                  <a:lnTo>
                    <a:pt x="686181" y="196310"/>
                  </a:lnTo>
                  <a:lnTo>
                    <a:pt x="684562" y="196501"/>
                  </a:lnTo>
                  <a:lnTo>
                    <a:pt x="684181" y="193358"/>
                  </a:lnTo>
                  <a:lnTo>
                    <a:pt x="682847" y="195072"/>
                  </a:lnTo>
                  <a:lnTo>
                    <a:pt x="680847" y="192119"/>
                  </a:lnTo>
                  <a:lnTo>
                    <a:pt x="674465" y="192977"/>
                  </a:lnTo>
                  <a:lnTo>
                    <a:pt x="674084" y="189833"/>
                  </a:lnTo>
                  <a:lnTo>
                    <a:pt x="672560" y="190024"/>
                  </a:lnTo>
                  <a:lnTo>
                    <a:pt x="665798" y="187643"/>
                  </a:lnTo>
                  <a:lnTo>
                    <a:pt x="660654" y="185071"/>
                  </a:lnTo>
                  <a:lnTo>
                    <a:pt x="649224" y="170498"/>
                  </a:lnTo>
                  <a:lnTo>
                    <a:pt x="648367" y="164211"/>
                  </a:lnTo>
                  <a:lnTo>
                    <a:pt x="640842" y="155543"/>
                  </a:lnTo>
                  <a:lnTo>
                    <a:pt x="638651" y="150971"/>
                  </a:lnTo>
                  <a:lnTo>
                    <a:pt x="635318" y="124206"/>
                  </a:lnTo>
                  <a:lnTo>
                    <a:pt x="631508" y="119824"/>
                  </a:lnTo>
                  <a:lnTo>
                    <a:pt x="633698" y="111538"/>
                  </a:lnTo>
                  <a:lnTo>
                    <a:pt x="632841" y="105251"/>
                  </a:lnTo>
                  <a:lnTo>
                    <a:pt x="634079" y="101918"/>
                  </a:lnTo>
                  <a:lnTo>
                    <a:pt x="638366" y="98108"/>
                  </a:lnTo>
                  <a:lnTo>
                    <a:pt x="639509" y="94774"/>
                  </a:lnTo>
                  <a:lnTo>
                    <a:pt x="646843" y="89059"/>
                  </a:lnTo>
                  <a:lnTo>
                    <a:pt x="647605" y="82487"/>
                  </a:lnTo>
                  <a:lnTo>
                    <a:pt x="643223" y="73438"/>
                  </a:lnTo>
                  <a:lnTo>
                    <a:pt x="636556" y="71057"/>
                  </a:lnTo>
                  <a:lnTo>
                    <a:pt x="638270" y="59626"/>
                  </a:lnTo>
                  <a:lnTo>
                    <a:pt x="637318" y="51721"/>
                  </a:lnTo>
                  <a:lnTo>
                    <a:pt x="622459" y="48863"/>
                  </a:lnTo>
                  <a:lnTo>
                    <a:pt x="619316" y="49244"/>
                  </a:lnTo>
                  <a:lnTo>
                    <a:pt x="617982" y="51054"/>
                  </a:lnTo>
                  <a:lnTo>
                    <a:pt x="612172" y="43720"/>
                  </a:lnTo>
                  <a:lnTo>
                    <a:pt x="615125" y="41720"/>
                  </a:lnTo>
                  <a:lnTo>
                    <a:pt x="613124" y="38767"/>
                  </a:lnTo>
                  <a:lnTo>
                    <a:pt x="610743" y="32671"/>
                  </a:lnTo>
                  <a:lnTo>
                    <a:pt x="613696" y="30670"/>
                  </a:lnTo>
                  <a:lnTo>
                    <a:pt x="611981" y="29337"/>
                  </a:lnTo>
                  <a:lnTo>
                    <a:pt x="597980" y="32671"/>
                  </a:lnTo>
                  <a:lnTo>
                    <a:pt x="592074" y="36671"/>
                  </a:lnTo>
                  <a:lnTo>
                    <a:pt x="587121" y="35719"/>
                  </a:lnTo>
                  <a:lnTo>
                    <a:pt x="583025" y="41053"/>
                  </a:lnTo>
                  <a:lnTo>
                    <a:pt x="583787" y="47339"/>
                  </a:lnTo>
                  <a:lnTo>
                    <a:pt x="577691" y="49720"/>
                  </a:lnTo>
                  <a:lnTo>
                    <a:pt x="569024" y="44387"/>
                  </a:lnTo>
                  <a:lnTo>
                    <a:pt x="565595" y="43244"/>
                  </a:lnTo>
                  <a:lnTo>
                    <a:pt x="568547" y="41243"/>
                  </a:lnTo>
                  <a:lnTo>
                    <a:pt x="569309" y="34766"/>
                  </a:lnTo>
                  <a:lnTo>
                    <a:pt x="568928" y="31623"/>
                  </a:lnTo>
                  <a:lnTo>
                    <a:pt x="568547" y="15621"/>
                  </a:lnTo>
                  <a:lnTo>
                    <a:pt x="565499" y="4763"/>
                  </a:lnTo>
                  <a:lnTo>
                    <a:pt x="553498" y="11144"/>
                  </a:lnTo>
                  <a:lnTo>
                    <a:pt x="545592" y="12097"/>
                  </a:lnTo>
                  <a:lnTo>
                    <a:pt x="544830" y="18669"/>
                  </a:lnTo>
                  <a:lnTo>
                    <a:pt x="539591" y="27337"/>
                  </a:lnTo>
                  <a:lnTo>
                    <a:pt x="538734" y="33814"/>
                  </a:lnTo>
                  <a:lnTo>
                    <a:pt x="542163" y="35052"/>
                  </a:lnTo>
                  <a:lnTo>
                    <a:pt x="545687" y="37814"/>
                  </a:lnTo>
                  <a:lnTo>
                    <a:pt x="540734" y="36767"/>
                  </a:lnTo>
                  <a:lnTo>
                    <a:pt x="536258" y="38957"/>
                  </a:lnTo>
                  <a:lnTo>
                    <a:pt x="530924" y="34862"/>
                  </a:lnTo>
                  <a:lnTo>
                    <a:pt x="524542" y="35624"/>
                  </a:lnTo>
                  <a:lnTo>
                    <a:pt x="519875" y="36290"/>
                  </a:lnTo>
                  <a:lnTo>
                    <a:pt x="515684" y="28766"/>
                  </a:lnTo>
                  <a:lnTo>
                    <a:pt x="515112" y="24003"/>
                  </a:lnTo>
                  <a:lnTo>
                    <a:pt x="522161" y="16669"/>
                  </a:lnTo>
                  <a:lnTo>
                    <a:pt x="518351" y="12383"/>
                  </a:lnTo>
                  <a:lnTo>
                    <a:pt x="505397" y="10859"/>
                  </a:lnTo>
                  <a:lnTo>
                    <a:pt x="500634" y="11430"/>
                  </a:lnTo>
                  <a:lnTo>
                    <a:pt x="500063" y="6668"/>
                  </a:lnTo>
                  <a:lnTo>
                    <a:pt x="495110" y="5715"/>
                  </a:lnTo>
                  <a:lnTo>
                    <a:pt x="494729" y="2572"/>
                  </a:lnTo>
                  <a:lnTo>
                    <a:pt x="489585" y="0"/>
                  </a:lnTo>
                  <a:lnTo>
                    <a:pt x="487966" y="190"/>
                  </a:lnTo>
                  <a:lnTo>
                    <a:pt x="487775" y="11430"/>
                  </a:lnTo>
                  <a:lnTo>
                    <a:pt x="481679" y="13811"/>
                  </a:lnTo>
                  <a:lnTo>
                    <a:pt x="471869" y="11906"/>
                  </a:lnTo>
                  <a:lnTo>
                    <a:pt x="471392" y="8763"/>
                  </a:lnTo>
                  <a:lnTo>
                    <a:pt x="471202" y="7144"/>
                  </a:lnTo>
                  <a:lnTo>
                    <a:pt x="470630" y="2477"/>
                  </a:lnTo>
                  <a:lnTo>
                    <a:pt x="463868" y="95"/>
                  </a:lnTo>
                  <a:lnTo>
                    <a:pt x="459200" y="667"/>
                  </a:lnTo>
                  <a:lnTo>
                    <a:pt x="458438" y="7239"/>
                  </a:lnTo>
                  <a:lnTo>
                    <a:pt x="455200" y="7620"/>
                  </a:lnTo>
                  <a:lnTo>
                    <a:pt x="449485" y="13145"/>
                  </a:lnTo>
                  <a:lnTo>
                    <a:pt x="445008" y="15335"/>
                  </a:lnTo>
                  <a:lnTo>
                    <a:pt x="438436" y="14573"/>
                  </a:lnTo>
                  <a:lnTo>
                    <a:pt x="435959" y="19717"/>
                  </a:lnTo>
                  <a:lnTo>
                    <a:pt x="426911" y="36862"/>
                  </a:lnTo>
                  <a:lnTo>
                    <a:pt x="432245" y="40958"/>
                  </a:lnTo>
                  <a:lnTo>
                    <a:pt x="440150" y="52864"/>
                  </a:lnTo>
                  <a:lnTo>
                    <a:pt x="444246" y="47435"/>
                  </a:lnTo>
                  <a:lnTo>
                    <a:pt x="451771" y="43339"/>
                  </a:lnTo>
                  <a:lnTo>
                    <a:pt x="453581" y="44672"/>
                  </a:lnTo>
                  <a:lnTo>
                    <a:pt x="458534" y="58484"/>
                  </a:lnTo>
                  <a:lnTo>
                    <a:pt x="462725" y="66008"/>
                  </a:lnTo>
                  <a:lnTo>
                    <a:pt x="460915" y="64580"/>
                  </a:lnTo>
                  <a:lnTo>
                    <a:pt x="455200" y="70104"/>
                  </a:lnTo>
                  <a:lnTo>
                    <a:pt x="458534" y="84106"/>
                  </a:lnTo>
                  <a:lnTo>
                    <a:pt x="456248" y="90869"/>
                  </a:lnTo>
                  <a:lnTo>
                    <a:pt x="458248" y="93821"/>
                  </a:lnTo>
                  <a:lnTo>
                    <a:pt x="448723" y="107823"/>
                  </a:lnTo>
                  <a:lnTo>
                    <a:pt x="445770" y="109823"/>
                  </a:lnTo>
                  <a:lnTo>
                    <a:pt x="441674" y="115157"/>
                  </a:lnTo>
                  <a:lnTo>
                    <a:pt x="444056" y="121253"/>
                  </a:lnTo>
                  <a:lnTo>
                    <a:pt x="448056" y="127159"/>
                  </a:lnTo>
                  <a:lnTo>
                    <a:pt x="448818" y="133541"/>
                  </a:lnTo>
                  <a:lnTo>
                    <a:pt x="453581" y="132874"/>
                  </a:lnTo>
                  <a:lnTo>
                    <a:pt x="446437" y="140208"/>
                  </a:lnTo>
                  <a:lnTo>
                    <a:pt x="447294" y="146495"/>
                  </a:lnTo>
                  <a:lnTo>
                    <a:pt x="444532" y="150114"/>
                  </a:lnTo>
                  <a:lnTo>
                    <a:pt x="448056" y="152876"/>
                  </a:lnTo>
                  <a:lnTo>
                    <a:pt x="450056" y="168593"/>
                  </a:lnTo>
                  <a:lnTo>
                    <a:pt x="451104" y="176498"/>
                  </a:lnTo>
                  <a:lnTo>
                    <a:pt x="447961" y="176879"/>
                  </a:lnTo>
                  <a:lnTo>
                    <a:pt x="433578" y="177165"/>
                  </a:lnTo>
                  <a:lnTo>
                    <a:pt x="429387" y="182499"/>
                  </a:lnTo>
                  <a:lnTo>
                    <a:pt x="421481" y="183452"/>
                  </a:lnTo>
                  <a:lnTo>
                    <a:pt x="413195" y="181356"/>
                  </a:lnTo>
                  <a:lnTo>
                    <a:pt x="407670" y="175641"/>
                  </a:lnTo>
                  <a:lnTo>
                    <a:pt x="381000" y="167831"/>
                  </a:lnTo>
                  <a:lnTo>
                    <a:pt x="379095" y="177641"/>
                  </a:lnTo>
                  <a:lnTo>
                    <a:pt x="363093" y="165259"/>
                  </a:lnTo>
                  <a:lnTo>
                    <a:pt x="356711" y="166116"/>
                  </a:lnTo>
                  <a:lnTo>
                    <a:pt x="356140" y="174212"/>
                  </a:lnTo>
                  <a:lnTo>
                    <a:pt x="349853" y="174974"/>
                  </a:lnTo>
                  <a:lnTo>
                    <a:pt x="344900" y="174022"/>
                  </a:lnTo>
                  <a:lnTo>
                    <a:pt x="340233" y="174593"/>
                  </a:lnTo>
                  <a:lnTo>
                    <a:pt x="333280" y="170688"/>
                  </a:lnTo>
                  <a:lnTo>
                    <a:pt x="328803" y="172879"/>
                  </a:lnTo>
                  <a:lnTo>
                    <a:pt x="329184" y="176022"/>
                  </a:lnTo>
                  <a:lnTo>
                    <a:pt x="325660" y="186119"/>
                  </a:lnTo>
                  <a:lnTo>
                    <a:pt x="320326" y="194786"/>
                  </a:lnTo>
                  <a:lnTo>
                    <a:pt x="314420" y="211550"/>
                  </a:lnTo>
                  <a:lnTo>
                    <a:pt x="312896" y="224600"/>
                  </a:lnTo>
                  <a:lnTo>
                    <a:pt x="307181" y="230124"/>
                  </a:lnTo>
                  <a:lnTo>
                    <a:pt x="308324" y="226790"/>
                  </a:lnTo>
                  <a:lnTo>
                    <a:pt x="306610" y="225362"/>
                  </a:lnTo>
                  <a:lnTo>
                    <a:pt x="297752" y="231362"/>
                  </a:lnTo>
                  <a:lnTo>
                    <a:pt x="289655" y="230791"/>
                  </a:lnTo>
                  <a:lnTo>
                    <a:pt x="289179" y="227648"/>
                  </a:lnTo>
                  <a:lnTo>
                    <a:pt x="286036" y="228029"/>
                  </a:lnTo>
                  <a:lnTo>
                    <a:pt x="284131" y="225076"/>
                  </a:lnTo>
                  <a:lnTo>
                    <a:pt x="279178" y="224123"/>
                  </a:lnTo>
                  <a:lnTo>
                    <a:pt x="273844" y="219932"/>
                  </a:lnTo>
                  <a:lnTo>
                    <a:pt x="268891" y="218980"/>
                  </a:lnTo>
                  <a:lnTo>
                    <a:pt x="266319" y="224123"/>
                  </a:lnTo>
                  <a:lnTo>
                    <a:pt x="258604" y="226695"/>
                  </a:lnTo>
                  <a:lnTo>
                    <a:pt x="255270" y="225552"/>
                  </a:lnTo>
                  <a:lnTo>
                    <a:pt x="255080" y="223933"/>
                  </a:lnTo>
                  <a:lnTo>
                    <a:pt x="257270" y="215646"/>
                  </a:lnTo>
                  <a:lnTo>
                    <a:pt x="249746" y="206978"/>
                  </a:lnTo>
                  <a:lnTo>
                    <a:pt x="237077" y="208598"/>
                  </a:lnTo>
                  <a:lnTo>
                    <a:pt x="231743" y="204502"/>
                  </a:lnTo>
                  <a:lnTo>
                    <a:pt x="217742" y="194977"/>
                  </a:lnTo>
                  <a:lnTo>
                    <a:pt x="208407" y="197834"/>
                  </a:lnTo>
                  <a:lnTo>
                    <a:pt x="196215" y="189738"/>
                  </a:lnTo>
                  <a:lnTo>
                    <a:pt x="187738" y="186023"/>
                  </a:lnTo>
                  <a:lnTo>
                    <a:pt x="180213" y="202978"/>
                  </a:lnTo>
                  <a:lnTo>
                    <a:pt x="177260" y="204978"/>
                  </a:lnTo>
                  <a:lnTo>
                    <a:pt x="172593" y="205550"/>
                  </a:lnTo>
                  <a:lnTo>
                    <a:pt x="168212" y="209360"/>
                  </a:lnTo>
                  <a:lnTo>
                    <a:pt x="153448" y="206407"/>
                  </a:lnTo>
                  <a:lnTo>
                    <a:pt x="152210" y="209741"/>
                  </a:lnTo>
                  <a:lnTo>
                    <a:pt x="154781" y="217456"/>
                  </a:lnTo>
                  <a:lnTo>
                    <a:pt x="150495" y="221266"/>
                  </a:lnTo>
                  <a:lnTo>
                    <a:pt x="151448" y="229076"/>
                  </a:lnTo>
                  <a:lnTo>
                    <a:pt x="148971" y="234220"/>
                  </a:lnTo>
                  <a:lnTo>
                    <a:pt x="150114" y="243745"/>
                  </a:lnTo>
                  <a:lnTo>
                    <a:pt x="148019" y="252032"/>
                  </a:lnTo>
                  <a:lnTo>
                    <a:pt x="140303" y="254603"/>
                  </a:lnTo>
                  <a:lnTo>
                    <a:pt x="135541" y="255175"/>
                  </a:lnTo>
                  <a:lnTo>
                    <a:pt x="135350" y="253651"/>
                  </a:lnTo>
                  <a:lnTo>
                    <a:pt x="134398" y="258604"/>
                  </a:lnTo>
                  <a:lnTo>
                    <a:pt x="130683" y="254222"/>
                  </a:lnTo>
                  <a:lnTo>
                    <a:pt x="124301" y="255080"/>
                  </a:lnTo>
                  <a:lnTo>
                    <a:pt x="122301" y="252127"/>
                  </a:lnTo>
                  <a:lnTo>
                    <a:pt x="114014" y="249936"/>
                  </a:lnTo>
                  <a:lnTo>
                    <a:pt x="111633" y="243840"/>
                  </a:lnTo>
                  <a:lnTo>
                    <a:pt x="102965" y="238506"/>
                  </a:lnTo>
                  <a:lnTo>
                    <a:pt x="99822" y="238887"/>
                  </a:lnTo>
                  <a:lnTo>
                    <a:pt x="98393" y="240697"/>
                  </a:lnTo>
                  <a:lnTo>
                    <a:pt x="96679" y="239268"/>
                  </a:lnTo>
                  <a:lnTo>
                    <a:pt x="92107" y="241459"/>
                  </a:lnTo>
                  <a:lnTo>
                    <a:pt x="94869" y="237935"/>
                  </a:lnTo>
                  <a:lnTo>
                    <a:pt x="95822" y="232982"/>
                  </a:lnTo>
                  <a:lnTo>
                    <a:pt x="92678" y="233363"/>
                  </a:lnTo>
                  <a:lnTo>
                    <a:pt x="90964" y="232029"/>
                  </a:lnTo>
                  <a:lnTo>
                    <a:pt x="83249" y="234601"/>
                  </a:lnTo>
                  <a:lnTo>
                    <a:pt x="79058" y="239935"/>
                  </a:lnTo>
                  <a:lnTo>
                    <a:pt x="73533" y="234220"/>
                  </a:lnTo>
                  <a:lnTo>
                    <a:pt x="67437" y="236601"/>
                  </a:lnTo>
                  <a:lnTo>
                    <a:pt x="71247" y="240983"/>
                  </a:lnTo>
                  <a:lnTo>
                    <a:pt x="69818" y="242697"/>
                  </a:lnTo>
                  <a:lnTo>
                    <a:pt x="73152" y="243935"/>
                  </a:lnTo>
                  <a:lnTo>
                    <a:pt x="74581" y="242126"/>
                  </a:lnTo>
                  <a:lnTo>
                    <a:pt x="77915" y="243269"/>
                  </a:lnTo>
                  <a:lnTo>
                    <a:pt x="78296" y="246507"/>
                  </a:lnTo>
                  <a:lnTo>
                    <a:pt x="74771" y="243745"/>
                  </a:lnTo>
                  <a:lnTo>
                    <a:pt x="72200" y="248888"/>
                  </a:lnTo>
                  <a:lnTo>
                    <a:pt x="74009" y="250222"/>
                  </a:lnTo>
                  <a:lnTo>
                    <a:pt x="73057" y="255175"/>
                  </a:lnTo>
                  <a:lnTo>
                    <a:pt x="74771" y="256508"/>
                  </a:lnTo>
                  <a:lnTo>
                    <a:pt x="76391" y="256318"/>
                  </a:lnTo>
                  <a:lnTo>
                    <a:pt x="78200" y="257746"/>
                  </a:lnTo>
                  <a:lnTo>
                    <a:pt x="78391" y="259270"/>
                  </a:lnTo>
                  <a:lnTo>
                    <a:pt x="78581" y="260890"/>
                  </a:lnTo>
                  <a:lnTo>
                    <a:pt x="72676" y="264795"/>
                  </a:lnTo>
                  <a:lnTo>
                    <a:pt x="71438" y="268224"/>
                  </a:lnTo>
                  <a:lnTo>
                    <a:pt x="77057" y="273844"/>
                  </a:lnTo>
                  <a:lnTo>
                    <a:pt x="71723" y="282607"/>
                  </a:lnTo>
                  <a:lnTo>
                    <a:pt x="66580" y="280035"/>
                  </a:lnTo>
                  <a:lnTo>
                    <a:pt x="61817" y="280607"/>
                  </a:lnTo>
                  <a:lnTo>
                    <a:pt x="62008" y="282226"/>
                  </a:lnTo>
                  <a:lnTo>
                    <a:pt x="56483" y="289370"/>
                  </a:lnTo>
                  <a:lnTo>
                    <a:pt x="54959" y="302324"/>
                  </a:lnTo>
                  <a:lnTo>
                    <a:pt x="54007" y="307277"/>
                  </a:lnTo>
                  <a:lnTo>
                    <a:pt x="51054" y="309277"/>
                  </a:lnTo>
                  <a:lnTo>
                    <a:pt x="50292" y="315754"/>
                  </a:lnTo>
                  <a:lnTo>
                    <a:pt x="59150" y="322707"/>
                  </a:lnTo>
                  <a:lnTo>
                    <a:pt x="56388" y="326231"/>
                  </a:lnTo>
                  <a:lnTo>
                    <a:pt x="50102" y="326993"/>
                  </a:lnTo>
                  <a:lnTo>
                    <a:pt x="48482" y="327279"/>
                  </a:lnTo>
                  <a:lnTo>
                    <a:pt x="49721" y="323850"/>
                  </a:lnTo>
                  <a:lnTo>
                    <a:pt x="47339" y="317754"/>
                  </a:lnTo>
                  <a:lnTo>
                    <a:pt x="44768" y="322898"/>
                  </a:lnTo>
                  <a:lnTo>
                    <a:pt x="44958" y="324517"/>
                  </a:lnTo>
                  <a:lnTo>
                    <a:pt x="41243" y="332994"/>
                  </a:lnTo>
                  <a:lnTo>
                    <a:pt x="32195" y="337376"/>
                  </a:lnTo>
                  <a:lnTo>
                    <a:pt x="22860" y="340138"/>
                  </a:lnTo>
                  <a:lnTo>
                    <a:pt x="18955" y="346996"/>
                  </a:lnTo>
                  <a:lnTo>
                    <a:pt x="19812" y="353378"/>
                  </a:lnTo>
                  <a:lnTo>
                    <a:pt x="15621" y="358712"/>
                  </a:lnTo>
                  <a:lnTo>
                    <a:pt x="15050" y="366808"/>
                  </a:lnTo>
                  <a:lnTo>
                    <a:pt x="22003" y="370713"/>
                  </a:lnTo>
                  <a:lnTo>
                    <a:pt x="22574" y="375476"/>
                  </a:lnTo>
                  <a:lnTo>
                    <a:pt x="8192" y="388525"/>
                  </a:lnTo>
                  <a:lnTo>
                    <a:pt x="6477" y="387096"/>
                  </a:lnTo>
                  <a:lnTo>
                    <a:pt x="191" y="400717"/>
                  </a:lnTo>
                  <a:lnTo>
                    <a:pt x="0" y="412052"/>
                  </a:lnTo>
                  <a:lnTo>
                    <a:pt x="4953" y="413004"/>
                  </a:lnTo>
                  <a:lnTo>
                    <a:pt x="9620" y="412337"/>
                  </a:lnTo>
                  <a:lnTo>
                    <a:pt x="11240" y="412147"/>
                  </a:lnTo>
                  <a:lnTo>
                    <a:pt x="10478" y="418719"/>
                  </a:lnTo>
                  <a:lnTo>
                    <a:pt x="10859" y="421862"/>
                  </a:lnTo>
                  <a:lnTo>
                    <a:pt x="11049" y="423386"/>
                  </a:lnTo>
                  <a:lnTo>
                    <a:pt x="13811" y="432721"/>
                  </a:lnTo>
                  <a:lnTo>
                    <a:pt x="14288" y="435864"/>
                  </a:lnTo>
                  <a:lnTo>
                    <a:pt x="10763" y="445961"/>
                  </a:lnTo>
                  <a:lnTo>
                    <a:pt x="17812" y="451390"/>
                  </a:lnTo>
                  <a:lnTo>
                    <a:pt x="16478" y="453200"/>
                  </a:lnTo>
                  <a:lnTo>
                    <a:pt x="16859" y="456343"/>
                  </a:lnTo>
                  <a:lnTo>
                    <a:pt x="24003" y="461867"/>
                  </a:lnTo>
                  <a:lnTo>
                    <a:pt x="26956" y="472726"/>
                  </a:lnTo>
                  <a:lnTo>
                    <a:pt x="24384" y="477869"/>
                  </a:lnTo>
                  <a:lnTo>
                    <a:pt x="29337" y="478822"/>
                  </a:lnTo>
                  <a:lnTo>
                    <a:pt x="33338" y="484727"/>
                  </a:lnTo>
                  <a:lnTo>
                    <a:pt x="32099" y="488061"/>
                  </a:lnTo>
                  <a:lnTo>
                    <a:pt x="42196" y="491585"/>
                  </a:lnTo>
                  <a:lnTo>
                    <a:pt x="41434" y="498158"/>
                  </a:lnTo>
                  <a:lnTo>
                    <a:pt x="43053" y="497967"/>
                  </a:lnTo>
                  <a:lnTo>
                    <a:pt x="41624" y="499682"/>
                  </a:lnTo>
                  <a:lnTo>
                    <a:pt x="44768" y="499301"/>
                  </a:lnTo>
                  <a:lnTo>
                    <a:pt x="46006" y="508826"/>
                  </a:lnTo>
                  <a:lnTo>
                    <a:pt x="47625" y="508540"/>
                  </a:lnTo>
                  <a:lnTo>
                    <a:pt x="48006" y="511778"/>
                  </a:lnTo>
                  <a:lnTo>
                    <a:pt x="50006" y="514731"/>
                  </a:lnTo>
                  <a:lnTo>
                    <a:pt x="51149" y="524161"/>
                  </a:lnTo>
                  <a:lnTo>
                    <a:pt x="50006" y="527495"/>
                  </a:lnTo>
                  <a:lnTo>
                    <a:pt x="56864" y="531400"/>
                  </a:lnTo>
                  <a:lnTo>
                    <a:pt x="59531" y="539115"/>
                  </a:lnTo>
                  <a:lnTo>
                    <a:pt x="61055" y="538925"/>
                  </a:lnTo>
                  <a:lnTo>
                    <a:pt x="59722" y="540734"/>
                  </a:lnTo>
                  <a:lnTo>
                    <a:pt x="62865" y="540353"/>
                  </a:lnTo>
                  <a:lnTo>
                    <a:pt x="61627" y="543687"/>
                  </a:lnTo>
                  <a:lnTo>
                    <a:pt x="63437" y="545021"/>
                  </a:lnTo>
                  <a:lnTo>
                    <a:pt x="62103" y="546830"/>
                  </a:lnTo>
                  <a:lnTo>
                    <a:pt x="63627" y="546640"/>
                  </a:lnTo>
                  <a:lnTo>
                    <a:pt x="65246" y="546449"/>
                  </a:lnTo>
                  <a:lnTo>
                    <a:pt x="65437" y="547973"/>
                  </a:lnTo>
                  <a:lnTo>
                    <a:pt x="64484" y="552926"/>
                  </a:lnTo>
                  <a:lnTo>
                    <a:pt x="66389" y="555879"/>
                  </a:lnTo>
                  <a:lnTo>
                    <a:pt x="67818" y="554069"/>
                  </a:lnTo>
                  <a:lnTo>
                    <a:pt x="67056" y="560642"/>
                  </a:lnTo>
                  <a:lnTo>
                    <a:pt x="75343" y="562737"/>
                  </a:lnTo>
                  <a:lnTo>
                    <a:pt x="76676" y="561023"/>
                  </a:lnTo>
                  <a:lnTo>
                    <a:pt x="76867" y="562547"/>
                  </a:lnTo>
                  <a:lnTo>
                    <a:pt x="76867" y="562547"/>
                  </a:lnTo>
                  <a:lnTo>
                    <a:pt x="78677" y="563975"/>
                  </a:lnTo>
                  <a:lnTo>
                    <a:pt x="78486" y="562356"/>
                  </a:lnTo>
                  <a:lnTo>
                    <a:pt x="83439" y="563309"/>
                  </a:lnTo>
                  <a:lnTo>
                    <a:pt x="86582" y="562928"/>
                  </a:lnTo>
                  <a:lnTo>
                    <a:pt x="86773" y="564547"/>
                  </a:lnTo>
                  <a:lnTo>
                    <a:pt x="85439" y="566261"/>
                  </a:lnTo>
                  <a:lnTo>
                    <a:pt x="90297" y="567309"/>
                  </a:lnTo>
                  <a:lnTo>
                    <a:pt x="89726" y="575405"/>
                  </a:lnTo>
                  <a:lnTo>
                    <a:pt x="93155" y="576548"/>
                  </a:lnTo>
                  <a:lnTo>
                    <a:pt x="95345" y="581120"/>
                  </a:lnTo>
                  <a:lnTo>
                    <a:pt x="97917" y="588740"/>
                  </a:lnTo>
                  <a:lnTo>
                    <a:pt x="99441" y="588550"/>
                  </a:lnTo>
                  <a:lnTo>
                    <a:pt x="98679" y="595122"/>
                  </a:lnTo>
                  <a:lnTo>
                    <a:pt x="105251" y="595884"/>
                  </a:lnTo>
                  <a:lnTo>
                    <a:pt x="103823" y="597599"/>
                  </a:lnTo>
                  <a:lnTo>
                    <a:pt x="107633" y="601980"/>
                  </a:lnTo>
                  <a:lnTo>
                    <a:pt x="109919" y="595217"/>
                  </a:lnTo>
                  <a:lnTo>
                    <a:pt x="108204" y="593884"/>
                  </a:lnTo>
                  <a:lnTo>
                    <a:pt x="113252" y="583597"/>
                  </a:lnTo>
                  <a:lnTo>
                    <a:pt x="124301" y="582168"/>
                  </a:lnTo>
                  <a:lnTo>
                    <a:pt x="121349" y="584168"/>
                  </a:lnTo>
                  <a:lnTo>
                    <a:pt x="125159" y="588550"/>
                  </a:lnTo>
                  <a:lnTo>
                    <a:pt x="127730" y="596170"/>
                  </a:lnTo>
                  <a:lnTo>
                    <a:pt x="129445" y="597599"/>
                  </a:lnTo>
                  <a:lnTo>
                    <a:pt x="137732" y="599694"/>
                  </a:lnTo>
                  <a:lnTo>
                    <a:pt x="142494" y="599123"/>
                  </a:lnTo>
                  <a:lnTo>
                    <a:pt x="145256" y="595598"/>
                  </a:lnTo>
                  <a:lnTo>
                    <a:pt x="139732" y="589883"/>
                  </a:lnTo>
                  <a:lnTo>
                    <a:pt x="139541" y="588264"/>
                  </a:lnTo>
                  <a:lnTo>
                    <a:pt x="149162" y="588645"/>
                  </a:lnTo>
                  <a:lnTo>
                    <a:pt x="150590" y="586835"/>
                  </a:lnTo>
                  <a:lnTo>
                    <a:pt x="153162" y="581692"/>
                  </a:lnTo>
                  <a:lnTo>
                    <a:pt x="159639" y="582549"/>
                  </a:lnTo>
                  <a:lnTo>
                    <a:pt x="161258" y="582263"/>
                  </a:lnTo>
                  <a:lnTo>
                    <a:pt x="161449" y="583883"/>
                  </a:lnTo>
                  <a:lnTo>
                    <a:pt x="160020" y="585692"/>
                  </a:lnTo>
                  <a:lnTo>
                    <a:pt x="160687" y="590360"/>
                  </a:lnTo>
                  <a:lnTo>
                    <a:pt x="159258" y="592169"/>
                  </a:lnTo>
                  <a:lnTo>
                    <a:pt x="164783" y="597884"/>
                  </a:lnTo>
                  <a:lnTo>
                    <a:pt x="163068" y="596551"/>
                  </a:lnTo>
                  <a:lnTo>
                    <a:pt x="160306" y="600075"/>
                  </a:lnTo>
                  <a:lnTo>
                    <a:pt x="159258" y="605028"/>
                  </a:lnTo>
                  <a:lnTo>
                    <a:pt x="161068" y="606362"/>
                  </a:lnTo>
                  <a:lnTo>
                    <a:pt x="162497" y="617411"/>
                  </a:lnTo>
                  <a:lnTo>
                    <a:pt x="168021" y="623126"/>
                  </a:lnTo>
                  <a:lnTo>
                    <a:pt x="169640" y="622935"/>
                  </a:lnTo>
                  <a:lnTo>
                    <a:pt x="170593" y="617982"/>
                  </a:lnTo>
                  <a:lnTo>
                    <a:pt x="172593" y="620935"/>
                  </a:lnTo>
                  <a:lnTo>
                    <a:pt x="173927" y="619220"/>
                  </a:lnTo>
                  <a:lnTo>
                    <a:pt x="174117" y="620744"/>
                  </a:lnTo>
                  <a:lnTo>
                    <a:pt x="177260" y="620363"/>
                  </a:lnTo>
                  <a:lnTo>
                    <a:pt x="175927" y="622173"/>
                  </a:lnTo>
                  <a:lnTo>
                    <a:pt x="175927" y="622173"/>
                  </a:lnTo>
                  <a:lnTo>
                    <a:pt x="181070" y="624650"/>
                  </a:lnTo>
                  <a:lnTo>
                    <a:pt x="183071" y="627602"/>
                  </a:lnTo>
                  <a:lnTo>
                    <a:pt x="185738" y="624078"/>
                  </a:lnTo>
                  <a:lnTo>
                    <a:pt x="183642" y="619506"/>
                  </a:lnTo>
                  <a:lnTo>
                    <a:pt x="187738" y="614172"/>
                  </a:lnTo>
                  <a:lnTo>
                    <a:pt x="188119" y="617411"/>
                  </a:lnTo>
                  <a:lnTo>
                    <a:pt x="194691" y="618173"/>
                  </a:lnTo>
                  <a:lnTo>
                    <a:pt x="196215" y="617982"/>
                  </a:lnTo>
                  <a:lnTo>
                    <a:pt x="196977" y="611410"/>
                  </a:lnTo>
                  <a:lnTo>
                    <a:pt x="201930" y="612362"/>
                  </a:lnTo>
                  <a:lnTo>
                    <a:pt x="204121" y="616934"/>
                  </a:lnTo>
                  <a:lnTo>
                    <a:pt x="209074" y="617887"/>
                  </a:lnTo>
                  <a:lnTo>
                    <a:pt x="208407" y="613220"/>
                  </a:lnTo>
                  <a:lnTo>
                    <a:pt x="209836" y="611410"/>
                  </a:lnTo>
                  <a:lnTo>
                    <a:pt x="221266" y="613124"/>
                  </a:lnTo>
                  <a:lnTo>
                    <a:pt x="227552" y="612362"/>
                  </a:lnTo>
                  <a:lnTo>
                    <a:pt x="227362" y="610743"/>
                  </a:lnTo>
                  <a:lnTo>
                    <a:pt x="237839" y="617411"/>
                  </a:lnTo>
                  <a:lnTo>
                    <a:pt x="237839" y="617411"/>
                  </a:lnTo>
                  <a:lnTo>
                    <a:pt x="239268" y="615696"/>
                  </a:lnTo>
                  <a:lnTo>
                    <a:pt x="236220" y="604838"/>
                  </a:lnTo>
                  <a:lnTo>
                    <a:pt x="242316" y="602456"/>
                  </a:lnTo>
                  <a:lnTo>
                    <a:pt x="242126" y="600837"/>
                  </a:lnTo>
                  <a:lnTo>
                    <a:pt x="251841" y="601218"/>
                  </a:lnTo>
                  <a:lnTo>
                    <a:pt x="254603" y="597694"/>
                  </a:lnTo>
                  <a:lnTo>
                    <a:pt x="257937" y="598837"/>
                  </a:lnTo>
                  <a:lnTo>
                    <a:pt x="261652" y="577501"/>
                  </a:lnTo>
                  <a:lnTo>
                    <a:pt x="261271" y="574358"/>
                  </a:lnTo>
                  <a:lnTo>
                    <a:pt x="280988" y="578263"/>
                  </a:lnTo>
                  <a:lnTo>
                    <a:pt x="282131" y="574929"/>
                  </a:lnTo>
                  <a:lnTo>
                    <a:pt x="284131" y="565023"/>
                  </a:lnTo>
                  <a:lnTo>
                    <a:pt x="278130" y="543401"/>
                  </a:lnTo>
                  <a:lnTo>
                    <a:pt x="278321" y="532067"/>
                  </a:lnTo>
                  <a:lnTo>
                    <a:pt x="312896" y="538925"/>
                  </a:lnTo>
                  <a:lnTo>
                    <a:pt x="332232" y="552450"/>
                  </a:lnTo>
                  <a:lnTo>
                    <a:pt x="346424" y="537877"/>
                  </a:lnTo>
                  <a:lnTo>
                    <a:pt x="349568" y="537496"/>
                  </a:lnTo>
                  <a:lnTo>
                    <a:pt x="352330" y="533876"/>
                  </a:lnTo>
                  <a:lnTo>
                    <a:pt x="353473" y="530543"/>
                  </a:lnTo>
                  <a:lnTo>
                    <a:pt x="351473" y="527590"/>
                  </a:lnTo>
                  <a:lnTo>
                    <a:pt x="346139" y="523494"/>
                  </a:lnTo>
                  <a:lnTo>
                    <a:pt x="347091" y="518541"/>
                  </a:lnTo>
                  <a:lnTo>
                    <a:pt x="345186" y="515588"/>
                  </a:lnTo>
                  <a:lnTo>
                    <a:pt x="357569" y="512350"/>
                  </a:lnTo>
                  <a:lnTo>
                    <a:pt x="357378" y="510826"/>
                  </a:lnTo>
                  <a:lnTo>
                    <a:pt x="364903" y="506635"/>
                  </a:lnTo>
                  <a:lnTo>
                    <a:pt x="369570" y="506063"/>
                  </a:lnTo>
                  <a:lnTo>
                    <a:pt x="372713" y="505587"/>
                  </a:lnTo>
                  <a:lnTo>
                    <a:pt x="375476" y="502063"/>
                  </a:lnTo>
                  <a:lnTo>
                    <a:pt x="376142" y="506825"/>
                  </a:lnTo>
                  <a:lnTo>
                    <a:pt x="381857" y="501301"/>
                  </a:lnTo>
                  <a:lnTo>
                    <a:pt x="387953" y="498920"/>
                  </a:lnTo>
                  <a:lnTo>
                    <a:pt x="383572" y="489871"/>
                  </a:lnTo>
                  <a:lnTo>
                    <a:pt x="385191" y="489585"/>
                  </a:lnTo>
                  <a:lnTo>
                    <a:pt x="380810" y="480536"/>
                  </a:lnTo>
                  <a:lnTo>
                    <a:pt x="377666" y="480917"/>
                  </a:lnTo>
                  <a:lnTo>
                    <a:pt x="383762" y="478536"/>
                  </a:lnTo>
                  <a:lnTo>
                    <a:pt x="385096" y="476822"/>
                  </a:lnTo>
                  <a:lnTo>
                    <a:pt x="388430" y="477965"/>
                  </a:lnTo>
                  <a:lnTo>
                    <a:pt x="388239" y="476441"/>
                  </a:lnTo>
                  <a:lnTo>
                    <a:pt x="391478" y="475964"/>
                  </a:lnTo>
                  <a:lnTo>
                    <a:pt x="393192" y="477393"/>
                  </a:lnTo>
                  <a:lnTo>
                    <a:pt x="386620" y="463772"/>
                  </a:lnTo>
                  <a:lnTo>
                    <a:pt x="391192" y="461582"/>
                  </a:lnTo>
                  <a:lnTo>
                    <a:pt x="404241" y="463106"/>
                  </a:lnTo>
                  <a:lnTo>
                    <a:pt x="402812" y="464915"/>
                  </a:lnTo>
                  <a:lnTo>
                    <a:pt x="405194" y="471011"/>
                  </a:lnTo>
                  <a:lnTo>
                    <a:pt x="402241" y="473012"/>
                  </a:lnTo>
                  <a:lnTo>
                    <a:pt x="404241" y="475964"/>
                  </a:lnTo>
                  <a:lnTo>
                    <a:pt x="407384" y="475583"/>
                  </a:lnTo>
                  <a:lnTo>
                    <a:pt x="411004" y="478346"/>
                  </a:lnTo>
                  <a:lnTo>
                    <a:pt x="410528" y="475202"/>
                  </a:lnTo>
                  <a:lnTo>
                    <a:pt x="415481" y="476155"/>
                  </a:lnTo>
                  <a:lnTo>
                    <a:pt x="419862" y="485204"/>
                  </a:lnTo>
                  <a:lnTo>
                    <a:pt x="415100" y="485775"/>
                  </a:lnTo>
                  <a:lnTo>
                    <a:pt x="418529" y="487013"/>
                  </a:lnTo>
                  <a:lnTo>
                    <a:pt x="420434" y="489966"/>
                  </a:lnTo>
                  <a:lnTo>
                    <a:pt x="425196" y="489299"/>
                  </a:lnTo>
                  <a:lnTo>
                    <a:pt x="428720" y="492062"/>
                  </a:lnTo>
                  <a:lnTo>
                    <a:pt x="427958" y="485775"/>
                  </a:lnTo>
                  <a:lnTo>
                    <a:pt x="432721" y="485204"/>
                  </a:lnTo>
                  <a:lnTo>
                    <a:pt x="433483" y="478631"/>
                  </a:lnTo>
                  <a:lnTo>
                    <a:pt x="434816" y="476917"/>
                  </a:lnTo>
                  <a:lnTo>
                    <a:pt x="438245" y="478060"/>
                  </a:lnTo>
                  <a:lnTo>
                    <a:pt x="435293" y="480060"/>
                  </a:lnTo>
                  <a:lnTo>
                    <a:pt x="437007" y="481394"/>
                  </a:lnTo>
                  <a:lnTo>
                    <a:pt x="440150" y="481013"/>
                  </a:lnTo>
                  <a:lnTo>
                    <a:pt x="442151" y="483965"/>
                  </a:lnTo>
                  <a:lnTo>
                    <a:pt x="446913" y="483394"/>
                  </a:lnTo>
                  <a:lnTo>
                    <a:pt x="450056" y="482918"/>
                  </a:lnTo>
                  <a:lnTo>
                    <a:pt x="455962" y="479012"/>
                  </a:lnTo>
                  <a:lnTo>
                    <a:pt x="456343" y="482156"/>
                  </a:lnTo>
                  <a:lnTo>
                    <a:pt x="455200" y="485489"/>
                  </a:lnTo>
                  <a:lnTo>
                    <a:pt x="457010" y="486918"/>
                  </a:lnTo>
                  <a:lnTo>
                    <a:pt x="463487" y="500444"/>
                  </a:lnTo>
                  <a:lnTo>
                    <a:pt x="465106" y="500253"/>
                  </a:lnTo>
                  <a:lnTo>
                    <a:pt x="466630" y="500063"/>
                  </a:lnTo>
                  <a:lnTo>
                    <a:pt x="471773" y="502634"/>
                  </a:lnTo>
                  <a:lnTo>
                    <a:pt x="472631" y="508921"/>
                  </a:lnTo>
                  <a:lnTo>
                    <a:pt x="473964" y="507206"/>
                  </a:lnTo>
                  <a:lnTo>
                    <a:pt x="477107" y="506730"/>
                  </a:lnTo>
                  <a:lnTo>
                    <a:pt x="477298" y="508349"/>
                  </a:lnTo>
                  <a:lnTo>
                    <a:pt x="476345" y="513302"/>
                  </a:lnTo>
                  <a:lnTo>
                    <a:pt x="480155" y="517589"/>
                  </a:lnTo>
                  <a:lnTo>
                    <a:pt x="479108" y="522542"/>
                  </a:lnTo>
                  <a:lnTo>
                    <a:pt x="483489" y="518827"/>
                  </a:lnTo>
                  <a:lnTo>
                    <a:pt x="485299" y="520160"/>
                  </a:lnTo>
                  <a:lnTo>
                    <a:pt x="489776" y="517970"/>
                  </a:lnTo>
                  <a:lnTo>
                    <a:pt x="494538" y="517398"/>
                  </a:lnTo>
                  <a:lnTo>
                    <a:pt x="494538" y="517398"/>
                  </a:lnTo>
                  <a:lnTo>
                    <a:pt x="498729" y="524828"/>
                  </a:lnTo>
                  <a:lnTo>
                    <a:pt x="503873" y="527399"/>
                  </a:lnTo>
                  <a:lnTo>
                    <a:pt x="502634" y="530828"/>
                  </a:lnTo>
                  <a:lnTo>
                    <a:pt x="507397" y="530162"/>
                  </a:lnTo>
                  <a:lnTo>
                    <a:pt x="516255" y="537020"/>
                  </a:lnTo>
                  <a:lnTo>
                    <a:pt x="513493" y="540639"/>
                  </a:lnTo>
                  <a:lnTo>
                    <a:pt x="513683" y="542163"/>
                  </a:lnTo>
                  <a:lnTo>
                    <a:pt x="516731" y="540258"/>
                  </a:lnTo>
                  <a:lnTo>
                    <a:pt x="515684" y="545116"/>
                  </a:lnTo>
                  <a:lnTo>
                    <a:pt x="519113" y="559118"/>
                  </a:lnTo>
                  <a:lnTo>
                    <a:pt x="520922" y="560546"/>
                  </a:lnTo>
                  <a:lnTo>
                    <a:pt x="522827" y="563499"/>
                  </a:lnTo>
                  <a:lnTo>
                    <a:pt x="530543" y="560927"/>
                  </a:lnTo>
                  <a:lnTo>
                    <a:pt x="530924" y="564071"/>
                  </a:lnTo>
                  <a:lnTo>
                    <a:pt x="532543" y="563880"/>
                  </a:lnTo>
                  <a:lnTo>
                    <a:pt x="532733" y="565404"/>
                  </a:lnTo>
                  <a:lnTo>
                    <a:pt x="537305" y="563309"/>
                  </a:lnTo>
                  <a:lnTo>
                    <a:pt x="542163" y="564261"/>
                  </a:lnTo>
                  <a:lnTo>
                    <a:pt x="547497" y="568357"/>
                  </a:lnTo>
                  <a:lnTo>
                    <a:pt x="546164" y="570167"/>
                  </a:lnTo>
                  <a:lnTo>
                    <a:pt x="547783" y="569976"/>
                  </a:lnTo>
                  <a:lnTo>
                    <a:pt x="548164" y="573119"/>
                  </a:lnTo>
                  <a:lnTo>
                    <a:pt x="551307" y="572738"/>
                  </a:lnTo>
                  <a:lnTo>
                    <a:pt x="553307" y="575691"/>
                  </a:lnTo>
                  <a:lnTo>
                    <a:pt x="553879" y="580358"/>
                  </a:lnTo>
                  <a:lnTo>
                    <a:pt x="558832" y="581406"/>
                  </a:lnTo>
                  <a:lnTo>
                    <a:pt x="560165" y="579596"/>
                  </a:lnTo>
                  <a:lnTo>
                    <a:pt x="572262" y="586073"/>
                  </a:lnTo>
                  <a:lnTo>
                    <a:pt x="575786" y="588836"/>
                  </a:lnTo>
                  <a:lnTo>
                    <a:pt x="579596" y="593122"/>
                  </a:lnTo>
                  <a:lnTo>
                    <a:pt x="587883" y="595313"/>
                  </a:lnTo>
                  <a:lnTo>
                    <a:pt x="596360" y="599027"/>
                  </a:lnTo>
                  <a:lnTo>
                    <a:pt x="605409" y="607505"/>
                  </a:lnTo>
                  <a:lnTo>
                    <a:pt x="609981" y="605314"/>
                  </a:lnTo>
                  <a:lnTo>
                    <a:pt x="613124" y="604933"/>
                  </a:lnTo>
                  <a:lnTo>
                    <a:pt x="617887" y="604266"/>
                  </a:lnTo>
                  <a:lnTo>
                    <a:pt x="617506" y="601123"/>
                  </a:lnTo>
                  <a:lnTo>
                    <a:pt x="618268" y="594646"/>
                  </a:lnTo>
                  <a:lnTo>
                    <a:pt x="616268" y="591693"/>
                  </a:lnTo>
                  <a:lnTo>
                    <a:pt x="621221" y="592646"/>
                  </a:lnTo>
                  <a:lnTo>
                    <a:pt x="620363" y="586359"/>
                  </a:lnTo>
                  <a:lnTo>
                    <a:pt x="628079" y="583787"/>
                  </a:lnTo>
                  <a:lnTo>
                    <a:pt x="626269" y="582359"/>
                  </a:lnTo>
                  <a:lnTo>
                    <a:pt x="629031" y="578834"/>
                  </a:lnTo>
                  <a:lnTo>
                    <a:pt x="630650" y="578644"/>
                  </a:lnTo>
                  <a:lnTo>
                    <a:pt x="631793" y="575310"/>
                  </a:lnTo>
                  <a:lnTo>
                    <a:pt x="634937" y="574834"/>
                  </a:lnTo>
                  <a:lnTo>
                    <a:pt x="636175" y="571500"/>
                  </a:lnTo>
                  <a:lnTo>
                    <a:pt x="639890" y="575882"/>
                  </a:lnTo>
                  <a:lnTo>
                    <a:pt x="641318" y="574072"/>
                  </a:lnTo>
                  <a:lnTo>
                    <a:pt x="645986" y="573500"/>
                  </a:lnTo>
                  <a:lnTo>
                    <a:pt x="649605" y="576167"/>
                  </a:lnTo>
                  <a:lnTo>
                    <a:pt x="650939" y="574453"/>
                  </a:lnTo>
                  <a:lnTo>
                    <a:pt x="659606" y="579692"/>
                  </a:lnTo>
                  <a:lnTo>
                    <a:pt x="658463" y="583121"/>
                  </a:lnTo>
                  <a:lnTo>
                    <a:pt x="666750" y="585216"/>
                  </a:lnTo>
                  <a:lnTo>
                    <a:pt x="668750" y="588169"/>
                  </a:lnTo>
                  <a:lnTo>
                    <a:pt x="672846" y="582835"/>
                  </a:lnTo>
                  <a:lnTo>
                    <a:pt x="675037" y="587407"/>
                  </a:lnTo>
                  <a:lnTo>
                    <a:pt x="676656" y="587216"/>
                  </a:lnTo>
                  <a:lnTo>
                    <a:pt x="677799" y="583883"/>
                  </a:lnTo>
                  <a:lnTo>
                    <a:pt x="686086" y="585978"/>
                  </a:lnTo>
                  <a:lnTo>
                    <a:pt x="684943" y="589312"/>
                  </a:lnTo>
                  <a:lnTo>
                    <a:pt x="689039" y="596837"/>
                  </a:lnTo>
                  <a:lnTo>
                    <a:pt x="690658" y="596646"/>
                  </a:lnTo>
                  <a:lnTo>
                    <a:pt x="697421" y="599027"/>
                  </a:lnTo>
                  <a:lnTo>
                    <a:pt x="699516" y="603504"/>
                  </a:lnTo>
                  <a:lnTo>
                    <a:pt x="706469" y="607409"/>
                  </a:lnTo>
                  <a:lnTo>
                    <a:pt x="706660" y="596170"/>
                  </a:lnTo>
                  <a:lnTo>
                    <a:pt x="712565" y="592265"/>
                  </a:lnTo>
                  <a:lnTo>
                    <a:pt x="715899" y="593408"/>
                  </a:lnTo>
                  <a:lnTo>
                    <a:pt x="714756" y="596741"/>
                  </a:lnTo>
                  <a:lnTo>
                    <a:pt x="718852" y="604266"/>
                  </a:lnTo>
                  <a:lnTo>
                    <a:pt x="715709" y="604647"/>
                  </a:lnTo>
                  <a:lnTo>
                    <a:pt x="717899" y="609219"/>
                  </a:lnTo>
                  <a:lnTo>
                    <a:pt x="721233" y="610362"/>
                  </a:lnTo>
                  <a:lnTo>
                    <a:pt x="721519" y="611981"/>
                  </a:lnTo>
                  <a:lnTo>
                    <a:pt x="713423" y="611410"/>
                  </a:lnTo>
                  <a:lnTo>
                    <a:pt x="715328" y="614363"/>
                  </a:lnTo>
                  <a:lnTo>
                    <a:pt x="720090" y="613696"/>
                  </a:lnTo>
                  <a:lnTo>
                    <a:pt x="720471" y="616934"/>
                  </a:lnTo>
                  <a:lnTo>
                    <a:pt x="717328" y="617315"/>
                  </a:lnTo>
                  <a:lnTo>
                    <a:pt x="720662" y="618458"/>
                  </a:lnTo>
                  <a:lnTo>
                    <a:pt x="721328" y="623221"/>
                  </a:lnTo>
                  <a:lnTo>
                    <a:pt x="727805" y="623983"/>
                  </a:lnTo>
                  <a:lnTo>
                    <a:pt x="732377" y="621792"/>
                  </a:lnTo>
                  <a:lnTo>
                    <a:pt x="737330" y="622745"/>
                  </a:lnTo>
                  <a:lnTo>
                    <a:pt x="738473" y="619411"/>
                  </a:lnTo>
                  <a:lnTo>
                    <a:pt x="743617" y="621983"/>
                  </a:lnTo>
                  <a:lnTo>
                    <a:pt x="743426" y="620363"/>
                  </a:lnTo>
                  <a:lnTo>
                    <a:pt x="746760" y="621602"/>
                  </a:lnTo>
                  <a:lnTo>
                    <a:pt x="746570" y="619982"/>
                  </a:lnTo>
                  <a:lnTo>
                    <a:pt x="742760" y="615696"/>
                  </a:lnTo>
                  <a:lnTo>
                    <a:pt x="745522" y="612077"/>
                  </a:lnTo>
                  <a:lnTo>
                    <a:pt x="748475" y="610076"/>
                  </a:lnTo>
                  <a:lnTo>
                    <a:pt x="750856" y="616268"/>
                  </a:lnTo>
                  <a:lnTo>
                    <a:pt x="755809" y="617220"/>
                  </a:lnTo>
                  <a:lnTo>
                    <a:pt x="756761" y="612267"/>
                  </a:lnTo>
                  <a:lnTo>
                    <a:pt x="759524" y="608743"/>
                  </a:lnTo>
                  <a:lnTo>
                    <a:pt x="757619" y="605790"/>
                  </a:lnTo>
                  <a:lnTo>
                    <a:pt x="762286" y="605123"/>
                  </a:lnTo>
                  <a:lnTo>
                    <a:pt x="763334" y="600170"/>
                  </a:lnTo>
                  <a:lnTo>
                    <a:pt x="756380" y="596265"/>
                  </a:lnTo>
                  <a:lnTo>
                    <a:pt x="755142" y="586835"/>
                  </a:lnTo>
                  <a:lnTo>
                    <a:pt x="751427" y="582454"/>
                  </a:lnTo>
                  <a:lnTo>
                    <a:pt x="752761" y="580739"/>
                  </a:lnTo>
                  <a:lnTo>
                    <a:pt x="753713" y="575786"/>
                  </a:lnTo>
                  <a:lnTo>
                    <a:pt x="763048" y="573024"/>
                  </a:lnTo>
                  <a:lnTo>
                    <a:pt x="764762" y="574358"/>
                  </a:lnTo>
                  <a:lnTo>
                    <a:pt x="772478" y="571786"/>
                  </a:lnTo>
                  <a:lnTo>
                    <a:pt x="772668" y="560546"/>
                  </a:lnTo>
                  <a:lnTo>
                    <a:pt x="778002" y="564642"/>
                  </a:lnTo>
                  <a:lnTo>
                    <a:pt x="779336" y="562832"/>
                  </a:lnTo>
                  <a:lnTo>
                    <a:pt x="781145" y="564261"/>
                  </a:lnTo>
                  <a:lnTo>
                    <a:pt x="782098" y="559308"/>
                  </a:lnTo>
                  <a:lnTo>
                    <a:pt x="778383" y="555022"/>
                  </a:lnTo>
                  <a:lnTo>
                    <a:pt x="781145" y="551402"/>
                  </a:lnTo>
                  <a:lnTo>
                    <a:pt x="779526" y="551593"/>
                  </a:lnTo>
                  <a:lnTo>
                    <a:pt x="778955" y="546926"/>
                  </a:lnTo>
                  <a:lnTo>
                    <a:pt x="792385" y="551593"/>
                  </a:lnTo>
                  <a:lnTo>
                    <a:pt x="794385" y="554546"/>
                  </a:lnTo>
                  <a:lnTo>
                    <a:pt x="794766" y="557689"/>
                  </a:lnTo>
                  <a:lnTo>
                    <a:pt x="792956" y="556355"/>
                  </a:lnTo>
                  <a:lnTo>
                    <a:pt x="792194" y="562832"/>
                  </a:lnTo>
                  <a:lnTo>
                    <a:pt x="803243" y="574262"/>
                  </a:lnTo>
                  <a:lnTo>
                    <a:pt x="804101" y="580549"/>
                  </a:lnTo>
                  <a:lnTo>
                    <a:pt x="810387" y="579787"/>
                  </a:lnTo>
                  <a:lnTo>
                    <a:pt x="812387" y="582740"/>
                  </a:lnTo>
                  <a:lnTo>
                    <a:pt x="816864" y="580549"/>
                  </a:lnTo>
                  <a:lnTo>
                    <a:pt x="819055" y="585121"/>
                  </a:lnTo>
                  <a:lnTo>
                    <a:pt x="826961" y="584073"/>
                  </a:lnTo>
                  <a:lnTo>
                    <a:pt x="826008" y="576167"/>
                  </a:lnTo>
                  <a:lnTo>
                    <a:pt x="829342" y="577310"/>
                  </a:lnTo>
                  <a:lnTo>
                    <a:pt x="833914" y="575215"/>
                  </a:lnTo>
                  <a:lnTo>
                    <a:pt x="835438" y="574929"/>
                  </a:lnTo>
                  <a:lnTo>
                    <a:pt x="841343" y="571024"/>
                  </a:lnTo>
                  <a:lnTo>
                    <a:pt x="842963" y="570833"/>
                  </a:lnTo>
                  <a:lnTo>
                    <a:pt x="843344" y="573977"/>
                  </a:lnTo>
                  <a:lnTo>
                    <a:pt x="844677" y="572167"/>
                  </a:lnTo>
                  <a:lnTo>
                    <a:pt x="845153" y="575310"/>
                  </a:lnTo>
                  <a:lnTo>
                    <a:pt x="848487" y="576548"/>
                  </a:lnTo>
                  <a:lnTo>
                    <a:pt x="848297" y="574929"/>
                  </a:lnTo>
                  <a:lnTo>
                    <a:pt x="851440" y="574548"/>
                  </a:lnTo>
                  <a:lnTo>
                    <a:pt x="852678" y="583978"/>
                  </a:lnTo>
                  <a:lnTo>
                    <a:pt x="855821" y="583597"/>
                  </a:lnTo>
                  <a:lnTo>
                    <a:pt x="853821" y="580644"/>
                  </a:lnTo>
                  <a:lnTo>
                    <a:pt x="856583" y="577120"/>
                  </a:lnTo>
                  <a:lnTo>
                    <a:pt x="858774" y="581597"/>
                  </a:lnTo>
                  <a:lnTo>
                    <a:pt x="860108" y="579882"/>
                  </a:lnTo>
                  <a:lnTo>
                    <a:pt x="864680" y="577691"/>
                  </a:lnTo>
                  <a:lnTo>
                    <a:pt x="886778" y="574834"/>
                  </a:lnTo>
                  <a:lnTo>
                    <a:pt x="887921" y="571500"/>
                  </a:lnTo>
                  <a:lnTo>
                    <a:pt x="883920" y="565595"/>
                  </a:lnTo>
                  <a:lnTo>
                    <a:pt x="883920" y="565595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5" name="Volný tvar: obrazec 34">
              <a:extLst>
                <a:ext uri="{FF2B5EF4-FFF2-40B4-BE49-F238E27FC236}">
                  <a16:creationId xmlns:a16="http://schemas.microsoft.com/office/drawing/2014/main" id="{38011CE4-0AD2-2082-2440-BDE4E3A2E1C2}"/>
                </a:ext>
              </a:extLst>
            </p:cNvPr>
            <p:cNvSpPr>
              <a:spLocks noChangeAspect="1"/>
            </p:cNvSpPr>
            <p:nvPr userDrawn="1">
              <p:custDataLst>
                <p:tags r:id="rId7"/>
              </p:custDataLst>
            </p:nvPr>
          </p:nvSpPr>
          <p:spPr>
            <a:xfrm>
              <a:off x="4628292" y="2504407"/>
              <a:ext cx="1489995" cy="1273968"/>
            </a:xfrm>
            <a:custGeom>
              <a:avLst/>
              <a:gdLst>
                <a:gd name="connsiteX0" fmla="*/ 443198 w 1489995"/>
                <a:gd name="connsiteY0" fmla="*/ 1201960 h 1273968"/>
                <a:gd name="connsiteX1" fmla="*/ 439198 w 1489995"/>
                <a:gd name="connsiteY1" fmla="*/ 1208913 h 1273968"/>
                <a:gd name="connsiteX2" fmla="*/ 439007 w 1489995"/>
                <a:gd name="connsiteY2" fmla="*/ 1207294 h 1273968"/>
                <a:gd name="connsiteX3" fmla="*/ 433292 w 1489995"/>
                <a:gd name="connsiteY3" fmla="*/ 1212818 h 1273968"/>
                <a:gd name="connsiteX4" fmla="*/ 431578 w 1489995"/>
                <a:gd name="connsiteY4" fmla="*/ 1211485 h 1273968"/>
                <a:gd name="connsiteX5" fmla="*/ 430149 w 1489995"/>
                <a:gd name="connsiteY5" fmla="*/ 1213199 h 1273968"/>
                <a:gd name="connsiteX6" fmla="*/ 423481 w 1489995"/>
                <a:gd name="connsiteY6" fmla="*/ 1210913 h 1273968"/>
                <a:gd name="connsiteX7" fmla="*/ 422719 w 1489995"/>
                <a:gd name="connsiteY7" fmla="*/ 1217390 h 1273968"/>
                <a:gd name="connsiteX8" fmla="*/ 426625 w 1489995"/>
                <a:gd name="connsiteY8" fmla="*/ 1223296 h 1273968"/>
                <a:gd name="connsiteX9" fmla="*/ 423863 w 1489995"/>
                <a:gd name="connsiteY9" fmla="*/ 1226915 h 1273968"/>
                <a:gd name="connsiteX10" fmla="*/ 423481 w 1489995"/>
                <a:gd name="connsiteY10" fmla="*/ 1223677 h 1273968"/>
                <a:gd name="connsiteX11" fmla="*/ 422719 w 1489995"/>
                <a:gd name="connsiteY11" fmla="*/ 1230249 h 1273968"/>
                <a:gd name="connsiteX12" fmla="*/ 421291 w 1489995"/>
                <a:gd name="connsiteY12" fmla="*/ 1231964 h 1273968"/>
                <a:gd name="connsiteX13" fmla="*/ 421767 w 1489995"/>
                <a:gd name="connsiteY13" fmla="*/ 1235202 h 1273968"/>
                <a:gd name="connsiteX14" fmla="*/ 420148 w 1489995"/>
                <a:gd name="connsiteY14" fmla="*/ 1235393 h 1273968"/>
                <a:gd name="connsiteX15" fmla="*/ 418814 w 1489995"/>
                <a:gd name="connsiteY15" fmla="*/ 1237107 h 1273968"/>
                <a:gd name="connsiteX16" fmla="*/ 416814 w 1489995"/>
                <a:gd name="connsiteY16" fmla="*/ 1234154 h 1273968"/>
                <a:gd name="connsiteX17" fmla="*/ 415195 w 1489995"/>
                <a:gd name="connsiteY17" fmla="*/ 1234345 h 1273968"/>
                <a:gd name="connsiteX18" fmla="*/ 415576 w 1489995"/>
                <a:gd name="connsiteY18" fmla="*/ 1237583 h 1273968"/>
                <a:gd name="connsiteX19" fmla="*/ 414052 w 1489995"/>
                <a:gd name="connsiteY19" fmla="*/ 1237774 h 1273968"/>
                <a:gd name="connsiteX20" fmla="*/ 417957 w 1489995"/>
                <a:gd name="connsiteY20" fmla="*/ 1243679 h 1273968"/>
                <a:gd name="connsiteX21" fmla="*/ 414814 w 1489995"/>
                <a:gd name="connsiteY21" fmla="*/ 1244060 h 1273968"/>
                <a:gd name="connsiteX22" fmla="*/ 415290 w 1489995"/>
                <a:gd name="connsiteY22" fmla="*/ 1247204 h 1273968"/>
                <a:gd name="connsiteX23" fmla="*/ 412051 w 1489995"/>
                <a:gd name="connsiteY23" fmla="*/ 1247585 h 1273968"/>
                <a:gd name="connsiteX24" fmla="*/ 411289 w 1489995"/>
                <a:gd name="connsiteY24" fmla="*/ 1241298 h 1273968"/>
                <a:gd name="connsiteX25" fmla="*/ 408146 w 1489995"/>
                <a:gd name="connsiteY25" fmla="*/ 1241679 h 1273968"/>
                <a:gd name="connsiteX26" fmla="*/ 405955 w 1489995"/>
                <a:gd name="connsiteY26" fmla="*/ 1237202 h 1273968"/>
                <a:gd name="connsiteX27" fmla="*/ 403384 w 1489995"/>
                <a:gd name="connsiteY27" fmla="*/ 1242346 h 1273968"/>
                <a:gd name="connsiteX28" fmla="*/ 401860 w 1489995"/>
                <a:gd name="connsiteY28" fmla="*/ 1242536 h 1273968"/>
                <a:gd name="connsiteX29" fmla="*/ 402241 w 1489995"/>
                <a:gd name="connsiteY29" fmla="*/ 1245680 h 1273968"/>
                <a:gd name="connsiteX30" fmla="*/ 399479 w 1489995"/>
                <a:gd name="connsiteY30" fmla="*/ 1249204 h 1273968"/>
                <a:gd name="connsiteX31" fmla="*/ 399859 w 1489995"/>
                <a:gd name="connsiteY31" fmla="*/ 1252347 h 1273968"/>
                <a:gd name="connsiteX32" fmla="*/ 400240 w 1489995"/>
                <a:gd name="connsiteY32" fmla="*/ 1255586 h 1273968"/>
                <a:gd name="connsiteX33" fmla="*/ 390620 w 1489995"/>
                <a:gd name="connsiteY33" fmla="*/ 1255205 h 1273968"/>
                <a:gd name="connsiteX34" fmla="*/ 383858 w 1489995"/>
                <a:gd name="connsiteY34" fmla="*/ 1252823 h 1273968"/>
                <a:gd name="connsiteX35" fmla="*/ 383286 w 1489995"/>
                <a:gd name="connsiteY35" fmla="*/ 1248061 h 1273968"/>
                <a:gd name="connsiteX36" fmla="*/ 379952 w 1489995"/>
                <a:gd name="connsiteY36" fmla="*/ 1246918 h 1273968"/>
                <a:gd name="connsiteX37" fmla="*/ 371284 w 1489995"/>
                <a:gd name="connsiteY37" fmla="*/ 1254443 h 1273968"/>
                <a:gd name="connsiteX38" fmla="*/ 372237 w 1489995"/>
                <a:gd name="connsiteY38" fmla="*/ 1262348 h 1273968"/>
                <a:gd name="connsiteX39" fmla="*/ 372237 w 1489995"/>
                <a:gd name="connsiteY39" fmla="*/ 1262348 h 1273968"/>
                <a:gd name="connsiteX40" fmla="*/ 370713 w 1489995"/>
                <a:gd name="connsiteY40" fmla="*/ 1262539 h 1273968"/>
                <a:gd name="connsiteX41" fmla="*/ 366331 w 1489995"/>
                <a:gd name="connsiteY41" fmla="*/ 1266254 h 1273968"/>
                <a:gd name="connsiteX42" fmla="*/ 365950 w 1489995"/>
                <a:gd name="connsiteY42" fmla="*/ 1263110 h 1273968"/>
                <a:gd name="connsiteX43" fmla="*/ 356711 w 1489995"/>
                <a:gd name="connsiteY43" fmla="*/ 1265873 h 1273968"/>
                <a:gd name="connsiteX44" fmla="*/ 354711 w 1489995"/>
                <a:gd name="connsiteY44" fmla="*/ 1262920 h 1273968"/>
                <a:gd name="connsiteX45" fmla="*/ 349948 w 1489995"/>
                <a:gd name="connsiteY45" fmla="*/ 1263587 h 1273968"/>
                <a:gd name="connsiteX46" fmla="*/ 349377 w 1489995"/>
                <a:gd name="connsiteY46" fmla="*/ 1258824 h 1273968"/>
                <a:gd name="connsiteX47" fmla="*/ 345853 w 1489995"/>
                <a:gd name="connsiteY47" fmla="*/ 1256062 h 1273968"/>
                <a:gd name="connsiteX48" fmla="*/ 344614 w 1489995"/>
                <a:gd name="connsiteY48" fmla="*/ 1259396 h 1273968"/>
                <a:gd name="connsiteX49" fmla="*/ 338328 w 1489995"/>
                <a:gd name="connsiteY49" fmla="*/ 1260253 h 1273968"/>
                <a:gd name="connsiteX50" fmla="*/ 342614 w 1489995"/>
                <a:gd name="connsiteY50" fmla="*/ 1256443 h 1273968"/>
                <a:gd name="connsiteX51" fmla="*/ 342233 w 1489995"/>
                <a:gd name="connsiteY51" fmla="*/ 1253300 h 1273968"/>
                <a:gd name="connsiteX52" fmla="*/ 345186 w 1489995"/>
                <a:gd name="connsiteY52" fmla="*/ 1251299 h 1273968"/>
                <a:gd name="connsiteX53" fmla="*/ 337280 w 1489995"/>
                <a:gd name="connsiteY53" fmla="*/ 1252347 h 1273968"/>
                <a:gd name="connsiteX54" fmla="*/ 335947 w 1489995"/>
                <a:gd name="connsiteY54" fmla="*/ 1254157 h 1273968"/>
                <a:gd name="connsiteX55" fmla="*/ 332422 w 1489995"/>
                <a:gd name="connsiteY55" fmla="*/ 1251395 h 1273968"/>
                <a:gd name="connsiteX56" fmla="*/ 330232 w 1489995"/>
                <a:gd name="connsiteY56" fmla="*/ 1246823 h 1273968"/>
                <a:gd name="connsiteX57" fmla="*/ 330994 w 1489995"/>
                <a:gd name="connsiteY57" fmla="*/ 1240346 h 1273968"/>
                <a:gd name="connsiteX58" fmla="*/ 320897 w 1489995"/>
                <a:gd name="connsiteY58" fmla="*/ 1236821 h 1273968"/>
                <a:gd name="connsiteX59" fmla="*/ 316325 w 1489995"/>
                <a:gd name="connsiteY59" fmla="*/ 1239012 h 1273968"/>
                <a:gd name="connsiteX60" fmla="*/ 316611 w 1489995"/>
                <a:gd name="connsiteY60" fmla="*/ 1240536 h 1273968"/>
                <a:gd name="connsiteX61" fmla="*/ 319945 w 1489995"/>
                <a:gd name="connsiteY61" fmla="*/ 1241679 h 1273968"/>
                <a:gd name="connsiteX62" fmla="*/ 315373 w 1489995"/>
                <a:gd name="connsiteY62" fmla="*/ 1243870 h 1273968"/>
                <a:gd name="connsiteX63" fmla="*/ 311658 w 1489995"/>
                <a:gd name="connsiteY63" fmla="*/ 1252347 h 1273968"/>
                <a:gd name="connsiteX64" fmla="*/ 308324 w 1489995"/>
                <a:gd name="connsiteY64" fmla="*/ 1251204 h 1273968"/>
                <a:gd name="connsiteX65" fmla="*/ 308515 w 1489995"/>
                <a:gd name="connsiteY65" fmla="*/ 1252823 h 1273968"/>
                <a:gd name="connsiteX66" fmla="*/ 306705 w 1489995"/>
                <a:gd name="connsiteY66" fmla="*/ 1251395 h 1273968"/>
                <a:gd name="connsiteX67" fmla="*/ 303943 w 1489995"/>
                <a:gd name="connsiteY67" fmla="*/ 1255014 h 1273968"/>
                <a:gd name="connsiteX68" fmla="*/ 302038 w 1489995"/>
                <a:gd name="connsiteY68" fmla="*/ 1252061 h 1273968"/>
                <a:gd name="connsiteX69" fmla="*/ 303371 w 1489995"/>
                <a:gd name="connsiteY69" fmla="*/ 1250252 h 1273968"/>
                <a:gd name="connsiteX70" fmla="*/ 301752 w 1489995"/>
                <a:gd name="connsiteY70" fmla="*/ 1250442 h 1273968"/>
                <a:gd name="connsiteX71" fmla="*/ 300418 w 1489995"/>
                <a:gd name="connsiteY71" fmla="*/ 1252252 h 1273968"/>
                <a:gd name="connsiteX72" fmla="*/ 298990 w 1489995"/>
                <a:gd name="connsiteY72" fmla="*/ 1253966 h 1273968"/>
                <a:gd name="connsiteX73" fmla="*/ 297656 w 1489995"/>
                <a:gd name="connsiteY73" fmla="*/ 1242917 h 1273968"/>
                <a:gd name="connsiteX74" fmla="*/ 296228 w 1489995"/>
                <a:gd name="connsiteY74" fmla="*/ 1244727 h 1273968"/>
                <a:gd name="connsiteX75" fmla="*/ 294513 w 1489995"/>
                <a:gd name="connsiteY75" fmla="*/ 1243394 h 1273968"/>
                <a:gd name="connsiteX76" fmla="*/ 291655 w 1489995"/>
                <a:gd name="connsiteY76" fmla="*/ 1234059 h 1273968"/>
                <a:gd name="connsiteX77" fmla="*/ 288512 w 1489995"/>
                <a:gd name="connsiteY77" fmla="*/ 1234535 h 1273968"/>
                <a:gd name="connsiteX78" fmla="*/ 290513 w 1489995"/>
                <a:gd name="connsiteY78" fmla="*/ 1237488 h 1273968"/>
                <a:gd name="connsiteX79" fmla="*/ 284226 w 1489995"/>
                <a:gd name="connsiteY79" fmla="*/ 1238250 h 1273968"/>
                <a:gd name="connsiteX80" fmla="*/ 284988 w 1489995"/>
                <a:gd name="connsiteY80" fmla="*/ 1244537 h 1273968"/>
                <a:gd name="connsiteX81" fmla="*/ 280225 w 1489995"/>
                <a:gd name="connsiteY81" fmla="*/ 1245203 h 1273968"/>
                <a:gd name="connsiteX82" fmla="*/ 280702 w 1489995"/>
                <a:gd name="connsiteY82" fmla="*/ 1248347 h 1273968"/>
                <a:gd name="connsiteX83" fmla="*/ 273748 w 1489995"/>
                <a:gd name="connsiteY83" fmla="*/ 1244441 h 1273968"/>
                <a:gd name="connsiteX84" fmla="*/ 267271 w 1489995"/>
                <a:gd name="connsiteY84" fmla="*/ 1243584 h 1273968"/>
                <a:gd name="connsiteX85" fmla="*/ 263747 w 1489995"/>
                <a:gd name="connsiteY85" fmla="*/ 1253681 h 1273968"/>
                <a:gd name="connsiteX86" fmla="*/ 262128 w 1489995"/>
                <a:gd name="connsiteY86" fmla="*/ 1253871 h 1273968"/>
                <a:gd name="connsiteX87" fmla="*/ 262128 w 1489995"/>
                <a:gd name="connsiteY87" fmla="*/ 1253871 h 1273968"/>
                <a:gd name="connsiteX88" fmla="*/ 252222 w 1489995"/>
                <a:gd name="connsiteY88" fmla="*/ 1251966 h 1273968"/>
                <a:gd name="connsiteX89" fmla="*/ 250507 w 1489995"/>
                <a:gd name="connsiteY89" fmla="*/ 1250537 h 1273968"/>
                <a:gd name="connsiteX90" fmla="*/ 251269 w 1489995"/>
                <a:gd name="connsiteY90" fmla="*/ 1244060 h 1273968"/>
                <a:gd name="connsiteX91" fmla="*/ 252603 w 1489995"/>
                <a:gd name="connsiteY91" fmla="*/ 1242251 h 1273968"/>
                <a:gd name="connsiteX92" fmla="*/ 254413 w 1489995"/>
                <a:gd name="connsiteY92" fmla="*/ 1230821 h 1273968"/>
                <a:gd name="connsiteX93" fmla="*/ 254984 w 1489995"/>
                <a:gd name="connsiteY93" fmla="*/ 1222724 h 1273968"/>
                <a:gd name="connsiteX94" fmla="*/ 249841 w 1489995"/>
                <a:gd name="connsiteY94" fmla="*/ 1220153 h 1273968"/>
                <a:gd name="connsiteX95" fmla="*/ 250412 w 1489995"/>
                <a:gd name="connsiteY95" fmla="*/ 1212056 h 1273968"/>
                <a:gd name="connsiteX96" fmla="*/ 239935 w 1489995"/>
                <a:gd name="connsiteY96" fmla="*/ 1205389 h 1273968"/>
                <a:gd name="connsiteX97" fmla="*/ 236791 w 1489995"/>
                <a:gd name="connsiteY97" fmla="*/ 1205770 h 1273968"/>
                <a:gd name="connsiteX98" fmla="*/ 231457 w 1489995"/>
                <a:gd name="connsiteY98" fmla="*/ 1214533 h 1273968"/>
                <a:gd name="connsiteX99" fmla="*/ 229648 w 1489995"/>
                <a:gd name="connsiteY99" fmla="*/ 1213104 h 1273968"/>
                <a:gd name="connsiteX100" fmla="*/ 234029 w 1489995"/>
                <a:gd name="connsiteY100" fmla="*/ 1209389 h 1273968"/>
                <a:gd name="connsiteX101" fmla="*/ 235744 w 1489995"/>
                <a:gd name="connsiteY101" fmla="*/ 1197959 h 1273968"/>
                <a:gd name="connsiteX102" fmla="*/ 233743 w 1489995"/>
                <a:gd name="connsiteY102" fmla="*/ 1195007 h 1273968"/>
                <a:gd name="connsiteX103" fmla="*/ 232029 w 1489995"/>
                <a:gd name="connsiteY103" fmla="*/ 1193578 h 1273968"/>
                <a:gd name="connsiteX104" fmla="*/ 234696 w 1489995"/>
                <a:gd name="connsiteY104" fmla="*/ 1177195 h 1273968"/>
                <a:gd name="connsiteX105" fmla="*/ 231934 w 1489995"/>
                <a:gd name="connsiteY105" fmla="*/ 1167956 h 1273968"/>
                <a:gd name="connsiteX106" fmla="*/ 236029 w 1489995"/>
                <a:gd name="connsiteY106" fmla="*/ 1162622 h 1273968"/>
                <a:gd name="connsiteX107" fmla="*/ 240030 w 1489995"/>
                <a:gd name="connsiteY107" fmla="*/ 1155668 h 1273968"/>
                <a:gd name="connsiteX108" fmla="*/ 239554 w 1489995"/>
                <a:gd name="connsiteY108" fmla="*/ 1139666 h 1273968"/>
                <a:gd name="connsiteX109" fmla="*/ 242125 w 1489995"/>
                <a:gd name="connsiteY109" fmla="*/ 1134523 h 1273968"/>
                <a:gd name="connsiteX110" fmla="*/ 242888 w 1489995"/>
                <a:gd name="connsiteY110" fmla="*/ 1128046 h 1273968"/>
                <a:gd name="connsiteX111" fmla="*/ 239173 w 1489995"/>
                <a:gd name="connsiteY111" fmla="*/ 1123760 h 1273968"/>
                <a:gd name="connsiteX112" fmla="*/ 234601 w 1489995"/>
                <a:gd name="connsiteY112" fmla="*/ 1125855 h 1273968"/>
                <a:gd name="connsiteX113" fmla="*/ 227933 w 1489995"/>
                <a:gd name="connsiteY113" fmla="*/ 1123569 h 1273968"/>
                <a:gd name="connsiteX114" fmla="*/ 227266 w 1489995"/>
                <a:gd name="connsiteY114" fmla="*/ 1118807 h 1273968"/>
                <a:gd name="connsiteX115" fmla="*/ 223742 w 1489995"/>
                <a:gd name="connsiteY115" fmla="*/ 1116044 h 1273968"/>
                <a:gd name="connsiteX116" fmla="*/ 219361 w 1489995"/>
                <a:gd name="connsiteY116" fmla="*/ 1119854 h 1273968"/>
                <a:gd name="connsiteX117" fmla="*/ 217837 w 1489995"/>
                <a:gd name="connsiteY117" fmla="*/ 1120045 h 1273968"/>
                <a:gd name="connsiteX118" fmla="*/ 210884 w 1489995"/>
                <a:gd name="connsiteY118" fmla="*/ 1116044 h 1273968"/>
                <a:gd name="connsiteX119" fmla="*/ 210502 w 1489995"/>
                <a:gd name="connsiteY119" fmla="*/ 1112901 h 1273968"/>
                <a:gd name="connsiteX120" fmla="*/ 213646 w 1489995"/>
                <a:gd name="connsiteY120" fmla="*/ 1112520 h 1273968"/>
                <a:gd name="connsiteX121" fmla="*/ 214789 w 1489995"/>
                <a:gd name="connsiteY121" fmla="*/ 1109186 h 1273968"/>
                <a:gd name="connsiteX122" fmla="*/ 205168 w 1489995"/>
                <a:gd name="connsiteY122" fmla="*/ 1108805 h 1273968"/>
                <a:gd name="connsiteX123" fmla="*/ 204788 w 1489995"/>
                <a:gd name="connsiteY123" fmla="*/ 1105662 h 1273968"/>
                <a:gd name="connsiteX124" fmla="*/ 200025 w 1489995"/>
                <a:gd name="connsiteY124" fmla="*/ 1106234 h 1273968"/>
                <a:gd name="connsiteX125" fmla="*/ 196501 w 1489995"/>
                <a:gd name="connsiteY125" fmla="*/ 1103471 h 1273968"/>
                <a:gd name="connsiteX126" fmla="*/ 193357 w 1489995"/>
                <a:gd name="connsiteY126" fmla="*/ 1103948 h 1273968"/>
                <a:gd name="connsiteX127" fmla="*/ 190881 w 1489995"/>
                <a:gd name="connsiteY127" fmla="*/ 1097756 h 1273968"/>
                <a:gd name="connsiteX128" fmla="*/ 187547 w 1489995"/>
                <a:gd name="connsiteY128" fmla="*/ 1096613 h 1273968"/>
                <a:gd name="connsiteX129" fmla="*/ 195643 w 1489995"/>
                <a:gd name="connsiteY129" fmla="*/ 1097185 h 1273968"/>
                <a:gd name="connsiteX130" fmla="*/ 202787 w 1489995"/>
                <a:gd name="connsiteY130" fmla="*/ 1102709 h 1273968"/>
                <a:gd name="connsiteX131" fmla="*/ 210693 w 1489995"/>
                <a:gd name="connsiteY131" fmla="*/ 1101662 h 1273968"/>
                <a:gd name="connsiteX132" fmla="*/ 212026 w 1489995"/>
                <a:gd name="connsiteY132" fmla="*/ 1099947 h 1273968"/>
                <a:gd name="connsiteX133" fmla="*/ 216789 w 1489995"/>
                <a:gd name="connsiteY133" fmla="*/ 1099280 h 1273968"/>
                <a:gd name="connsiteX134" fmla="*/ 219742 w 1489995"/>
                <a:gd name="connsiteY134" fmla="*/ 1097280 h 1273968"/>
                <a:gd name="connsiteX135" fmla="*/ 216408 w 1489995"/>
                <a:gd name="connsiteY135" fmla="*/ 1096137 h 1273968"/>
                <a:gd name="connsiteX136" fmla="*/ 209836 w 1489995"/>
                <a:gd name="connsiteY136" fmla="*/ 1082516 h 1273968"/>
                <a:gd name="connsiteX137" fmla="*/ 200120 w 1489995"/>
                <a:gd name="connsiteY137" fmla="*/ 1082135 h 1273968"/>
                <a:gd name="connsiteX138" fmla="*/ 196405 w 1489995"/>
                <a:gd name="connsiteY138" fmla="*/ 1077849 h 1273968"/>
                <a:gd name="connsiteX139" fmla="*/ 198977 w 1489995"/>
                <a:gd name="connsiteY139" fmla="*/ 1072706 h 1273968"/>
                <a:gd name="connsiteX140" fmla="*/ 196977 w 1489995"/>
                <a:gd name="connsiteY140" fmla="*/ 1069753 h 1273968"/>
                <a:gd name="connsiteX141" fmla="*/ 198120 w 1489995"/>
                <a:gd name="connsiteY141" fmla="*/ 1066419 h 1273968"/>
                <a:gd name="connsiteX142" fmla="*/ 200120 w 1489995"/>
                <a:gd name="connsiteY142" fmla="*/ 1069372 h 1273968"/>
                <a:gd name="connsiteX143" fmla="*/ 200311 w 1489995"/>
                <a:gd name="connsiteY143" fmla="*/ 1070896 h 1273968"/>
                <a:gd name="connsiteX144" fmla="*/ 202120 w 1489995"/>
                <a:gd name="connsiteY144" fmla="*/ 1072325 h 1273968"/>
                <a:gd name="connsiteX145" fmla="*/ 204883 w 1489995"/>
                <a:gd name="connsiteY145" fmla="*/ 1068705 h 1273968"/>
                <a:gd name="connsiteX146" fmla="*/ 205073 w 1489995"/>
                <a:gd name="connsiteY146" fmla="*/ 1070324 h 1273968"/>
                <a:gd name="connsiteX147" fmla="*/ 206692 w 1489995"/>
                <a:gd name="connsiteY147" fmla="*/ 1070134 h 1273968"/>
                <a:gd name="connsiteX148" fmla="*/ 206692 w 1489995"/>
                <a:gd name="connsiteY148" fmla="*/ 1070134 h 1273968"/>
                <a:gd name="connsiteX149" fmla="*/ 208026 w 1489995"/>
                <a:gd name="connsiteY149" fmla="*/ 1068324 h 1273968"/>
                <a:gd name="connsiteX150" fmla="*/ 215741 w 1489995"/>
                <a:gd name="connsiteY150" fmla="*/ 1065752 h 1273968"/>
                <a:gd name="connsiteX151" fmla="*/ 219075 w 1489995"/>
                <a:gd name="connsiteY151" fmla="*/ 1066895 h 1273968"/>
                <a:gd name="connsiteX152" fmla="*/ 226123 w 1489995"/>
                <a:gd name="connsiteY152" fmla="*/ 1059656 h 1273968"/>
                <a:gd name="connsiteX153" fmla="*/ 221456 w 1489995"/>
                <a:gd name="connsiteY153" fmla="*/ 1060228 h 1273968"/>
                <a:gd name="connsiteX154" fmla="*/ 220789 w 1489995"/>
                <a:gd name="connsiteY154" fmla="*/ 1055465 h 1273968"/>
                <a:gd name="connsiteX155" fmla="*/ 216122 w 1489995"/>
                <a:gd name="connsiteY155" fmla="*/ 1056132 h 1273968"/>
                <a:gd name="connsiteX156" fmla="*/ 215932 w 1489995"/>
                <a:gd name="connsiteY156" fmla="*/ 1054513 h 1273968"/>
                <a:gd name="connsiteX157" fmla="*/ 212503 w 1489995"/>
                <a:gd name="connsiteY157" fmla="*/ 1053370 h 1273968"/>
                <a:gd name="connsiteX158" fmla="*/ 208026 w 1489995"/>
                <a:gd name="connsiteY158" fmla="*/ 1055561 h 1273968"/>
                <a:gd name="connsiteX159" fmla="*/ 210788 w 1489995"/>
                <a:gd name="connsiteY159" fmla="*/ 1051941 h 1273968"/>
                <a:gd name="connsiteX160" fmla="*/ 207359 w 1489995"/>
                <a:gd name="connsiteY160" fmla="*/ 1050798 h 1273968"/>
                <a:gd name="connsiteX161" fmla="*/ 203073 w 1489995"/>
                <a:gd name="connsiteY161" fmla="*/ 1054513 h 1273968"/>
                <a:gd name="connsiteX162" fmla="*/ 201073 w 1489995"/>
                <a:gd name="connsiteY162" fmla="*/ 1051560 h 1273968"/>
                <a:gd name="connsiteX163" fmla="*/ 198120 w 1489995"/>
                <a:gd name="connsiteY163" fmla="*/ 1053560 h 1273968"/>
                <a:gd name="connsiteX164" fmla="*/ 196977 w 1489995"/>
                <a:gd name="connsiteY164" fmla="*/ 1056894 h 1273968"/>
                <a:gd name="connsiteX165" fmla="*/ 194024 w 1489995"/>
                <a:gd name="connsiteY165" fmla="*/ 1058894 h 1273968"/>
                <a:gd name="connsiteX166" fmla="*/ 194405 w 1489995"/>
                <a:gd name="connsiteY166" fmla="*/ 1062037 h 1273968"/>
                <a:gd name="connsiteX167" fmla="*/ 189452 w 1489995"/>
                <a:gd name="connsiteY167" fmla="*/ 1061085 h 1273968"/>
                <a:gd name="connsiteX168" fmla="*/ 186690 w 1489995"/>
                <a:gd name="connsiteY168" fmla="*/ 1051846 h 1273968"/>
                <a:gd name="connsiteX169" fmla="*/ 190024 w 1489995"/>
                <a:gd name="connsiteY169" fmla="*/ 1052989 h 1273968"/>
                <a:gd name="connsiteX170" fmla="*/ 189833 w 1489995"/>
                <a:gd name="connsiteY170" fmla="*/ 1051465 h 1273968"/>
                <a:gd name="connsiteX171" fmla="*/ 186499 w 1489995"/>
                <a:gd name="connsiteY171" fmla="*/ 1050227 h 1273968"/>
                <a:gd name="connsiteX172" fmla="*/ 190595 w 1489995"/>
                <a:gd name="connsiteY172" fmla="*/ 1044893 h 1273968"/>
                <a:gd name="connsiteX173" fmla="*/ 186690 w 1489995"/>
                <a:gd name="connsiteY173" fmla="*/ 1038987 h 1273968"/>
                <a:gd name="connsiteX174" fmla="*/ 189166 w 1489995"/>
                <a:gd name="connsiteY174" fmla="*/ 1033844 h 1273968"/>
                <a:gd name="connsiteX175" fmla="*/ 198311 w 1489995"/>
                <a:gd name="connsiteY175" fmla="*/ 1029462 h 1273968"/>
                <a:gd name="connsiteX176" fmla="*/ 205740 w 1489995"/>
                <a:gd name="connsiteY176" fmla="*/ 1012507 h 1273968"/>
                <a:gd name="connsiteX177" fmla="*/ 228409 w 1489995"/>
                <a:gd name="connsiteY177" fmla="*/ 1001649 h 1273968"/>
                <a:gd name="connsiteX178" fmla="*/ 232886 w 1489995"/>
                <a:gd name="connsiteY178" fmla="*/ 999458 h 1273968"/>
                <a:gd name="connsiteX179" fmla="*/ 239268 w 1489995"/>
                <a:gd name="connsiteY179" fmla="*/ 998601 h 1273968"/>
                <a:gd name="connsiteX180" fmla="*/ 236125 w 1489995"/>
                <a:gd name="connsiteY180" fmla="*/ 998982 h 1273968"/>
                <a:gd name="connsiteX181" fmla="*/ 236887 w 1489995"/>
                <a:gd name="connsiteY181" fmla="*/ 1005364 h 1273968"/>
                <a:gd name="connsiteX182" fmla="*/ 238696 w 1489995"/>
                <a:gd name="connsiteY182" fmla="*/ 1006697 h 1273968"/>
                <a:gd name="connsiteX183" fmla="*/ 243554 w 1489995"/>
                <a:gd name="connsiteY183" fmla="*/ 1007650 h 1273968"/>
                <a:gd name="connsiteX184" fmla="*/ 245745 w 1489995"/>
                <a:gd name="connsiteY184" fmla="*/ 1012222 h 1273968"/>
                <a:gd name="connsiteX185" fmla="*/ 247364 w 1489995"/>
                <a:gd name="connsiteY185" fmla="*/ 1012031 h 1273968"/>
                <a:gd name="connsiteX186" fmla="*/ 247555 w 1489995"/>
                <a:gd name="connsiteY186" fmla="*/ 1013555 h 1273968"/>
                <a:gd name="connsiteX187" fmla="*/ 252317 w 1489995"/>
                <a:gd name="connsiteY187" fmla="*/ 1012984 h 1273968"/>
                <a:gd name="connsiteX188" fmla="*/ 254032 w 1489995"/>
                <a:gd name="connsiteY188" fmla="*/ 1014317 h 1273968"/>
                <a:gd name="connsiteX189" fmla="*/ 255079 w 1489995"/>
                <a:gd name="connsiteY189" fmla="*/ 1009460 h 1273968"/>
                <a:gd name="connsiteX190" fmla="*/ 256603 w 1489995"/>
                <a:gd name="connsiteY190" fmla="*/ 1009269 h 1273968"/>
                <a:gd name="connsiteX191" fmla="*/ 256222 w 1489995"/>
                <a:gd name="connsiteY191" fmla="*/ 1006031 h 1273968"/>
                <a:gd name="connsiteX192" fmla="*/ 257556 w 1489995"/>
                <a:gd name="connsiteY192" fmla="*/ 1004316 h 1273968"/>
                <a:gd name="connsiteX193" fmla="*/ 258413 w 1489995"/>
                <a:gd name="connsiteY193" fmla="*/ 997744 h 1273968"/>
                <a:gd name="connsiteX194" fmla="*/ 261366 w 1489995"/>
                <a:gd name="connsiteY194" fmla="*/ 995839 h 1273968"/>
                <a:gd name="connsiteX195" fmla="*/ 263652 w 1489995"/>
                <a:gd name="connsiteY195" fmla="*/ 989076 h 1273968"/>
                <a:gd name="connsiteX196" fmla="*/ 266795 w 1489995"/>
                <a:gd name="connsiteY196" fmla="*/ 988695 h 1273968"/>
                <a:gd name="connsiteX197" fmla="*/ 272986 w 1489995"/>
                <a:gd name="connsiteY197" fmla="*/ 986314 h 1273968"/>
                <a:gd name="connsiteX198" fmla="*/ 272510 w 1489995"/>
                <a:gd name="connsiteY198" fmla="*/ 983170 h 1273968"/>
                <a:gd name="connsiteX199" fmla="*/ 274320 w 1489995"/>
                <a:gd name="connsiteY199" fmla="*/ 984504 h 1273968"/>
                <a:gd name="connsiteX200" fmla="*/ 275749 w 1489995"/>
                <a:gd name="connsiteY200" fmla="*/ 982790 h 1273968"/>
                <a:gd name="connsiteX201" fmla="*/ 278892 w 1489995"/>
                <a:gd name="connsiteY201" fmla="*/ 982313 h 1273968"/>
                <a:gd name="connsiteX202" fmla="*/ 283178 w 1489995"/>
                <a:gd name="connsiteY202" fmla="*/ 978599 h 1273968"/>
                <a:gd name="connsiteX203" fmla="*/ 284988 w 1489995"/>
                <a:gd name="connsiteY203" fmla="*/ 979932 h 1273968"/>
                <a:gd name="connsiteX204" fmla="*/ 288893 w 1489995"/>
                <a:gd name="connsiteY204" fmla="*/ 973074 h 1273968"/>
                <a:gd name="connsiteX205" fmla="*/ 286703 w 1489995"/>
                <a:gd name="connsiteY205" fmla="*/ 968502 h 1273968"/>
                <a:gd name="connsiteX206" fmla="*/ 281559 w 1489995"/>
                <a:gd name="connsiteY206" fmla="*/ 965930 h 1273968"/>
                <a:gd name="connsiteX207" fmla="*/ 279559 w 1489995"/>
                <a:gd name="connsiteY207" fmla="*/ 962978 h 1273968"/>
                <a:gd name="connsiteX208" fmla="*/ 276225 w 1489995"/>
                <a:gd name="connsiteY208" fmla="*/ 961835 h 1273968"/>
                <a:gd name="connsiteX209" fmla="*/ 273272 w 1489995"/>
                <a:gd name="connsiteY209" fmla="*/ 963835 h 1273968"/>
                <a:gd name="connsiteX210" fmla="*/ 271939 w 1489995"/>
                <a:gd name="connsiteY210" fmla="*/ 965549 h 1273968"/>
                <a:gd name="connsiteX211" fmla="*/ 266033 w 1489995"/>
                <a:gd name="connsiteY211" fmla="*/ 969550 h 1273968"/>
                <a:gd name="connsiteX212" fmla="*/ 264223 w 1489995"/>
                <a:gd name="connsiteY212" fmla="*/ 968121 h 1273968"/>
                <a:gd name="connsiteX213" fmla="*/ 264795 w 1489995"/>
                <a:gd name="connsiteY213" fmla="*/ 960120 h 1273968"/>
                <a:gd name="connsiteX214" fmla="*/ 274034 w 1489995"/>
                <a:gd name="connsiteY214" fmla="*/ 957262 h 1273968"/>
                <a:gd name="connsiteX215" fmla="*/ 277178 w 1489995"/>
                <a:gd name="connsiteY215" fmla="*/ 944023 h 1273968"/>
                <a:gd name="connsiteX216" fmla="*/ 276415 w 1489995"/>
                <a:gd name="connsiteY216" fmla="*/ 937736 h 1273968"/>
                <a:gd name="connsiteX217" fmla="*/ 272605 w 1489995"/>
                <a:gd name="connsiteY217" fmla="*/ 933450 h 1273968"/>
                <a:gd name="connsiteX218" fmla="*/ 272224 w 1489995"/>
                <a:gd name="connsiteY218" fmla="*/ 930307 h 1273968"/>
                <a:gd name="connsiteX219" fmla="*/ 269843 w 1489995"/>
                <a:gd name="connsiteY219" fmla="*/ 924115 h 1273968"/>
                <a:gd name="connsiteX220" fmla="*/ 270796 w 1489995"/>
                <a:gd name="connsiteY220" fmla="*/ 919258 h 1273968"/>
                <a:gd name="connsiteX221" fmla="*/ 280321 w 1489995"/>
                <a:gd name="connsiteY221" fmla="*/ 918020 h 1273968"/>
                <a:gd name="connsiteX222" fmla="*/ 279463 w 1489995"/>
                <a:gd name="connsiteY222" fmla="*/ 911733 h 1273968"/>
                <a:gd name="connsiteX223" fmla="*/ 285369 w 1489995"/>
                <a:gd name="connsiteY223" fmla="*/ 907732 h 1273968"/>
                <a:gd name="connsiteX224" fmla="*/ 282226 w 1489995"/>
                <a:gd name="connsiteY224" fmla="*/ 908114 h 1273968"/>
                <a:gd name="connsiteX225" fmla="*/ 284416 w 1489995"/>
                <a:gd name="connsiteY225" fmla="*/ 899827 h 1273968"/>
                <a:gd name="connsiteX226" fmla="*/ 277463 w 1489995"/>
                <a:gd name="connsiteY226" fmla="*/ 895922 h 1273968"/>
                <a:gd name="connsiteX227" fmla="*/ 276415 w 1489995"/>
                <a:gd name="connsiteY227" fmla="*/ 888016 h 1273968"/>
                <a:gd name="connsiteX228" fmla="*/ 283369 w 1489995"/>
                <a:gd name="connsiteY228" fmla="*/ 879157 h 1273968"/>
                <a:gd name="connsiteX229" fmla="*/ 281368 w 1489995"/>
                <a:gd name="connsiteY229" fmla="*/ 876205 h 1273968"/>
                <a:gd name="connsiteX230" fmla="*/ 277654 w 1489995"/>
                <a:gd name="connsiteY230" fmla="*/ 871823 h 1273968"/>
                <a:gd name="connsiteX231" fmla="*/ 280321 w 1489995"/>
                <a:gd name="connsiteY231" fmla="*/ 868299 h 1273968"/>
                <a:gd name="connsiteX232" fmla="*/ 283750 w 1489995"/>
                <a:gd name="connsiteY232" fmla="*/ 869442 h 1273968"/>
                <a:gd name="connsiteX233" fmla="*/ 287464 w 1489995"/>
                <a:gd name="connsiteY233" fmla="*/ 860965 h 1273968"/>
                <a:gd name="connsiteX234" fmla="*/ 283464 w 1489995"/>
                <a:gd name="connsiteY234" fmla="*/ 855059 h 1273968"/>
                <a:gd name="connsiteX235" fmla="*/ 286607 w 1489995"/>
                <a:gd name="connsiteY235" fmla="*/ 854678 h 1273968"/>
                <a:gd name="connsiteX236" fmla="*/ 285464 w 1489995"/>
                <a:gd name="connsiteY236" fmla="*/ 845153 h 1273968"/>
                <a:gd name="connsiteX237" fmla="*/ 287179 w 1489995"/>
                <a:gd name="connsiteY237" fmla="*/ 846582 h 1273968"/>
                <a:gd name="connsiteX238" fmla="*/ 290417 w 1489995"/>
                <a:gd name="connsiteY238" fmla="*/ 846201 h 1273968"/>
                <a:gd name="connsiteX239" fmla="*/ 290132 w 1489995"/>
                <a:gd name="connsiteY239" fmla="*/ 844582 h 1273968"/>
                <a:gd name="connsiteX240" fmla="*/ 290417 w 1489995"/>
                <a:gd name="connsiteY240" fmla="*/ 846201 h 1273968"/>
                <a:gd name="connsiteX241" fmla="*/ 291941 w 1489995"/>
                <a:gd name="connsiteY241" fmla="*/ 845915 h 1273968"/>
                <a:gd name="connsiteX242" fmla="*/ 293370 w 1489995"/>
                <a:gd name="connsiteY242" fmla="*/ 844201 h 1273968"/>
                <a:gd name="connsiteX243" fmla="*/ 296704 w 1489995"/>
                <a:gd name="connsiteY243" fmla="*/ 845344 h 1273968"/>
                <a:gd name="connsiteX244" fmla="*/ 299657 w 1489995"/>
                <a:gd name="connsiteY244" fmla="*/ 843344 h 1273968"/>
                <a:gd name="connsiteX245" fmla="*/ 300228 w 1489995"/>
                <a:gd name="connsiteY245" fmla="*/ 848106 h 1273968"/>
                <a:gd name="connsiteX246" fmla="*/ 303181 w 1489995"/>
                <a:gd name="connsiteY246" fmla="*/ 846106 h 1273968"/>
                <a:gd name="connsiteX247" fmla="*/ 299657 w 1489995"/>
                <a:gd name="connsiteY247" fmla="*/ 830580 h 1273968"/>
                <a:gd name="connsiteX248" fmla="*/ 298037 w 1489995"/>
                <a:gd name="connsiteY248" fmla="*/ 817912 h 1273968"/>
                <a:gd name="connsiteX249" fmla="*/ 295656 w 1489995"/>
                <a:gd name="connsiteY249" fmla="*/ 811816 h 1273968"/>
                <a:gd name="connsiteX250" fmla="*/ 296609 w 1489995"/>
                <a:gd name="connsiteY250" fmla="*/ 806863 h 1273968"/>
                <a:gd name="connsiteX251" fmla="*/ 296228 w 1489995"/>
                <a:gd name="connsiteY251" fmla="*/ 803720 h 1273968"/>
                <a:gd name="connsiteX252" fmla="*/ 294418 w 1489995"/>
                <a:gd name="connsiteY252" fmla="*/ 802386 h 1273968"/>
                <a:gd name="connsiteX253" fmla="*/ 292417 w 1489995"/>
                <a:gd name="connsiteY253" fmla="*/ 799433 h 1273968"/>
                <a:gd name="connsiteX254" fmla="*/ 293656 w 1489995"/>
                <a:gd name="connsiteY254" fmla="*/ 796004 h 1273968"/>
                <a:gd name="connsiteX255" fmla="*/ 294799 w 1489995"/>
                <a:gd name="connsiteY255" fmla="*/ 792670 h 1273968"/>
                <a:gd name="connsiteX256" fmla="*/ 293941 w 1489995"/>
                <a:gd name="connsiteY256" fmla="*/ 786384 h 1273968"/>
                <a:gd name="connsiteX257" fmla="*/ 292227 w 1489995"/>
                <a:gd name="connsiteY257" fmla="*/ 784955 h 1273968"/>
                <a:gd name="connsiteX258" fmla="*/ 294799 w 1489995"/>
                <a:gd name="connsiteY258" fmla="*/ 779812 h 1273968"/>
                <a:gd name="connsiteX259" fmla="*/ 302419 w 1489995"/>
                <a:gd name="connsiteY259" fmla="*/ 777240 h 1273968"/>
                <a:gd name="connsiteX260" fmla="*/ 291370 w 1489995"/>
                <a:gd name="connsiteY260" fmla="*/ 778669 h 1273968"/>
                <a:gd name="connsiteX261" fmla="*/ 286226 w 1489995"/>
                <a:gd name="connsiteY261" fmla="*/ 776097 h 1273968"/>
                <a:gd name="connsiteX262" fmla="*/ 274034 w 1489995"/>
                <a:gd name="connsiteY262" fmla="*/ 768096 h 1273968"/>
                <a:gd name="connsiteX263" fmla="*/ 270034 w 1489995"/>
                <a:gd name="connsiteY263" fmla="*/ 762190 h 1273968"/>
                <a:gd name="connsiteX264" fmla="*/ 256984 w 1489995"/>
                <a:gd name="connsiteY264" fmla="*/ 760571 h 1273968"/>
                <a:gd name="connsiteX265" fmla="*/ 251841 w 1489995"/>
                <a:gd name="connsiteY265" fmla="*/ 758095 h 1273968"/>
                <a:gd name="connsiteX266" fmla="*/ 245936 w 1489995"/>
                <a:gd name="connsiteY266" fmla="*/ 762000 h 1273968"/>
                <a:gd name="connsiteX267" fmla="*/ 239459 w 1489995"/>
                <a:gd name="connsiteY267" fmla="*/ 761238 h 1273968"/>
                <a:gd name="connsiteX268" fmla="*/ 240792 w 1489995"/>
                <a:gd name="connsiteY268" fmla="*/ 759428 h 1273968"/>
                <a:gd name="connsiteX269" fmla="*/ 239077 w 1489995"/>
                <a:gd name="connsiteY269" fmla="*/ 758095 h 1273968"/>
                <a:gd name="connsiteX270" fmla="*/ 240411 w 1489995"/>
                <a:gd name="connsiteY270" fmla="*/ 756285 h 1273968"/>
                <a:gd name="connsiteX271" fmla="*/ 244030 w 1489995"/>
                <a:gd name="connsiteY271" fmla="*/ 759047 h 1273968"/>
                <a:gd name="connsiteX272" fmla="*/ 245554 w 1489995"/>
                <a:gd name="connsiteY272" fmla="*/ 758857 h 1273968"/>
                <a:gd name="connsiteX273" fmla="*/ 245745 w 1489995"/>
                <a:gd name="connsiteY273" fmla="*/ 747617 h 1273968"/>
                <a:gd name="connsiteX274" fmla="*/ 246507 w 1489995"/>
                <a:gd name="connsiteY274" fmla="*/ 741140 h 1273968"/>
                <a:gd name="connsiteX275" fmla="*/ 244697 w 1489995"/>
                <a:gd name="connsiteY275" fmla="*/ 739711 h 1273968"/>
                <a:gd name="connsiteX276" fmla="*/ 243745 w 1489995"/>
                <a:gd name="connsiteY276" fmla="*/ 731806 h 1273968"/>
                <a:gd name="connsiteX277" fmla="*/ 237649 w 1489995"/>
                <a:gd name="connsiteY277" fmla="*/ 734187 h 1273968"/>
                <a:gd name="connsiteX278" fmla="*/ 232505 w 1489995"/>
                <a:gd name="connsiteY278" fmla="*/ 731615 h 1273968"/>
                <a:gd name="connsiteX279" fmla="*/ 225742 w 1489995"/>
                <a:gd name="connsiteY279" fmla="*/ 729329 h 1273968"/>
                <a:gd name="connsiteX280" fmla="*/ 216503 w 1489995"/>
                <a:gd name="connsiteY280" fmla="*/ 732091 h 1273968"/>
                <a:gd name="connsiteX281" fmla="*/ 211931 w 1489995"/>
                <a:gd name="connsiteY281" fmla="*/ 734282 h 1273968"/>
                <a:gd name="connsiteX282" fmla="*/ 211931 w 1489995"/>
                <a:gd name="connsiteY282" fmla="*/ 734282 h 1273968"/>
                <a:gd name="connsiteX283" fmla="*/ 210407 w 1489995"/>
                <a:gd name="connsiteY283" fmla="*/ 734473 h 1273968"/>
                <a:gd name="connsiteX284" fmla="*/ 209359 w 1489995"/>
                <a:gd name="connsiteY284" fmla="*/ 726567 h 1273968"/>
                <a:gd name="connsiteX285" fmla="*/ 204978 w 1489995"/>
                <a:gd name="connsiteY285" fmla="*/ 717518 h 1273968"/>
                <a:gd name="connsiteX286" fmla="*/ 201644 w 1489995"/>
                <a:gd name="connsiteY286" fmla="*/ 716375 h 1273968"/>
                <a:gd name="connsiteX287" fmla="*/ 198691 w 1489995"/>
                <a:gd name="connsiteY287" fmla="*/ 718280 h 1273968"/>
                <a:gd name="connsiteX288" fmla="*/ 196977 w 1489995"/>
                <a:gd name="connsiteY288" fmla="*/ 716947 h 1273968"/>
                <a:gd name="connsiteX289" fmla="*/ 192976 w 1489995"/>
                <a:gd name="connsiteY289" fmla="*/ 711041 h 1273968"/>
                <a:gd name="connsiteX290" fmla="*/ 189833 w 1489995"/>
                <a:gd name="connsiteY290" fmla="*/ 711422 h 1273968"/>
                <a:gd name="connsiteX291" fmla="*/ 187833 w 1489995"/>
                <a:gd name="connsiteY291" fmla="*/ 695611 h 1273968"/>
                <a:gd name="connsiteX292" fmla="*/ 182880 w 1489995"/>
                <a:gd name="connsiteY292" fmla="*/ 694658 h 1273968"/>
                <a:gd name="connsiteX293" fmla="*/ 178879 w 1489995"/>
                <a:gd name="connsiteY293" fmla="*/ 688753 h 1273968"/>
                <a:gd name="connsiteX294" fmla="*/ 175736 w 1489995"/>
                <a:gd name="connsiteY294" fmla="*/ 689134 h 1273968"/>
                <a:gd name="connsiteX295" fmla="*/ 172402 w 1489995"/>
                <a:gd name="connsiteY295" fmla="*/ 687991 h 1273968"/>
                <a:gd name="connsiteX296" fmla="*/ 169640 w 1489995"/>
                <a:gd name="connsiteY296" fmla="*/ 691515 h 1273968"/>
                <a:gd name="connsiteX297" fmla="*/ 168021 w 1489995"/>
                <a:gd name="connsiteY297" fmla="*/ 691801 h 1273968"/>
                <a:gd name="connsiteX298" fmla="*/ 166497 w 1489995"/>
                <a:gd name="connsiteY298" fmla="*/ 691991 h 1273968"/>
                <a:gd name="connsiteX299" fmla="*/ 163163 w 1489995"/>
                <a:gd name="connsiteY299" fmla="*/ 690753 h 1273968"/>
                <a:gd name="connsiteX300" fmla="*/ 161734 w 1489995"/>
                <a:gd name="connsiteY300" fmla="*/ 692563 h 1273968"/>
                <a:gd name="connsiteX301" fmla="*/ 163925 w 1489995"/>
                <a:gd name="connsiteY301" fmla="*/ 697135 h 1273968"/>
                <a:gd name="connsiteX302" fmla="*/ 144970 w 1489995"/>
                <a:gd name="connsiteY302" fmla="*/ 699516 h 1273968"/>
                <a:gd name="connsiteX303" fmla="*/ 139827 w 1489995"/>
                <a:gd name="connsiteY303" fmla="*/ 696944 h 1273968"/>
                <a:gd name="connsiteX304" fmla="*/ 118777 w 1489995"/>
                <a:gd name="connsiteY304" fmla="*/ 694849 h 1273968"/>
                <a:gd name="connsiteX305" fmla="*/ 118300 w 1489995"/>
                <a:gd name="connsiteY305" fmla="*/ 691706 h 1273968"/>
                <a:gd name="connsiteX306" fmla="*/ 114967 w 1489995"/>
                <a:gd name="connsiteY306" fmla="*/ 690467 h 1273968"/>
                <a:gd name="connsiteX307" fmla="*/ 114586 w 1489995"/>
                <a:gd name="connsiteY307" fmla="*/ 687324 h 1273968"/>
                <a:gd name="connsiteX308" fmla="*/ 109252 w 1489995"/>
                <a:gd name="connsiteY308" fmla="*/ 683228 h 1273968"/>
                <a:gd name="connsiteX309" fmla="*/ 110585 w 1489995"/>
                <a:gd name="connsiteY309" fmla="*/ 681419 h 1273968"/>
                <a:gd name="connsiteX310" fmla="*/ 108680 w 1489995"/>
                <a:gd name="connsiteY310" fmla="*/ 678466 h 1273968"/>
                <a:gd name="connsiteX311" fmla="*/ 103537 w 1489995"/>
                <a:gd name="connsiteY311" fmla="*/ 675894 h 1273968"/>
                <a:gd name="connsiteX312" fmla="*/ 99917 w 1489995"/>
                <a:gd name="connsiteY312" fmla="*/ 673132 h 1273968"/>
                <a:gd name="connsiteX313" fmla="*/ 98393 w 1489995"/>
                <a:gd name="connsiteY313" fmla="*/ 673322 h 1273968"/>
                <a:gd name="connsiteX314" fmla="*/ 94774 w 1489995"/>
                <a:gd name="connsiteY314" fmla="*/ 670655 h 1273968"/>
                <a:gd name="connsiteX315" fmla="*/ 85534 w 1489995"/>
                <a:gd name="connsiteY315" fmla="*/ 673418 h 1273968"/>
                <a:gd name="connsiteX316" fmla="*/ 82772 w 1489995"/>
                <a:gd name="connsiteY316" fmla="*/ 664178 h 1273968"/>
                <a:gd name="connsiteX317" fmla="*/ 78010 w 1489995"/>
                <a:gd name="connsiteY317" fmla="*/ 664750 h 1273968"/>
                <a:gd name="connsiteX318" fmla="*/ 72866 w 1489995"/>
                <a:gd name="connsiteY318" fmla="*/ 662178 h 1273968"/>
                <a:gd name="connsiteX319" fmla="*/ 73438 w 1489995"/>
                <a:gd name="connsiteY319" fmla="*/ 654082 h 1273968"/>
                <a:gd name="connsiteX320" fmla="*/ 76771 w 1489995"/>
                <a:gd name="connsiteY320" fmla="*/ 655225 h 1273968"/>
                <a:gd name="connsiteX321" fmla="*/ 78010 w 1489995"/>
                <a:gd name="connsiteY321" fmla="*/ 651891 h 1273968"/>
                <a:gd name="connsiteX322" fmla="*/ 89249 w 1489995"/>
                <a:gd name="connsiteY322" fmla="*/ 652082 h 1273968"/>
                <a:gd name="connsiteX323" fmla="*/ 97726 w 1489995"/>
                <a:gd name="connsiteY323" fmla="*/ 655796 h 1273968"/>
                <a:gd name="connsiteX324" fmla="*/ 97345 w 1489995"/>
                <a:gd name="connsiteY324" fmla="*/ 652653 h 1273968"/>
                <a:gd name="connsiteX325" fmla="*/ 90583 w 1489995"/>
                <a:gd name="connsiteY325" fmla="*/ 650272 h 1273968"/>
                <a:gd name="connsiteX326" fmla="*/ 89059 w 1489995"/>
                <a:gd name="connsiteY326" fmla="*/ 650462 h 1273968"/>
                <a:gd name="connsiteX327" fmla="*/ 86296 w 1489995"/>
                <a:gd name="connsiteY327" fmla="*/ 641223 h 1273968"/>
                <a:gd name="connsiteX328" fmla="*/ 82867 w 1489995"/>
                <a:gd name="connsiteY328" fmla="*/ 640080 h 1273968"/>
                <a:gd name="connsiteX329" fmla="*/ 70294 w 1489995"/>
                <a:gd name="connsiteY329" fmla="*/ 641699 h 1273968"/>
                <a:gd name="connsiteX330" fmla="*/ 66294 w 1489995"/>
                <a:gd name="connsiteY330" fmla="*/ 648557 h 1273968"/>
                <a:gd name="connsiteX331" fmla="*/ 60007 w 1489995"/>
                <a:gd name="connsiteY331" fmla="*/ 649415 h 1273968"/>
                <a:gd name="connsiteX332" fmla="*/ 56483 w 1489995"/>
                <a:gd name="connsiteY332" fmla="*/ 646652 h 1273968"/>
                <a:gd name="connsiteX333" fmla="*/ 57626 w 1489995"/>
                <a:gd name="connsiteY333" fmla="*/ 643319 h 1273968"/>
                <a:gd name="connsiteX334" fmla="*/ 57245 w 1489995"/>
                <a:gd name="connsiteY334" fmla="*/ 640080 h 1273968"/>
                <a:gd name="connsiteX335" fmla="*/ 54292 w 1489995"/>
                <a:gd name="connsiteY335" fmla="*/ 642080 h 1273968"/>
                <a:gd name="connsiteX336" fmla="*/ 52102 w 1489995"/>
                <a:gd name="connsiteY336" fmla="*/ 637604 h 1273968"/>
                <a:gd name="connsiteX337" fmla="*/ 47815 w 1489995"/>
                <a:gd name="connsiteY337" fmla="*/ 641318 h 1273968"/>
                <a:gd name="connsiteX338" fmla="*/ 32956 w 1489995"/>
                <a:gd name="connsiteY338" fmla="*/ 638365 h 1273968"/>
                <a:gd name="connsiteX339" fmla="*/ 30861 w 1489995"/>
                <a:gd name="connsiteY339" fmla="*/ 646652 h 1273968"/>
                <a:gd name="connsiteX340" fmla="*/ 27622 w 1489995"/>
                <a:gd name="connsiteY340" fmla="*/ 647129 h 1273968"/>
                <a:gd name="connsiteX341" fmla="*/ 25336 w 1489995"/>
                <a:gd name="connsiteY341" fmla="*/ 653796 h 1273968"/>
                <a:gd name="connsiteX342" fmla="*/ 23717 w 1489995"/>
                <a:gd name="connsiteY342" fmla="*/ 653986 h 1273968"/>
                <a:gd name="connsiteX343" fmla="*/ 18764 w 1489995"/>
                <a:gd name="connsiteY343" fmla="*/ 653034 h 1273968"/>
                <a:gd name="connsiteX344" fmla="*/ 17812 w 1489995"/>
                <a:gd name="connsiteY344" fmla="*/ 645128 h 1273968"/>
                <a:gd name="connsiteX345" fmla="*/ 6763 w 1489995"/>
                <a:gd name="connsiteY345" fmla="*/ 646557 h 1273968"/>
                <a:gd name="connsiteX346" fmla="*/ 2191 w 1489995"/>
                <a:gd name="connsiteY346" fmla="*/ 648748 h 1273968"/>
                <a:gd name="connsiteX347" fmla="*/ 667 w 1489995"/>
                <a:gd name="connsiteY347" fmla="*/ 648938 h 1273968"/>
                <a:gd name="connsiteX348" fmla="*/ 0 w 1489995"/>
                <a:gd name="connsiteY348" fmla="*/ 644176 h 1273968"/>
                <a:gd name="connsiteX349" fmla="*/ 4191 w 1489995"/>
                <a:gd name="connsiteY349" fmla="*/ 638842 h 1273968"/>
                <a:gd name="connsiteX350" fmla="*/ 3524 w 1489995"/>
                <a:gd name="connsiteY350" fmla="*/ 634175 h 1273968"/>
                <a:gd name="connsiteX351" fmla="*/ 9430 w 1489995"/>
                <a:gd name="connsiteY351" fmla="*/ 630174 h 1273968"/>
                <a:gd name="connsiteX352" fmla="*/ 10858 w 1489995"/>
                <a:gd name="connsiteY352" fmla="*/ 628364 h 1273968"/>
                <a:gd name="connsiteX353" fmla="*/ 8858 w 1489995"/>
                <a:gd name="connsiteY353" fmla="*/ 625411 h 1273968"/>
                <a:gd name="connsiteX354" fmla="*/ 12954 w 1489995"/>
                <a:gd name="connsiteY354" fmla="*/ 620078 h 1273968"/>
                <a:gd name="connsiteX355" fmla="*/ 12382 w 1489995"/>
                <a:gd name="connsiteY355" fmla="*/ 615410 h 1273968"/>
                <a:gd name="connsiteX356" fmla="*/ 17335 w 1489995"/>
                <a:gd name="connsiteY356" fmla="*/ 616363 h 1273968"/>
                <a:gd name="connsiteX357" fmla="*/ 23622 w 1489995"/>
                <a:gd name="connsiteY357" fmla="*/ 615506 h 1273968"/>
                <a:gd name="connsiteX358" fmla="*/ 24003 w 1489995"/>
                <a:gd name="connsiteY358" fmla="*/ 605885 h 1273968"/>
                <a:gd name="connsiteX359" fmla="*/ 21622 w 1489995"/>
                <a:gd name="connsiteY359" fmla="*/ 599789 h 1273968"/>
                <a:gd name="connsiteX360" fmla="*/ 21431 w 1489995"/>
                <a:gd name="connsiteY360" fmla="*/ 598170 h 1273968"/>
                <a:gd name="connsiteX361" fmla="*/ 16478 w 1489995"/>
                <a:gd name="connsiteY361" fmla="*/ 597218 h 1273968"/>
                <a:gd name="connsiteX362" fmla="*/ 13906 w 1489995"/>
                <a:gd name="connsiteY362" fmla="*/ 589502 h 1273968"/>
                <a:gd name="connsiteX363" fmla="*/ 9811 w 1489995"/>
                <a:gd name="connsiteY363" fmla="*/ 594836 h 1273968"/>
                <a:gd name="connsiteX364" fmla="*/ 7810 w 1489995"/>
                <a:gd name="connsiteY364" fmla="*/ 591884 h 1273968"/>
                <a:gd name="connsiteX365" fmla="*/ 8382 w 1489995"/>
                <a:gd name="connsiteY365" fmla="*/ 583787 h 1273968"/>
                <a:gd name="connsiteX366" fmla="*/ 9144 w 1489995"/>
                <a:gd name="connsiteY366" fmla="*/ 577310 h 1273968"/>
                <a:gd name="connsiteX367" fmla="*/ 7144 w 1489995"/>
                <a:gd name="connsiteY367" fmla="*/ 574358 h 1273968"/>
                <a:gd name="connsiteX368" fmla="*/ 11525 w 1489995"/>
                <a:gd name="connsiteY368" fmla="*/ 570548 h 1273968"/>
                <a:gd name="connsiteX369" fmla="*/ 14859 w 1489995"/>
                <a:gd name="connsiteY369" fmla="*/ 571786 h 1273968"/>
                <a:gd name="connsiteX370" fmla="*/ 17621 w 1489995"/>
                <a:gd name="connsiteY370" fmla="*/ 568166 h 1273968"/>
                <a:gd name="connsiteX371" fmla="*/ 20764 w 1489995"/>
                <a:gd name="connsiteY371" fmla="*/ 567785 h 1273968"/>
                <a:gd name="connsiteX372" fmla="*/ 21526 w 1489995"/>
                <a:gd name="connsiteY372" fmla="*/ 561308 h 1273968"/>
                <a:gd name="connsiteX373" fmla="*/ 31242 w 1489995"/>
                <a:gd name="connsiteY373" fmla="*/ 561689 h 1273968"/>
                <a:gd name="connsiteX374" fmla="*/ 31242 w 1489995"/>
                <a:gd name="connsiteY374" fmla="*/ 561689 h 1273968"/>
                <a:gd name="connsiteX375" fmla="*/ 31432 w 1489995"/>
                <a:gd name="connsiteY375" fmla="*/ 563213 h 1273968"/>
                <a:gd name="connsiteX376" fmla="*/ 41434 w 1489995"/>
                <a:gd name="connsiteY376" fmla="*/ 566738 h 1273968"/>
                <a:gd name="connsiteX377" fmla="*/ 46196 w 1489995"/>
                <a:gd name="connsiteY377" fmla="*/ 566166 h 1273968"/>
                <a:gd name="connsiteX378" fmla="*/ 47149 w 1489995"/>
                <a:gd name="connsiteY378" fmla="*/ 561213 h 1273968"/>
                <a:gd name="connsiteX379" fmla="*/ 45434 w 1489995"/>
                <a:gd name="connsiteY379" fmla="*/ 559880 h 1273968"/>
                <a:gd name="connsiteX380" fmla="*/ 46577 w 1489995"/>
                <a:gd name="connsiteY380" fmla="*/ 556451 h 1273968"/>
                <a:gd name="connsiteX381" fmla="*/ 48387 w 1489995"/>
                <a:gd name="connsiteY381" fmla="*/ 557879 h 1273968"/>
                <a:gd name="connsiteX382" fmla="*/ 53054 w 1489995"/>
                <a:gd name="connsiteY382" fmla="*/ 557213 h 1273968"/>
                <a:gd name="connsiteX383" fmla="*/ 51911 w 1489995"/>
                <a:gd name="connsiteY383" fmla="*/ 547783 h 1273968"/>
                <a:gd name="connsiteX384" fmla="*/ 51721 w 1489995"/>
                <a:gd name="connsiteY384" fmla="*/ 546163 h 1273968"/>
                <a:gd name="connsiteX385" fmla="*/ 52102 w 1489995"/>
                <a:gd name="connsiteY385" fmla="*/ 536543 h 1273968"/>
                <a:gd name="connsiteX386" fmla="*/ 52483 w 1489995"/>
                <a:gd name="connsiteY386" fmla="*/ 539686 h 1273968"/>
                <a:gd name="connsiteX387" fmla="*/ 53816 w 1489995"/>
                <a:gd name="connsiteY387" fmla="*/ 537877 h 1273968"/>
                <a:gd name="connsiteX388" fmla="*/ 56007 w 1489995"/>
                <a:gd name="connsiteY388" fmla="*/ 542449 h 1273968"/>
                <a:gd name="connsiteX389" fmla="*/ 60960 w 1489995"/>
                <a:gd name="connsiteY389" fmla="*/ 543401 h 1273968"/>
                <a:gd name="connsiteX390" fmla="*/ 65913 w 1489995"/>
                <a:gd name="connsiteY390" fmla="*/ 544354 h 1273968"/>
                <a:gd name="connsiteX391" fmla="*/ 66865 w 1489995"/>
                <a:gd name="connsiteY391" fmla="*/ 539496 h 1273968"/>
                <a:gd name="connsiteX392" fmla="*/ 66103 w 1489995"/>
                <a:gd name="connsiteY392" fmla="*/ 533114 h 1273968"/>
                <a:gd name="connsiteX393" fmla="*/ 65246 w 1489995"/>
                <a:gd name="connsiteY393" fmla="*/ 526828 h 1273968"/>
                <a:gd name="connsiteX394" fmla="*/ 60103 w 1489995"/>
                <a:gd name="connsiteY394" fmla="*/ 524256 h 1273968"/>
                <a:gd name="connsiteX395" fmla="*/ 60103 w 1489995"/>
                <a:gd name="connsiteY395" fmla="*/ 524256 h 1273968"/>
                <a:gd name="connsiteX396" fmla="*/ 69628 w 1489995"/>
                <a:gd name="connsiteY396" fmla="*/ 523113 h 1273968"/>
                <a:gd name="connsiteX397" fmla="*/ 70580 w 1489995"/>
                <a:gd name="connsiteY397" fmla="*/ 518160 h 1273968"/>
                <a:gd name="connsiteX398" fmla="*/ 66008 w 1489995"/>
                <a:gd name="connsiteY398" fmla="*/ 507492 h 1273968"/>
                <a:gd name="connsiteX399" fmla="*/ 68770 w 1489995"/>
                <a:gd name="connsiteY399" fmla="*/ 503968 h 1273968"/>
                <a:gd name="connsiteX400" fmla="*/ 66199 w 1489995"/>
                <a:gd name="connsiteY400" fmla="*/ 496253 h 1273968"/>
                <a:gd name="connsiteX401" fmla="*/ 69913 w 1489995"/>
                <a:gd name="connsiteY401" fmla="*/ 500539 h 1273968"/>
                <a:gd name="connsiteX402" fmla="*/ 69723 w 1489995"/>
                <a:gd name="connsiteY402" fmla="*/ 499015 h 1273968"/>
                <a:gd name="connsiteX403" fmla="*/ 77629 w 1489995"/>
                <a:gd name="connsiteY403" fmla="*/ 497967 h 1273968"/>
                <a:gd name="connsiteX404" fmla="*/ 80581 w 1489995"/>
                <a:gd name="connsiteY404" fmla="*/ 496062 h 1273968"/>
                <a:gd name="connsiteX405" fmla="*/ 80391 w 1489995"/>
                <a:gd name="connsiteY405" fmla="*/ 494443 h 1273968"/>
                <a:gd name="connsiteX406" fmla="*/ 83534 w 1489995"/>
                <a:gd name="connsiteY406" fmla="*/ 494062 h 1273968"/>
                <a:gd name="connsiteX407" fmla="*/ 83534 w 1489995"/>
                <a:gd name="connsiteY407" fmla="*/ 494062 h 1273968"/>
                <a:gd name="connsiteX408" fmla="*/ 83153 w 1489995"/>
                <a:gd name="connsiteY408" fmla="*/ 490919 h 1273968"/>
                <a:gd name="connsiteX409" fmla="*/ 87820 w 1489995"/>
                <a:gd name="connsiteY409" fmla="*/ 490252 h 1273968"/>
                <a:gd name="connsiteX410" fmla="*/ 86106 w 1489995"/>
                <a:gd name="connsiteY410" fmla="*/ 488918 h 1273968"/>
                <a:gd name="connsiteX411" fmla="*/ 85249 w 1489995"/>
                <a:gd name="connsiteY411" fmla="*/ 482632 h 1273968"/>
                <a:gd name="connsiteX412" fmla="*/ 86868 w 1489995"/>
                <a:gd name="connsiteY412" fmla="*/ 482346 h 1273968"/>
                <a:gd name="connsiteX413" fmla="*/ 90202 w 1489995"/>
                <a:gd name="connsiteY413" fmla="*/ 483584 h 1273968"/>
                <a:gd name="connsiteX414" fmla="*/ 91345 w 1489995"/>
                <a:gd name="connsiteY414" fmla="*/ 480250 h 1273968"/>
                <a:gd name="connsiteX415" fmla="*/ 97726 w 1489995"/>
                <a:gd name="connsiteY415" fmla="*/ 479393 h 1273968"/>
                <a:gd name="connsiteX416" fmla="*/ 100013 w 1489995"/>
                <a:gd name="connsiteY416" fmla="*/ 472726 h 1273968"/>
                <a:gd name="connsiteX417" fmla="*/ 107728 w 1489995"/>
                <a:gd name="connsiteY417" fmla="*/ 470154 h 1273968"/>
                <a:gd name="connsiteX418" fmla="*/ 110871 w 1489995"/>
                <a:gd name="connsiteY418" fmla="*/ 469678 h 1273968"/>
                <a:gd name="connsiteX419" fmla="*/ 110680 w 1489995"/>
                <a:gd name="connsiteY419" fmla="*/ 468154 h 1273968"/>
                <a:gd name="connsiteX420" fmla="*/ 113633 w 1489995"/>
                <a:gd name="connsiteY420" fmla="*/ 466154 h 1273968"/>
                <a:gd name="connsiteX421" fmla="*/ 113633 w 1489995"/>
                <a:gd name="connsiteY421" fmla="*/ 466154 h 1273968"/>
                <a:gd name="connsiteX422" fmla="*/ 121348 w 1489995"/>
                <a:gd name="connsiteY422" fmla="*/ 476345 h 1273968"/>
                <a:gd name="connsiteX423" fmla="*/ 124777 w 1489995"/>
                <a:gd name="connsiteY423" fmla="*/ 477584 h 1273968"/>
                <a:gd name="connsiteX424" fmla="*/ 127730 w 1489995"/>
                <a:gd name="connsiteY424" fmla="*/ 475583 h 1273968"/>
                <a:gd name="connsiteX425" fmla="*/ 135541 w 1489995"/>
                <a:gd name="connsiteY425" fmla="*/ 474536 h 1273968"/>
                <a:gd name="connsiteX426" fmla="*/ 142684 w 1489995"/>
                <a:gd name="connsiteY426" fmla="*/ 467296 h 1273968"/>
                <a:gd name="connsiteX427" fmla="*/ 147828 w 1489995"/>
                <a:gd name="connsiteY427" fmla="*/ 469773 h 1273968"/>
                <a:gd name="connsiteX428" fmla="*/ 147352 w 1489995"/>
                <a:gd name="connsiteY428" fmla="*/ 466630 h 1273968"/>
                <a:gd name="connsiteX429" fmla="*/ 160782 w 1489995"/>
                <a:gd name="connsiteY429" fmla="*/ 458534 h 1273968"/>
                <a:gd name="connsiteX430" fmla="*/ 156591 w 1489995"/>
                <a:gd name="connsiteY430" fmla="*/ 451009 h 1273968"/>
                <a:gd name="connsiteX431" fmla="*/ 164973 w 1489995"/>
                <a:gd name="connsiteY431" fmla="*/ 453200 h 1273968"/>
                <a:gd name="connsiteX432" fmla="*/ 167926 w 1489995"/>
                <a:gd name="connsiteY432" fmla="*/ 451199 h 1273968"/>
                <a:gd name="connsiteX433" fmla="*/ 171640 w 1489995"/>
                <a:gd name="connsiteY433" fmla="*/ 442722 h 1273968"/>
                <a:gd name="connsiteX434" fmla="*/ 169831 w 1489995"/>
                <a:gd name="connsiteY434" fmla="*/ 441388 h 1273968"/>
                <a:gd name="connsiteX435" fmla="*/ 171164 w 1489995"/>
                <a:gd name="connsiteY435" fmla="*/ 439579 h 1273968"/>
                <a:gd name="connsiteX436" fmla="*/ 171450 w 1489995"/>
                <a:gd name="connsiteY436" fmla="*/ 441103 h 1273968"/>
                <a:gd name="connsiteX437" fmla="*/ 176117 w 1489995"/>
                <a:gd name="connsiteY437" fmla="*/ 440531 h 1273968"/>
                <a:gd name="connsiteX438" fmla="*/ 180308 w 1489995"/>
                <a:gd name="connsiteY438" fmla="*/ 435197 h 1273968"/>
                <a:gd name="connsiteX439" fmla="*/ 192691 w 1489995"/>
                <a:gd name="connsiteY439" fmla="*/ 419195 h 1273968"/>
                <a:gd name="connsiteX440" fmla="*/ 194691 w 1489995"/>
                <a:gd name="connsiteY440" fmla="*/ 422148 h 1273968"/>
                <a:gd name="connsiteX441" fmla="*/ 193262 w 1489995"/>
                <a:gd name="connsiteY441" fmla="*/ 423958 h 1273968"/>
                <a:gd name="connsiteX442" fmla="*/ 193262 w 1489995"/>
                <a:gd name="connsiteY442" fmla="*/ 436721 h 1273968"/>
                <a:gd name="connsiteX443" fmla="*/ 202597 w 1489995"/>
                <a:gd name="connsiteY443" fmla="*/ 433959 h 1273968"/>
                <a:gd name="connsiteX444" fmla="*/ 205930 w 1489995"/>
                <a:gd name="connsiteY444" fmla="*/ 435102 h 1273968"/>
                <a:gd name="connsiteX445" fmla="*/ 211264 w 1489995"/>
                <a:gd name="connsiteY445" fmla="*/ 439293 h 1273968"/>
                <a:gd name="connsiteX446" fmla="*/ 214408 w 1489995"/>
                <a:gd name="connsiteY446" fmla="*/ 438912 h 1273968"/>
                <a:gd name="connsiteX447" fmla="*/ 225076 w 1489995"/>
                <a:gd name="connsiteY447" fmla="*/ 434340 h 1273968"/>
                <a:gd name="connsiteX448" fmla="*/ 242792 w 1489995"/>
                <a:gd name="connsiteY448" fmla="*/ 435292 h 1273968"/>
                <a:gd name="connsiteX449" fmla="*/ 247936 w 1489995"/>
                <a:gd name="connsiteY449" fmla="*/ 437769 h 1273968"/>
                <a:gd name="connsiteX450" fmla="*/ 250317 w 1489995"/>
                <a:gd name="connsiteY450" fmla="*/ 431102 h 1273968"/>
                <a:gd name="connsiteX451" fmla="*/ 251079 w 1489995"/>
                <a:gd name="connsiteY451" fmla="*/ 424529 h 1273968"/>
                <a:gd name="connsiteX452" fmla="*/ 253079 w 1489995"/>
                <a:gd name="connsiteY452" fmla="*/ 427577 h 1273968"/>
                <a:gd name="connsiteX453" fmla="*/ 256794 w 1489995"/>
                <a:gd name="connsiteY453" fmla="*/ 419005 h 1273968"/>
                <a:gd name="connsiteX454" fmla="*/ 258794 w 1489995"/>
                <a:gd name="connsiteY454" fmla="*/ 421958 h 1273968"/>
                <a:gd name="connsiteX455" fmla="*/ 258032 w 1489995"/>
                <a:gd name="connsiteY455" fmla="*/ 428530 h 1273968"/>
                <a:gd name="connsiteX456" fmla="*/ 261175 w 1489995"/>
                <a:gd name="connsiteY456" fmla="*/ 428149 h 1273968"/>
                <a:gd name="connsiteX457" fmla="*/ 263747 w 1489995"/>
                <a:gd name="connsiteY457" fmla="*/ 423005 h 1273968"/>
                <a:gd name="connsiteX458" fmla="*/ 266890 w 1489995"/>
                <a:gd name="connsiteY458" fmla="*/ 422529 h 1273968"/>
                <a:gd name="connsiteX459" fmla="*/ 275177 w 1489995"/>
                <a:gd name="connsiteY459" fmla="*/ 411861 h 1273968"/>
                <a:gd name="connsiteX460" fmla="*/ 280607 w 1489995"/>
                <a:gd name="connsiteY460" fmla="*/ 404813 h 1273968"/>
                <a:gd name="connsiteX461" fmla="*/ 282988 w 1489995"/>
                <a:gd name="connsiteY461" fmla="*/ 398050 h 1273968"/>
                <a:gd name="connsiteX462" fmla="*/ 286131 w 1489995"/>
                <a:gd name="connsiteY462" fmla="*/ 397669 h 1273968"/>
                <a:gd name="connsiteX463" fmla="*/ 292036 w 1489995"/>
                <a:gd name="connsiteY463" fmla="*/ 393668 h 1273968"/>
                <a:gd name="connsiteX464" fmla="*/ 295180 w 1489995"/>
                <a:gd name="connsiteY464" fmla="*/ 393287 h 1273968"/>
                <a:gd name="connsiteX465" fmla="*/ 299180 w 1489995"/>
                <a:gd name="connsiteY465" fmla="*/ 399193 h 1273968"/>
                <a:gd name="connsiteX466" fmla="*/ 300323 w 1489995"/>
                <a:gd name="connsiteY466" fmla="*/ 395859 h 1273968"/>
                <a:gd name="connsiteX467" fmla="*/ 302133 w 1489995"/>
                <a:gd name="connsiteY467" fmla="*/ 397192 h 1273968"/>
                <a:gd name="connsiteX468" fmla="*/ 308705 w 1489995"/>
                <a:gd name="connsiteY468" fmla="*/ 410813 h 1273968"/>
                <a:gd name="connsiteX469" fmla="*/ 307943 w 1489995"/>
                <a:gd name="connsiteY469" fmla="*/ 417386 h 1273968"/>
                <a:gd name="connsiteX470" fmla="*/ 309848 w 1489995"/>
                <a:gd name="connsiteY470" fmla="*/ 420338 h 1273968"/>
                <a:gd name="connsiteX471" fmla="*/ 309848 w 1489995"/>
                <a:gd name="connsiteY471" fmla="*/ 420338 h 1273968"/>
                <a:gd name="connsiteX472" fmla="*/ 326993 w 1489995"/>
                <a:gd name="connsiteY472" fmla="*/ 416528 h 1273968"/>
                <a:gd name="connsiteX473" fmla="*/ 327374 w 1489995"/>
                <a:gd name="connsiteY473" fmla="*/ 406813 h 1273968"/>
                <a:gd name="connsiteX474" fmla="*/ 330327 w 1489995"/>
                <a:gd name="connsiteY474" fmla="*/ 404813 h 1273968"/>
                <a:gd name="connsiteX475" fmla="*/ 327946 w 1489995"/>
                <a:gd name="connsiteY475" fmla="*/ 398717 h 1273968"/>
                <a:gd name="connsiteX476" fmla="*/ 333661 w 1489995"/>
                <a:gd name="connsiteY476" fmla="*/ 393192 h 1273968"/>
                <a:gd name="connsiteX477" fmla="*/ 337661 w 1489995"/>
                <a:gd name="connsiteY477" fmla="*/ 386334 h 1273968"/>
                <a:gd name="connsiteX478" fmla="*/ 343948 w 1489995"/>
                <a:gd name="connsiteY478" fmla="*/ 385477 h 1273968"/>
                <a:gd name="connsiteX479" fmla="*/ 359473 w 1489995"/>
                <a:gd name="connsiteY479" fmla="*/ 381857 h 1273968"/>
                <a:gd name="connsiteX480" fmla="*/ 362712 w 1489995"/>
                <a:gd name="connsiteY480" fmla="*/ 381476 h 1273968"/>
                <a:gd name="connsiteX481" fmla="*/ 361474 w 1489995"/>
                <a:gd name="connsiteY481" fmla="*/ 384810 h 1273968"/>
                <a:gd name="connsiteX482" fmla="*/ 370522 w 1489995"/>
                <a:gd name="connsiteY482" fmla="*/ 380524 h 1273968"/>
                <a:gd name="connsiteX483" fmla="*/ 371761 w 1489995"/>
                <a:gd name="connsiteY483" fmla="*/ 377095 h 1273968"/>
                <a:gd name="connsiteX484" fmla="*/ 376428 w 1489995"/>
                <a:gd name="connsiteY484" fmla="*/ 376523 h 1273968"/>
                <a:gd name="connsiteX485" fmla="*/ 381000 w 1489995"/>
                <a:gd name="connsiteY485" fmla="*/ 374333 h 1273968"/>
                <a:gd name="connsiteX486" fmla="*/ 381762 w 1489995"/>
                <a:gd name="connsiteY486" fmla="*/ 367856 h 1273968"/>
                <a:gd name="connsiteX487" fmla="*/ 384905 w 1489995"/>
                <a:gd name="connsiteY487" fmla="*/ 367475 h 1273968"/>
                <a:gd name="connsiteX488" fmla="*/ 384715 w 1489995"/>
                <a:gd name="connsiteY488" fmla="*/ 365855 h 1273968"/>
                <a:gd name="connsiteX489" fmla="*/ 388048 w 1489995"/>
                <a:gd name="connsiteY489" fmla="*/ 366998 h 1273968"/>
                <a:gd name="connsiteX490" fmla="*/ 390811 w 1489995"/>
                <a:gd name="connsiteY490" fmla="*/ 363474 h 1273968"/>
                <a:gd name="connsiteX491" fmla="*/ 392049 w 1489995"/>
                <a:gd name="connsiteY491" fmla="*/ 360140 h 1273968"/>
                <a:gd name="connsiteX492" fmla="*/ 390811 w 1489995"/>
                <a:gd name="connsiteY492" fmla="*/ 350615 h 1273968"/>
                <a:gd name="connsiteX493" fmla="*/ 390430 w 1489995"/>
                <a:gd name="connsiteY493" fmla="*/ 347472 h 1273968"/>
                <a:gd name="connsiteX494" fmla="*/ 387287 w 1489995"/>
                <a:gd name="connsiteY494" fmla="*/ 347853 h 1273968"/>
                <a:gd name="connsiteX495" fmla="*/ 388810 w 1489995"/>
                <a:gd name="connsiteY495" fmla="*/ 347663 h 1273968"/>
                <a:gd name="connsiteX496" fmla="*/ 388620 w 1489995"/>
                <a:gd name="connsiteY496" fmla="*/ 346138 h 1273968"/>
                <a:gd name="connsiteX497" fmla="*/ 395192 w 1489995"/>
                <a:gd name="connsiteY497" fmla="*/ 346900 h 1273968"/>
                <a:gd name="connsiteX498" fmla="*/ 395383 w 1489995"/>
                <a:gd name="connsiteY498" fmla="*/ 348425 h 1273968"/>
                <a:gd name="connsiteX499" fmla="*/ 401669 w 1489995"/>
                <a:gd name="connsiteY499" fmla="*/ 347663 h 1273968"/>
                <a:gd name="connsiteX500" fmla="*/ 402050 w 1489995"/>
                <a:gd name="connsiteY500" fmla="*/ 350806 h 1273968"/>
                <a:gd name="connsiteX501" fmla="*/ 414909 w 1489995"/>
                <a:gd name="connsiteY501" fmla="*/ 350806 h 1273968"/>
                <a:gd name="connsiteX502" fmla="*/ 418052 w 1489995"/>
                <a:gd name="connsiteY502" fmla="*/ 350425 h 1273968"/>
                <a:gd name="connsiteX503" fmla="*/ 417862 w 1489995"/>
                <a:gd name="connsiteY503" fmla="*/ 348806 h 1273968"/>
                <a:gd name="connsiteX504" fmla="*/ 415862 w 1489995"/>
                <a:gd name="connsiteY504" fmla="*/ 345853 h 1273968"/>
                <a:gd name="connsiteX505" fmla="*/ 417481 w 1489995"/>
                <a:gd name="connsiteY505" fmla="*/ 345662 h 1273968"/>
                <a:gd name="connsiteX506" fmla="*/ 417195 w 1489995"/>
                <a:gd name="connsiteY506" fmla="*/ 344043 h 1273968"/>
                <a:gd name="connsiteX507" fmla="*/ 415480 w 1489995"/>
                <a:gd name="connsiteY507" fmla="*/ 342710 h 1273968"/>
                <a:gd name="connsiteX508" fmla="*/ 417767 w 1489995"/>
                <a:gd name="connsiteY508" fmla="*/ 335947 h 1273968"/>
                <a:gd name="connsiteX509" fmla="*/ 413861 w 1489995"/>
                <a:gd name="connsiteY509" fmla="*/ 330041 h 1273968"/>
                <a:gd name="connsiteX510" fmla="*/ 410718 w 1489995"/>
                <a:gd name="connsiteY510" fmla="*/ 330517 h 1273968"/>
                <a:gd name="connsiteX511" fmla="*/ 408908 w 1489995"/>
                <a:gd name="connsiteY511" fmla="*/ 316230 h 1273968"/>
                <a:gd name="connsiteX512" fmla="*/ 416623 w 1489995"/>
                <a:gd name="connsiteY512" fmla="*/ 313658 h 1273968"/>
                <a:gd name="connsiteX513" fmla="*/ 414814 w 1489995"/>
                <a:gd name="connsiteY513" fmla="*/ 312325 h 1273968"/>
                <a:gd name="connsiteX514" fmla="*/ 419576 w 1489995"/>
                <a:gd name="connsiteY514" fmla="*/ 311753 h 1273968"/>
                <a:gd name="connsiteX515" fmla="*/ 422053 w 1489995"/>
                <a:gd name="connsiteY515" fmla="*/ 306610 h 1273968"/>
                <a:gd name="connsiteX516" fmla="*/ 425196 w 1489995"/>
                <a:gd name="connsiteY516" fmla="*/ 306134 h 1273968"/>
                <a:gd name="connsiteX517" fmla="*/ 427958 w 1489995"/>
                <a:gd name="connsiteY517" fmla="*/ 302609 h 1273968"/>
                <a:gd name="connsiteX518" fmla="*/ 435673 w 1489995"/>
                <a:gd name="connsiteY518" fmla="*/ 300038 h 1273968"/>
                <a:gd name="connsiteX519" fmla="*/ 441388 w 1489995"/>
                <a:gd name="connsiteY519" fmla="*/ 307277 h 1273968"/>
                <a:gd name="connsiteX520" fmla="*/ 444817 w 1489995"/>
                <a:gd name="connsiteY520" fmla="*/ 308515 h 1273968"/>
                <a:gd name="connsiteX521" fmla="*/ 444151 w 1489995"/>
                <a:gd name="connsiteY521" fmla="*/ 303752 h 1273968"/>
                <a:gd name="connsiteX522" fmla="*/ 447294 w 1489995"/>
                <a:gd name="connsiteY522" fmla="*/ 303371 h 1273968"/>
                <a:gd name="connsiteX523" fmla="*/ 447104 w 1489995"/>
                <a:gd name="connsiteY523" fmla="*/ 301752 h 1273968"/>
                <a:gd name="connsiteX524" fmla="*/ 459200 w 1489995"/>
                <a:gd name="connsiteY524" fmla="*/ 308229 h 1273968"/>
                <a:gd name="connsiteX525" fmla="*/ 469011 w 1489995"/>
                <a:gd name="connsiteY525" fmla="*/ 310229 h 1273968"/>
                <a:gd name="connsiteX526" fmla="*/ 471011 w 1489995"/>
                <a:gd name="connsiteY526" fmla="*/ 313182 h 1273968"/>
                <a:gd name="connsiteX527" fmla="*/ 474155 w 1489995"/>
                <a:gd name="connsiteY527" fmla="*/ 312801 h 1273968"/>
                <a:gd name="connsiteX528" fmla="*/ 474631 w 1489995"/>
                <a:gd name="connsiteY528" fmla="*/ 315944 h 1273968"/>
                <a:gd name="connsiteX529" fmla="*/ 476155 w 1489995"/>
                <a:gd name="connsiteY529" fmla="*/ 315754 h 1273968"/>
                <a:gd name="connsiteX530" fmla="*/ 489013 w 1489995"/>
                <a:gd name="connsiteY530" fmla="*/ 315659 h 1273968"/>
                <a:gd name="connsiteX531" fmla="*/ 503396 w 1489995"/>
                <a:gd name="connsiteY531" fmla="*/ 315468 h 1273968"/>
                <a:gd name="connsiteX532" fmla="*/ 503777 w 1489995"/>
                <a:gd name="connsiteY532" fmla="*/ 318611 h 1273968"/>
                <a:gd name="connsiteX533" fmla="*/ 510350 w 1489995"/>
                <a:gd name="connsiteY533" fmla="*/ 319373 h 1273968"/>
                <a:gd name="connsiteX534" fmla="*/ 519970 w 1489995"/>
                <a:gd name="connsiteY534" fmla="*/ 319754 h 1273968"/>
                <a:gd name="connsiteX535" fmla="*/ 521780 w 1489995"/>
                <a:gd name="connsiteY535" fmla="*/ 321088 h 1273968"/>
                <a:gd name="connsiteX536" fmla="*/ 523113 w 1489995"/>
                <a:gd name="connsiteY536" fmla="*/ 319373 h 1273968"/>
                <a:gd name="connsiteX537" fmla="*/ 538925 w 1489995"/>
                <a:gd name="connsiteY537" fmla="*/ 317373 h 1273968"/>
                <a:gd name="connsiteX538" fmla="*/ 540258 w 1489995"/>
                <a:gd name="connsiteY538" fmla="*/ 315563 h 1273968"/>
                <a:gd name="connsiteX539" fmla="*/ 548640 w 1489995"/>
                <a:gd name="connsiteY539" fmla="*/ 317754 h 1273968"/>
                <a:gd name="connsiteX540" fmla="*/ 550926 w 1489995"/>
                <a:gd name="connsiteY540" fmla="*/ 310991 h 1273968"/>
                <a:gd name="connsiteX541" fmla="*/ 548735 w 1489995"/>
                <a:gd name="connsiteY541" fmla="*/ 306419 h 1273968"/>
                <a:gd name="connsiteX542" fmla="*/ 558832 w 1489995"/>
                <a:gd name="connsiteY542" fmla="*/ 310039 h 1273968"/>
                <a:gd name="connsiteX543" fmla="*/ 557498 w 1489995"/>
                <a:gd name="connsiteY543" fmla="*/ 311753 h 1273968"/>
                <a:gd name="connsiteX544" fmla="*/ 561404 w 1489995"/>
                <a:gd name="connsiteY544" fmla="*/ 317659 h 1273968"/>
                <a:gd name="connsiteX545" fmla="*/ 562642 w 1489995"/>
                <a:gd name="connsiteY545" fmla="*/ 314325 h 1273968"/>
                <a:gd name="connsiteX546" fmla="*/ 569500 w 1489995"/>
                <a:gd name="connsiteY546" fmla="*/ 318230 h 1273968"/>
                <a:gd name="connsiteX547" fmla="*/ 569119 w 1489995"/>
                <a:gd name="connsiteY547" fmla="*/ 315087 h 1273968"/>
                <a:gd name="connsiteX548" fmla="*/ 572452 w 1489995"/>
                <a:gd name="connsiteY548" fmla="*/ 316230 h 1273968"/>
                <a:gd name="connsiteX549" fmla="*/ 573405 w 1489995"/>
                <a:gd name="connsiteY549" fmla="*/ 311372 h 1273968"/>
                <a:gd name="connsiteX550" fmla="*/ 589026 w 1489995"/>
                <a:gd name="connsiteY550" fmla="*/ 320611 h 1273968"/>
                <a:gd name="connsiteX551" fmla="*/ 593979 w 1489995"/>
                <a:gd name="connsiteY551" fmla="*/ 321564 h 1273968"/>
                <a:gd name="connsiteX552" fmla="*/ 594360 w 1489995"/>
                <a:gd name="connsiteY552" fmla="*/ 324707 h 1273968"/>
                <a:gd name="connsiteX553" fmla="*/ 596170 w 1489995"/>
                <a:gd name="connsiteY553" fmla="*/ 326041 h 1273968"/>
                <a:gd name="connsiteX554" fmla="*/ 599694 w 1489995"/>
                <a:gd name="connsiteY554" fmla="*/ 316040 h 1273968"/>
                <a:gd name="connsiteX555" fmla="*/ 601313 w 1489995"/>
                <a:gd name="connsiteY555" fmla="*/ 315849 h 1273968"/>
                <a:gd name="connsiteX556" fmla="*/ 605600 w 1489995"/>
                <a:gd name="connsiteY556" fmla="*/ 312039 h 1273968"/>
                <a:gd name="connsiteX557" fmla="*/ 605218 w 1489995"/>
                <a:gd name="connsiteY557" fmla="*/ 308896 h 1273968"/>
                <a:gd name="connsiteX558" fmla="*/ 608933 w 1489995"/>
                <a:gd name="connsiteY558" fmla="*/ 300419 h 1273968"/>
                <a:gd name="connsiteX559" fmla="*/ 610743 w 1489995"/>
                <a:gd name="connsiteY559" fmla="*/ 301752 h 1273968"/>
                <a:gd name="connsiteX560" fmla="*/ 614839 w 1489995"/>
                <a:gd name="connsiteY560" fmla="*/ 296418 h 1273968"/>
                <a:gd name="connsiteX561" fmla="*/ 621983 w 1489995"/>
                <a:gd name="connsiteY561" fmla="*/ 301942 h 1273968"/>
                <a:gd name="connsiteX562" fmla="*/ 626935 w 1489995"/>
                <a:gd name="connsiteY562" fmla="*/ 302895 h 1273968"/>
                <a:gd name="connsiteX563" fmla="*/ 628269 w 1489995"/>
                <a:gd name="connsiteY563" fmla="*/ 301181 h 1273968"/>
                <a:gd name="connsiteX564" fmla="*/ 628079 w 1489995"/>
                <a:gd name="connsiteY564" fmla="*/ 299561 h 1273968"/>
                <a:gd name="connsiteX565" fmla="*/ 633222 w 1489995"/>
                <a:gd name="connsiteY565" fmla="*/ 302133 h 1273968"/>
                <a:gd name="connsiteX566" fmla="*/ 637984 w 1489995"/>
                <a:gd name="connsiteY566" fmla="*/ 301561 h 1273968"/>
                <a:gd name="connsiteX567" fmla="*/ 635794 w 1489995"/>
                <a:gd name="connsiteY567" fmla="*/ 296990 h 1273968"/>
                <a:gd name="connsiteX568" fmla="*/ 647224 w 1489995"/>
                <a:gd name="connsiteY568" fmla="*/ 298704 h 1273968"/>
                <a:gd name="connsiteX569" fmla="*/ 646652 w 1489995"/>
                <a:gd name="connsiteY569" fmla="*/ 294037 h 1273968"/>
                <a:gd name="connsiteX570" fmla="*/ 649986 w 1489995"/>
                <a:gd name="connsiteY570" fmla="*/ 295180 h 1273968"/>
                <a:gd name="connsiteX571" fmla="*/ 651319 w 1489995"/>
                <a:gd name="connsiteY571" fmla="*/ 293370 h 1273968"/>
                <a:gd name="connsiteX572" fmla="*/ 657892 w 1489995"/>
                <a:gd name="connsiteY572" fmla="*/ 294132 h 1273968"/>
                <a:gd name="connsiteX573" fmla="*/ 658082 w 1489995"/>
                <a:gd name="connsiteY573" fmla="*/ 295751 h 1273968"/>
                <a:gd name="connsiteX574" fmla="*/ 661416 w 1489995"/>
                <a:gd name="connsiteY574" fmla="*/ 296894 h 1273968"/>
                <a:gd name="connsiteX575" fmla="*/ 661606 w 1489995"/>
                <a:gd name="connsiteY575" fmla="*/ 298513 h 1273968"/>
                <a:gd name="connsiteX576" fmla="*/ 664940 w 1489995"/>
                <a:gd name="connsiteY576" fmla="*/ 299657 h 1273968"/>
                <a:gd name="connsiteX577" fmla="*/ 665607 w 1489995"/>
                <a:gd name="connsiteY577" fmla="*/ 304419 h 1273968"/>
                <a:gd name="connsiteX578" fmla="*/ 666750 w 1489995"/>
                <a:gd name="connsiteY578" fmla="*/ 301085 h 1273968"/>
                <a:gd name="connsiteX579" fmla="*/ 670084 w 1489995"/>
                <a:gd name="connsiteY579" fmla="*/ 302228 h 1273968"/>
                <a:gd name="connsiteX580" fmla="*/ 666559 w 1489995"/>
                <a:gd name="connsiteY580" fmla="*/ 299466 h 1273968"/>
                <a:gd name="connsiteX581" fmla="*/ 669703 w 1489995"/>
                <a:gd name="connsiteY581" fmla="*/ 299085 h 1273968"/>
                <a:gd name="connsiteX582" fmla="*/ 671513 w 1489995"/>
                <a:gd name="connsiteY582" fmla="*/ 300419 h 1273968"/>
                <a:gd name="connsiteX583" fmla="*/ 670084 w 1489995"/>
                <a:gd name="connsiteY583" fmla="*/ 302228 h 1273968"/>
                <a:gd name="connsiteX584" fmla="*/ 670274 w 1489995"/>
                <a:gd name="connsiteY584" fmla="*/ 303848 h 1273968"/>
                <a:gd name="connsiteX585" fmla="*/ 674656 w 1489995"/>
                <a:gd name="connsiteY585" fmla="*/ 300038 h 1273968"/>
                <a:gd name="connsiteX586" fmla="*/ 676180 w 1489995"/>
                <a:gd name="connsiteY586" fmla="*/ 299847 h 1273968"/>
                <a:gd name="connsiteX587" fmla="*/ 681323 w 1489995"/>
                <a:gd name="connsiteY587" fmla="*/ 289560 h 1273968"/>
                <a:gd name="connsiteX588" fmla="*/ 679704 w 1489995"/>
                <a:gd name="connsiteY588" fmla="*/ 289750 h 1273968"/>
                <a:gd name="connsiteX589" fmla="*/ 680752 w 1489995"/>
                <a:gd name="connsiteY589" fmla="*/ 284798 h 1273968"/>
                <a:gd name="connsiteX590" fmla="*/ 679133 w 1489995"/>
                <a:gd name="connsiteY590" fmla="*/ 285083 h 1273968"/>
                <a:gd name="connsiteX591" fmla="*/ 680561 w 1489995"/>
                <a:gd name="connsiteY591" fmla="*/ 283273 h 1273968"/>
                <a:gd name="connsiteX592" fmla="*/ 677132 w 1489995"/>
                <a:gd name="connsiteY592" fmla="*/ 282131 h 1273968"/>
                <a:gd name="connsiteX593" fmla="*/ 678561 w 1489995"/>
                <a:gd name="connsiteY593" fmla="*/ 280321 h 1273968"/>
                <a:gd name="connsiteX594" fmla="*/ 677323 w 1489995"/>
                <a:gd name="connsiteY594" fmla="*/ 270796 h 1273968"/>
                <a:gd name="connsiteX595" fmla="*/ 684085 w 1489995"/>
                <a:gd name="connsiteY595" fmla="*/ 273177 h 1273968"/>
                <a:gd name="connsiteX596" fmla="*/ 683800 w 1489995"/>
                <a:gd name="connsiteY596" fmla="*/ 258794 h 1273968"/>
                <a:gd name="connsiteX597" fmla="*/ 683228 w 1489995"/>
                <a:gd name="connsiteY597" fmla="*/ 254032 h 1273968"/>
                <a:gd name="connsiteX598" fmla="*/ 684752 w 1489995"/>
                <a:gd name="connsiteY598" fmla="*/ 253841 h 1273968"/>
                <a:gd name="connsiteX599" fmla="*/ 685990 w 1489995"/>
                <a:gd name="connsiteY599" fmla="*/ 250508 h 1273968"/>
                <a:gd name="connsiteX600" fmla="*/ 682371 w 1489995"/>
                <a:gd name="connsiteY600" fmla="*/ 247745 h 1273968"/>
                <a:gd name="connsiteX601" fmla="*/ 679037 w 1489995"/>
                <a:gd name="connsiteY601" fmla="*/ 246602 h 1273968"/>
                <a:gd name="connsiteX602" fmla="*/ 678466 w 1489995"/>
                <a:gd name="connsiteY602" fmla="*/ 241840 h 1273968"/>
                <a:gd name="connsiteX603" fmla="*/ 674942 w 1489995"/>
                <a:gd name="connsiteY603" fmla="*/ 239077 h 1273968"/>
                <a:gd name="connsiteX604" fmla="*/ 674465 w 1489995"/>
                <a:gd name="connsiteY604" fmla="*/ 235934 h 1273968"/>
                <a:gd name="connsiteX605" fmla="*/ 678847 w 1489995"/>
                <a:gd name="connsiteY605" fmla="*/ 232124 h 1273968"/>
                <a:gd name="connsiteX606" fmla="*/ 680847 w 1489995"/>
                <a:gd name="connsiteY606" fmla="*/ 235077 h 1273968"/>
                <a:gd name="connsiteX607" fmla="*/ 683800 w 1489995"/>
                <a:gd name="connsiteY607" fmla="*/ 233172 h 1273968"/>
                <a:gd name="connsiteX608" fmla="*/ 680180 w 1489995"/>
                <a:gd name="connsiteY608" fmla="*/ 230410 h 1273968"/>
                <a:gd name="connsiteX609" fmla="*/ 679799 w 1489995"/>
                <a:gd name="connsiteY609" fmla="*/ 227267 h 1273968"/>
                <a:gd name="connsiteX610" fmla="*/ 676275 w 1489995"/>
                <a:gd name="connsiteY610" fmla="*/ 224504 h 1273968"/>
                <a:gd name="connsiteX611" fmla="*/ 677418 w 1489995"/>
                <a:gd name="connsiteY611" fmla="*/ 221075 h 1273968"/>
                <a:gd name="connsiteX612" fmla="*/ 679228 w 1489995"/>
                <a:gd name="connsiteY612" fmla="*/ 222504 h 1273968"/>
                <a:gd name="connsiteX613" fmla="*/ 678751 w 1489995"/>
                <a:gd name="connsiteY613" fmla="*/ 219361 h 1273968"/>
                <a:gd name="connsiteX614" fmla="*/ 677037 w 1489995"/>
                <a:gd name="connsiteY614" fmla="*/ 217932 h 1273968"/>
                <a:gd name="connsiteX615" fmla="*/ 676847 w 1489995"/>
                <a:gd name="connsiteY615" fmla="*/ 216408 h 1273968"/>
                <a:gd name="connsiteX616" fmla="*/ 673227 w 1489995"/>
                <a:gd name="connsiteY616" fmla="*/ 213646 h 1273968"/>
                <a:gd name="connsiteX617" fmla="*/ 673037 w 1489995"/>
                <a:gd name="connsiteY617" fmla="*/ 212027 h 1273968"/>
                <a:gd name="connsiteX618" fmla="*/ 675989 w 1489995"/>
                <a:gd name="connsiteY618" fmla="*/ 210026 h 1273968"/>
                <a:gd name="connsiteX619" fmla="*/ 679133 w 1489995"/>
                <a:gd name="connsiteY619" fmla="*/ 209645 h 1273968"/>
                <a:gd name="connsiteX620" fmla="*/ 680371 w 1489995"/>
                <a:gd name="connsiteY620" fmla="*/ 206311 h 1273968"/>
                <a:gd name="connsiteX621" fmla="*/ 683323 w 1489995"/>
                <a:gd name="connsiteY621" fmla="*/ 204311 h 1273968"/>
                <a:gd name="connsiteX622" fmla="*/ 695992 w 1489995"/>
                <a:gd name="connsiteY622" fmla="*/ 215551 h 1273968"/>
                <a:gd name="connsiteX623" fmla="*/ 711137 w 1489995"/>
                <a:gd name="connsiteY623" fmla="*/ 221647 h 1273968"/>
                <a:gd name="connsiteX624" fmla="*/ 712375 w 1489995"/>
                <a:gd name="connsiteY624" fmla="*/ 218313 h 1273968"/>
                <a:gd name="connsiteX625" fmla="*/ 715709 w 1489995"/>
                <a:gd name="connsiteY625" fmla="*/ 219456 h 1273968"/>
                <a:gd name="connsiteX626" fmla="*/ 712089 w 1489995"/>
                <a:gd name="connsiteY626" fmla="*/ 216694 h 1273968"/>
                <a:gd name="connsiteX627" fmla="*/ 714851 w 1489995"/>
                <a:gd name="connsiteY627" fmla="*/ 213169 h 1273968"/>
                <a:gd name="connsiteX628" fmla="*/ 713137 w 1489995"/>
                <a:gd name="connsiteY628" fmla="*/ 211741 h 1273968"/>
                <a:gd name="connsiteX629" fmla="*/ 708374 w 1489995"/>
                <a:gd name="connsiteY629" fmla="*/ 212312 h 1273968"/>
                <a:gd name="connsiteX630" fmla="*/ 706564 w 1489995"/>
                <a:gd name="connsiteY630" fmla="*/ 210979 h 1273968"/>
                <a:gd name="connsiteX631" fmla="*/ 710755 w 1489995"/>
                <a:gd name="connsiteY631" fmla="*/ 205645 h 1273968"/>
                <a:gd name="connsiteX632" fmla="*/ 714280 w 1489995"/>
                <a:gd name="connsiteY632" fmla="*/ 208407 h 1273968"/>
                <a:gd name="connsiteX633" fmla="*/ 715423 w 1489995"/>
                <a:gd name="connsiteY633" fmla="*/ 205073 h 1273968"/>
                <a:gd name="connsiteX634" fmla="*/ 712089 w 1489995"/>
                <a:gd name="connsiteY634" fmla="*/ 203835 h 1273968"/>
                <a:gd name="connsiteX635" fmla="*/ 713708 w 1489995"/>
                <a:gd name="connsiteY635" fmla="*/ 203644 h 1273968"/>
                <a:gd name="connsiteX636" fmla="*/ 718185 w 1489995"/>
                <a:gd name="connsiteY636" fmla="*/ 201454 h 1273968"/>
                <a:gd name="connsiteX637" fmla="*/ 716185 w 1489995"/>
                <a:gd name="connsiteY637" fmla="*/ 185738 h 1273968"/>
                <a:gd name="connsiteX638" fmla="*/ 726853 w 1489995"/>
                <a:gd name="connsiteY638" fmla="*/ 193929 h 1273968"/>
                <a:gd name="connsiteX639" fmla="*/ 734759 w 1489995"/>
                <a:gd name="connsiteY639" fmla="*/ 192977 h 1273968"/>
                <a:gd name="connsiteX640" fmla="*/ 733806 w 1489995"/>
                <a:gd name="connsiteY640" fmla="*/ 185071 h 1273968"/>
                <a:gd name="connsiteX641" fmla="*/ 742474 w 1489995"/>
                <a:gd name="connsiteY641" fmla="*/ 190405 h 1273968"/>
                <a:gd name="connsiteX642" fmla="*/ 750570 w 1489995"/>
                <a:gd name="connsiteY642" fmla="*/ 190976 h 1273968"/>
                <a:gd name="connsiteX643" fmla="*/ 749141 w 1489995"/>
                <a:gd name="connsiteY643" fmla="*/ 179927 h 1273968"/>
                <a:gd name="connsiteX644" fmla="*/ 750284 w 1489995"/>
                <a:gd name="connsiteY644" fmla="*/ 176498 h 1273968"/>
                <a:gd name="connsiteX645" fmla="*/ 749713 w 1489995"/>
                <a:gd name="connsiteY645" fmla="*/ 171831 h 1273968"/>
                <a:gd name="connsiteX646" fmla="*/ 750856 w 1489995"/>
                <a:gd name="connsiteY646" fmla="*/ 168497 h 1273968"/>
                <a:gd name="connsiteX647" fmla="*/ 745998 w 1489995"/>
                <a:gd name="connsiteY647" fmla="*/ 167450 h 1273968"/>
                <a:gd name="connsiteX648" fmla="*/ 749141 w 1489995"/>
                <a:gd name="connsiteY648" fmla="*/ 167069 h 1273968"/>
                <a:gd name="connsiteX649" fmla="*/ 749522 w 1489995"/>
                <a:gd name="connsiteY649" fmla="*/ 157448 h 1273968"/>
                <a:gd name="connsiteX650" fmla="*/ 738759 w 1489995"/>
                <a:gd name="connsiteY650" fmla="*/ 136303 h 1273968"/>
                <a:gd name="connsiteX651" fmla="*/ 751237 w 1489995"/>
                <a:gd name="connsiteY651" fmla="*/ 133160 h 1273968"/>
                <a:gd name="connsiteX652" fmla="*/ 748189 w 1489995"/>
                <a:gd name="connsiteY652" fmla="*/ 122301 h 1273968"/>
                <a:gd name="connsiteX653" fmla="*/ 760095 w 1489995"/>
                <a:gd name="connsiteY653" fmla="*/ 127159 h 1273968"/>
                <a:gd name="connsiteX654" fmla="*/ 761619 w 1489995"/>
                <a:gd name="connsiteY654" fmla="*/ 126968 h 1273968"/>
                <a:gd name="connsiteX655" fmla="*/ 760857 w 1489995"/>
                <a:gd name="connsiteY655" fmla="*/ 133540 h 1273968"/>
                <a:gd name="connsiteX656" fmla="*/ 767429 w 1489995"/>
                <a:gd name="connsiteY656" fmla="*/ 134302 h 1273968"/>
                <a:gd name="connsiteX657" fmla="*/ 766001 w 1489995"/>
                <a:gd name="connsiteY657" fmla="*/ 136017 h 1273968"/>
                <a:gd name="connsiteX658" fmla="*/ 769810 w 1489995"/>
                <a:gd name="connsiteY658" fmla="*/ 140398 h 1273968"/>
                <a:gd name="connsiteX659" fmla="*/ 772097 w 1489995"/>
                <a:gd name="connsiteY659" fmla="*/ 133636 h 1273968"/>
                <a:gd name="connsiteX660" fmla="*/ 770382 w 1489995"/>
                <a:gd name="connsiteY660" fmla="*/ 132302 h 1273968"/>
                <a:gd name="connsiteX661" fmla="*/ 775430 w 1489995"/>
                <a:gd name="connsiteY661" fmla="*/ 122015 h 1273968"/>
                <a:gd name="connsiteX662" fmla="*/ 786479 w 1489995"/>
                <a:gd name="connsiteY662" fmla="*/ 120586 h 1273968"/>
                <a:gd name="connsiteX663" fmla="*/ 783526 w 1489995"/>
                <a:gd name="connsiteY663" fmla="*/ 122587 h 1273968"/>
                <a:gd name="connsiteX664" fmla="*/ 787337 w 1489995"/>
                <a:gd name="connsiteY664" fmla="*/ 126968 h 1273968"/>
                <a:gd name="connsiteX665" fmla="*/ 789908 w 1489995"/>
                <a:gd name="connsiteY665" fmla="*/ 134588 h 1273968"/>
                <a:gd name="connsiteX666" fmla="*/ 791623 w 1489995"/>
                <a:gd name="connsiteY666" fmla="*/ 136017 h 1273968"/>
                <a:gd name="connsiteX667" fmla="*/ 799909 w 1489995"/>
                <a:gd name="connsiteY667" fmla="*/ 138113 h 1273968"/>
                <a:gd name="connsiteX668" fmla="*/ 804672 w 1489995"/>
                <a:gd name="connsiteY668" fmla="*/ 137541 h 1273968"/>
                <a:gd name="connsiteX669" fmla="*/ 807434 w 1489995"/>
                <a:gd name="connsiteY669" fmla="*/ 134017 h 1273968"/>
                <a:gd name="connsiteX670" fmla="*/ 801910 w 1489995"/>
                <a:gd name="connsiteY670" fmla="*/ 128302 h 1273968"/>
                <a:gd name="connsiteX671" fmla="*/ 801719 w 1489995"/>
                <a:gd name="connsiteY671" fmla="*/ 126683 h 1273968"/>
                <a:gd name="connsiteX672" fmla="*/ 811339 w 1489995"/>
                <a:gd name="connsiteY672" fmla="*/ 127063 h 1273968"/>
                <a:gd name="connsiteX673" fmla="*/ 812768 w 1489995"/>
                <a:gd name="connsiteY673" fmla="*/ 125254 h 1273968"/>
                <a:gd name="connsiteX674" fmla="*/ 815340 w 1489995"/>
                <a:gd name="connsiteY674" fmla="*/ 120110 h 1273968"/>
                <a:gd name="connsiteX675" fmla="*/ 821817 w 1489995"/>
                <a:gd name="connsiteY675" fmla="*/ 120967 h 1273968"/>
                <a:gd name="connsiteX676" fmla="*/ 823436 w 1489995"/>
                <a:gd name="connsiteY676" fmla="*/ 120682 h 1273968"/>
                <a:gd name="connsiteX677" fmla="*/ 823627 w 1489995"/>
                <a:gd name="connsiteY677" fmla="*/ 122301 h 1273968"/>
                <a:gd name="connsiteX678" fmla="*/ 822198 w 1489995"/>
                <a:gd name="connsiteY678" fmla="*/ 124111 h 1273968"/>
                <a:gd name="connsiteX679" fmla="*/ 822865 w 1489995"/>
                <a:gd name="connsiteY679" fmla="*/ 128778 h 1273968"/>
                <a:gd name="connsiteX680" fmla="*/ 821436 w 1489995"/>
                <a:gd name="connsiteY680" fmla="*/ 130588 h 1273968"/>
                <a:gd name="connsiteX681" fmla="*/ 826960 w 1489995"/>
                <a:gd name="connsiteY681" fmla="*/ 136303 h 1273968"/>
                <a:gd name="connsiteX682" fmla="*/ 825246 w 1489995"/>
                <a:gd name="connsiteY682" fmla="*/ 134969 h 1273968"/>
                <a:gd name="connsiteX683" fmla="*/ 822484 w 1489995"/>
                <a:gd name="connsiteY683" fmla="*/ 138494 h 1273968"/>
                <a:gd name="connsiteX684" fmla="*/ 821436 w 1489995"/>
                <a:gd name="connsiteY684" fmla="*/ 143446 h 1273968"/>
                <a:gd name="connsiteX685" fmla="*/ 823246 w 1489995"/>
                <a:gd name="connsiteY685" fmla="*/ 144780 h 1273968"/>
                <a:gd name="connsiteX686" fmla="*/ 824675 w 1489995"/>
                <a:gd name="connsiteY686" fmla="*/ 155829 h 1273968"/>
                <a:gd name="connsiteX687" fmla="*/ 830199 w 1489995"/>
                <a:gd name="connsiteY687" fmla="*/ 161544 h 1273968"/>
                <a:gd name="connsiteX688" fmla="*/ 831818 w 1489995"/>
                <a:gd name="connsiteY688" fmla="*/ 161354 h 1273968"/>
                <a:gd name="connsiteX689" fmla="*/ 832771 w 1489995"/>
                <a:gd name="connsiteY689" fmla="*/ 156400 h 1273968"/>
                <a:gd name="connsiteX690" fmla="*/ 834771 w 1489995"/>
                <a:gd name="connsiteY690" fmla="*/ 159353 h 1273968"/>
                <a:gd name="connsiteX691" fmla="*/ 836105 w 1489995"/>
                <a:gd name="connsiteY691" fmla="*/ 157639 h 1273968"/>
                <a:gd name="connsiteX692" fmla="*/ 836295 w 1489995"/>
                <a:gd name="connsiteY692" fmla="*/ 159163 h 1273968"/>
                <a:gd name="connsiteX693" fmla="*/ 839438 w 1489995"/>
                <a:gd name="connsiteY693" fmla="*/ 158782 h 1273968"/>
                <a:gd name="connsiteX694" fmla="*/ 838105 w 1489995"/>
                <a:gd name="connsiteY694" fmla="*/ 160592 h 1273968"/>
                <a:gd name="connsiteX695" fmla="*/ 838105 w 1489995"/>
                <a:gd name="connsiteY695" fmla="*/ 160592 h 1273968"/>
                <a:gd name="connsiteX696" fmla="*/ 843248 w 1489995"/>
                <a:gd name="connsiteY696" fmla="*/ 163068 h 1273968"/>
                <a:gd name="connsiteX697" fmla="*/ 845248 w 1489995"/>
                <a:gd name="connsiteY697" fmla="*/ 166021 h 1273968"/>
                <a:gd name="connsiteX698" fmla="*/ 847915 w 1489995"/>
                <a:gd name="connsiteY698" fmla="*/ 162496 h 1273968"/>
                <a:gd name="connsiteX699" fmla="*/ 845820 w 1489995"/>
                <a:gd name="connsiteY699" fmla="*/ 157925 h 1273968"/>
                <a:gd name="connsiteX700" fmla="*/ 849916 w 1489995"/>
                <a:gd name="connsiteY700" fmla="*/ 152590 h 1273968"/>
                <a:gd name="connsiteX701" fmla="*/ 850297 w 1489995"/>
                <a:gd name="connsiteY701" fmla="*/ 155829 h 1273968"/>
                <a:gd name="connsiteX702" fmla="*/ 856869 w 1489995"/>
                <a:gd name="connsiteY702" fmla="*/ 156591 h 1273968"/>
                <a:gd name="connsiteX703" fmla="*/ 858393 w 1489995"/>
                <a:gd name="connsiteY703" fmla="*/ 156400 h 1273968"/>
                <a:gd name="connsiteX704" fmla="*/ 859155 w 1489995"/>
                <a:gd name="connsiteY704" fmla="*/ 149828 h 1273968"/>
                <a:gd name="connsiteX705" fmla="*/ 864108 w 1489995"/>
                <a:gd name="connsiteY705" fmla="*/ 150781 h 1273968"/>
                <a:gd name="connsiteX706" fmla="*/ 866299 w 1489995"/>
                <a:gd name="connsiteY706" fmla="*/ 155353 h 1273968"/>
                <a:gd name="connsiteX707" fmla="*/ 871252 w 1489995"/>
                <a:gd name="connsiteY707" fmla="*/ 156305 h 1273968"/>
                <a:gd name="connsiteX708" fmla="*/ 870585 w 1489995"/>
                <a:gd name="connsiteY708" fmla="*/ 151638 h 1273968"/>
                <a:gd name="connsiteX709" fmla="*/ 872014 w 1489995"/>
                <a:gd name="connsiteY709" fmla="*/ 149828 h 1273968"/>
                <a:gd name="connsiteX710" fmla="*/ 883444 w 1489995"/>
                <a:gd name="connsiteY710" fmla="*/ 151543 h 1273968"/>
                <a:gd name="connsiteX711" fmla="*/ 889730 w 1489995"/>
                <a:gd name="connsiteY711" fmla="*/ 150781 h 1273968"/>
                <a:gd name="connsiteX712" fmla="*/ 889540 w 1489995"/>
                <a:gd name="connsiteY712" fmla="*/ 149161 h 1273968"/>
                <a:gd name="connsiteX713" fmla="*/ 900017 w 1489995"/>
                <a:gd name="connsiteY713" fmla="*/ 155829 h 1273968"/>
                <a:gd name="connsiteX714" fmla="*/ 900017 w 1489995"/>
                <a:gd name="connsiteY714" fmla="*/ 155829 h 1273968"/>
                <a:gd name="connsiteX715" fmla="*/ 900779 w 1489995"/>
                <a:gd name="connsiteY715" fmla="*/ 155543 h 1273968"/>
                <a:gd name="connsiteX716" fmla="*/ 901446 w 1489995"/>
                <a:gd name="connsiteY716" fmla="*/ 154115 h 1273968"/>
                <a:gd name="connsiteX717" fmla="*/ 898398 w 1489995"/>
                <a:gd name="connsiteY717" fmla="*/ 143256 h 1273968"/>
                <a:gd name="connsiteX718" fmla="*/ 904494 w 1489995"/>
                <a:gd name="connsiteY718" fmla="*/ 140875 h 1273968"/>
                <a:gd name="connsiteX719" fmla="*/ 904304 w 1489995"/>
                <a:gd name="connsiteY719" fmla="*/ 139256 h 1273968"/>
                <a:gd name="connsiteX720" fmla="*/ 914019 w 1489995"/>
                <a:gd name="connsiteY720" fmla="*/ 139636 h 1273968"/>
                <a:gd name="connsiteX721" fmla="*/ 916781 w 1489995"/>
                <a:gd name="connsiteY721" fmla="*/ 136112 h 1273968"/>
                <a:gd name="connsiteX722" fmla="*/ 920115 w 1489995"/>
                <a:gd name="connsiteY722" fmla="*/ 137255 h 1273968"/>
                <a:gd name="connsiteX723" fmla="*/ 923830 w 1489995"/>
                <a:gd name="connsiteY723" fmla="*/ 115919 h 1273968"/>
                <a:gd name="connsiteX724" fmla="*/ 923449 w 1489995"/>
                <a:gd name="connsiteY724" fmla="*/ 112776 h 1273968"/>
                <a:gd name="connsiteX725" fmla="*/ 943165 w 1489995"/>
                <a:gd name="connsiteY725" fmla="*/ 116681 h 1273968"/>
                <a:gd name="connsiteX726" fmla="*/ 944309 w 1489995"/>
                <a:gd name="connsiteY726" fmla="*/ 113348 h 1273968"/>
                <a:gd name="connsiteX727" fmla="*/ 946309 w 1489995"/>
                <a:gd name="connsiteY727" fmla="*/ 103442 h 1273968"/>
                <a:gd name="connsiteX728" fmla="*/ 940308 w 1489995"/>
                <a:gd name="connsiteY728" fmla="*/ 81820 h 1273968"/>
                <a:gd name="connsiteX729" fmla="*/ 940498 w 1489995"/>
                <a:gd name="connsiteY729" fmla="*/ 70485 h 1273968"/>
                <a:gd name="connsiteX730" fmla="*/ 975074 w 1489995"/>
                <a:gd name="connsiteY730" fmla="*/ 77343 h 1273968"/>
                <a:gd name="connsiteX731" fmla="*/ 994410 w 1489995"/>
                <a:gd name="connsiteY731" fmla="*/ 90869 h 1273968"/>
                <a:gd name="connsiteX732" fmla="*/ 1008602 w 1489995"/>
                <a:gd name="connsiteY732" fmla="*/ 76295 h 1273968"/>
                <a:gd name="connsiteX733" fmla="*/ 1011746 w 1489995"/>
                <a:gd name="connsiteY733" fmla="*/ 75914 h 1273968"/>
                <a:gd name="connsiteX734" fmla="*/ 1014508 w 1489995"/>
                <a:gd name="connsiteY734" fmla="*/ 72295 h 1273968"/>
                <a:gd name="connsiteX735" fmla="*/ 1015651 w 1489995"/>
                <a:gd name="connsiteY735" fmla="*/ 68961 h 1273968"/>
                <a:gd name="connsiteX736" fmla="*/ 1013651 w 1489995"/>
                <a:gd name="connsiteY736" fmla="*/ 66008 h 1273968"/>
                <a:gd name="connsiteX737" fmla="*/ 1008317 w 1489995"/>
                <a:gd name="connsiteY737" fmla="*/ 61913 h 1273968"/>
                <a:gd name="connsiteX738" fmla="*/ 1009269 w 1489995"/>
                <a:gd name="connsiteY738" fmla="*/ 56959 h 1273968"/>
                <a:gd name="connsiteX739" fmla="*/ 1007364 w 1489995"/>
                <a:gd name="connsiteY739" fmla="*/ 54007 h 1273968"/>
                <a:gd name="connsiteX740" fmla="*/ 1019747 w 1489995"/>
                <a:gd name="connsiteY740" fmla="*/ 50768 h 1273968"/>
                <a:gd name="connsiteX741" fmla="*/ 1019556 w 1489995"/>
                <a:gd name="connsiteY741" fmla="*/ 49244 h 1273968"/>
                <a:gd name="connsiteX742" fmla="*/ 1027081 w 1489995"/>
                <a:gd name="connsiteY742" fmla="*/ 45053 h 1273968"/>
                <a:gd name="connsiteX743" fmla="*/ 1031748 w 1489995"/>
                <a:gd name="connsiteY743" fmla="*/ 44482 h 1273968"/>
                <a:gd name="connsiteX744" fmla="*/ 1034891 w 1489995"/>
                <a:gd name="connsiteY744" fmla="*/ 44005 h 1273968"/>
                <a:gd name="connsiteX745" fmla="*/ 1037654 w 1489995"/>
                <a:gd name="connsiteY745" fmla="*/ 40481 h 1273968"/>
                <a:gd name="connsiteX746" fmla="*/ 1038320 w 1489995"/>
                <a:gd name="connsiteY746" fmla="*/ 45244 h 1273968"/>
                <a:gd name="connsiteX747" fmla="*/ 1044035 w 1489995"/>
                <a:gd name="connsiteY747" fmla="*/ 39719 h 1273968"/>
                <a:gd name="connsiteX748" fmla="*/ 1050131 w 1489995"/>
                <a:gd name="connsiteY748" fmla="*/ 37338 h 1273968"/>
                <a:gd name="connsiteX749" fmla="*/ 1045750 w 1489995"/>
                <a:gd name="connsiteY749" fmla="*/ 28289 h 1273968"/>
                <a:gd name="connsiteX750" fmla="*/ 1047369 w 1489995"/>
                <a:gd name="connsiteY750" fmla="*/ 28003 h 1273968"/>
                <a:gd name="connsiteX751" fmla="*/ 1042988 w 1489995"/>
                <a:gd name="connsiteY751" fmla="*/ 18955 h 1273968"/>
                <a:gd name="connsiteX752" fmla="*/ 1039844 w 1489995"/>
                <a:gd name="connsiteY752" fmla="*/ 19336 h 1273968"/>
                <a:gd name="connsiteX753" fmla="*/ 1045940 w 1489995"/>
                <a:gd name="connsiteY753" fmla="*/ 16954 h 1273968"/>
                <a:gd name="connsiteX754" fmla="*/ 1047274 w 1489995"/>
                <a:gd name="connsiteY754" fmla="*/ 15240 h 1273968"/>
                <a:gd name="connsiteX755" fmla="*/ 1050608 w 1489995"/>
                <a:gd name="connsiteY755" fmla="*/ 16383 h 1273968"/>
                <a:gd name="connsiteX756" fmla="*/ 1050417 w 1489995"/>
                <a:gd name="connsiteY756" fmla="*/ 14859 h 1273968"/>
                <a:gd name="connsiteX757" fmla="*/ 1053656 w 1489995"/>
                <a:gd name="connsiteY757" fmla="*/ 14383 h 1273968"/>
                <a:gd name="connsiteX758" fmla="*/ 1055370 w 1489995"/>
                <a:gd name="connsiteY758" fmla="*/ 15811 h 1273968"/>
                <a:gd name="connsiteX759" fmla="*/ 1048798 w 1489995"/>
                <a:gd name="connsiteY759" fmla="*/ 2191 h 1273968"/>
                <a:gd name="connsiteX760" fmla="*/ 1053370 w 1489995"/>
                <a:gd name="connsiteY760" fmla="*/ 0 h 1273968"/>
                <a:gd name="connsiteX761" fmla="*/ 1066419 w 1489995"/>
                <a:gd name="connsiteY761" fmla="*/ 1524 h 1273968"/>
                <a:gd name="connsiteX762" fmla="*/ 1064990 w 1489995"/>
                <a:gd name="connsiteY762" fmla="*/ 3334 h 1273968"/>
                <a:gd name="connsiteX763" fmla="*/ 1067372 w 1489995"/>
                <a:gd name="connsiteY763" fmla="*/ 9430 h 1273968"/>
                <a:gd name="connsiteX764" fmla="*/ 1064419 w 1489995"/>
                <a:gd name="connsiteY764" fmla="*/ 11430 h 1273968"/>
                <a:gd name="connsiteX765" fmla="*/ 1066419 w 1489995"/>
                <a:gd name="connsiteY765" fmla="*/ 14383 h 1273968"/>
                <a:gd name="connsiteX766" fmla="*/ 1069562 w 1489995"/>
                <a:gd name="connsiteY766" fmla="*/ 14002 h 1273968"/>
                <a:gd name="connsiteX767" fmla="*/ 1073182 w 1489995"/>
                <a:gd name="connsiteY767" fmla="*/ 16764 h 1273968"/>
                <a:gd name="connsiteX768" fmla="*/ 1072706 w 1489995"/>
                <a:gd name="connsiteY768" fmla="*/ 13621 h 1273968"/>
                <a:gd name="connsiteX769" fmla="*/ 1077659 w 1489995"/>
                <a:gd name="connsiteY769" fmla="*/ 14573 h 1273968"/>
                <a:gd name="connsiteX770" fmla="*/ 1082040 w 1489995"/>
                <a:gd name="connsiteY770" fmla="*/ 23622 h 1273968"/>
                <a:gd name="connsiteX771" fmla="*/ 1077277 w 1489995"/>
                <a:gd name="connsiteY771" fmla="*/ 24194 h 1273968"/>
                <a:gd name="connsiteX772" fmla="*/ 1080706 w 1489995"/>
                <a:gd name="connsiteY772" fmla="*/ 25432 h 1273968"/>
                <a:gd name="connsiteX773" fmla="*/ 1082612 w 1489995"/>
                <a:gd name="connsiteY773" fmla="*/ 28384 h 1273968"/>
                <a:gd name="connsiteX774" fmla="*/ 1087374 w 1489995"/>
                <a:gd name="connsiteY774" fmla="*/ 27718 h 1273968"/>
                <a:gd name="connsiteX775" fmla="*/ 1090898 w 1489995"/>
                <a:gd name="connsiteY775" fmla="*/ 30480 h 1273968"/>
                <a:gd name="connsiteX776" fmla="*/ 1090136 w 1489995"/>
                <a:gd name="connsiteY776" fmla="*/ 24194 h 1273968"/>
                <a:gd name="connsiteX777" fmla="*/ 1094899 w 1489995"/>
                <a:gd name="connsiteY777" fmla="*/ 23622 h 1273968"/>
                <a:gd name="connsiteX778" fmla="*/ 1095661 w 1489995"/>
                <a:gd name="connsiteY778" fmla="*/ 17050 h 1273968"/>
                <a:gd name="connsiteX779" fmla="*/ 1096994 w 1489995"/>
                <a:gd name="connsiteY779" fmla="*/ 15335 h 1273968"/>
                <a:gd name="connsiteX780" fmla="*/ 1100423 w 1489995"/>
                <a:gd name="connsiteY780" fmla="*/ 16478 h 1273968"/>
                <a:gd name="connsiteX781" fmla="*/ 1097471 w 1489995"/>
                <a:gd name="connsiteY781" fmla="*/ 18478 h 1273968"/>
                <a:gd name="connsiteX782" fmla="*/ 1099185 w 1489995"/>
                <a:gd name="connsiteY782" fmla="*/ 19812 h 1273968"/>
                <a:gd name="connsiteX783" fmla="*/ 1102328 w 1489995"/>
                <a:gd name="connsiteY783" fmla="*/ 19431 h 1273968"/>
                <a:gd name="connsiteX784" fmla="*/ 1104329 w 1489995"/>
                <a:gd name="connsiteY784" fmla="*/ 22384 h 1273968"/>
                <a:gd name="connsiteX785" fmla="*/ 1109091 w 1489995"/>
                <a:gd name="connsiteY785" fmla="*/ 21812 h 1273968"/>
                <a:gd name="connsiteX786" fmla="*/ 1112234 w 1489995"/>
                <a:gd name="connsiteY786" fmla="*/ 21336 h 1273968"/>
                <a:gd name="connsiteX787" fmla="*/ 1118140 w 1489995"/>
                <a:gd name="connsiteY787" fmla="*/ 17431 h 1273968"/>
                <a:gd name="connsiteX788" fmla="*/ 1118521 w 1489995"/>
                <a:gd name="connsiteY788" fmla="*/ 20574 h 1273968"/>
                <a:gd name="connsiteX789" fmla="*/ 1117378 w 1489995"/>
                <a:gd name="connsiteY789" fmla="*/ 23908 h 1273968"/>
                <a:gd name="connsiteX790" fmla="*/ 1119188 w 1489995"/>
                <a:gd name="connsiteY790" fmla="*/ 25336 h 1273968"/>
                <a:gd name="connsiteX791" fmla="*/ 1125664 w 1489995"/>
                <a:gd name="connsiteY791" fmla="*/ 38862 h 1273968"/>
                <a:gd name="connsiteX792" fmla="*/ 1127284 w 1489995"/>
                <a:gd name="connsiteY792" fmla="*/ 38672 h 1273968"/>
                <a:gd name="connsiteX793" fmla="*/ 1128808 w 1489995"/>
                <a:gd name="connsiteY793" fmla="*/ 38481 h 1273968"/>
                <a:gd name="connsiteX794" fmla="*/ 1133951 w 1489995"/>
                <a:gd name="connsiteY794" fmla="*/ 41053 h 1273968"/>
                <a:gd name="connsiteX795" fmla="*/ 1134809 w 1489995"/>
                <a:gd name="connsiteY795" fmla="*/ 47339 h 1273968"/>
                <a:gd name="connsiteX796" fmla="*/ 1136142 w 1489995"/>
                <a:gd name="connsiteY796" fmla="*/ 45625 h 1273968"/>
                <a:gd name="connsiteX797" fmla="*/ 1139285 w 1489995"/>
                <a:gd name="connsiteY797" fmla="*/ 45148 h 1273968"/>
                <a:gd name="connsiteX798" fmla="*/ 1139476 w 1489995"/>
                <a:gd name="connsiteY798" fmla="*/ 46768 h 1273968"/>
                <a:gd name="connsiteX799" fmla="*/ 1138523 w 1489995"/>
                <a:gd name="connsiteY799" fmla="*/ 51721 h 1273968"/>
                <a:gd name="connsiteX800" fmla="*/ 1142333 w 1489995"/>
                <a:gd name="connsiteY800" fmla="*/ 56007 h 1273968"/>
                <a:gd name="connsiteX801" fmla="*/ 1141285 w 1489995"/>
                <a:gd name="connsiteY801" fmla="*/ 60960 h 1273968"/>
                <a:gd name="connsiteX802" fmla="*/ 1145667 w 1489995"/>
                <a:gd name="connsiteY802" fmla="*/ 57245 h 1273968"/>
                <a:gd name="connsiteX803" fmla="*/ 1147477 w 1489995"/>
                <a:gd name="connsiteY803" fmla="*/ 58579 h 1273968"/>
                <a:gd name="connsiteX804" fmla="*/ 1151954 w 1489995"/>
                <a:gd name="connsiteY804" fmla="*/ 56388 h 1273968"/>
                <a:gd name="connsiteX805" fmla="*/ 1156716 w 1489995"/>
                <a:gd name="connsiteY805" fmla="*/ 55817 h 1273968"/>
                <a:gd name="connsiteX806" fmla="*/ 1156716 w 1489995"/>
                <a:gd name="connsiteY806" fmla="*/ 55817 h 1273968"/>
                <a:gd name="connsiteX807" fmla="*/ 1160907 w 1489995"/>
                <a:gd name="connsiteY807" fmla="*/ 63246 h 1273968"/>
                <a:gd name="connsiteX808" fmla="*/ 1166051 w 1489995"/>
                <a:gd name="connsiteY808" fmla="*/ 65818 h 1273968"/>
                <a:gd name="connsiteX809" fmla="*/ 1164812 w 1489995"/>
                <a:gd name="connsiteY809" fmla="*/ 69247 h 1273968"/>
                <a:gd name="connsiteX810" fmla="*/ 1169575 w 1489995"/>
                <a:gd name="connsiteY810" fmla="*/ 68580 h 1273968"/>
                <a:gd name="connsiteX811" fmla="*/ 1178433 w 1489995"/>
                <a:gd name="connsiteY811" fmla="*/ 75438 h 1273968"/>
                <a:gd name="connsiteX812" fmla="*/ 1175671 w 1489995"/>
                <a:gd name="connsiteY812" fmla="*/ 79057 h 1273968"/>
                <a:gd name="connsiteX813" fmla="*/ 1175861 w 1489995"/>
                <a:gd name="connsiteY813" fmla="*/ 80581 h 1273968"/>
                <a:gd name="connsiteX814" fmla="*/ 1178909 w 1489995"/>
                <a:gd name="connsiteY814" fmla="*/ 78676 h 1273968"/>
                <a:gd name="connsiteX815" fmla="*/ 1177862 w 1489995"/>
                <a:gd name="connsiteY815" fmla="*/ 83534 h 1273968"/>
                <a:gd name="connsiteX816" fmla="*/ 1181290 w 1489995"/>
                <a:gd name="connsiteY816" fmla="*/ 97536 h 1273968"/>
                <a:gd name="connsiteX817" fmla="*/ 1183100 w 1489995"/>
                <a:gd name="connsiteY817" fmla="*/ 98965 h 1273968"/>
                <a:gd name="connsiteX818" fmla="*/ 1185005 w 1489995"/>
                <a:gd name="connsiteY818" fmla="*/ 101917 h 1273968"/>
                <a:gd name="connsiteX819" fmla="*/ 1192721 w 1489995"/>
                <a:gd name="connsiteY819" fmla="*/ 99346 h 1273968"/>
                <a:gd name="connsiteX820" fmla="*/ 1193102 w 1489995"/>
                <a:gd name="connsiteY820" fmla="*/ 102489 h 1273968"/>
                <a:gd name="connsiteX821" fmla="*/ 1194721 w 1489995"/>
                <a:gd name="connsiteY821" fmla="*/ 102298 h 1273968"/>
                <a:gd name="connsiteX822" fmla="*/ 1194911 w 1489995"/>
                <a:gd name="connsiteY822" fmla="*/ 103823 h 1273968"/>
                <a:gd name="connsiteX823" fmla="*/ 1199483 w 1489995"/>
                <a:gd name="connsiteY823" fmla="*/ 101727 h 1273968"/>
                <a:gd name="connsiteX824" fmla="*/ 1204341 w 1489995"/>
                <a:gd name="connsiteY824" fmla="*/ 102679 h 1273968"/>
                <a:gd name="connsiteX825" fmla="*/ 1209675 w 1489995"/>
                <a:gd name="connsiteY825" fmla="*/ 106775 h 1273968"/>
                <a:gd name="connsiteX826" fmla="*/ 1208342 w 1489995"/>
                <a:gd name="connsiteY826" fmla="*/ 108585 h 1273968"/>
                <a:gd name="connsiteX827" fmla="*/ 1209961 w 1489995"/>
                <a:gd name="connsiteY827" fmla="*/ 108394 h 1273968"/>
                <a:gd name="connsiteX828" fmla="*/ 1210342 w 1489995"/>
                <a:gd name="connsiteY828" fmla="*/ 111538 h 1273968"/>
                <a:gd name="connsiteX829" fmla="*/ 1213485 w 1489995"/>
                <a:gd name="connsiteY829" fmla="*/ 111157 h 1273968"/>
                <a:gd name="connsiteX830" fmla="*/ 1212342 w 1489995"/>
                <a:gd name="connsiteY830" fmla="*/ 114490 h 1273968"/>
                <a:gd name="connsiteX831" fmla="*/ 1210723 w 1489995"/>
                <a:gd name="connsiteY831" fmla="*/ 114681 h 1273968"/>
                <a:gd name="connsiteX832" fmla="*/ 1211104 w 1489995"/>
                <a:gd name="connsiteY832" fmla="*/ 117824 h 1273968"/>
                <a:gd name="connsiteX833" fmla="*/ 1209580 w 1489995"/>
                <a:gd name="connsiteY833" fmla="*/ 118015 h 1273968"/>
                <a:gd name="connsiteX834" fmla="*/ 1210151 w 1489995"/>
                <a:gd name="connsiteY834" fmla="*/ 122777 h 1273968"/>
                <a:gd name="connsiteX835" fmla="*/ 1203674 w 1489995"/>
                <a:gd name="connsiteY835" fmla="*/ 122015 h 1273968"/>
                <a:gd name="connsiteX836" fmla="*/ 1204055 w 1489995"/>
                <a:gd name="connsiteY836" fmla="*/ 125158 h 1273968"/>
                <a:gd name="connsiteX837" fmla="*/ 1196150 w 1489995"/>
                <a:gd name="connsiteY837" fmla="*/ 126111 h 1273968"/>
                <a:gd name="connsiteX838" fmla="*/ 1191768 w 1489995"/>
                <a:gd name="connsiteY838" fmla="*/ 129921 h 1273968"/>
                <a:gd name="connsiteX839" fmla="*/ 1192816 w 1489995"/>
                <a:gd name="connsiteY839" fmla="*/ 137827 h 1273968"/>
                <a:gd name="connsiteX840" fmla="*/ 1194816 w 1489995"/>
                <a:gd name="connsiteY840" fmla="*/ 140779 h 1273968"/>
                <a:gd name="connsiteX841" fmla="*/ 1198150 w 1489995"/>
                <a:gd name="connsiteY841" fmla="*/ 141923 h 1273968"/>
                <a:gd name="connsiteX842" fmla="*/ 1205675 w 1489995"/>
                <a:gd name="connsiteY842" fmla="*/ 150590 h 1273968"/>
                <a:gd name="connsiteX843" fmla="*/ 1206246 w 1489995"/>
                <a:gd name="connsiteY843" fmla="*/ 155353 h 1273968"/>
                <a:gd name="connsiteX844" fmla="*/ 1205103 w 1489995"/>
                <a:gd name="connsiteY844" fmla="*/ 158686 h 1273968"/>
                <a:gd name="connsiteX845" fmla="*/ 1203769 w 1489995"/>
                <a:gd name="connsiteY845" fmla="*/ 160496 h 1273968"/>
                <a:gd name="connsiteX846" fmla="*/ 1207103 w 1489995"/>
                <a:gd name="connsiteY846" fmla="*/ 161639 h 1273968"/>
                <a:gd name="connsiteX847" fmla="*/ 1212437 w 1489995"/>
                <a:gd name="connsiteY847" fmla="*/ 165735 h 1273968"/>
                <a:gd name="connsiteX848" fmla="*/ 1211009 w 1489995"/>
                <a:gd name="connsiteY848" fmla="*/ 167545 h 1273968"/>
                <a:gd name="connsiteX849" fmla="*/ 1211485 w 1489995"/>
                <a:gd name="connsiteY849" fmla="*/ 170688 h 1273968"/>
                <a:gd name="connsiteX850" fmla="*/ 1208056 w 1489995"/>
                <a:gd name="connsiteY850" fmla="*/ 169545 h 1273968"/>
                <a:gd name="connsiteX851" fmla="*/ 1206722 w 1489995"/>
                <a:gd name="connsiteY851" fmla="*/ 171355 h 1273968"/>
                <a:gd name="connsiteX852" fmla="*/ 1208246 w 1489995"/>
                <a:gd name="connsiteY852" fmla="*/ 171069 h 1273968"/>
                <a:gd name="connsiteX853" fmla="*/ 1208723 w 1489995"/>
                <a:gd name="connsiteY853" fmla="*/ 174308 h 1273968"/>
                <a:gd name="connsiteX854" fmla="*/ 1207484 w 1489995"/>
                <a:gd name="connsiteY854" fmla="*/ 177641 h 1273968"/>
                <a:gd name="connsiteX855" fmla="*/ 1209104 w 1489995"/>
                <a:gd name="connsiteY855" fmla="*/ 177451 h 1273968"/>
                <a:gd name="connsiteX856" fmla="*/ 1208342 w 1489995"/>
                <a:gd name="connsiteY856" fmla="*/ 183928 h 1273968"/>
                <a:gd name="connsiteX857" fmla="*/ 1206722 w 1489995"/>
                <a:gd name="connsiteY857" fmla="*/ 184118 h 1273968"/>
                <a:gd name="connsiteX858" fmla="*/ 1207389 w 1489995"/>
                <a:gd name="connsiteY858" fmla="*/ 188881 h 1273968"/>
                <a:gd name="connsiteX859" fmla="*/ 1203008 w 1489995"/>
                <a:gd name="connsiteY859" fmla="*/ 192596 h 1273968"/>
                <a:gd name="connsiteX860" fmla="*/ 1205389 w 1489995"/>
                <a:gd name="connsiteY860" fmla="*/ 198787 h 1273968"/>
                <a:gd name="connsiteX861" fmla="*/ 1209961 w 1489995"/>
                <a:gd name="connsiteY861" fmla="*/ 196596 h 1273968"/>
                <a:gd name="connsiteX862" fmla="*/ 1210342 w 1489995"/>
                <a:gd name="connsiteY862" fmla="*/ 199739 h 1273968"/>
                <a:gd name="connsiteX863" fmla="*/ 1213294 w 1489995"/>
                <a:gd name="connsiteY863" fmla="*/ 197739 h 1273968"/>
                <a:gd name="connsiteX864" fmla="*/ 1215104 w 1489995"/>
                <a:gd name="connsiteY864" fmla="*/ 199073 h 1273968"/>
                <a:gd name="connsiteX865" fmla="*/ 1221010 w 1489995"/>
                <a:gd name="connsiteY865" fmla="*/ 208026 h 1273968"/>
                <a:gd name="connsiteX866" fmla="*/ 1221391 w 1489995"/>
                <a:gd name="connsiteY866" fmla="*/ 211169 h 1273968"/>
                <a:gd name="connsiteX867" fmla="*/ 1216628 w 1489995"/>
                <a:gd name="connsiteY867" fmla="*/ 211741 h 1273968"/>
                <a:gd name="connsiteX868" fmla="*/ 1217295 w 1489995"/>
                <a:gd name="connsiteY868" fmla="*/ 216503 h 1273968"/>
                <a:gd name="connsiteX869" fmla="*/ 1220629 w 1489995"/>
                <a:gd name="connsiteY869" fmla="*/ 217646 h 1273968"/>
                <a:gd name="connsiteX870" fmla="*/ 1219486 w 1489995"/>
                <a:gd name="connsiteY870" fmla="*/ 220980 h 1273968"/>
                <a:gd name="connsiteX871" fmla="*/ 1226153 w 1489995"/>
                <a:gd name="connsiteY871" fmla="*/ 223361 h 1273968"/>
                <a:gd name="connsiteX872" fmla="*/ 1220914 w 1489995"/>
                <a:gd name="connsiteY872" fmla="*/ 244888 h 1273968"/>
                <a:gd name="connsiteX873" fmla="*/ 1219105 w 1489995"/>
                <a:gd name="connsiteY873" fmla="*/ 243459 h 1273968"/>
                <a:gd name="connsiteX874" fmla="*/ 1217962 w 1489995"/>
                <a:gd name="connsiteY874" fmla="*/ 246888 h 1273968"/>
                <a:gd name="connsiteX875" fmla="*/ 1215962 w 1489995"/>
                <a:gd name="connsiteY875" fmla="*/ 243935 h 1273968"/>
                <a:gd name="connsiteX876" fmla="*/ 1214818 w 1489995"/>
                <a:gd name="connsiteY876" fmla="*/ 247269 h 1273968"/>
                <a:gd name="connsiteX877" fmla="*/ 1208437 w 1489995"/>
                <a:gd name="connsiteY877" fmla="*/ 248031 h 1273968"/>
                <a:gd name="connsiteX878" fmla="*/ 1209294 w 1489995"/>
                <a:gd name="connsiteY878" fmla="*/ 254413 h 1273968"/>
                <a:gd name="connsiteX879" fmla="*/ 1210818 w 1489995"/>
                <a:gd name="connsiteY879" fmla="*/ 254222 h 1273968"/>
                <a:gd name="connsiteX880" fmla="*/ 1211294 w 1489995"/>
                <a:gd name="connsiteY880" fmla="*/ 257365 h 1273968"/>
                <a:gd name="connsiteX881" fmla="*/ 1208342 w 1489995"/>
                <a:gd name="connsiteY881" fmla="*/ 259271 h 1273968"/>
                <a:gd name="connsiteX882" fmla="*/ 1213676 w 1489995"/>
                <a:gd name="connsiteY882" fmla="*/ 263461 h 1273968"/>
                <a:gd name="connsiteX883" fmla="*/ 1212437 w 1489995"/>
                <a:gd name="connsiteY883" fmla="*/ 266795 h 1273968"/>
                <a:gd name="connsiteX884" fmla="*/ 1209294 w 1489995"/>
                <a:gd name="connsiteY884" fmla="*/ 267176 h 1273968"/>
                <a:gd name="connsiteX885" fmla="*/ 1207960 w 1489995"/>
                <a:gd name="connsiteY885" fmla="*/ 268986 h 1273968"/>
                <a:gd name="connsiteX886" fmla="*/ 1206341 w 1489995"/>
                <a:gd name="connsiteY886" fmla="*/ 269177 h 1273968"/>
                <a:gd name="connsiteX887" fmla="*/ 1207770 w 1489995"/>
                <a:gd name="connsiteY887" fmla="*/ 267367 h 1273968"/>
                <a:gd name="connsiteX888" fmla="*/ 1205960 w 1489995"/>
                <a:gd name="connsiteY888" fmla="*/ 266033 h 1273968"/>
                <a:gd name="connsiteX889" fmla="*/ 1204531 w 1489995"/>
                <a:gd name="connsiteY889" fmla="*/ 267843 h 1273968"/>
                <a:gd name="connsiteX890" fmla="*/ 1201198 w 1489995"/>
                <a:gd name="connsiteY890" fmla="*/ 266605 h 1273968"/>
                <a:gd name="connsiteX891" fmla="*/ 1199864 w 1489995"/>
                <a:gd name="connsiteY891" fmla="*/ 268415 h 1273968"/>
                <a:gd name="connsiteX892" fmla="*/ 1196245 w 1489995"/>
                <a:gd name="connsiteY892" fmla="*/ 265652 h 1273968"/>
                <a:gd name="connsiteX893" fmla="*/ 1193768 w 1489995"/>
                <a:gd name="connsiteY893" fmla="*/ 270796 h 1273968"/>
                <a:gd name="connsiteX894" fmla="*/ 1186815 w 1489995"/>
                <a:gd name="connsiteY894" fmla="*/ 279654 h 1273968"/>
                <a:gd name="connsiteX895" fmla="*/ 1192339 w 1489995"/>
                <a:gd name="connsiteY895" fmla="*/ 285369 h 1273968"/>
                <a:gd name="connsiteX896" fmla="*/ 1196340 w 1489995"/>
                <a:gd name="connsiteY896" fmla="*/ 291275 h 1273968"/>
                <a:gd name="connsiteX897" fmla="*/ 1199483 w 1489995"/>
                <a:gd name="connsiteY897" fmla="*/ 290894 h 1273968"/>
                <a:gd name="connsiteX898" fmla="*/ 1204817 w 1489995"/>
                <a:gd name="connsiteY898" fmla="*/ 295085 h 1273968"/>
                <a:gd name="connsiteX899" fmla="*/ 1203293 w 1489995"/>
                <a:gd name="connsiteY899" fmla="*/ 295275 h 1273968"/>
                <a:gd name="connsiteX900" fmla="*/ 1199102 w 1489995"/>
                <a:gd name="connsiteY900" fmla="*/ 300609 h 1273968"/>
                <a:gd name="connsiteX901" fmla="*/ 1201864 w 1489995"/>
                <a:gd name="connsiteY901" fmla="*/ 309848 h 1273968"/>
                <a:gd name="connsiteX902" fmla="*/ 1204055 w 1489995"/>
                <a:gd name="connsiteY902" fmla="*/ 314420 h 1273968"/>
                <a:gd name="connsiteX903" fmla="*/ 1207675 w 1489995"/>
                <a:gd name="connsiteY903" fmla="*/ 317087 h 1273968"/>
                <a:gd name="connsiteX904" fmla="*/ 1214533 w 1489995"/>
                <a:gd name="connsiteY904" fmla="*/ 321088 h 1273968"/>
                <a:gd name="connsiteX905" fmla="*/ 1221296 w 1489995"/>
                <a:gd name="connsiteY905" fmla="*/ 323374 h 1273968"/>
                <a:gd name="connsiteX906" fmla="*/ 1224248 w 1489995"/>
                <a:gd name="connsiteY906" fmla="*/ 321469 h 1273968"/>
                <a:gd name="connsiteX907" fmla="*/ 1229582 w 1489995"/>
                <a:gd name="connsiteY907" fmla="*/ 312706 h 1273968"/>
                <a:gd name="connsiteX908" fmla="*/ 1233488 w 1489995"/>
                <a:gd name="connsiteY908" fmla="*/ 318611 h 1273968"/>
                <a:gd name="connsiteX909" fmla="*/ 1241965 w 1489995"/>
                <a:gd name="connsiteY909" fmla="*/ 322326 h 1273968"/>
                <a:gd name="connsiteX910" fmla="*/ 1245394 w 1489995"/>
                <a:gd name="connsiteY910" fmla="*/ 323564 h 1273968"/>
                <a:gd name="connsiteX911" fmla="*/ 1243965 w 1489995"/>
                <a:gd name="connsiteY911" fmla="*/ 325374 h 1273968"/>
                <a:gd name="connsiteX912" fmla="*/ 1242631 w 1489995"/>
                <a:gd name="connsiteY912" fmla="*/ 327088 h 1273968"/>
                <a:gd name="connsiteX913" fmla="*/ 1241012 w 1489995"/>
                <a:gd name="connsiteY913" fmla="*/ 327279 h 1273968"/>
                <a:gd name="connsiteX914" fmla="*/ 1240441 w 1489995"/>
                <a:gd name="connsiteY914" fmla="*/ 335375 h 1273968"/>
                <a:gd name="connsiteX915" fmla="*/ 1243775 w 1489995"/>
                <a:gd name="connsiteY915" fmla="*/ 336613 h 1273968"/>
                <a:gd name="connsiteX916" fmla="*/ 1247965 w 1489995"/>
                <a:gd name="connsiteY916" fmla="*/ 331280 h 1273968"/>
                <a:gd name="connsiteX917" fmla="*/ 1249680 w 1489995"/>
                <a:gd name="connsiteY917" fmla="*/ 332613 h 1273968"/>
                <a:gd name="connsiteX918" fmla="*/ 1249871 w 1489995"/>
                <a:gd name="connsiteY918" fmla="*/ 334232 h 1273968"/>
                <a:gd name="connsiteX919" fmla="*/ 1253871 w 1489995"/>
                <a:gd name="connsiteY919" fmla="*/ 340138 h 1273968"/>
                <a:gd name="connsiteX920" fmla="*/ 1255490 w 1489995"/>
                <a:gd name="connsiteY920" fmla="*/ 339947 h 1273968"/>
                <a:gd name="connsiteX921" fmla="*/ 1257395 w 1489995"/>
                <a:gd name="connsiteY921" fmla="*/ 342900 h 1273968"/>
                <a:gd name="connsiteX922" fmla="*/ 1260634 w 1489995"/>
                <a:gd name="connsiteY922" fmla="*/ 342424 h 1273968"/>
                <a:gd name="connsiteX923" fmla="*/ 1264348 w 1489995"/>
                <a:gd name="connsiteY923" fmla="*/ 346805 h 1273968"/>
                <a:gd name="connsiteX924" fmla="*/ 1264920 w 1489995"/>
                <a:gd name="connsiteY924" fmla="*/ 351568 h 1273968"/>
                <a:gd name="connsiteX925" fmla="*/ 1261586 w 1489995"/>
                <a:gd name="connsiteY925" fmla="*/ 350330 h 1273968"/>
                <a:gd name="connsiteX926" fmla="*/ 1255681 w 1489995"/>
                <a:gd name="connsiteY926" fmla="*/ 354330 h 1273968"/>
                <a:gd name="connsiteX927" fmla="*/ 1256062 w 1489995"/>
                <a:gd name="connsiteY927" fmla="*/ 357473 h 1273968"/>
                <a:gd name="connsiteX928" fmla="*/ 1259681 w 1489995"/>
                <a:gd name="connsiteY928" fmla="*/ 360236 h 1273968"/>
                <a:gd name="connsiteX929" fmla="*/ 1260253 w 1489995"/>
                <a:gd name="connsiteY929" fmla="*/ 364998 h 1273968"/>
                <a:gd name="connsiteX930" fmla="*/ 1257681 w 1489995"/>
                <a:gd name="connsiteY930" fmla="*/ 370046 h 1273968"/>
                <a:gd name="connsiteX931" fmla="*/ 1261301 w 1489995"/>
                <a:gd name="connsiteY931" fmla="*/ 372809 h 1273968"/>
                <a:gd name="connsiteX932" fmla="*/ 1271492 w 1489995"/>
                <a:gd name="connsiteY932" fmla="*/ 377952 h 1273968"/>
                <a:gd name="connsiteX933" fmla="*/ 1271968 w 1489995"/>
                <a:gd name="connsiteY933" fmla="*/ 381095 h 1273968"/>
                <a:gd name="connsiteX934" fmla="*/ 1273683 w 1489995"/>
                <a:gd name="connsiteY934" fmla="*/ 382524 h 1273968"/>
                <a:gd name="connsiteX935" fmla="*/ 1274921 w 1489995"/>
                <a:gd name="connsiteY935" fmla="*/ 379095 h 1273968"/>
                <a:gd name="connsiteX936" fmla="*/ 1276445 w 1489995"/>
                <a:gd name="connsiteY936" fmla="*/ 378905 h 1273968"/>
                <a:gd name="connsiteX937" fmla="*/ 1276826 w 1489995"/>
                <a:gd name="connsiteY937" fmla="*/ 382048 h 1273968"/>
                <a:gd name="connsiteX938" fmla="*/ 1278636 w 1489995"/>
                <a:gd name="connsiteY938" fmla="*/ 383477 h 1273968"/>
                <a:gd name="connsiteX939" fmla="*/ 1280065 w 1489995"/>
                <a:gd name="connsiteY939" fmla="*/ 381667 h 1273968"/>
                <a:gd name="connsiteX940" fmla="*/ 1281589 w 1489995"/>
                <a:gd name="connsiteY940" fmla="*/ 381476 h 1273968"/>
                <a:gd name="connsiteX941" fmla="*/ 1281208 w 1489995"/>
                <a:gd name="connsiteY941" fmla="*/ 378333 h 1273968"/>
                <a:gd name="connsiteX942" fmla="*/ 1290828 w 1489995"/>
                <a:gd name="connsiteY942" fmla="*/ 378714 h 1273968"/>
                <a:gd name="connsiteX943" fmla="*/ 1295019 w 1489995"/>
                <a:gd name="connsiteY943" fmla="*/ 373380 h 1273968"/>
                <a:gd name="connsiteX944" fmla="*/ 1298162 w 1489995"/>
                <a:gd name="connsiteY944" fmla="*/ 372999 h 1273968"/>
                <a:gd name="connsiteX945" fmla="*/ 1299972 w 1489995"/>
                <a:gd name="connsiteY945" fmla="*/ 374333 h 1273968"/>
                <a:gd name="connsiteX946" fmla="*/ 1300163 w 1489995"/>
                <a:gd name="connsiteY946" fmla="*/ 375952 h 1273968"/>
                <a:gd name="connsiteX947" fmla="*/ 1303687 w 1489995"/>
                <a:gd name="connsiteY947" fmla="*/ 378714 h 1273968"/>
                <a:gd name="connsiteX948" fmla="*/ 1303877 w 1489995"/>
                <a:gd name="connsiteY948" fmla="*/ 380238 h 1273968"/>
                <a:gd name="connsiteX949" fmla="*/ 1306830 w 1489995"/>
                <a:gd name="connsiteY949" fmla="*/ 378238 h 1273968"/>
                <a:gd name="connsiteX950" fmla="*/ 1310450 w 1489995"/>
                <a:gd name="connsiteY950" fmla="*/ 381000 h 1273968"/>
                <a:gd name="connsiteX951" fmla="*/ 1311783 w 1489995"/>
                <a:gd name="connsiteY951" fmla="*/ 379286 h 1273968"/>
                <a:gd name="connsiteX952" fmla="*/ 1318546 w 1489995"/>
                <a:gd name="connsiteY952" fmla="*/ 381571 h 1273968"/>
                <a:gd name="connsiteX953" fmla="*/ 1325404 w 1489995"/>
                <a:gd name="connsiteY953" fmla="*/ 385477 h 1273968"/>
                <a:gd name="connsiteX954" fmla="*/ 1324070 w 1489995"/>
                <a:gd name="connsiteY954" fmla="*/ 387286 h 1273968"/>
                <a:gd name="connsiteX955" fmla="*/ 1327594 w 1489995"/>
                <a:gd name="connsiteY955" fmla="*/ 390049 h 1273968"/>
                <a:gd name="connsiteX956" fmla="*/ 1328928 w 1489995"/>
                <a:gd name="connsiteY956" fmla="*/ 388239 h 1273968"/>
                <a:gd name="connsiteX957" fmla="*/ 1333310 w 1489995"/>
                <a:gd name="connsiteY957" fmla="*/ 384524 h 1273968"/>
                <a:gd name="connsiteX958" fmla="*/ 1335691 w 1489995"/>
                <a:gd name="connsiteY958" fmla="*/ 377761 h 1273968"/>
                <a:gd name="connsiteX959" fmla="*/ 1342168 w 1489995"/>
                <a:gd name="connsiteY959" fmla="*/ 378619 h 1273968"/>
                <a:gd name="connsiteX960" fmla="*/ 1346549 w 1489995"/>
                <a:gd name="connsiteY960" fmla="*/ 374809 h 1273968"/>
                <a:gd name="connsiteX961" fmla="*/ 1351217 w 1489995"/>
                <a:gd name="connsiteY961" fmla="*/ 374237 h 1273968"/>
                <a:gd name="connsiteX962" fmla="*/ 1352645 w 1489995"/>
                <a:gd name="connsiteY962" fmla="*/ 372428 h 1273968"/>
                <a:gd name="connsiteX963" fmla="*/ 1357313 w 1489995"/>
                <a:gd name="connsiteY963" fmla="*/ 371856 h 1273968"/>
                <a:gd name="connsiteX964" fmla="*/ 1358551 w 1489995"/>
                <a:gd name="connsiteY964" fmla="*/ 368522 h 1273968"/>
                <a:gd name="connsiteX965" fmla="*/ 1358932 w 1489995"/>
                <a:gd name="connsiteY965" fmla="*/ 371665 h 1273968"/>
                <a:gd name="connsiteX966" fmla="*/ 1360551 w 1489995"/>
                <a:gd name="connsiteY966" fmla="*/ 371475 h 1273968"/>
                <a:gd name="connsiteX967" fmla="*/ 1361504 w 1489995"/>
                <a:gd name="connsiteY967" fmla="*/ 379286 h 1273968"/>
                <a:gd name="connsiteX968" fmla="*/ 1363123 w 1489995"/>
                <a:gd name="connsiteY968" fmla="*/ 379095 h 1273968"/>
                <a:gd name="connsiteX969" fmla="*/ 1363313 w 1489995"/>
                <a:gd name="connsiteY969" fmla="*/ 380714 h 1273968"/>
                <a:gd name="connsiteX970" fmla="*/ 1367981 w 1489995"/>
                <a:gd name="connsiteY970" fmla="*/ 380048 h 1273968"/>
                <a:gd name="connsiteX971" fmla="*/ 1371600 w 1489995"/>
                <a:gd name="connsiteY971" fmla="*/ 382810 h 1273968"/>
                <a:gd name="connsiteX972" fmla="*/ 1371790 w 1489995"/>
                <a:gd name="connsiteY972" fmla="*/ 384429 h 1273968"/>
                <a:gd name="connsiteX973" fmla="*/ 1376553 w 1489995"/>
                <a:gd name="connsiteY973" fmla="*/ 383858 h 1273968"/>
                <a:gd name="connsiteX974" fmla="*/ 1378744 w 1489995"/>
                <a:gd name="connsiteY974" fmla="*/ 388334 h 1273968"/>
                <a:gd name="connsiteX975" fmla="*/ 1374362 w 1489995"/>
                <a:gd name="connsiteY975" fmla="*/ 392144 h 1273968"/>
                <a:gd name="connsiteX976" fmla="*/ 1376553 w 1489995"/>
                <a:gd name="connsiteY976" fmla="*/ 396621 h 1273968"/>
                <a:gd name="connsiteX977" fmla="*/ 1376743 w 1489995"/>
                <a:gd name="connsiteY977" fmla="*/ 398240 h 1273968"/>
                <a:gd name="connsiteX978" fmla="*/ 1375219 w 1489995"/>
                <a:gd name="connsiteY978" fmla="*/ 398431 h 1273968"/>
                <a:gd name="connsiteX979" fmla="*/ 1377982 w 1489995"/>
                <a:gd name="connsiteY979" fmla="*/ 407670 h 1273968"/>
                <a:gd name="connsiteX980" fmla="*/ 1377029 w 1489995"/>
                <a:gd name="connsiteY980" fmla="*/ 412623 h 1273968"/>
                <a:gd name="connsiteX981" fmla="*/ 1378744 w 1489995"/>
                <a:gd name="connsiteY981" fmla="*/ 413957 h 1273968"/>
                <a:gd name="connsiteX982" fmla="*/ 1382744 w 1489995"/>
                <a:gd name="connsiteY982" fmla="*/ 419957 h 1273968"/>
                <a:gd name="connsiteX983" fmla="*/ 1378363 w 1489995"/>
                <a:gd name="connsiteY983" fmla="*/ 423672 h 1273968"/>
                <a:gd name="connsiteX984" fmla="*/ 1373696 w 1489995"/>
                <a:gd name="connsiteY984" fmla="*/ 424244 h 1273968"/>
                <a:gd name="connsiteX985" fmla="*/ 1370933 w 1489995"/>
                <a:gd name="connsiteY985" fmla="*/ 427863 h 1273968"/>
                <a:gd name="connsiteX986" fmla="*/ 1374267 w 1489995"/>
                <a:gd name="connsiteY986" fmla="*/ 429006 h 1273968"/>
                <a:gd name="connsiteX987" fmla="*/ 1376077 w 1489995"/>
                <a:gd name="connsiteY987" fmla="*/ 443198 h 1273968"/>
                <a:gd name="connsiteX988" fmla="*/ 1372362 w 1489995"/>
                <a:gd name="connsiteY988" fmla="*/ 451675 h 1273968"/>
                <a:gd name="connsiteX989" fmla="*/ 1378839 w 1489995"/>
                <a:gd name="connsiteY989" fmla="*/ 452438 h 1273968"/>
                <a:gd name="connsiteX990" fmla="*/ 1379696 w 1489995"/>
                <a:gd name="connsiteY990" fmla="*/ 458819 h 1273968"/>
                <a:gd name="connsiteX991" fmla="*/ 1381220 w 1489995"/>
                <a:gd name="connsiteY991" fmla="*/ 458629 h 1273968"/>
                <a:gd name="connsiteX992" fmla="*/ 1387983 w 1489995"/>
                <a:gd name="connsiteY992" fmla="*/ 460915 h 1273968"/>
                <a:gd name="connsiteX993" fmla="*/ 1385983 w 1489995"/>
                <a:gd name="connsiteY993" fmla="*/ 470821 h 1273968"/>
                <a:gd name="connsiteX994" fmla="*/ 1388745 w 1489995"/>
                <a:gd name="connsiteY994" fmla="*/ 467296 h 1273968"/>
                <a:gd name="connsiteX995" fmla="*/ 1389126 w 1489995"/>
                <a:gd name="connsiteY995" fmla="*/ 470440 h 1273968"/>
                <a:gd name="connsiteX996" fmla="*/ 1390936 w 1489995"/>
                <a:gd name="connsiteY996" fmla="*/ 471773 h 1273968"/>
                <a:gd name="connsiteX997" fmla="*/ 1388364 w 1489995"/>
                <a:gd name="connsiteY997" fmla="*/ 476917 h 1273968"/>
                <a:gd name="connsiteX998" fmla="*/ 1394269 w 1489995"/>
                <a:gd name="connsiteY998" fmla="*/ 472916 h 1273968"/>
                <a:gd name="connsiteX999" fmla="*/ 1390364 w 1489995"/>
                <a:gd name="connsiteY999" fmla="*/ 479869 h 1273968"/>
                <a:gd name="connsiteX1000" fmla="*/ 1391126 w 1489995"/>
                <a:gd name="connsiteY1000" fmla="*/ 486156 h 1273968"/>
                <a:gd name="connsiteX1001" fmla="*/ 1388650 w 1489995"/>
                <a:gd name="connsiteY1001" fmla="*/ 491300 h 1273968"/>
                <a:gd name="connsiteX1002" fmla="*/ 1386840 w 1489995"/>
                <a:gd name="connsiteY1002" fmla="*/ 489966 h 1273968"/>
                <a:gd name="connsiteX1003" fmla="*/ 1384078 w 1489995"/>
                <a:gd name="connsiteY1003" fmla="*/ 493490 h 1273968"/>
                <a:gd name="connsiteX1004" fmla="*/ 1385888 w 1489995"/>
                <a:gd name="connsiteY1004" fmla="*/ 494919 h 1273968"/>
                <a:gd name="connsiteX1005" fmla="*/ 1387888 w 1489995"/>
                <a:gd name="connsiteY1005" fmla="*/ 497872 h 1273968"/>
                <a:gd name="connsiteX1006" fmla="*/ 1386268 w 1489995"/>
                <a:gd name="connsiteY1006" fmla="*/ 498062 h 1273968"/>
                <a:gd name="connsiteX1007" fmla="*/ 1385316 w 1489995"/>
                <a:gd name="connsiteY1007" fmla="*/ 503015 h 1273968"/>
                <a:gd name="connsiteX1008" fmla="*/ 1383506 w 1489995"/>
                <a:gd name="connsiteY1008" fmla="*/ 501586 h 1273968"/>
                <a:gd name="connsiteX1009" fmla="*/ 1383887 w 1489995"/>
                <a:gd name="connsiteY1009" fmla="*/ 504730 h 1273968"/>
                <a:gd name="connsiteX1010" fmla="*/ 1379410 w 1489995"/>
                <a:gd name="connsiteY1010" fmla="*/ 506921 h 1273968"/>
                <a:gd name="connsiteX1011" fmla="*/ 1378363 w 1489995"/>
                <a:gd name="connsiteY1011" fmla="*/ 511873 h 1273968"/>
                <a:gd name="connsiteX1012" fmla="*/ 1373505 w 1489995"/>
                <a:gd name="connsiteY1012" fmla="*/ 510921 h 1273968"/>
                <a:gd name="connsiteX1013" fmla="*/ 1372648 w 1489995"/>
                <a:gd name="connsiteY1013" fmla="*/ 517398 h 1273968"/>
                <a:gd name="connsiteX1014" fmla="*/ 1370743 w 1489995"/>
                <a:gd name="connsiteY1014" fmla="*/ 514445 h 1273968"/>
                <a:gd name="connsiteX1015" fmla="*/ 1369314 w 1489995"/>
                <a:gd name="connsiteY1015" fmla="*/ 516255 h 1273968"/>
                <a:gd name="connsiteX1016" fmla="*/ 1369981 w 1489995"/>
                <a:gd name="connsiteY1016" fmla="*/ 521017 h 1273968"/>
                <a:gd name="connsiteX1017" fmla="*/ 1366742 w 1489995"/>
                <a:gd name="connsiteY1017" fmla="*/ 521398 h 1273968"/>
                <a:gd name="connsiteX1018" fmla="*/ 1365028 w 1489995"/>
                <a:gd name="connsiteY1018" fmla="*/ 519970 h 1273968"/>
                <a:gd name="connsiteX1019" fmla="*/ 1363409 w 1489995"/>
                <a:gd name="connsiteY1019" fmla="*/ 520160 h 1273968"/>
                <a:gd name="connsiteX1020" fmla="*/ 1362456 w 1489995"/>
                <a:gd name="connsiteY1020" fmla="*/ 525113 h 1273968"/>
                <a:gd name="connsiteX1021" fmla="*/ 1367218 w 1489995"/>
                <a:gd name="connsiteY1021" fmla="*/ 524542 h 1273968"/>
                <a:gd name="connsiteX1022" fmla="*/ 1375886 w 1489995"/>
                <a:gd name="connsiteY1022" fmla="*/ 529876 h 1273968"/>
                <a:gd name="connsiteX1023" fmla="*/ 1376077 w 1489995"/>
                <a:gd name="connsiteY1023" fmla="*/ 531400 h 1273968"/>
                <a:gd name="connsiteX1024" fmla="*/ 1366076 w 1489995"/>
                <a:gd name="connsiteY1024" fmla="*/ 540734 h 1273968"/>
                <a:gd name="connsiteX1025" fmla="*/ 1358360 w 1489995"/>
                <a:gd name="connsiteY1025" fmla="*/ 543306 h 1273968"/>
                <a:gd name="connsiteX1026" fmla="*/ 1358551 w 1489995"/>
                <a:gd name="connsiteY1026" fmla="*/ 544925 h 1273968"/>
                <a:gd name="connsiteX1027" fmla="*/ 1369981 w 1489995"/>
                <a:gd name="connsiteY1027" fmla="*/ 546640 h 1273968"/>
                <a:gd name="connsiteX1028" fmla="*/ 1379220 w 1489995"/>
                <a:gd name="connsiteY1028" fmla="*/ 543878 h 1273968"/>
                <a:gd name="connsiteX1029" fmla="*/ 1386554 w 1489995"/>
                <a:gd name="connsiteY1029" fmla="*/ 550926 h 1273968"/>
                <a:gd name="connsiteX1030" fmla="*/ 1388555 w 1489995"/>
                <a:gd name="connsiteY1030" fmla="*/ 553879 h 1273968"/>
                <a:gd name="connsiteX1031" fmla="*/ 1395317 w 1489995"/>
                <a:gd name="connsiteY1031" fmla="*/ 556260 h 1273968"/>
                <a:gd name="connsiteX1032" fmla="*/ 1396460 w 1489995"/>
                <a:gd name="connsiteY1032" fmla="*/ 552926 h 1273968"/>
                <a:gd name="connsiteX1033" fmla="*/ 1396079 w 1489995"/>
                <a:gd name="connsiteY1033" fmla="*/ 549688 h 1273968"/>
                <a:gd name="connsiteX1034" fmla="*/ 1399604 w 1489995"/>
                <a:gd name="connsiteY1034" fmla="*/ 552450 h 1273968"/>
                <a:gd name="connsiteX1035" fmla="*/ 1402747 w 1489995"/>
                <a:gd name="connsiteY1035" fmla="*/ 552069 h 1273968"/>
                <a:gd name="connsiteX1036" fmla="*/ 1401604 w 1489995"/>
                <a:gd name="connsiteY1036" fmla="*/ 555403 h 1273968"/>
                <a:gd name="connsiteX1037" fmla="*/ 1412272 w 1489995"/>
                <a:gd name="connsiteY1037" fmla="*/ 563690 h 1273968"/>
                <a:gd name="connsiteX1038" fmla="*/ 1418939 w 1489995"/>
                <a:gd name="connsiteY1038" fmla="*/ 566071 h 1273968"/>
                <a:gd name="connsiteX1039" fmla="*/ 1420368 w 1489995"/>
                <a:gd name="connsiteY1039" fmla="*/ 564261 h 1273968"/>
                <a:gd name="connsiteX1040" fmla="*/ 1422178 w 1489995"/>
                <a:gd name="connsiteY1040" fmla="*/ 565595 h 1273968"/>
                <a:gd name="connsiteX1041" fmla="*/ 1420559 w 1489995"/>
                <a:gd name="connsiteY1041" fmla="*/ 565880 h 1273968"/>
                <a:gd name="connsiteX1042" fmla="*/ 1427321 w 1489995"/>
                <a:gd name="connsiteY1042" fmla="*/ 568166 h 1273968"/>
                <a:gd name="connsiteX1043" fmla="*/ 1419035 w 1489995"/>
                <a:gd name="connsiteY1043" fmla="*/ 578834 h 1273968"/>
                <a:gd name="connsiteX1044" fmla="*/ 1419797 w 1489995"/>
                <a:gd name="connsiteY1044" fmla="*/ 585216 h 1273968"/>
                <a:gd name="connsiteX1045" fmla="*/ 1417987 w 1489995"/>
                <a:gd name="connsiteY1045" fmla="*/ 583787 h 1273968"/>
                <a:gd name="connsiteX1046" fmla="*/ 1416463 w 1489995"/>
                <a:gd name="connsiteY1046" fmla="*/ 583978 h 1273968"/>
                <a:gd name="connsiteX1047" fmla="*/ 1419225 w 1489995"/>
                <a:gd name="connsiteY1047" fmla="*/ 593312 h 1273968"/>
                <a:gd name="connsiteX1048" fmla="*/ 1413319 w 1489995"/>
                <a:gd name="connsiteY1048" fmla="*/ 597218 h 1273968"/>
                <a:gd name="connsiteX1049" fmla="*/ 1408176 w 1489995"/>
                <a:gd name="connsiteY1049" fmla="*/ 594646 h 1273968"/>
                <a:gd name="connsiteX1050" fmla="*/ 1407605 w 1489995"/>
                <a:gd name="connsiteY1050" fmla="*/ 589979 h 1273968"/>
                <a:gd name="connsiteX1051" fmla="*/ 1404080 w 1489995"/>
                <a:gd name="connsiteY1051" fmla="*/ 587216 h 1273968"/>
                <a:gd name="connsiteX1052" fmla="*/ 1398080 w 1489995"/>
                <a:gd name="connsiteY1052" fmla="*/ 591122 h 1273968"/>
                <a:gd name="connsiteX1053" fmla="*/ 1394555 w 1489995"/>
                <a:gd name="connsiteY1053" fmla="*/ 601218 h 1273968"/>
                <a:gd name="connsiteX1054" fmla="*/ 1401699 w 1489995"/>
                <a:gd name="connsiteY1054" fmla="*/ 606743 h 1273968"/>
                <a:gd name="connsiteX1055" fmla="*/ 1406081 w 1489995"/>
                <a:gd name="connsiteY1055" fmla="*/ 602933 h 1273968"/>
                <a:gd name="connsiteX1056" fmla="*/ 1410176 w 1489995"/>
                <a:gd name="connsiteY1056" fmla="*/ 610457 h 1273968"/>
                <a:gd name="connsiteX1057" fmla="*/ 1413319 w 1489995"/>
                <a:gd name="connsiteY1057" fmla="*/ 610076 h 1273968"/>
                <a:gd name="connsiteX1058" fmla="*/ 1408843 w 1489995"/>
                <a:gd name="connsiteY1058" fmla="*/ 612267 h 1273968"/>
                <a:gd name="connsiteX1059" fmla="*/ 1405033 w 1489995"/>
                <a:gd name="connsiteY1059" fmla="*/ 607886 h 1273968"/>
                <a:gd name="connsiteX1060" fmla="*/ 1402271 w 1489995"/>
                <a:gd name="connsiteY1060" fmla="*/ 611505 h 1273968"/>
                <a:gd name="connsiteX1061" fmla="*/ 1399127 w 1489995"/>
                <a:gd name="connsiteY1061" fmla="*/ 611886 h 1273968"/>
                <a:gd name="connsiteX1062" fmla="*/ 1397794 w 1489995"/>
                <a:gd name="connsiteY1062" fmla="*/ 613696 h 1273968"/>
                <a:gd name="connsiteX1063" fmla="*/ 1400365 w 1489995"/>
                <a:gd name="connsiteY1063" fmla="*/ 621316 h 1273968"/>
                <a:gd name="connsiteX1064" fmla="*/ 1402556 w 1489995"/>
                <a:gd name="connsiteY1064" fmla="*/ 625888 h 1273968"/>
                <a:gd name="connsiteX1065" fmla="*/ 1402747 w 1489995"/>
                <a:gd name="connsiteY1065" fmla="*/ 640271 h 1273968"/>
                <a:gd name="connsiteX1066" fmla="*/ 1396270 w 1489995"/>
                <a:gd name="connsiteY1066" fmla="*/ 639509 h 1273968"/>
                <a:gd name="connsiteX1067" fmla="*/ 1391698 w 1489995"/>
                <a:gd name="connsiteY1067" fmla="*/ 641699 h 1273968"/>
                <a:gd name="connsiteX1068" fmla="*/ 1389983 w 1489995"/>
                <a:gd name="connsiteY1068" fmla="*/ 640271 h 1273968"/>
                <a:gd name="connsiteX1069" fmla="*/ 1390364 w 1489995"/>
                <a:gd name="connsiteY1069" fmla="*/ 643414 h 1273968"/>
                <a:gd name="connsiteX1070" fmla="*/ 1387221 w 1489995"/>
                <a:gd name="connsiteY1070" fmla="*/ 643890 h 1273968"/>
                <a:gd name="connsiteX1071" fmla="*/ 1385411 w 1489995"/>
                <a:gd name="connsiteY1071" fmla="*/ 642461 h 1273968"/>
                <a:gd name="connsiteX1072" fmla="*/ 1382077 w 1489995"/>
                <a:gd name="connsiteY1072" fmla="*/ 641318 h 1273968"/>
                <a:gd name="connsiteX1073" fmla="*/ 1380839 w 1489995"/>
                <a:gd name="connsiteY1073" fmla="*/ 644652 h 1273968"/>
                <a:gd name="connsiteX1074" fmla="*/ 1377887 w 1489995"/>
                <a:gd name="connsiteY1074" fmla="*/ 646652 h 1273968"/>
                <a:gd name="connsiteX1075" fmla="*/ 1378172 w 1489995"/>
                <a:gd name="connsiteY1075" fmla="*/ 648272 h 1273968"/>
                <a:gd name="connsiteX1076" fmla="*/ 1381697 w 1489995"/>
                <a:gd name="connsiteY1076" fmla="*/ 650938 h 1273968"/>
                <a:gd name="connsiteX1077" fmla="*/ 1392936 w 1489995"/>
                <a:gd name="connsiteY1077" fmla="*/ 651129 h 1273968"/>
                <a:gd name="connsiteX1078" fmla="*/ 1391793 w 1489995"/>
                <a:gd name="connsiteY1078" fmla="*/ 654558 h 1273968"/>
                <a:gd name="connsiteX1079" fmla="*/ 1396270 w 1489995"/>
                <a:gd name="connsiteY1079" fmla="*/ 652367 h 1273968"/>
                <a:gd name="connsiteX1080" fmla="*/ 1396937 w 1489995"/>
                <a:gd name="connsiteY1080" fmla="*/ 657035 h 1273968"/>
                <a:gd name="connsiteX1081" fmla="*/ 1395508 w 1489995"/>
                <a:gd name="connsiteY1081" fmla="*/ 658844 h 1273968"/>
                <a:gd name="connsiteX1082" fmla="*/ 1393698 w 1489995"/>
                <a:gd name="connsiteY1082" fmla="*/ 657511 h 1273968"/>
                <a:gd name="connsiteX1083" fmla="*/ 1392364 w 1489995"/>
                <a:gd name="connsiteY1083" fmla="*/ 659225 h 1273968"/>
                <a:gd name="connsiteX1084" fmla="*/ 1387221 w 1489995"/>
                <a:gd name="connsiteY1084" fmla="*/ 656654 h 1273968"/>
                <a:gd name="connsiteX1085" fmla="*/ 1387412 w 1489995"/>
                <a:gd name="connsiteY1085" fmla="*/ 658273 h 1273968"/>
                <a:gd name="connsiteX1086" fmla="*/ 1390745 w 1489995"/>
                <a:gd name="connsiteY1086" fmla="*/ 659416 h 1273968"/>
                <a:gd name="connsiteX1087" fmla="*/ 1389221 w 1489995"/>
                <a:gd name="connsiteY1087" fmla="*/ 659606 h 1273968"/>
                <a:gd name="connsiteX1088" fmla="*/ 1384078 w 1489995"/>
                <a:gd name="connsiteY1088" fmla="*/ 657130 h 1273968"/>
                <a:gd name="connsiteX1089" fmla="*/ 1380744 w 1489995"/>
                <a:gd name="connsiteY1089" fmla="*/ 655892 h 1273968"/>
                <a:gd name="connsiteX1090" fmla="*/ 1375029 w 1489995"/>
                <a:gd name="connsiteY1090" fmla="*/ 661416 h 1273968"/>
                <a:gd name="connsiteX1091" fmla="*/ 1368933 w 1489995"/>
                <a:gd name="connsiteY1091" fmla="*/ 663797 h 1273968"/>
                <a:gd name="connsiteX1092" fmla="*/ 1374267 w 1489995"/>
                <a:gd name="connsiteY1092" fmla="*/ 667988 h 1273968"/>
                <a:gd name="connsiteX1093" fmla="*/ 1374648 w 1489995"/>
                <a:gd name="connsiteY1093" fmla="*/ 671132 h 1273968"/>
                <a:gd name="connsiteX1094" fmla="*/ 1376172 w 1489995"/>
                <a:gd name="connsiteY1094" fmla="*/ 670941 h 1273968"/>
                <a:gd name="connsiteX1095" fmla="*/ 1377029 w 1489995"/>
                <a:gd name="connsiteY1095" fmla="*/ 677228 h 1273968"/>
                <a:gd name="connsiteX1096" fmla="*/ 1380554 w 1489995"/>
                <a:gd name="connsiteY1096" fmla="*/ 679990 h 1273968"/>
                <a:gd name="connsiteX1097" fmla="*/ 1382173 w 1489995"/>
                <a:gd name="connsiteY1097" fmla="*/ 679799 h 1273968"/>
                <a:gd name="connsiteX1098" fmla="*/ 1380744 w 1489995"/>
                <a:gd name="connsiteY1098" fmla="*/ 681609 h 1273968"/>
                <a:gd name="connsiteX1099" fmla="*/ 1383887 w 1489995"/>
                <a:gd name="connsiteY1099" fmla="*/ 681133 h 1273968"/>
                <a:gd name="connsiteX1100" fmla="*/ 1384364 w 1489995"/>
                <a:gd name="connsiteY1100" fmla="*/ 684276 h 1273968"/>
                <a:gd name="connsiteX1101" fmla="*/ 1389507 w 1489995"/>
                <a:gd name="connsiteY1101" fmla="*/ 686848 h 1273968"/>
                <a:gd name="connsiteX1102" fmla="*/ 1394651 w 1489995"/>
                <a:gd name="connsiteY1102" fmla="*/ 689420 h 1273968"/>
                <a:gd name="connsiteX1103" fmla="*/ 1396365 w 1489995"/>
                <a:gd name="connsiteY1103" fmla="*/ 690848 h 1273968"/>
                <a:gd name="connsiteX1104" fmla="*/ 1400556 w 1489995"/>
                <a:gd name="connsiteY1104" fmla="*/ 685514 h 1273968"/>
                <a:gd name="connsiteX1105" fmla="*/ 1408843 w 1489995"/>
                <a:gd name="connsiteY1105" fmla="*/ 687610 h 1273968"/>
                <a:gd name="connsiteX1106" fmla="*/ 1407414 w 1489995"/>
                <a:gd name="connsiteY1106" fmla="*/ 689420 h 1273968"/>
                <a:gd name="connsiteX1107" fmla="*/ 1405700 w 1489995"/>
                <a:gd name="connsiteY1107" fmla="*/ 687991 h 1273968"/>
                <a:gd name="connsiteX1108" fmla="*/ 1409414 w 1489995"/>
                <a:gd name="connsiteY1108" fmla="*/ 692372 h 1273968"/>
                <a:gd name="connsiteX1109" fmla="*/ 1412367 w 1489995"/>
                <a:gd name="connsiteY1109" fmla="*/ 690372 h 1273968"/>
                <a:gd name="connsiteX1110" fmla="*/ 1417510 w 1489995"/>
                <a:gd name="connsiteY1110" fmla="*/ 692944 h 1273968"/>
                <a:gd name="connsiteX1111" fmla="*/ 1413129 w 1489995"/>
                <a:gd name="connsiteY1111" fmla="*/ 696659 h 1273968"/>
                <a:gd name="connsiteX1112" fmla="*/ 1409986 w 1489995"/>
                <a:gd name="connsiteY1112" fmla="*/ 697040 h 1273968"/>
                <a:gd name="connsiteX1113" fmla="*/ 1411986 w 1489995"/>
                <a:gd name="connsiteY1113" fmla="*/ 699992 h 1273968"/>
                <a:gd name="connsiteX1114" fmla="*/ 1415320 w 1489995"/>
                <a:gd name="connsiteY1114" fmla="*/ 701231 h 1273968"/>
                <a:gd name="connsiteX1115" fmla="*/ 1418558 w 1489995"/>
                <a:gd name="connsiteY1115" fmla="*/ 700850 h 1273968"/>
                <a:gd name="connsiteX1116" fmla="*/ 1418749 w 1489995"/>
                <a:gd name="connsiteY1116" fmla="*/ 702374 h 1273968"/>
                <a:gd name="connsiteX1117" fmla="*/ 1420082 w 1489995"/>
                <a:gd name="connsiteY1117" fmla="*/ 700659 h 1273968"/>
                <a:gd name="connsiteX1118" fmla="*/ 1421892 w 1489995"/>
                <a:gd name="connsiteY1118" fmla="*/ 701993 h 1273968"/>
                <a:gd name="connsiteX1119" fmla="*/ 1427035 w 1489995"/>
                <a:gd name="connsiteY1119" fmla="*/ 704564 h 1273968"/>
                <a:gd name="connsiteX1120" fmla="*/ 1434275 w 1489995"/>
                <a:gd name="connsiteY1120" fmla="*/ 698849 h 1273968"/>
                <a:gd name="connsiteX1121" fmla="*/ 1436084 w 1489995"/>
                <a:gd name="connsiteY1121" fmla="*/ 700183 h 1273968"/>
                <a:gd name="connsiteX1122" fmla="*/ 1436465 w 1489995"/>
                <a:gd name="connsiteY1122" fmla="*/ 703326 h 1273968"/>
                <a:gd name="connsiteX1123" fmla="*/ 1438275 w 1489995"/>
                <a:gd name="connsiteY1123" fmla="*/ 704755 h 1273968"/>
                <a:gd name="connsiteX1124" fmla="*/ 1435322 w 1489995"/>
                <a:gd name="connsiteY1124" fmla="*/ 706660 h 1273968"/>
                <a:gd name="connsiteX1125" fmla="*/ 1436084 w 1489995"/>
                <a:gd name="connsiteY1125" fmla="*/ 713041 h 1273968"/>
                <a:gd name="connsiteX1126" fmla="*/ 1439227 w 1489995"/>
                <a:gd name="connsiteY1126" fmla="*/ 712565 h 1273968"/>
                <a:gd name="connsiteX1127" fmla="*/ 1442752 w 1489995"/>
                <a:gd name="connsiteY1127" fmla="*/ 702564 h 1273968"/>
                <a:gd name="connsiteX1128" fmla="*/ 1444752 w 1489995"/>
                <a:gd name="connsiteY1128" fmla="*/ 705517 h 1273968"/>
                <a:gd name="connsiteX1129" fmla="*/ 1443609 w 1489995"/>
                <a:gd name="connsiteY1129" fmla="*/ 708851 h 1273968"/>
                <a:gd name="connsiteX1130" fmla="*/ 1446752 w 1489995"/>
                <a:gd name="connsiteY1130" fmla="*/ 708470 h 1273968"/>
                <a:gd name="connsiteX1131" fmla="*/ 1445800 w 1489995"/>
                <a:gd name="connsiteY1131" fmla="*/ 713423 h 1273968"/>
                <a:gd name="connsiteX1132" fmla="*/ 1446371 w 1489995"/>
                <a:gd name="connsiteY1132" fmla="*/ 718090 h 1273968"/>
                <a:gd name="connsiteX1133" fmla="*/ 1445038 w 1489995"/>
                <a:gd name="connsiteY1133" fmla="*/ 719899 h 1273968"/>
                <a:gd name="connsiteX1134" fmla="*/ 1437513 w 1489995"/>
                <a:gd name="connsiteY1134" fmla="*/ 724090 h 1273968"/>
                <a:gd name="connsiteX1135" fmla="*/ 1437704 w 1489995"/>
                <a:gd name="connsiteY1135" fmla="*/ 725615 h 1273968"/>
                <a:gd name="connsiteX1136" fmla="*/ 1439704 w 1489995"/>
                <a:gd name="connsiteY1136" fmla="*/ 728567 h 1273968"/>
                <a:gd name="connsiteX1137" fmla="*/ 1448372 w 1489995"/>
                <a:gd name="connsiteY1137" fmla="*/ 733901 h 1273968"/>
                <a:gd name="connsiteX1138" fmla="*/ 1467707 w 1489995"/>
                <a:gd name="connsiteY1138" fmla="*/ 747427 h 1273968"/>
                <a:gd name="connsiteX1139" fmla="*/ 1469136 w 1489995"/>
                <a:gd name="connsiteY1139" fmla="*/ 745712 h 1273968"/>
                <a:gd name="connsiteX1140" fmla="*/ 1472279 w 1489995"/>
                <a:gd name="connsiteY1140" fmla="*/ 745236 h 1273968"/>
                <a:gd name="connsiteX1141" fmla="*/ 1474470 w 1489995"/>
                <a:gd name="connsiteY1141" fmla="*/ 749808 h 1273968"/>
                <a:gd name="connsiteX1142" fmla="*/ 1475804 w 1489995"/>
                <a:gd name="connsiteY1142" fmla="*/ 747998 h 1273968"/>
                <a:gd name="connsiteX1143" fmla="*/ 1477613 w 1489995"/>
                <a:gd name="connsiteY1143" fmla="*/ 749427 h 1273968"/>
                <a:gd name="connsiteX1144" fmla="*/ 1479423 w 1489995"/>
                <a:gd name="connsiteY1144" fmla="*/ 750761 h 1273968"/>
                <a:gd name="connsiteX1145" fmla="*/ 1478185 w 1489995"/>
                <a:gd name="connsiteY1145" fmla="*/ 754190 h 1273968"/>
                <a:gd name="connsiteX1146" fmla="*/ 1481614 w 1489995"/>
                <a:gd name="connsiteY1146" fmla="*/ 755332 h 1273968"/>
                <a:gd name="connsiteX1147" fmla="*/ 1484376 w 1489995"/>
                <a:gd name="connsiteY1147" fmla="*/ 751808 h 1273968"/>
                <a:gd name="connsiteX1148" fmla="*/ 1488281 w 1489995"/>
                <a:gd name="connsiteY1148" fmla="*/ 757714 h 1273968"/>
                <a:gd name="connsiteX1149" fmla="*/ 1485710 w 1489995"/>
                <a:gd name="connsiteY1149" fmla="*/ 762857 h 1273968"/>
                <a:gd name="connsiteX1150" fmla="*/ 1487519 w 1489995"/>
                <a:gd name="connsiteY1150" fmla="*/ 764191 h 1273968"/>
                <a:gd name="connsiteX1151" fmla="*/ 1486567 w 1489995"/>
                <a:gd name="connsiteY1151" fmla="*/ 769144 h 1273968"/>
                <a:gd name="connsiteX1152" fmla="*/ 1488567 w 1489995"/>
                <a:gd name="connsiteY1152" fmla="*/ 772097 h 1273968"/>
                <a:gd name="connsiteX1153" fmla="*/ 1485138 w 1489995"/>
                <a:gd name="connsiteY1153" fmla="*/ 770953 h 1273968"/>
                <a:gd name="connsiteX1154" fmla="*/ 1480661 w 1489995"/>
                <a:gd name="connsiteY1154" fmla="*/ 773049 h 1273968"/>
                <a:gd name="connsiteX1155" fmla="*/ 1476470 w 1489995"/>
                <a:gd name="connsiteY1155" fmla="*/ 778383 h 1273968"/>
                <a:gd name="connsiteX1156" fmla="*/ 1485995 w 1489995"/>
                <a:gd name="connsiteY1156" fmla="*/ 790003 h 1273968"/>
                <a:gd name="connsiteX1157" fmla="*/ 1487805 w 1489995"/>
                <a:gd name="connsiteY1157" fmla="*/ 791432 h 1273968"/>
                <a:gd name="connsiteX1158" fmla="*/ 1489615 w 1489995"/>
                <a:gd name="connsiteY1158" fmla="*/ 792766 h 1273968"/>
                <a:gd name="connsiteX1159" fmla="*/ 1489996 w 1489995"/>
                <a:gd name="connsiteY1159" fmla="*/ 795909 h 1273968"/>
                <a:gd name="connsiteX1160" fmla="*/ 1488758 w 1489995"/>
                <a:gd name="connsiteY1160" fmla="*/ 799338 h 1273968"/>
                <a:gd name="connsiteX1161" fmla="*/ 1487424 w 1489995"/>
                <a:gd name="connsiteY1161" fmla="*/ 801053 h 1273968"/>
                <a:gd name="connsiteX1162" fmla="*/ 1483900 w 1489995"/>
                <a:gd name="connsiteY1162" fmla="*/ 798290 h 1273968"/>
                <a:gd name="connsiteX1163" fmla="*/ 1484852 w 1489995"/>
                <a:gd name="connsiteY1163" fmla="*/ 806196 h 1273968"/>
                <a:gd name="connsiteX1164" fmla="*/ 1483328 w 1489995"/>
                <a:gd name="connsiteY1164" fmla="*/ 806386 h 1273968"/>
                <a:gd name="connsiteX1165" fmla="*/ 1482281 w 1489995"/>
                <a:gd name="connsiteY1165" fmla="*/ 811340 h 1273968"/>
                <a:gd name="connsiteX1166" fmla="*/ 1480756 w 1489995"/>
                <a:gd name="connsiteY1166" fmla="*/ 811530 h 1273968"/>
                <a:gd name="connsiteX1167" fmla="*/ 1480947 w 1489995"/>
                <a:gd name="connsiteY1167" fmla="*/ 813149 h 1273968"/>
                <a:gd name="connsiteX1168" fmla="*/ 1475613 w 1489995"/>
                <a:gd name="connsiteY1168" fmla="*/ 821817 h 1273968"/>
                <a:gd name="connsiteX1169" fmla="*/ 1479233 w 1489995"/>
                <a:gd name="connsiteY1169" fmla="*/ 824579 h 1273968"/>
                <a:gd name="connsiteX1170" fmla="*/ 1476185 w 1489995"/>
                <a:gd name="connsiteY1170" fmla="*/ 826580 h 1273968"/>
                <a:gd name="connsiteX1171" fmla="*/ 1466945 w 1489995"/>
                <a:gd name="connsiteY1171" fmla="*/ 829342 h 1273968"/>
                <a:gd name="connsiteX1172" fmla="*/ 1465421 w 1489995"/>
                <a:gd name="connsiteY1172" fmla="*/ 829532 h 1273968"/>
                <a:gd name="connsiteX1173" fmla="*/ 1465802 w 1489995"/>
                <a:gd name="connsiteY1173" fmla="*/ 832676 h 1273968"/>
                <a:gd name="connsiteX1174" fmla="*/ 1465802 w 1489995"/>
                <a:gd name="connsiteY1174" fmla="*/ 832676 h 1273968"/>
                <a:gd name="connsiteX1175" fmla="*/ 1464659 w 1489995"/>
                <a:gd name="connsiteY1175" fmla="*/ 836105 h 1273968"/>
                <a:gd name="connsiteX1176" fmla="*/ 1469708 w 1489995"/>
                <a:gd name="connsiteY1176" fmla="*/ 838581 h 1273968"/>
                <a:gd name="connsiteX1177" fmla="*/ 1468946 w 1489995"/>
                <a:gd name="connsiteY1177" fmla="*/ 845153 h 1273968"/>
                <a:gd name="connsiteX1178" fmla="*/ 1467993 w 1489995"/>
                <a:gd name="connsiteY1178" fmla="*/ 850106 h 1273968"/>
                <a:gd name="connsiteX1179" fmla="*/ 1469803 w 1489995"/>
                <a:gd name="connsiteY1179" fmla="*/ 851440 h 1273968"/>
                <a:gd name="connsiteX1180" fmla="*/ 1469041 w 1489995"/>
                <a:gd name="connsiteY1180" fmla="*/ 857917 h 1273968"/>
                <a:gd name="connsiteX1181" fmla="*/ 1467422 w 1489995"/>
                <a:gd name="connsiteY1181" fmla="*/ 858203 h 1273968"/>
                <a:gd name="connsiteX1182" fmla="*/ 1465421 w 1489995"/>
                <a:gd name="connsiteY1182" fmla="*/ 855250 h 1273968"/>
                <a:gd name="connsiteX1183" fmla="*/ 1462850 w 1489995"/>
                <a:gd name="connsiteY1183" fmla="*/ 860298 h 1273968"/>
                <a:gd name="connsiteX1184" fmla="*/ 1466469 w 1489995"/>
                <a:gd name="connsiteY1184" fmla="*/ 863060 h 1273968"/>
                <a:gd name="connsiteX1185" fmla="*/ 1466660 w 1489995"/>
                <a:gd name="connsiteY1185" fmla="*/ 864680 h 1273968"/>
                <a:gd name="connsiteX1186" fmla="*/ 1467231 w 1489995"/>
                <a:gd name="connsiteY1186" fmla="*/ 869442 h 1273968"/>
                <a:gd name="connsiteX1187" fmla="*/ 1464088 w 1489995"/>
                <a:gd name="connsiteY1187" fmla="*/ 869823 h 1273968"/>
                <a:gd name="connsiteX1188" fmla="*/ 1462754 w 1489995"/>
                <a:gd name="connsiteY1188" fmla="*/ 871633 h 1273968"/>
                <a:gd name="connsiteX1189" fmla="*/ 1463326 w 1489995"/>
                <a:gd name="connsiteY1189" fmla="*/ 876300 h 1273968"/>
                <a:gd name="connsiteX1190" fmla="*/ 1463516 w 1489995"/>
                <a:gd name="connsiteY1190" fmla="*/ 877919 h 1273968"/>
                <a:gd name="connsiteX1191" fmla="*/ 1459421 w 1489995"/>
                <a:gd name="connsiteY1191" fmla="*/ 883253 h 1273968"/>
                <a:gd name="connsiteX1192" fmla="*/ 1455610 w 1489995"/>
                <a:gd name="connsiteY1192" fmla="*/ 878872 h 1273968"/>
                <a:gd name="connsiteX1193" fmla="*/ 1447990 w 1489995"/>
                <a:gd name="connsiteY1193" fmla="*/ 881539 h 1273968"/>
                <a:gd name="connsiteX1194" fmla="*/ 1448181 w 1489995"/>
                <a:gd name="connsiteY1194" fmla="*/ 883063 h 1273968"/>
                <a:gd name="connsiteX1195" fmla="*/ 1449896 w 1489995"/>
                <a:gd name="connsiteY1195" fmla="*/ 884491 h 1273968"/>
                <a:gd name="connsiteX1196" fmla="*/ 1448372 w 1489995"/>
                <a:gd name="connsiteY1196" fmla="*/ 884682 h 1273968"/>
                <a:gd name="connsiteX1197" fmla="*/ 1448943 w 1489995"/>
                <a:gd name="connsiteY1197" fmla="*/ 889349 h 1273968"/>
                <a:gd name="connsiteX1198" fmla="*/ 1444466 w 1489995"/>
                <a:gd name="connsiteY1198" fmla="*/ 891540 h 1273968"/>
                <a:gd name="connsiteX1199" fmla="*/ 1441228 w 1489995"/>
                <a:gd name="connsiteY1199" fmla="*/ 892016 h 1273968"/>
                <a:gd name="connsiteX1200" fmla="*/ 1441704 w 1489995"/>
                <a:gd name="connsiteY1200" fmla="*/ 895160 h 1273968"/>
                <a:gd name="connsiteX1201" fmla="*/ 1440085 w 1489995"/>
                <a:gd name="connsiteY1201" fmla="*/ 895350 h 1273968"/>
                <a:gd name="connsiteX1202" fmla="*/ 1436084 w 1489995"/>
                <a:gd name="connsiteY1202" fmla="*/ 889445 h 1273968"/>
                <a:gd name="connsiteX1203" fmla="*/ 1431036 w 1489995"/>
                <a:gd name="connsiteY1203" fmla="*/ 886873 h 1273968"/>
                <a:gd name="connsiteX1204" fmla="*/ 1428083 w 1489995"/>
                <a:gd name="connsiteY1204" fmla="*/ 888873 h 1273968"/>
                <a:gd name="connsiteX1205" fmla="*/ 1418177 w 1489995"/>
                <a:gd name="connsiteY1205" fmla="*/ 899732 h 1273968"/>
                <a:gd name="connsiteX1206" fmla="*/ 1418558 w 1489995"/>
                <a:gd name="connsiteY1206" fmla="*/ 902875 h 1273968"/>
                <a:gd name="connsiteX1207" fmla="*/ 1413701 w 1489995"/>
                <a:gd name="connsiteY1207" fmla="*/ 901922 h 1273968"/>
                <a:gd name="connsiteX1208" fmla="*/ 1411129 w 1489995"/>
                <a:gd name="connsiteY1208" fmla="*/ 907066 h 1273968"/>
                <a:gd name="connsiteX1209" fmla="*/ 1407223 w 1489995"/>
                <a:gd name="connsiteY1209" fmla="*/ 913924 h 1273968"/>
                <a:gd name="connsiteX1210" fmla="*/ 1407795 w 1489995"/>
                <a:gd name="connsiteY1210" fmla="*/ 918686 h 1273968"/>
                <a:gd name="connsiteX1211" fmla="*/ 1409795 w 1489995"/>
                <a:gd name="connsiteY1211" fmla="*/ 921639 h 1273968"/>
                <a:gd name="connsiteX1212" fmla="*/ 1414463 w 1489995"/>
                <a:gd name="connsiteY1212" fmla="*/ 921068 h 1273968"/>
                <a:gd name="connsiteX1213" fmla="*/ 1417606 w 1489995"/>
                <a:gd name="connsiteY1213" fmla="*/ 920591 h 1273968"/>
                <a:gd name="connsiteX1214" fmla="*/ 1416653 w 1489995"/>
                <a:gd name="connsiteY1214" fmla="*/ 925544 h 1273968"/>
                <a:gd name="connsiteX1215" fmla="*/ 1420273 w 1489995"/>
                <a:gd name="connsiteY1215" fmla="*/ 928307 h 1273968"/>
                <a:gd name="connsiteX1216" fmla="*/ 1419225 w 1489995"/>
                <a:gd name="connsiteY1216" fmla="*/ 933260 h 1273968"/>
                <a:gd name="connsiteX1217" fmla="*/ 1424368 w 1489995"/>
                <a:gd name="connsiteY1217" fmla="*/ 935831 h 1273968"/>
                <a:gd name="connsiteX1218" fmla="*/ 1421416 w 1489995"/>
                <a:gd name="connsiteY1218" fmla="*/ 937832 h 1273968"/>
                <a:gd name="connsiteX1219" fmla="*/ 1421892 w 1489995"/>
                <a:gd name="connsiteY1219" fmla="*/ 940975 h 1273968"/>
                <a:gd name="connsiteX1220" fmla="*/ 1419130 w 1489995"/>
                <a:gd name="connsiteY1220" fmla="*/ 944499 h 1273968"/>
                <a:gd name="connsiteX1221" fmla="*/ 1415891 w 1489995"/>
                <a:gd name="connsiteY1221" fmla="*/ 944880 h 1273968"/>
                <a:gd name="connsiteX1222" fmla="*/ 1413224 w 1489995"/>
                <a:gd name="connsiteY1222" fmla="*/ 948499 h 1273968"/>
                <a:gd name="connsiteX1223" fmla="*/ 1413415 w 1489995"/>
                <a:gd name="connsiteY1223" fmla="*/ 950024 h 1273968"/>
                <a:gd name="connsiteX1224" fmla="*/ 1409795 w 1489995"/>
                <a:gd name="connsiteY1224" fmla="*/ 947261 h 1273968"/>
                <a:gd name="connsiteX1225" fmla="*/ 1408271 w 1489995"/>
                <a:gd name="connsiteY1225" fmla="*/ 947452 h 1273968"/>
                <a:gd name="connsiteX1226" fmla="*/ 1406462 w 1489995"/>
                <a:gd name="connsiteY1226" fmla="*/ 946118 h 1273968"/>
                <a:gd name="connsiteX1227" fmla="*/ 1401889 w 1489995"/>
                <a:gd name="connsiteY1227" fmla="*/ 948309 h 1273968"/>
                <a:gd name="connsiteX1228" fmla="*/ 1394841 w 1489995"/>
                <a:gd name="connsiteY1228" fmla="*/ 942785 h 1273968"/>
                <a:gd name="connsiteX1229" fmla="*/ 1395413 w 1489995"/>
                <a:gd name="connsiteY1229" fmla="*/ 947547 h 1273968"/>
                <a:gd name="connsiteX1230" fmla="*/ 1392269 w 1489995"/>
                <a:gd name="connsiteY1230" fmla="*/ 947928 h 1273968"/>
                <a:gd name="connsiteX1231" fmla="*/ 1388745 w 1489995"/>
                <a:gd name="connsiteY1231" fmla="*/ 945166 h 1273968"/>
                <a:gd name="connsiteX1232" fmla="*/ 1387888 w 1489995"/>
                <a:gd name="connsiteY1232" fmla="*/ 938879 h 1273968"/>
                <a:gd name="connsiteX1233" fmla="*/ 1386554 w 1489995"/>
                <a:gd name="connsiteY1233" fmla="*/ 940594 h 1273968"/>
                <a:gd name="connsiteX1234" fmla="*/ 1384744 w 1489995"/>
                <a:gd name="connsiteY1234" fmla="*/ 939260 h 1273968"/>
                <a:gd name="connsiteX1235" fmla="*/ 1382363 w 1489995"/>
                <a:gd name="connsiteY1235" fmla="*/ 946023 h 1273968"/>
                <a:gd name="connsiteX1236" fmla="*/ 1378268 w 1489995"/>
                <a:gd name="connsiteY1236" fmla="*/ 951357 h 1273968"/>
                <a:gd name="connsiteX1237" fmla="*/ 1375886 w 1489995"/>
                <a:gd name="connsiteY1237" fmla="*/ 958024 h 1273968"/>
                <a:gd name="connsiteX1238" fmla="*/ 1377696 w 1489995"/>
                <a:gd name="connsiteY1238" fmla="*/ 959453 h 1273968"/>
                <a:gd name="connsiteX1239" fmla="*/ 1374934 w 1489995"/>
                <a:gd name="connsiteY1239" fmla="*/ 962978 h 1273968"/>
                <a:gd name="connsiteX1240" fmla="*/ 1375696 w 1489995"/>
                <a:gd name="connsiteY1240" fmla="*/ 969264 h 1273968"/>
                <a:gd name="connsiteX1241" fmla="*/ 1374172 w 1489995"/>
                <a:gd name="connsiteY1241" fmla="*/ 969455 h 1273968"/>
                <a:gd name="connsiteX1242" fmla="*/ 1373600 w 1489995"/>
                <a:gd name="connsiteY1242" fmla="*/ 964787 h 1273968"/>
                <a:gd name="connsiteX1243" fmla="*/ 1368647 w 1489995"/>
                <a:gd name="connsiteY1243" fmla="*/ 963740 h 1273968"/>
                <a:gd name="connsiteX1244" fmla="*/ 1361694 w 1489995"/>
                <a:gd name="connsiteY1244" fmla="*/ 972693 h 1273968"/>
                <a:gd name="connsiteX1245" fmla="*/ 1353026 w 1489995"/>
                <a:gd name="connsiteY1245" fmla="*/ 967359 h 1273968"/>
                <a:gd name="connsiteX1246" fmla="*/ 1345597 w 1489995"/>
                <a:gd name="connsiteY1246" fmla="*/ 971550 h 1273968"/>
                <a:gd name="connsiteX1247" fmla="*/ 1338453 w 1489995"/>
                <a:gd name="connsiteY1247" fmla="*/ 978884 h 1273968"/>
                <a:gd name="connsiteX1248" fmla="*/ 1336643 w 1489995"/>
                <a:gd name="connsiteY1248" fmla="*/ 977456 h 1273968"/>
                <a:gd name="connsiteX1249" fmla="*/ 1335310 w 1489995"/>
                <a:gd name="connsiteY1249" fmla="*/ 979265 h 1273968"/>
                <a:gd name="connsiteX1250" fmla="*/ 1330357 w 1489995"/>
                <a:gd name="connsiteY1250" fmla="*/ 978218 h 1273968"/>
                <a:gd name="connsiteX1251" fmla="*/ 1327214 w 1489995"/>
                <a:gd name="connsiteY1251" fmla="*/ 978694 h 1273968"/>
                <a:gd name="connsiteX1252" fmla="*/ 1326833 w 1489995"/>
                <a:gd name="connsiteY1252" fmla="*/ 975551 h 1273968"/>
                <a:gd name="connsiteX1253" fmla="*/ 1325880 w 1489995"/>
                <a:gd name="connsiteY1253" fmla="*/ 980408 h 1273968"/>
                <a:gd name="connsiteX1254" fmla="*/ 1325689 w 1489995"/>
                <a:gd name="connsiteY1254" fmla="*/ 978884 h 1273968"/>
                <a:gd name="connsiteX1255" fmla="*/ 1322451 w 1489995"/>
                <a:gd name="connsiteY1255" fmla="*/ 979265 h 1273968"/>
                <a:gd name="connsiteX1256" fmla="*/ 1317784 w 1489995"/>
                <a:gd name="connsiteY1256" fmla="*/ 979837 h 1273968"/>
                <a:gd name="connsiteX1257" fmla="*/ 1317022 w 1489995"/>
                <a:gd name="connsiteY1257" fmla="*/ 986409 h 1273968"/>
                <a:gd name="connsiteX1258" fmla="*/ 1313402 w 1489995"/>
                <a:gd name="connsiteY1258" fmla="*/ 983647 h 1273968"/>
                <a:gd name="connsiteX1259" fmla="*/ 1312069 w 1489995"/>
                <a:gd name="connsiteY1259" fmla="*/ 985457 h 1273968"/>
                <a:gd name="connsiteX1260" fmla="*/ 1314260 w 1489995"/>
                <a:gd name="connsiteY1260" fmla="*/ 989933 h 1273968"/>
                <a:gd name="connsiteX1261" fmla="*/ 1306544 w 1489995"/>
                <a:gd name="connsiteY1261" fmla="*/ 992505 h 1273968"/>
                <a:gd name="connsiteX1262" fmla="*/ 1306354 w 1489995"/>
                <a:gd name="connsiteY1262" fmla="*/ 990981 h 1273968"/>
                <a:gd name="connsiteX1263" fmla="*/ 1303592 w 1489995"/>
                <a:gd name="connsiteY1263" fmla="*/ 994505 h 1273968"/>
                <a:gd name="connsiteX1264" fmla="*/ 1301591 w 1489995"/>
                <a:gd name="connsiteY1264" fmla="*/ 991553 h 1273968"/>
                <a:gd name="connsiteX1265" fmla="*/ 1298639 w 1489995"/>
                <a:gd name="connsiteY1265" fmla="*/ 993553 h 1273968"/>
                <a:gd name="connsiteX1266" fmla="*/ 1298448 w 1489995"/>
                <a:gd name="connsiteY1266" fmla="*/ 991934 h 1273968"/>
                <a:gd name="connsiteX1267" fmla="*/ 1292162 w 1489995"/>
                <a:gd name="connsiteY1267" fmla="*/ 992791 h 1273968"/>
                <a:gd name="connsiteX1268" fmla="*/ 1291971 w 1489995"/>
                <a:gd name="connsiteY1268" fmla="*/ 991172 h 1273968"/>
                <a:gd name="connsiteX1269" fmla="*/ 1297400 w 1489995"/>
                <a:gd name="connsiteY1269" fmla="*/ 984028 h 1273968"/>
                <a:gd name="connsiteX1270" fmla="*/ 1295495 w 1489995"/>
                <a:gd name="connsiteY1270" fmla="*/ 981075 h 1273968"/>
                <a:gd name="connsiteX1271" fmla="*/ 1292257 w 1489995"/>
                <a:gd name="connsiteY1271" fmla="*/ 981551 h 1273968"/>
                <a:gd name="connsiteX1272" fmla="*/ 1289590 w 1489995"/>
                <a:gd name="connsiteY1272" fmla="*/ 985076 h 1273968"/>
                <a:gd name="connsiteX1273" fmla="*/ 1286161 w 1489995"/>
                <a:gd name="connsiteY1273" fmla="*/ 983932 h 1273968"/>
                <a:gd name="connsiteX1274" fmla="*/ 1283589 w 1489995"/>
                <a:gd name="connsiteY1274" fmla="*/ 989076 h 1273968"/>
                <a:gd name="connsiteX1275" fmla="*/ 1278922 w 1489995"/>
                <a:gd name="connsiteY1275" fmla="*/ 989648 h 1273968"/>
                <a:gd name="connsiteX1276" fmla="*/ 1277112 w 1489995"/>
                <a:gd name="connsiteY1276" fmla="*/ 988219 h 1273968"/>
                <a:gd name="connsiteX1277" fmla="*/ 1273207 w 1489995"/>
                <a:gd name="connsiteY1277" fmla="*/ 995172 h 1273968"/>
                <a:gd name="connsiteX1278" fmla="*/ 1271588 w 1489995"/>
                <a:gd name="connsiteY1278" fmla="*/ 995362 h 1273968"/>
                <a:gd name="connsiteX1279" fmla="*/ 1272064 w 1489995"/>
                <a:gd name="connsiteY1279" fmla="*/ 998506 h 1273968"/>
                <a:gd name="connsiteX1280" fmla="*/ 1275398 w 1489995"/>
                <a:gd name="connsiteY1280" fmla="*/ 999744 h 1273968"/>
                <a:gd name="connsiteX1281" fmla="*/ 1273969 w 1489995"/>
                <a:gd name="connsiteY1281" fmla="*/ 1001459 h 1273968"/>
                <a:gd name="connsiteX1282" fmla="*/ 1275969 w 1489995"/>
                <a:gd name="connsiteY1282" fmla="*/ 1004411 h 1273968"/>
                <a:gd name="connsiteX1283" fmla="*/ 1268444 w 1489995"/>
                <a:gd name="connsiteY1283" fmla="*/ 1008602 h 1273968"/>
                <a:gd name="connsiteX1284" fmla="*/ 1269683 w 1489995"/>
                <a:gd name="connsiteY1284" fmla="*/ 1018032 h 1273968"/>
                <a:gd name="connsiteX1285" fmla="*/ 1270540 w 1489995"/>
                <a:gd name="connsiteY1285" fmla="*/ 1024414 h 1273968"/>
                <a:gd name="connsiteX1286" fmla="*/ 1256729 w 1489995"/>
                <a:gd name="connsiteY1286" fmla="*/ 1029367 h 1273968"/>
                <a:gd name="connsiteX1287" fmla="*/ 1258634 w 1489995"/>
                <a:gd name="connsiteY1287" fmla="*/ 1032320 h 1273968"/>
                <a:gd name="connsiteX1288" fmla="*/ 1253395 w 1489995"/>
                <a:gd name="connsiteY1288" fmla="*/ 1040987 h 1273968"/>
                <a:gd name="connsiteX1289" fmla="*/ 1251776 w 1489995"/>
                <a:gd name="connsiteY1289" fmla="*/ 1041178 h 1273968"/>
                <a:gd name="connsiteX1290" fmla="*/ 1251394 w 1489995"/>
                <a:gd name="connsiteY1290" fmla="*/ 1038035 h 1273968"/>
                <a:gd name="connsiteX1291" fmla="*/ 1250061 w 1489995"/>
                <a:gd name="connsiteY1291" fmla="*/ 1039844 h 1273968"/>
                <a:gd name="connsiteX1292" fmla="*/ 1250061 w 1489995"/>
                <a:gd name="connsiteY1292" fmla="*/ 1039844 h 1273968"/>
                <a:gd name="connsiteX1293" fmla="*/ 1246823 w 1489995"/>
                <a:gd name="connsiteY1293" fmla="*/ 1040225 h 1273968"/>
                <a:gd name="connsiteX1294" fmla="*/ 1248632 w 1489995"/>
                <a:gd name="connsiteY1294" fmla="*/ 1041559 h 1273968"/>
                <a:gd name="connsiteX1295" fmla="*/ 1245489 w 1489995"/>
                <a:gd name="connsiteY1295" fmla="*/ 1042035 h 1273968"/>
                <a:gd name="connsiteX1296" fmla="*/ 1247489 w 1489995"/>
                <a:gd name="connsiteY1296" fmla="*/ 1044988 h 1273968"/>
                <a:gd name="connsiteX1297" fmla="*/ 1244727 w 1489995"/>
                <a:gd name="connsiteY1297" fmla="*/ 1048512 h 1273968"/>
                <a:gd name="connsiteX1298" fmla="*/ 1243775 w 1489995"/>
                <a:gd name="connsiteY1298" fmla="*/ 1053465 h 1273968"/>
                <a:gd name="connsiteX1299" fmla="*/ 1242536 w 1489995"/>
                <a:gd name="connsiteY1299" fmla="*/ 1056799 h 1273968"/>
                <a:gd name="connsiteX1300" fmla="*/ 1244727 w 1489995"/>
                <a:gd name="connsiteY1300" fmla="*/ 1061371 h 1273968"/>
                <a:gd name="connsiteX1301" fmla="*/ 1242822 w 1489995"/>
                <a:gd name="connsiteY1301" fmla="*/ 1071182 h 1273968"/>
                <a:gd name="connsiteX1302" fmla="*/ 1245013 w 1489995"/>
                <a:gd name="connsiteY1302" fmla="*/ 1075754 h 1273968"/>
                <a:gd name="connsiteX1303" fmla="*/ 1243965 w 1489995"/>
                <a:gd name="connsiteY1303" fmla="*/ 1080707 h 1273968"/>
                <a:gd name="connsiteX1304" fmla="*/ 1247585 w 1489995"/>
                <a:gd name="connsiteY1304" fmla="*/ 1083469 h 1273968"/>
                <a:gd name="connsiteX1305" fmla="*/ 1245965 w 1489995"/>
                <a:gd name="connsiteY1305" fmla="*/ 1083659 h 1273968"/>
                <a:gd name="connsiteX1306" fmla="*/ 1248537 w 1489995"/>
                <a:gd name="connsiteY1306" fmla="*/ 1091375 h 1273968"/>
                <a:gd name="connsiteX1307" fmla="*/ 1251680 w 1489995"/>
                <a:gd name="connsiteY1307" fmla="*/ 1090898 h 1273968"/>
                <a:gd name="connsiteX1308" fmla="*/ 1255681 w 1489995"/>
                <a:gd name="connsiteY1308" fmla="*/ 1084040 h 1273968"/>
                <a:gd name="connsiteX1309" fmla="*/ 1263587 w 1489995"/>
                <a:gd name="connsiteY1309" fmla="*/ 1095851 h 1273968"/>
                <a:gd name="connsiteX1310" fmla="*/ 1271302 w 1489995"/>
                <a:gd name="connsiteY1310" fmla="*/ 1093280 h 1273968"/>
                <a:gd name="connsiteX1311" fmla="*/ 1282541 w 1489995"/>
                <a:gd name="connsiteY1311" fmla="*/ 1093375 h 1273968"/>
                <a:gd name="connsiteX1312" fmla="*/ 1281493 w 1489995"/>
                <a:gd name="connsiteY1312" fmla="*/ 1098328 h 1273968"/>
                <a:gd name="connsiteX1313" fmla="*/ 1285875 w 1489995"/>
                <a:gd name="connsiteY1313" fmla="*/ 1107377 h 1273968"/>
                <a:gd name="connsiteX1314" fmla="*/ 1293590 w 1489995"/>
                <a:gd name="connsiteY1314" fmla="*/ 1117664 h 1273968"/>
                <a:gd name="connsiteX1315" fmla="*/ 1294257 w 1489995"/>
                <a:gd name="connsiteY1315" fmla="*/ 1122426 h 1273968"/>
                <a:gd name="connsiteX1316" fmla="*/ 1291304 w 1489995"/>
                <a:gd name="connsiteY1316" fmla="*/ 1124331 h 1273968"/>
                <a:gd name="connsiteX1317" fmla="*/ 1290066 w 1489995"/>
                <a:gd name="connsiteY1317" fmla="*/ 1127760 h 1273968"/>
                <a:gd name="connsiteX1318" fmla="*/ 1293876 w 1489995"/>
                <a:gd name="connsiteY1318" fmla="*/ 1132046 h 1273968"/>
                <a:gd name="connsiteX1319" fmla="*/ 1290161 w 1489995"/>
                <a:gd name="connsiteY1319" fmla="*/ 1140524 h 1273968"/>
                <a:gd name="connsiteX1320" fmla="*/ 1286542 w 1489995"/>
                <a:gd name="connsiteY1320" fmla="*/ 1137761 h 1273968"/>
                <a:gd name="connsiteX1321" fmla="*/ 1287209 w 1489995"/>
                <a:gd name="connsiteY1321" fmla="*/ 1142524 h 1273968"/>
                <a:gd name="connsiteX1322" fmla="*/ 1285399 w 1489995"/>
                <a:gd name="connsiteY1322" fmla="*/ 1141190 h 1273968"/>
                <a:gd name="connsiteX1323" fmla="*/ 1285589 w 1489995"/>
                <a:gd name="connsiteY1323" fmla="*/ 1142714 h 1273968"/>
                <a:gd name="connsiteX1324" fmla="*/ 1283970 w 1489995"/>
                <a:gd name="connsiteY1324" fmla="*/ 1142905 h 1273968"/>
                <a:gd name="connsiteX1325" fmla="*/ 1279684 w 1489995"/>
                <a:gd name="connsiteY1325" fmla="*/ 1146715 h 1273968"/>
                <a:gd name="connsiteX1326" fmla="*/ 1280255 w 1489995"/>
                <a:gd name="connsiteY1326" fmla="*/ 1151477 h 1273968"/>
                <a:gd name="connsiteX1327" fmla="*/ 1274159 w 1489995"/>
                <a:gd name="connsiteY1327" fmla="*/ 1153859 h 1273968"/>
                <a:gd name="connsiteX1328" fmla="*/ 1273969 w 1489995"/>
                <a:gd name="connsiteY1328" fmla="*/ 1152239 h 1273968"/>
                <a:gd name="connsiteX1329" fmla="*/ 1270826 w 1489995"/>
                <a:gd name="connsiteY1329" fmla="*/ 1152620 h 1273968"/>
                <a:gd name="connsiteX1330" fmla="*/ 1266254 w 1489995"/>
                <a:gd name="connsiteY1330" fmla="*/ 1154811 h 1273968"/>
                <a:gd name="connsiteX1331" fmla="*/ 1264253 w 1489995"/>
                <a:gd name="connsiteY1331" fmla="*/ 1151858 h 1273968"/>
                <a:gd name="connsiteX1332" fmla="*/ 1261586 w 1489995"/>
                <a:gd name="connsiteY1332" fmla="*/ 1155383 h 1273968"/>
                <a:gd name="connsiteX1333" fmla="*/ 1259110 w 1489995"/>
                <a:gd name="connsiteY1333" fmla="*/ 1149287 h 1273968"/>
                <a:gd name="connsiteX1334" fmla="*/ 1252252 w 1489995"/>
                <a:gd name="connsiteY1334" fmla="*/ 1145381 h 1273968"/>
                <a:gd name="connsiteX1335" fmla="*/ 1251109 w 1489995"/>
                <a:gd name="connsiteY1335" fmla="*/ 1148715 h 1273968"/>
                <a:gd name="connsiteX1336" fmla="*/ 1246156 w 1489995"/>
                <a:gd name="connsiteY1336" fmla="*/ 1147762 h 1273968"/>
                <a:gd name="connsiteX1337" fmla="*/ 1247108 w 1489995"/>
                <a:gd name="connsiteY1337" fmla="*/ 1155668 h 1273968"/>
                <a:gd name="connsiteX1338" fmla="*/ 1247108 w 1489995"/>
                <a:gd name="connsiteY1338" fmla="*/ 1155668 h 1273968"/>
                <a:gd name="connsiteX1339" fmla="*/ 1244156 w 1489995"/>
                <a:gd name="connsiteY1339" fmla="*/ 1157669 h 1273968"/>
                <a:gd name="connsiteX1340" fmla="*/ 1240631 w 1489995"/>
                <a:gd name="connsiteY1340" fmla="*/ 1154906 h 1273968"/>
                <a:gd name="connsiteX1341" fmla="*/ 1241774 w 1489995"/>
                <a:gd name="connsiteY1341" fmla="*/ 1151573 h 1273968"/>
                <a:gd name="connsiteX1342" fmla="*/ 1237107 w 1489995"/>
                <a:gd name="connsiteY1342" fmla="*/ 1152144 h 1273968"/>
                <a:gd name="connsiteX1343" fmla="*/ 1237488 w 1489995"/>
                <a:gd name="connsiteY1343" fmla="*/ 1155287 h 1273968"/>
                <a:gd name="connsiteX1344" fmla="*/ 1241012 w 1489995"/>
                <a:gd name="connsiteY1344" fmla="*/ 1158050 h 1273968"/>
                <a:gd name="connsiteX1345" fmla="*/ 1240060 w 1489995"/>
                <a:gd name="connsiteY1345" fmla="*/ 1163003 h 1273968"/>
                <a:gd name="connsiteX1346" fmla="*/ 1235297 w 1489995"/>
                <a:gd name="connsiteY1346" fmla="*/ 1163574 h 1273968"/>
                <a:gd name="connsiteX1347" fmla="*/ 1235678 w 1489995"/>
                <a:gd name="connsiteY1347" fmla="*/ 1166717 h 1273968"/>
                <a:gd name="connsiteX1348" fmla="*/ 1234345 w 1489995"/>
                <a:gd name="connsiteY1348" fmla="*/ 1168527 h 1273968"/>
                <a:gd name="connsiteX1349" fmla="*/ 1233202 w 1489995"/>
                <a:gd name="connsiteY1349" fmla="*/ 1171861 h 1273968"/>
                <a:gd name="connsiteX1350" fmla="*/ 1235107 w 1489995"/>
                <a:gd name="connsiteY1350" fmla="*/ 1174814 h 1273968"/>
                <a:gd name="connsiteX1351" fmla="*/ 1233773 w 1489995"/>
                <a:gd name="connsiteY1351" fmla="*/ 1176623 h 1273968"/>
                <a:gd name="connsiteX1352" fmla="*/ 1233964 w 1489995"/>
                <a:gd name="connsiteY1352" fmla="*/ 1178147 h 1273968"/>
                <a:gd name="connsiteX1353" fmla="*/ 1225868 w 1489995"/>
                <a:gd name="connsiteY1353" fmla="*/ 1177576 h 1273968"/>
                <a:gd name="connsiteX1354" fmla="*/ 1225296 w 1489995"/>
                <a:gd name="connsiteY1354" fmla="*/ 1172909 h 1273968"/>
                <a:gd name="connsiteX1355" fmla="*/ 1222915 w 1489995"/>
                <a:gd name="connsiteY1355" fmla="*/ 1166812 h 1273968"/>
                <a:gd name="connsiteX1356" fmla="*/ 1215962 w 1489995"/>
                <a:gd name="connsiteY1356" fmla="*/ 1162812 h 1273968"/>
                <a:gd name="connsiteX1357" fmla="*/ 1216343 w 1489995"/>
                <a:gd name="connsiteY1357" fmla="*/ 1165955 h 1273968"/>
                <a:gd name="connsiteX1358" fmla="*/ 1214628 w 1489995"/>
                <a:gd name="connsiteY1358" fmla="*/ 1164622 h 1273968"/>
                <a:gd name="connsiteX1359" fmla="*/ 1214818 w 1489995"/>
                <a:gd name="connsiteY1359" fmla="*/ 1166146 h 1273968"/>
                <a:gd name="connsiteX1360" fmla="*/ 1211675 w 1489995"/>
                <a:gd name="connsiteY1360" fmla="*/ 1166622 h 1273968"/>
                <a:gd name="connsiteX1361" fmla="*/ 1206913 w 1489995"/>
                <a:gd name="connsiteY1361" fmla="*/ 1167194 h 1273968"/>
                <a:gd name="connsiteX1362" fmla="*/ 1205103 w 1489995"/>
                <a:gd name="connsiteY1362" fmla="*/ 1165860 h 1273968"/>
                <a:gd name="connsiteX1363" fmla="*/ 1203103 w 1489995"/>
                <a:gd name="connsiteY1363" fmla="*/ 1162907 h 1273968"/>
                <a:gd name="connsiteX1364" fmla="*/ 1202912 w 1489995"/>
                <a:gd name="connsiteY1364" fmla="*/ 1161288 h 1273968"/>
                <a:gd name="connsiteX1365" fmla="*/ 1198245 w 1489995"/>
                <a:gd name="connsiteY1365" fmla="*/ 1161860 h 1273968"/>
                <a:gd name="connsiteX1366" fmla="*/ 1199198 w 1489995"/>
                <a:gd name="connsiteY1366" fmla="*/ 1157002 h 1273968"/>
                <a:gd name="connsiteX1367" fmla="*/ 1200722 w 1489995"/>
                <a:gd name="connsiteY1367" fmla="*/ 1156716 h 1273968"/>
                <a:gd name="connsiteX1368" fmla="*/ 1202150 w 1489995"/>
                <a:gd name="connsiteY1368" fmla="*/ 1155002 h 1273968"/>
                <a:gd name="connsiteX1369" fmla="*/ 1197388 w 1489995"/>
                <a:gd name="connsiteY1369" fmla="*/ 1155573 h 1273968"/>
                <a:gd name="connsiteX1370" fmla="*/ 1196245 w 1489995"/>
                <a:gd name="connsiteY1370" fmla="*/ 1158907 h 1273968"/>
                <a:gd name="connsiteX1371" fmla="*/ 1194435 w 1489995"/>
                <a:gd name="connsiteY1371" fmla="*/ 1157573 h 1273968"/>
                <a:gd name="connsiteX1372" fmla="*/ 1191292 w 1489995"/>
                <a:gd name="connsiteY1372" fmla="*/ 1157954 h 1273968"/>
                <a:gd name="connsiteX1373" fmla="*/ 1192339 w 1489995"/>
                <a:gd name="connsiteY1373" fmla="*/ 1165860 h 1273968"/>
                <a:gd name="connsiteX1374" fmla="*/ 1187196 w 1489995"/>
                <a:gd name="connsiteY1374" fmla="*/ 1163288 h 1273968"/>
                <a:gd name="connsiteX1375" fmla="*/ 1179481 w 1489995"/>
                <a:gd name="connsiteY1375" fmla="*/ 1165860 h 1273968"/>
                <a:gd name="connsiteX1376" fmla="*/ 1177862 w 1489995"/>
                <a:gd name="connsiteY1376" fmla="*/ 1166051 h 1273968"/>
                <a:gd name="connsiteX1377" fmla="*/ 1178338 w 1489995"/>
                <a:gd name="connsiteY1377" fmla="*/ 1169194 h 1273968"/>
                <a:gd name="connsiteX1378" fmla="*/ 1175099 w 1489995"/>
                <a:gd name="connsiteY1378" fmla="*/ 1169670 h 1273968"/>
                <a:gd name="connsiteX1379" fmla="*/ 1171575 w 1489995"/>
                <a:gd name="connsiteY1379" fmla="*/ 1166908 h 1273968"/>
                <a:gd name="connsiteX1380" fmla="*/ 1170432 w 1489995"/>
                <a:gd name="connsiteY1380" fmla="*/ 1170241 h 1273968"/>
                <a:gd name="connsiteX1381" fmla="*/ 1167289 w 1489995"/>
                <a:gd name="connsiteY1381" fmla="*/ 1170623 h 1273968"/>
                <a:gd name="connsiteX1382" fmla="*/ 1163860 w 1489995"/>
                <a:gd name="connsiteY1382" fmla="*/ 1169480 h 1273968"/>
                <a:gd name="connsiteX1383" fmla="*/ 1157954 w 1489995"/>
                <a:gd name="connsiteY1383" fmla="*/ 1173385 h 1273968"/>
                <a:gd name="connsiteX1384" fmla="*/ 1150715 w 1489995"/>
                <a:gd name="connsiteY1384" fmla="*/ 1166336 h 1273968"/>
                <a:gd name="connsiteX1385" fmla="*/ 1146143 w 1489995"/>
                <a:gd name="connsiteY1385" fmla="*/ 1168527 h 1273968"/>
                <a:gd name="connsiteX1386" fmla="*/ 1143952 w 1489995"/>
                <a:gd name="connsiteY1386" fmla="*/ 1163955 h 1273968"/>
                <a:gd name="connsiteX1387" fmla="*/ 1137856 w 1489995"/>
                <a:gd name="connsiteY1387" fmla="*/ 1166336 h 1273968"/>
                <a:gd name="connsiteX1388" fmla="*/ 1136618 w 1489995"/>
                <a:gd name="connsiteY1388" fmla="*/ 1169765 h 1273968"/>
                <a:gd name="connsiteX1389" fmla="*/ 1134904 w 1489995"/>
                <a:gd name="connsiteY1389" fmla="*/ 1168337 h 1273968"/>
                <a:gd name="connsiteX1390" fmla="*/ 1133475 w 1489995"/>
                <a:gd name="connsiteY1390" fmla="*/ 1170146 h 1273968"/>
                <a:gd name="connsiteX1391" fmla="*/ 1131284 w 1489995"/>
                <a:gd name="connsiteY1391" fmla="*/ 1165574 h 1273968"/>
                <a:gd name="connsiteX1392" fmla="*/ 1129760 w 1489995"/>
                <a:gd name="connsiteY1392" fmla="*/ 1165765 h 1273968"/>
                <a:gd name="connsiteX1393" fmla="*/ 1129951 w 1489995"/>
                <a:gd name="connsiteY1393" fmla="*/ 1167384 h 1273968"/>
                <a:gd name="connsiteX1394" fmla="*/ 1124807 w 1489995"/>
                <a:gd name="connsiteY1394" fmla="*/ 1164812 h 1273968"/>
                <a:gd name="connsiteX1395" fmla="*/ 1126236 w 1489995"/>
                <a:gd name="connsiteY1395" fmla="*/ 1163098 h 1273968"/>
                <a:gd name="connsiteX1396" fmla="*/ 1120902 w 1489995"/>
                <a:gd name="connsiteY1396" fmla="*/ 1158907 h 1273968"/>
                <a:gd name="connsiteX1397" fmla="*/ 1120616 w 1489995"/>
                <a:gd name="connsiteY1397" fmla="*/ 1157383 h 1273968"/>
                <a:gd name="connsiteX1398" fmla="*/ 1108234 w 1489995"/>
                <a:gd name="connsiteY1398" fmla="*/ 1160526 h 1273968"/>
                <a:gd name="connsiteX1399" fmla="*/ 1101947 w 1489995"/>
                <a:gd name="connsiteY1399" fmla="*/ 1161288 h 1273968"/>
                <a:gd name="connsiteX1400" fmla="*/ 1096804 w 1489995"/>
                <a:gd name="connsiteY1400" fmla="*/ 1171575 h 1273968"/>
                <a:gd name="connsiteX1401" fmla="*/ 1100328 w 1489995"/>
                <a:gd name="connsiteY1401" fmla="*/ 1174337 h 1273968"/>
                <a:gd name="connsiteX1402" fmla="*/ 1105281 w 1489995"/>
                <a:gd name="connsiteY1402" fmla="*/ 1175290 h 1273968"/>
                <a:gd name="connsiteX1403" fmla="*/ 1109281 w 1489995"/>
                <a:gd name="connsiteY1403" fmla="*/ 1181195 h 1273968"/>
                <a:gd name="connsiteX1404" fmla="*/ 1107853 w 1489995"/>
                <a:gd name="connsiteY1404" fmla="*/ 1183005 h 1273968"/>
                <a:gd name="connsiteX1405" fmla="*/ 1110043 w 1489995"/>
                <a:gd name="connsiteY1405" fmla="*/ 1187577 h 1273968"/>
                <a:gd name="connsiteX1406" fmla="*/ 1108710 w 1489995"/>
                <a:gd name="connsiteY1406" fmla="*/ 1189291 h 1273968"/>
                <a:gd name="connsiteX1407" fmla="*/ 1102614 w 1489995"/>
                <a:gd name="connsiteY1407" fmla="*/ 1191673 h 1273968"/>
                <a:gd name="connsiteX1408" fmla="*/ 1091089 w 1489995"/>
                <a:gd name="connsiteY1408" fmla="*/ 1189958 h 1273968"/>
                <a:gd name="connsiteX1409" fmla="*/ 1088612 w 1489995"/>
                <a:gd name="connsiteY1409" fmla="*/ 1195102 h 1273968"/>
                <a:gd name="connsiteX1410" fmla="*/ 1081468 w 1489995"/>
                <a:gd name="connsiteY1410" fmla="*/ 1189577 h 1273968"/>
                <a:gd name="connsiteX1411" fmla="*/ 1076706 w 1489995"/>
                <a:gd name="connsiteY1411" fmla="*/ 1190244 h 1273968"/>
                <a:gd name="connsiteX1412" fmla="*/ 1073944 w 1489995"/>
                <a:gd name="connsiteY1412" fmla="*/ 1193768 h 1273968"/>
                <a:gd name="connsiteX1413" fmla="*/ 1074801 w 1489995"/>
                <a:gd name="connsiteY1413" fmla="*/ 1200055 h 1273968"/>
                <a:gd name="connsiteX1414" fmla="*/ 1073372 w 1489995"/>
                <a:gd name="connsiteY1414" fmla="*/ 1201865 h 1273968"/>
                <a:gd name="connsiteX1415" fmla="*/ 1072039 w 1489995"/>
                <a:gd name="connsiteY1415" fmla="*/ 1203579 h 1273968"/>
                <a:gd name="connsiteX1416" fmla="*/ 1075563 w 1489995"/>
                <a:gd name="connsiteY1416" fmla="*/ 1206341 h 1273968"/>
                <a:gd name="connsiteX1417" fmla="*/ 1079754 w 1489995"/>
                <a:gd name="connsiteY1417" fmla="*/ 1213866 h 1273968"/>
                <a:gd name="connsiteX1418" fmla="*/ 1076611 w 1489995"/>
                <a:gd name="connsiteY1418" fmla="*/ 1214247 h 1273968"/>
                <a:gd name="connsiteX1419" fmla="*/ 1071848 w 1489995"/>
                <a:gd name="connsiteY1419" fmla="*/ 1214914 h 1273968"/>
                <a:gd name="connsiteX1420" fmla="*/ 1070515 w 1489995"/>
                <a:gd name="connsiteY1420" fmla="*/ 1216628 h 1273968"/>
                <a:gd name="connsiteX1421" fmla="*/ 1071277 w 1489995"/>
                <a:gd name="connsiteY1421" fmla="*/ 1223010 h 1273968"/>
                <a:gd name="connsiteX1422" fmla="*/ 1066514 w 1489995"/>
                <a:gd name="connsiteY1422" fmla="*/ 1223582 h 1273968"/>
                <a:gd name="connsiteX1423" fmla="*/ 1065562 w 1489995"/>
                <a:gd name="connsiteY1423" fmla="*/ 1228535 h 1273968"/>
                <a:gd name="connsiteX1424" fmla="*/ 1064038 w 1489995"/>
                <a:gd name="connsiteY1424" fmla="*/ 1228725 h 1273968"/>
                <a:gd name="connsiteX1425" fmla="*/ 1058894 w 1489995"/>
                <a:gd name="connsiteY1425" fmla="*/ 1226153 h 1273968"/>
                <a:gd name="connsiteX1426" fmla="*/ 1056323 w 1489995"/>
                <a:gd name="connsiteY1426" fmla="*/ 1231297 h 1273968"/>
                <a:gd name="connsiteX1427" fmla="*/ 1051369 w 1489995"/>
                <a:gd name="connsiteY1427" fmla="*/ 1230344 h 1273968"/>
                <a:gd name="connsiteX1428" fmla="*/ 1048988 w 1489995"/>
                <a:gd name="connsiteY1428" fmla="*/ 1224248 h 1273968"/>
                <a:gd name="connsiteX1429" fmla="*/ 1041844 w 1489995"/>
                <a:gd name="connsiteY1429" fmla="*/ 1218724 h 1273968"/>
                <a:gd name="connsiteX1430" fmla="*/ 1046226 w 1489995"/>
                <a:gd name="connsiteY1430" fmla="*/ 1214914 h 1273968"/>
                <a:gd name="connsiteX1431" fmla="*/ 1041083 w 1489995"/>
                <a:gd name="connsiteY1431" fmla="*/ 1212342 h 1273968"/>
                <a:gd name="connsiteX1432" fmla="*/ 1039082 w 1489995"/>
                <a:gd name="connsiteY1432" fmla="*/ 1209389 h 1273968"/>
                <a:gd name="connsiteX1433" fmla="*/ 1040511 w 1489995"/>
                <a:gd name="connsiteY1433" fmla="*/ 1207675 h 1273968"/>
                <a:gd name="connsiteX1434" fmla="*/ 1038701 w 1489995"/>
                <a:gd name="connsiteY1434" fmla="*/ 1206246 h 1273968"/>
                <a:gd name="connsiteX1435" fmla="*/ 1036892 w 1489995"/>
                <a:gd name="connsiteY1435" fmla="*/ 1204912 h 1273968"/>
                <a:gd name="connsiteX1436" fmla="*/ 1035463 w 1489995"/>
                <a:gd name="connsiteY1436" fmla="*/ 1193864 h 1273968"/>
                <a:gd name="connsiteX1437" fmla="*/ 1031176 w 1489995"/>
                <a:gd name="connsiteY1437" fmla="*/ 1197578 h 1273968"/>
                <a:gd name="connsiteX1438" fmla="*/ 1032319 w 1489995"/>
                <a:gd name="connsiteY1438" fmla="*/ 1194245 h 1273968"/>
                <a:gd name="connsiteX1439" fmla="*/ 1031938 w 1489995"/>
                <a:gd name="connsiteY1439" fmla="*/ 1191101 h 1273968"/>
                <a:gd name="connsiteX1440" fmla="*/ 1030319 w 1489995"/>
                <a:gd name="connsiteY1440" fmla="*/ 1191292 h 1273968"/>
                <a:gd name="connsiteX1441" fmla="*/ 1031748 w 1489995"/>
                <a:gd name="connsiteY1441" fmla="*/ 1189482 h 1273968"/>
                <a:gd name="connsiteX1442" fmla="*/ 1031176 w 1489995"/>
                <a:gd name="connsiteY1442" fmla="*/ 1184815 h 1273968"/>
                <a:gd name="connsiteX1443" fmla="*/ 1026223 w 1489995"/>
                <a:gd name="connsiteY1443" fmla="*/ 1183767 h 1273968"/>
                <a:gd name="connsiteX1444" fmla="*/ 1029367 w 1489995"/>
                <a:gd name="connsiteY1444" fmla="*/ 1183386 h 1273968"/>
                <a:gd name="connsiteX1445" fmla="*/ 1032510 w 1489995"/>
                <a:gd name="connsiteY1445" fmla="*/ 1183005 h 1273968"/>
                <a:gd name="connsiteX1446" fmla="*/ 1032319 w 1489995"/>
                <a:gd name="connsiteY1446" fmla="*/ 1181386 h 1273968"/>
                <a:gd name="connsiteX1447" fmla="*/ 1025557 w 1489995"/>
                <a:gd name="connsiteY1447" fmla="*/ 1179100 h 1273968"/>
                <a:gd name="connsiteX1448" fmla="*/ 1025176 w 1489995"/>
                <a:gd name="connsiteY1448" fmla="*/ 1175957 h 1273968"/>
                <a:gd name="connsiteX1449" fmla="*/ 1024223 w 1489995"/>
                <a:gd name="connsiteY1449" fmla="*/ 1180814 h 1273968"/>
                <a:gd name="connsiteX1450" fmla="*/ 1021080 w 1489995"/>
                <a:gd name="connsiteY1450" fmla="*/ 1181291 h 1273968"/>
                <a:gd name="connsiteX1451" fmla="*/ 1019080 w 1489995"/>
                <a:gd name="connsiteY1451" fmla="*/ 1178338 h 1273968"/>
                <a:gd name="connsiteX1452" fmla="*/ 1016127 w 1489995"/>
                <a:gd name="connsiteY1452" fmla="*/ 1180243 h 1273968"/>
                <a:gd name="connsiteX1453" fmla="*/ 1012603 w 1489995"/>
                <a:gd name="connsiteY1453" fmla="*/ 1190339 h 1273968"/>
                <a:gd name="connsiteX1454" fmla="*/ 1014413 w 1489995"/>
                <a:gd name="connsiteY1454" fmla="*/ 1191768 h 1273968"/>
                <a:gd name="connsiteX1455" fmla="*/ 1012984 w 1489995"/>
                <a:gd name="connsiteY1455" fmla="*/ 1193483 h 1273968"/>
                <a:gd name="connsiteX1456" fmla="*/ 1009650 w 1489995"/>
                <a:gd name="connsiteY1456" fmla="*/ 1192340 h 1273968"/>
                <a:gd name="connsiteX1457" fmla="*/ 1009079 w 1489995"/>
                <a:gd name="connsiteY1457" fmla="*/ 1187577 h 1273968"/>
                <a:gd name="connsiteX1458" fmla="*/ 1005268 w 1489995"/>
                <a:gd name="connsiteY1458" fmla="*/ 1183291 h 1273968"/>
                <a:gd name="connsiteX1459" fmla="*/ 1003744 w 1489995"/>
                <a:gd name="connsiteY1459" fmla="*/ 1183481 h 1273968"/>
                <a:gd name="connsiteX1460" fmla="*/ 998601 w 1489995"/>
                <a:gd name="connsiteY1460" fmla="*/ 1180910 h 1273968"/>
                <a:gd name="connsiteX1461" fmla="*/ 992791 w 1489995"/>
                <a:gd name="connsiteY1461" fmla="*/ 1173671 h 1273968"/>
                <a:gd name="connsiteX1462" fmla="*/ 988219 w 1489995"/>
                <a:gd name="connsiteY1462" fmla="*/ 1163003 h 1273968"/>
                <a:gd name="connsiteX1463" fmla="*/ 985076 w 1489995"/>
                <a:gd name="connsiteY1463" fmla="*/ 1163384 h 1273968"/>
                <a:gd name="connsiteX1464" fmla="*/ 981932 w 1489995"/>
                <a:gd name="connsiteY1464" fmla="*/ 1163765 h 1273968"/>
                <a:gd name="connsiteX1465" fmla="*/ 965359 w 1489995"/>
                <a:gd name="connsiteY1465" fmla="*/ 1159478 h 1273968"/>
                <a:gd name="connsiteX1466" fmla="*/ 962977 w 1489995"/>
                <a:gd name="connsiteY1466" fmla="*/ 1153382 h 1273968"/>
                <a:gd name="connsiteX1467" fmla="*/ 953643 w 1489995"/>
                <a:gd name="connsiteY1467" fmla="*/ 1143286 h 1273968"/>
                <a:gd name="connsiteX1468" fmla="*/ 955072 w 1489995"/>
                <a:gd name="connsiteY1468" fmla="*/ 1141571 h 1273968"/>
                <a:gd name="connsiteX1469" fmla="*/ 953262 w 1489995"/>
                <a:gd name="connsiteY1469" fmla="*/ 1140143 h 1273968"/>
                <a:gd name="connsiteX1470" fmla="*/ 952500 w 1489995"/>
                <a:gd name="connsiteY1470" fmla="*/ 1146715 h 1273968"/>
                <a:gd name="connsiteX1471" fmla="*/ 951738 w 1489995"/>
                <a:gd name="connsiteY1471" fmla="*/ 1153192 h 1273968"/>
                <a:gd name="connsiteX1472" fmla="*/ 943832 w 1489995"/>
                <a:gd name="connsiteY1472" fmla="*/ 1154240 h 1273968"/>
                <a:gd name="connsiteX1473" fmla="*/ 944023 w 1489995"/>
                <a:gd name="connsiteY1473" fmla="*/ 1155764 h 1273968"/>
                <a:gd name="connsiteX1474" fmla="*/ 941070 w 1489995"/>
                <a:gd name="connsiteY1474" fmla="*/ 1157764 h 1273968"/>
                <a:gd name="connsiteX1475" fmla="*/ 941260 w 1489995"/>
                <a:gd name="connsiteY1475" fmla="*/ 1159383 h 1273968"/>
                <a:gd name="connsiteX1476" fmla="*/ 939546 w 1489995"/>
                <a:gd name="connsiteY1476" fmla="*/ 1157954 h 1273968"/>
                <a:gd name="connsiteX1477" fmla="*/ 936784 w 1489995"/>
                <a:gd name="connsiteY1477" fmla="*/ 1161479 h 1273968"/>
                <a:gd name="connsiteX1478" fmla="*/ 936974 w 1489995"/>
                <a:gd name="connsiteY1478" fmla="*/ 1163098 h 1273968"/>
                <a:gd name="connsiteX1479" fmla="*/ 940118 w 1489995"/>
                <a:gd name="connsiteY1479" fmla="*/ 1162717 h 1273968"/>
                <a:gd name="connsiteX1480" fmla="*/ 939546 w 1489995"/>
                <a:gd name="connsiteY1480" fmla="*/ 1170813 h 1273968"/>
                <a:gd name="connsiteX1481" fmla="*/ 927926 w 1489995"/>
                <a:gd name="connsiteY1481" fmla="*/ 1167479 h 1273968"/>
                <a:gd name="connsiteX1482" fmla="*/ 928306 w 1489995"/>
                <a:gd name="connsiteY1482" fmla="*/ 1170623 h 1273968"/>
                <a:gd name="connsiteX1483" fmla="*/ 930116 w 1489995"/>
                <a:gd name="connsiteY1483" fmla="*/ 1171956 h 1273968"/>
                <a:gd name="connsiteX1484" fmla="*/ 925354 w 1489995"/>
                <a:gd name="connsiteY1484" fmla="*/ 1172623 h 1273968"/>
                <a:gd name="connsiteX1485" fmla="*/ 926878 w 1489995"/>
                <a:gd name="connsiteY1485" fmla="*/ 1172432 h 1273968"/>
                <a:gd name="connsiteX1486" fmla="*/ 928878 w 1489995"/>
                <a:gd name="connsiteY1486" fmla="*/ 1175385 h 1273968"/>
                <a:gd name="connsiteX1487" fmla="*/ 927544 w 1489995"/>
                <a:gd name="connsiteY1487" fmla="*/ 1177100 h 1273968"/>
                <a:gd name="connsiteX1488" fmla="*/ 930878 w 1489995"/>
                <a:gd name="connsiteY1488" fmla="*/ 1178338 h 1273968"/>
                <a:gd name="connsiteX1489" fmla="*/ 928306 w 1489995"/>
                <a:gd name="connsiteY1489" fmla="*/ 1183481 h 1273968"/>
                <a:gd name="connsiteX1490" fmla="*/ 930116 w 1489995"/>
                <a:gd name="connsiteY1490" fmla="*/ 1184815 h 1273968"/>
                <a:gd name="connsiteX1491" fmla="*/ 926973 w 1489995"/>
                <a:gd name="connsiteY1491" fmla="*/ 1185196 h 1273968"/>
                <a:gd name="connsiteX1492" fmla="*/ 925735 w 1489995"/>
                <a:gd name="connsiteY1492" fmla="*/ 1188625 h 1273968"/>
                <a:gd name="connsiteX1493" fmla="*/ 924211 w 1489995"/>
                <a:gd name="connsiteY1493" fmla="*/ 1188815 h 1273968"/>
                <a:gd name="connsiteX1494" fmla="*/ 923449 w 1489995"/>
                <a:gd name="connsiteY1494" fmla="*/ 1195292 h 1273968"/>
                <a:gd name="connsiteX1495" fmla="*/ 921830 w 1489995"/>
                <a:gd name="connsiteY1495" fmla="*/ 1195483 h 1273968"/>
                <a:gd name="connsiteX1496" fmla="*/ 920687 w 1489995"/>
                <a:gd name="connsiteY1496" fmla="*/ 1198816 h 1273968"/>
                <a:gd name="connsiteX1497" fmla="*/ 922210 w 1489995"/>
                <a:gd name="connsiteY1497" fmla="*/ 1198626 h 1273968"/>
                <a:gd name="connsiteX1498" fmla="*/ 922687 w 1489995"/>
                <a:gd name="connsiteY1498" fmla="*/ 1201769 h 1273968"/>
                <a:gd name="connsiteX1499" fmla="*/ 927544 w 1489995"/>
                <a:gd name="connsiteY1499" fmla="*/ 1202817 h 1273968"/>
                <a:gd name="connsiteX1500" fmla="*/ 925259 w 1489995"/>
                <a:gd name="connsiteY1500" fmla="*/ 1209485 h 1273968"/>
                <a:gd name="connsiteX1501" fmla="*/ 927259 w 1489995"/>
                <a:gd name="connsiteY1501" fmla="*/ 1212437 h 1273968"/>
                <a:gd name="connsiteX1502" fmla="*/ 930212 w 1489995"/>
                <a:gd name="connsiteY1502" fmla="*/ 1210437 h 1273968"/>
                <a:gd name="connsiteX1503" fmla="*/ 930593 w 1489995"/>
                <a:gd name="connsiteY1503" fmla="*/ 1213676 h 1273968"/>
                <a:gd name="connsiteX1504" fmla="*/ 928973 w 1489995"/>
                <a:gd name="connsiteY1504" fmla="*/ 1213866 h 1273968"/>
                <a:gd name="connsiteX1505" fmla="*/ 934117 w 1489995"/>
                <a:gd name="connsiteY1505" fmla="*/ 1216343 h 1273968"/>
                <a:gd name="connsiteX1506" fmla="*/ 934498 w 1489995"/>
                <a:gd name="connsiteY1506" fmla="*/ 1219581 h 1273968"/>
                <a:gd name="connsiteX1507" fmla="*/ 930021 w 1489995"/>
                <a:gd name="connsiteY1507" fmla="*/ 1221677 h 1273968"/>
                <a:gd name="connsiteX1508" fmla="*/ 934688 w 1489995"/>
                <a:gd name="connsiteY1508" fmla="*/ 1221105 h 1273968"/>
                <a:gd name="connsiteX1509" fmla="*/ 933355 w 1489995"/>
                <a:gd name="connsiteY1509" fmla="*/ 1222915 h 1273968"/>
                <a:gd name="connsiteX1510" fmla="*/ 928783 w 1489995"/>
                <a:gd name="connsiteY1510" fmla="*/ 1225106 h 1273968"/>
                <a:gd name="connsiteX1511" fmla="*/ 925449 w 1489995"/>
                <a:gd name="connsiteY1511" fmla="*/ 1223867 h 1273968"/>
                <a:gd name="connsiteX1512" fmla="*/ 924115 w 1489995"/>
                <a:gd name="connsiteY1512" fmla="*/ 1225677 h 1273968"/>
                <a:gd name="connsiteX1513" fmla="*/ 924306 w 1489995"/>
                <a:gd name="connsiteY1513" fmla="*/ 1227296 h 1273968"/>
                <a:gd name="connsiteX1514" fmla="*/ 916591 w 1489995"/>
                <a:gd name="connsiteY1514" fmla="*/ 1229868 h 1273968"/>
                <a:gd name="connsiteX1515" fmla="*/ 916781 w 1489995"/>
                <a:gd name="connsiteY1515" fmla="*/ 1231392 h 1273968"/>
                <a:gd name="connsiteX1516" fmla="*/ 913638 w 1489995"/>
                <a:gd name="connsiteY1516" fmla="*/ 1231868 h 1273968"/>
                <a:gd name="connsiteX1517" fmla="*/ 913257 w 1489995"/>
                <a:gd name="connsiteY1517" fmla="*/ 1228630 h 1273968"/>
                <a:gd name="connsiteX1518" fmla="*/ 906971 w 1489995"/>
                <a:gd name="connsiteY1518" fmla="*/ 1229487 h 1273968"/>
                <a:gd name="connsiteX1519" fmla="*/ 903542 w 1489995"/>
                <a:gd name="connsiteY1519" fmla="*/ 1228249 h 1273968"/>
                <a:gd name="connsiteX1520" fmla="*/ 902208 w 1489995"/>
                <a:gd name="connsiteY1520" fmla="*/ 1230059 h 1273968"/>
                <a:gd name="connsiteX1521" fmla="*/ 902589 w 1489995"/>
                <a:gd name="connsiteY1521" fmla="*/ 1233202 h 1273968"/>
                <a:gd name="connsiteX1522" fmla="*/ 897826 w 1489995"/>
                <a:gd name="connsiteY1522" fmla="*/ 1233869 h 1273968"/>
                <a:gd name="connsiteX1523" fmla="*/ 896302 w 1489995"/>
                <a:gd name="connsiteY1523" fmla="*/ 1234059 h 1273968"/>
                <a:gd name="connsiteX1524" fmla="*/ 895350 w 1489995"/>
                <a:gd name="connsiteY1524" fmla="*/ 1239012 h 1273968"/>
                <a:gd name="connsiteX1525" fmla="*/ 888206 w 1489995"/>
                <a:gd name="connsiteY1525" fmla="*/ 1246251 h 1273968"/>
                <a:gd name="connsiteX1526" fmla="*/ 884872 w 1489995"/>
                <a:gd name="connsiteY1526" fmla="*/ 1245108 h 1273968"/>
                <a:gd name="connsiteX1527" fmla="*/ 883730 w 1489995"/>
                <a:gd name="connsiteY1527" fmla="*/ 1248442 h 1273968"/>
                <a:gd name="connsiteX1528" fmla="*/ 878776 w 1489995"/>
                <a:gd name="connsiteY1528" fmla="*/ 1247489 h 1273968"/>
                <a:gd name="connsiteX1529" fmla="*/ 876014 w 1489995"/>
                <a:gd name="connsiteY1529" fmla="*/ 1251014 h 1273968"/>
                <a:gd name="connsiteX1530" fmla="*/ 876395 w 1489995"/>
                <a:gd name="connsiteY1530" fmla="*/ 1254252 h 1273968"/>
                <a:gd name="connsiteX1531" fmla="*/ 871633 w 1489995"/>
                <a:gd name="connsiteY1531" fmla="*/ 1254824 h 1273968"/>
                <a:gd name="connsiteX1532" fmla="*/ 877443 w 1489995"/>
                <a:gd name="connsiteY1532" fmla="*/ 1262062 h 1273968"/>
                <a:gd name="connsiteX1533" fmla="*/ 874681 w 1489995"/>
                <a:gd name="connsiteY1533" fmla="*/ 1265682 h 1273968"/>
                <a:gd name="connsiteX1534" fmla="*/ 873919 w 1489995"/>
                <a:gd name="connsiteY1534" fmla="*/ 1272159 h 1273968"/>
                <a:gd name="connsiteX1535" fmla="*/ 872490 w 1489995"/>
                <a:gd name="connsiteY1535" fmla="*/ 1273969 h 1273968"/>
                <a:gd name="connsiteX1536" fmla="*/ 866013 w 1489995"/>
                <a:gd name="connsiteY1536" fmla="*/ 1273207 h 1273968"/>
                <a:gd name="connsiteX1537" fmla="*/ 864013 w 1489995"/>
                <a:gd name="connsiteY1537" fmla="*/ 1270254 h 1273968"/>
                <a:gd name="connsiteX1538" fmla="*/ 865156 w 1489995"/>
                <a:gd name="connsiteY1538" fmla="*/ 1266825 h 1273968"/>
                <a:gd name="connsiteX1539" fmla="*/ 862393 w 1489995"/>
                <a:gd name="connsiteY1539" fmla="*/ 1257586 h 1273968"/>
                <a:gd name="connsiteX1540" fmla="*/ 857440 w 1489995"/>
                <a:gd name="connsiteY1540" fmla="*/ 1256633 h 1273968"/>
                <a:gd name="connsiteX1541" fmla="*/ 843820 w 1489995"/>
                <a:gd name="connsiteY1541" fmla="*/ 1250347 h 1273968"/>
                <a:gd name="connsiteX1542" fmla="*/ 830009 w 1489995"/>
                <a:gd name="connsiteY1542" fmla="*/ 1255300 h 1273968"/>
                <a:gd name="connsiteX1543" fmla="*/ 826865 w 1489995"/>
                <a:gd name="connsiteY1543" fmla="*/ 1255681 h 1273968"/>
                <a:gd name="connsiteX1544" fmla="*/ 824675 w 1489995"/>
                <a:gd name="connsiteY1544" fmla="*/ 1251204 h 1273968"/>
                <a:gd name="connsiteX1545" fmla="*/ 820007 w 1489995"/>
                <a:gd name="connsiteY1545" fmla="*/ 1251776 h 1273968"/>
                <a:gd name="connsiteX1546" fmla="*/ 819531 w 1489995"/>
                <a:gd name="connsiteY1546" fmla="*/ 1248632 h 1273968"/>
                <a:gd name="connsiteX1547" fmla="*/ 822484 w 1489995"/>
                <a:gd name="connsiteY1547" fmla="*/ 1246632 h 1273968"/>
                <a:gd name="connsiteX1548" fmla="*/ 825627 w 1489995"/>
                <a:gd name="connsiteY1548" fmla="*/ 1246251 h 1273968"/>
                <a:gd name="connsiteX1549" fmla="*/ 826675 w 1489995"/>
                <a:gd name="connsiteY1549" fmla="*/ 1241298 h 1273968"/>
                <a:gd name="connsiteX1550" fmla="*/ 829437 w 1489995"/>
                <a:gd name="connsiteY1550" fmla="*/ 1237774 h 1273968"/>
                <a:gd name="connsiteX1551" fmla="*/ 830009 w 1489995"/>
                <a:gd name="connsiteY1551" fmla="*/ 1229678 h 1273968"/>
                <a:gd name="connsiteX1552" fmla="*/ 829532 w 1489995"/>
                <a:gd name="connsiteY1552" fmla="*/ 1226534 h 1273968"/>
                <a:gd name="connsiteX1553" fmla="*/ 828008 w 1489995"/>
                <a:gd name="connsiteY1553" fmla="*/ 1226725 h 1273968"/>
                <a:gd name="connsiteX1554" fmla="*/ 826580 w 1489995"/>
                <a:gd name="connsiteY1554" fmla="*/ 1228439 h 1273968"/>
                <a:gd name="connsiteX1555" fmla="*/ 825627 w 1489995"/>
                <a:gd name="connsiteY1555" fmla="*/ 1233392 h 1273968"/>
                <a:gd name="connsiteX1556" fmla="*/ 822674 w 1489995"/>
                <a:gd name="connsiteY1556" fmla="*/ 1235393 h 1273968"/>
                <a:gd name="connsiteX1557" fmla="*/ 817721 w 1489995"/>
                <a:gd name="connsiteY1557" fmla="*/ 1234440 h 1273968"/>
                <a:gd name="connsiteX1558" fmla="*/ 818197 w 1489995"/>
                <a:gd name="connsiteY1558" fmla="*/ 1237583 h 1273968"/>
                <a:gd name="connsiteX1559" fmla="*/ 814959 w 1489995"/>
                <a:gd name="connsiteY1559" fmla="*/ 1237964 h 1273968"/>
                <a:gd name="connsiteX1560" fmla="*/ 815816 w 1489995"/>
                <a:gd name="connsiteY1560" fmla="*/ 1231487 h 1273968"/>
                <a:gd name="connsiteX1561" fmla="*/ 810673 w 1489995"/>
                <a:gd name="connsiteY1561" fmla="*/ 1241774 h 1273968"/>
                <a:gd name="connsiteX1562" fmla="*/ 805720 w 1489995"/>
                <a:gd name="connsiteY1562" fmla="*/ 1240727 h 1273968"/>
                <a:gd name="connsiteX1563" fmla="*/ 807148 w 1489995"/>
                <a:gd name="connsiteY1563" fmla="*/ 1239012 h 1273968"/>
                <a:gd name="connsiteX1564" fmla="*/ 805529 w 1489995"/>
                <a:gd name="connsiteY1564" fmla="*/ 1239203 h 1273968"/>
                <a:gd name="connsiteX1565" fmla="*/ 804196 w 1489995"/>
                <a:gd name="connsiteY1565" fmla="*/ 1240917 h 1273968"/>
                <a:gd name="connsiteX1566" fmla="*/ 802196 w 1489995"/>
                <a:gd name="connsiteY1566" fmla="*/ 1237964 h 1273968"/>
                <a:gd name="connsiteX1567" fmla="*/ 800767 w 1489995"/>
                <a:gd name="connsiteY1567" fmla="*/ 1239774 h 1273968"/>
                <a:gd name="connsiteX1568" fmla="*/ 799052 w 1489995"/>
                <a:gd name="connsiteY1568" fmla="*/ 1238441 h 1273968"/>
                <a:gd name="connsiteX1569" fmla="*/ 794099 w 1489995"/>
                <a:gd name="connsiteY1569" fmla="*/ 1237393 h 1273968"/>
                <a:gd name="connsiteX1570" fmla="*/ 792099 w 1489995"/>
                <a:gd name="connsiteY1570" fmla="*/ 1234440 h 1273968"/>
                <a:gd name="connsiteX1571" fmla="*/ 789146 w 1489995"/>
                <a:gd name="connsiteY1571" fmla="*/ 1236440 h 1273968"/>
                <a:gd name="connsiteX1572" fmla="*/ 786384 w 1489995"/>
                <a:gd name="connsiteY1572" fmla="*/ 1240060 h 1273968"/>
                <a:gd name="connsiteX1573" fmla="*/ 784193 w 1489995"/>
                <a:gd name="connsiteY1573" fmla="*/ 1235488 h 1273968"/>
                <a:gd name="connsiteX1574" fmla="*/ 782860 w 1489995"/>
                <a:gd name="connsiteY1574" fmla="*/ 1237298 h 1273968"/>
                <a:gd name="connsiteX1575" fmla="*/ 782384 w 1489995"/>
                <a:gd name="connsiteY1575" fmla="*/ 1234154 h 1273968"/>
                <a:gd name="connsiteX1576" fmla="*/ 777907 w 1489995"/>
                <a:gd name="connsiteY1576" fmla="*/ 1236250 h 1273968"/>
                <a:gd name="connsiteX1577" fmla="*/ 777716 w 1489995"/>
                <a:gd name="connsiteY1577" fmla="*/ 1234726 h 1273968"/>
                <a:gd name="connsiteX1578" fmla="*/ 774383 w 1489995"/>
                <a:gd name="connsiteY1578" fmla="*/ 1233583 h 1273968"/>
                <a:gd name="connsiteX1579" fmla="*/ 776668 w 1489995"/>
                <a:gd name="connsiteY1579" fmla="*/ 1226820 h 1273968"/>
                <a:gd name="connsiteX1580" fmla="*/ 774954 w 1489995"/>
                <a:gd name="connsiteY1580" fmla="*/ 1225487 h 1273968"/>
                <a:gd name="connsiteX1581" fmla="*/ 770192 w 1489995"/>
                <a:gd name="connsiteY1581" fmla="*/ 1226058 h 1273968"/>
                <a:gd name="connsiteX1582" fmla="*/ 767429 w 1489995"/>
                <a:gd name="connsiteY1582" fmla="*/ 1229582 h 1273968"/>
                <a:gd name="connsiteX1583" fmla="*/ 762476 w 1489995"/>
                <a:gd name="connsiteY1583" fmla="*/ 1228630 h 1273968"/>
                <a:gd name="connsiteX1584" fmla="*/ 753809 w 1489995"/>
                <a:gd name="connsiteY1584" fmla="*/ 1223296 h 1273968"/>
                <a:gd name="connsiteX1585" fmla="*/ 749046 w 1489995"/>
                <a:gd name="connsiteY1585" fmla="*/ 1223962 h 1273968"/>
                <a:gd name="connsiteX1586" fmla="*/ 750856 w 1489995"/>
                <a:gd name="connsiteY1586" fmla="*/ 1225296 h 1273968"/>
                <a:gd name="connsiteX1587" fmla="*/ 748475 w 1489995"/>
                <a:gd name="connsiteY1587" fmla="*/ 1232059 h 1273968"/>
                <a:gd name="connsiteX1588" fmla="*/ 742379 w 1489995"/>
                <a:gd name="connsiteY1588" fmla="*/ 1234440 h 1273968"/>
                <a:gd name="connsiteX1589" fmla="*/ 744379 w 1489995"/>
                <a:gd name="connsiteY1589" fmla="*/ 1237393 h 1273968"/>
                <a:gd name="connsiteX1590" fmla="*/ 747522 w 1489995"/>
                <a:gd name="connsiteY1590" fmla="*/ 1236916 h 1273968"/>
                <a:gd name="connsiteX1591" fmla="*/ 746093 w 1489995"/>
                <a:gd name="connsiteY1591" fmla="*/ 1238726 h 1273968"/>
                <a:gd name="connsiteX1592" fmla="*/ 744569 w 1489995"/>
                <a:gd name="connsiteY1592" fmla="*/ 1238917 h 1273968"/>
                <a:gd name="connsiteX1593" fmla="*/ 740759 w 1489995"/>
                <a:gd name="connsiteY1593" fmla="*/ 1234631 h 1273968"/>
                <a:gd name="connsiteX1594" fmla="*/ 739616 w 1489995"/>
                <a:gd name="connsiteY1594" fmla="*/ 1237964 h 1273968"/>
                <a:gd name="connsiteX1595" fmla="*/ 736092 w 1489995"/>
                <a:gd name="connsiteY1595" fmla="*/ 1235202 h 1273968"/>
                <a:gd name="connsiteX1596" fmla="*/ 735616 w 1489995"/>
                <a:gd name="connsiteY1596" fmla="*/ 1232059 h 1273968"/>
                <a:gd name="connsiteX1597" fmla="*/ 734092 w 1489995"/>
                <a:gd name="connsiteY1597" fmla="*/ 1232249 h 1273968"/>
                <a:gd name="connsiteX1598" fmla="*/ 731901 w 1489995"/>
                <a:gd name="connsiteY1598" fmla="*/ 1227677 h 1273968"/>
                <a:gd name="connsiteX1599" fmla="*/ 727138 w 1489995"/>
                <a:gd name="connsiteY1599" fmla="*/ 1228344 h 1273968"/>
                <a:gd name="connsiteX1600" fmla="*/ 726186 w 1489995"/>
                <a:gd name="connsiteY1600" fmla="*/ 1220438 h 1273968"/>
                <a:gd name="connsiteX1601" fmla="*/ 719804 w 1489995"/>
                <a:gd name="connsiteY1601" fmla="*/ 1221200 h 1273968"/>
                <a:gd name="connsiteX1602" fmla="*/ 718661 w 1489995"/>
                <a:gd name="connsiteY1602" fmla="*/ 1224629 h 1273968"/>
                <a:gd name="connsiteX1603" fmla="*/ 715518 w 1489995"/>
                <a:gd name="connsiteY1603" fmla="*/ 1225010 h 1273968"/>
                <a:gd name="connsiteX1604" fmla="*/ 707422 w 1489995"/>
                <a:gd name="connsiteY1604" fmla="*/ 1211580 h 1273968"/>
                <a:gd name="connsiteX1605" fmla="*/ 704279 w 1489995"/>
                <a:gd name="connsiteY1605" fmla="*/ 1211961 h 1273968"/>
                <a:gd name="connsiteX1606" fmla="*/ 700468 w 1489995"/>
                <a:gd name="connsiteY1606" fmla="*/ 1207675 h 1273968"/>
                <a:gd name="connsiteX1607" fmla="*/ 702850 w 1489995"/>
                <a:gd name="connsiteY1607" fmla="*/ 1213771 h 1273968"/>
                <a:gd name="connsiteX1608" fmla="*/ 701326 w 1489995"/>
                <a:gd name="connsiteY1608" fmla="*/ 1213961 h 1273968"/>
                <a:gd name="connsiteX1609" fmla="*/ 697706 w 1489995"/>
                <a:gd name="connsiteY1609" fmla="*/ 1211199 h 1273968"/>
                <a:gd name="connsiteX1610" fmla="*/ 696373 w 1489995"/>
                <a:gd name="connsiteY1610" fmla="*/ 1213009 h 1273968"/>
                <a:gd name="connsiteX1611" fmla="*/ 697897 w 1489995"/>
                <a:gd name="connsiteY1611" fmla="*/ 1212818 h 1273968"/>
                <a:gd name="connsiteX1612" fmla="*/ 702278 w 1489995"/>
                <a:gd name="connsiteY1612" fmla="*/ 1221867 h 1273968"/>
                <a:gd name="connsiteX1613" fmla="*/ 700945 w 1489995"/>
                <a:gd name="connsiteY1613" fmla="*/ 1223677 h 1273968"/>
                <a:gd name="connsiteX1614" fmla="*/ 702659 w 1489995"/>
                <a:gd name="connsiteY1614" fmla="*/ 1225010 h 1273968"/>
                <a:gd name="connsiteX1615" fmla="*/ 699897 w 1489995"/>
                <a:gd name="connsiteY1615" fmla="*/ 1228630 h 1273968"/>
                <a:gd name="connsiteX1616" fmla="*/ 701897 w 1489995"/>
                <a:gd name="connsiteY1616" fmla="*/ 1231583 h 1273968"/>
                <a:gd name="connsiteX1617" fmla="*/ 706660 w 1489995"/>
                <a:gd name="connsiteY1617" fmla="*/ 1230916 h 1273968"/>
                <a:gd name="connsiteX1618" fmla="*/ 705231 w 1489995"/>
                <a:gd name="connsiteY1618" fmla="*/ 1232726 h 1273968"/>
                <a:gd name="connsiteX1619" fmla="*/ 701897 w 1489995"/>
                <a:gd name="connsiteY1619" fmla="*/ 1231583 h 1273968"/>
                <a:gd name="connsiteX1620" fmla="*/ 702278 w 1489995"/>
                <a:gd name="connsiteY1620" fmla="*/ 1234726 h 1273968"/>
                <a:gd name="connsiteX1621" fmla="*/ 700754 w 1489995"/>
                <a:gd name="connsiteY1621" fmla="*/ 1234916 h 1273968"/>
                <a:gd name="connsiteX1622" fmla="*/ 698183 w 1489995"/>
                <a:gd name="connsiteY1622" fmla="*/ 1227201 h 1273968"/>
                <a:gd name="connsiteX1623" fmla="*/ 695039 w 1489995"/>
                <a:gd name="connsiteY1623" fmla="*/ 1227582 h 1273968"/>
                <a:gd name="connsiteX1624" fmla="*/ 691420 w 1489995"/>
                <a:gd name="connsiteY1624" fmla="*/ 1224820 h 1273968"/>
                <a:gd name="connsiteX1625" fmla="*/ 686752 w 1489995"/>
                <a:gd name="connsiteY1625" fmla="*/ 1225487 h 1273968"/>
                <a:gd name="connsiteX1626" fmla="*/ 685514 w 1489995"/>
                <a:gd name="connsiteY1626" fmla="*/ 1228820 h 1273968"/>
                <a:gd name="connsiteX1627" fmla="*/ 682180 w 1489995"/>
                <a:gd name="connsiteY1627" fmla="*/ 1227677 h 1273968"/>
                <a:gd name="connsiteX1628" fmla="*/ 682371 w 1489995"/>
                <a:gd name="connsiteY1628" fmla="*/ 1229201 h 1273968"/>
                <a:gd name="connsiteX1629" fmla="*/ 680752 w 1489995"/>
                <a:gd name="connsiteY1629" fmla="*/ 1229392 h 1273968"/>
                <a:gd name="connsiteX1630" fmla="*/ 682752 w 1489995"/>
                <a:gd name="connsiteY1630" fmla="*/ 1232345 h 1273968"/>
                <a:gd name="connsiteX1631" fmla="*/ 681228 w 1489995"/>
                <a:gd name="connsiteY1631" fmla="*/ 1232535 h 1273968"/>
                <a:gd name="connsiteX1632" fmla="*/ 681418 w 1489995"/>
                <a:gd name="connsiteY1632" fmla="*/ 1234154 h 1273968"/>
                <a:gd name="connsiteX1633" fmla="*/ 679609 w 1489995"/>
                <a:gd name="connsiteY1633" fmla="*/ 1232821 h 1273968"/>
                <a:gd name="connsiteX1634" fmla="*/ 679799 w 1489995"/>
                <a:gd name="connsiteY1634" fmla="*/ 1234345 h 1273968"/>
                <a:gd name="connsiteX1635" fmla="*/ 678466 w 1489995"/>
                <a:gd name="connsiteY1635" fmla="*/ 1236155 h 1273968"/>
                <a:gd name="connsiteX1636" fmla="*/ 676465 w 1489995"/>
                <a:gd name="connsiteY1636" fmla="*/ 1233202 h 1273968"/>
                <a:gd name="connsiteX1637" fmla="*/ 675132 w 1489995"/>
                <a:gd name="connsiteY1637" fmla="*/ 1234916 h 1273968"/>
                <a:gd name="connsiteX1638" fmla="*/ 672751 w 1489995"/>
                <a:gd name="connsiteY1638" fmla="*/ 1241679 h 1273968"/>
                <a:gd name="connsiteX1639" fmla="*/ 671131 w 1489995"/>
                <a:gd name="connsiteY1639" fmla="*/ 1241870 h 1273968"/>
                <a:gd name="connsiteX1640" fmla="*/ 672370 w 1489995"/>
                <a:gd name="connsiteY1640" fmla="*/ 1238536 h 1273968"/>
                <a:gd name="connsiteX1641" fmla="*/ 668941 w 1489995"/>
                <a:gd name="connsiteY1641" fmla="*/ 1237298 h 1273968"/>
                <a:gd name="connsiteX1642" fmla="*/ 666179 w 1489995"/>
                <a:gd name="connsiteY1642" fmla="*/ 1240917 h 1273968"/>
                <a:gd name="connsiteX1643" fmla="*/ 665226 w 1489995"/>
                <a:gd name="connsiteY1643" fmla="*/ 1245870 h 1273968"/>
                <a:gd name="connsiteX1644" fmla="*/ 663702 w 1489995"/>
                <a:gd name="connsiteY1644" fmla="*/ 1246061 h 1273968"/>
                <a:gd name="connsiteX1645" fmla="*/ 663035 w 1489995"/>
                <a:gd name="connsiteY1645" fmla="*/ 1241298 h 1273968"/>
                <a:gd name="connsiteX1646" fmla="*/ 659892 w 1489995"/>
                <a:gd name="connsiteY1646" fmla="*/ 1241679 h 1273968"/>
                <a:gd name="connsiteX1647" fmla="*/ 659511 w 1489995"/>
                <a:gd name="connsiteY1647" fmla="*/ 1238536 h 1273968"/>
                <a:gd name="connsiteX1648" fmla="*/ 656177 w 1489995"/>
                <a:gd name="connsiteY1648" fmla="*/ 1237393 h 1273968"/>
                <a:gd name="connsiteX1649" fmla="*/ 648843 w 1489995"/>
                <a:gd name="connsiteY1649" fmla="*/ 1243108 h 1273968"/>
                <a:gd name="connsiteX1650" fmla="*/ 645509 w 1489995"/>
                <a:gd name="connsiteY1650" fmla="*/ 1241965 h 1273968"/>
                <a:gd name="connsiteX1651" fmla="*/ 643700 w 1489995"/>
                <a:gd name="connsiteY1651" fmla="*/ 1240536 h 1273968"/>
                <a:gd name="connsiteX1652" fmla="*/ 646843 w 1489995"/>
                <a:gd name="connsiteY1652" fmla="*/ 1240155 h 1273968"/>
                <a:gd name="connsiteX1653" fmla="*/ 648272 w 1489995"/>
                <a:gd name="connsiteY1653" fmla="*/ 1238345 h 1273968"/>
                <a:gd name="connsiteX1654" fmla="*/ 646081 w 1489995"/>
                <a:gd name="connsiteY1654" fmla="*/ 1233869 h 1273968"/>
                <a:gd name="connsiteX1655" fmla="*/ 648843 w 1489995"/>
                <a:gd name="connsiteY1655" fmla="*/ 1230249 h 1273968"/>
                <a:gd name="connsiteX1656" fmla="*/ 648462 w 1489995"/>
                <a:gd name="connsiteY1656" fmla="*/ 1227106 h 1273968"/>
                <a:gd name="connsiteX1657" fmla="*/ 645319 w 1489995"/>
                <a:gd name="connsiteY1657" fmla="*/ 1227487 h 1273968"/>
                <a:gd name="connsiteX1658" fmla="*/ 643509 w 1489995"/>
                <a:gd name="connsiteY1658" fmla="*/ 1226153 h 1273968"/>
                <a:gd name="connsiteX1659" fmla="*/ 641699 w 1489995"/>
                <a:gd name="connsiteY1659" fmla="*/ 1224820 h 1273968"/>
                <a:gd name="connsiteX1660" fmla="*/ 641699 w 1489995"/>
                <a:gd name="connsiteY1660" fmla="*/ 1224820 h 1273968"/>
                <a:gd name="connsiteX1661" fmla="*/ 639509 w 1489995"/>
                <a:gd name="connsiteY1661" fmla="*/ 1220248 h 1273968"/>
                <a:gd name="connsiteX1662" fmla="*/ 638175 w 1489995"/>
                <a:gd name="connsiteY1662" fmla="*/ 1222058 h 1273968"/>
                <a:gd name="connsiteX1663" fmla="*/ 631031 w 1489995"/>
                <a:gd name="connsiteY1663" fmla="*/ 1216533 h 1273968"/>
                <a:gd name="connsiteX1664" fmla="*/ 625316 w 1489995"/>
                <a:gd name="connsiteY1664" fmla="*/ 1222058 h 1273968"/>
                <a:gd name="connsiteX1665" fmla="*/ 623126 w 1489995"/>
                <a:gd name="connsiteY1665" fmla="*/ 1217486 h 1273968"/>
                <a:gd name="connsiteX1666" fmla="*/ 621792 w 1489995"/>
                <a:gd name="connsiteY1666" fmla="*/ 1219295 h 1273968"/>
                <a:gd name="connsiteX1667" fmla="*/ 621601 w 1489995"/>
                <a:gd name="connsiteY1667" fmla="*/ 1217771 h 1273968"/>
                <a:gd name="connsiteX1668" fmla="*/ 619792 w 1489995"/>
                <a:gd name="connsiteY1668" fmla="*/ 1216343 h 1273968"/>
                <a:gd name="connsiteX1669" fmla="*/ 620363 w 1489995"/>
                <a:gd name="connsiteY1669" fmla="*/ 1208246 h 1273968"/>
                <a:gd name="connsiteX1670" fmla="*/ 621697 w 1489995"/>
                <a:gd name="connsiteY1670" fmla="*/ 1206437 h 1273968"/>
                <a:gd name="connsiteX1671" fmla="*/ 616363 w 1489995"/>
                <a:gd name="connsiteY1671" fmla="*/ 1202341 h 1273968"/>
                <a:gd name="connsiteX1672" fmla="*/ 609886 w 1489995"/>
                <a:gd name="connsiteY1672" fmla="*/ 1201579 h 1273968"/>
                <a:gd name="connsiteX1673" fmla="*/ 609505 w 1489995"/>
                <a:gd name="connsiteY1673" fmla="*/ 1198436 h 1273968"/>
                <a:gd name="connsiteX1674" fmla="*/ 604933 w 1489995"/>
                <a:gd name="connsiteY1674" fmla="*/ 1200626 h 1273968"/>
                <a:gd name="connsiteX1675" fmla="*/ 602551 w 1489995"/>
                <a:gd name="connsiteY1675" fmla="*/ 1194435 h 1273968"/>
                <a:gd name="connsiteX1676" fmla="*/ 596837 w 1489995"/>
                <a:gd name="connsiteY1676" fmla="*/ 1200055 h 1273968"/>
                <a:gd name="connsiteX1677" fmla="*/ 593693 w 1489995"/>
                <a:gd name="connsiteY1677" fmla="*/ 1200436 h 1273968"/>
                <a:gd name="connsiteX1678" fmla="*/ 582835 w 1489995"/>
                <a:gd name="connsiteY1678" fmla="*/ 1203389 h 1273968"/>
                <a:gd name="connsiteX1679" fmla="*/ 580644 w 1489995"/>
                <a:gd name="connsiteY1679" fmla="*/ 1198912 h 1273968"/>
                <a:gd name="connsiteX1680" fmla="*/ 577882 w 1489995"/>
                <a:gd name="connsiteY1680" fmla="*/ 1202436 h 1273968"/>
                <a:gd name="connsiteX1681" fmla="*/ 574738 w 1489995"/>
                <a:gd name="connsiteY1681" fmla="*/ 1202817 h 1273968"/>
                <a:gd name="connsiteX1682" fmla="*/ 573405 w 1489995"/>
                <a:gd name="connsiteY1682" fmla="*/ 1204627 h 1273968"/>
                <a:gd name="connsiteX1683" fmla="*/ 573786 w 1489995"/>
                <a:gd name="connsiteY1683" fmla="*/ 1207770 h 1273968"/>
                <a:gd name="connsiteX1684" fmla="*/ 574834 w 1489995"/>
                <a:gd name="connsiteY1684" fmla="*/ 1215676 h 1273968"/>
                <a:gd name="connsiteX1685" fmla="*/ 570262 w 1489995"/>
                <a:gd name="connsiteY1685" fmla="*/ 1217866 h 1273968"/>
                <a:gd name="connsiteX1686" fmla="*/ 570643 w 1489995"/>
                <a:gd name="connsiteY1686" fmla="*/ 1221010 h 1273968"/>
                <a:gd name="connsiteX1687" fmla="*/ 566356 w 1489995"/>
                <a:gd name="connsiteY1687" fmla="*/ 1224725 h 1273968"/>
                <a:gd name="connsiteX1688" fmla="*/ 563213 w 1489995"/>
                <a:gd name="connsiteY1688" fmla="*/ 1225201 h 1273968"/>
                <a:gd name="connsiteX1689" fmla="*/ 563594 w 1489995"/>
                <a:gd name="connsiteY1689" fmla="*/ 1228344 h 1273968"/>
                <a:gd name="connsiteX1690" fmla="*/ 566547 w 1489995"/>
                <a:gd name="connsiteY1690" fmla="*/ 1226344 h 1273968"/>
                <a:gd name="connsiteX1691" fmla="*/ 560832 w 1489995"/>
                <a:gd name="connsiteY1691" fmla="*/ 1231868 h 1273968"/>
                <a:gd name="connsiteX1692" fmla="*/ 561404 w 1489995"/>
                <a:gd name="connsiteY1692" fmla="*/ 1236631 h 1273968"/>
                <a:gd name="connsiteX1693" fmla="*/ 556546 w 1489995"/>
                <a:gd name="connsiteY1693" fmla="*/ 1235678 h 1273968"/>
                <a:gd name="connsiteX1694" fmla="*/ 556069 w 1489995"/>
                <a:gd name="connsiteY1694" fmla="*/ 1232440 h 1273968"/>
                <a:gd name="connsiteX1695" fmla="*/ 559022 w 1489995"/>
                <a:gd name="connsiteY1695" fmla="*/ 1230535 h 1273968"/>
                <a:gd name="connsiteX1696" fmla="*/ 557308 w 1489995"/>
                <a:gd name="connsiteY1696" fmla="*/ 1229106 h 1273968"/>
                <a:gd name="connsiteX1697" fmla="*/ 551117 w 1489995"/>
                <a:gd name="connsiteY1697" fmla="*/ 1231487 h 1273968"/>
                <a:gd name="connsiteX1698" fmla="*/ 543306 w 1489995"/>
                <a:gd name="connsiteY1698" fmla="*/ 1232535 h 1273968"/>
                <a:gd name="connsiteX1699" fmla="*/ 540353 w 1489995"/>
                <a:gd name="connsiteY1699" fmla="*/ 1234535 h 1273968"/>
                <a:gd name="connsiteX1700" fmla="*/ 536924 w 1489995"/>
                <a:gd name="connsiteY1700" fmla="*/ 1233297 h 1273968"/>
                <a:gd name="connsiteX1701" fmla="*/ 532067 w 1489995"/>
                <a:gd name="connsiteY1701" fmla="*/ 1232345 h 1273968"/>
                <a:gd name="connsiteX1702" fmla="*/ 525685 w 1489995"/>
                <a:gd name="connsiteY1702" fmla="*/ 1233107 h 1273968"/>
                <a:gd name="connsiteX1703" fmla="*/ 522542 w 1489995"/>
                <a:gd name="connsiteY1703" fmla="*/ 1233583 h 1273968"/>
                <a:gd name="connsiteX1704" fmla="*/ 521398 w 1489995"/>
                <a:gd name="connsiteY1704" fmla="*/ 1236916 h 1273968"/>
                <a:gd name="connsiteX1705" fmla="*/ 514255 w 1489995"/>
                <a:gd name="connsiteY1705" fmla="*/ 1231392 h 1273968"/>
                <a:gd name="connsiteX1706" fmla="*/ 509492 w 1489995"/>
                <a:gd name="connsiteY1706" fmla="*/ 1231964 h 1273968"/>
                <a:gd name="connsiteX1707" fmla="*/ 501205 w 1489995"/>
                <a:gd name="connsiteY1707" fmla="*/ 1229868 h 1273968"/>
                <a:gd name="connsiteX1708" fmla="*/ 502444 w 1489995"/>
                <a:gd name="connsiteY1708" fmla="*/ 1239298 h 1273968"/>
                <a:gd name="connsiteX1709" fmla="*/ 497300 w 1489995"/>
                <a:gd name="connsiteY1709" fmla="*/ 1236726 h 1273968"/>
                <a:gd name="connsiteX1710" fmla="*/ 492728 w 1489995"/>
                <a:gd name="connsiteY1710" fmla="*/ 1238917 h 1273968"/>
                <a:gd name="connsiteX1711" fmla="*/ 491014 w 1489995"/>
                <a:gd name="connsiteY1711" fmla="*/ 1237583 h 1273968"/>
                <a:gd name="connsiteX1712" fmla="*/ 490633 w 1489995"/>
                <a:gd name="connsiteY1712" fmla="*/ 1234440 h 1273968"/>
                <a:gd name="connsiteX1713" fmla="*/ 491776 w 1489995"/>
                <a:gd name="connsiteY1713" fmla="*/ 1231011 h 1273968"/>
                <a:gd name="connsiteX1714" fmla="*/ 489775 w 1489995"/>
                <a:gd name="connsiteY1714" fmla="*/ 1228058 h 1273968"/>
                <a:gd name="connsiteX1715" fmla="*/ 486632 w 1489995"/>
                <a:gd name="connsiteY1715" fmla="*/ 1228535 h 1273968"/>
                <a:gd name="connsiteX1716" fmla="*/ 487394 w 1489995"/>
                <a:gd name="connsiteY1716" fmla="*/ 1234821 h 1273968"/>
                <a:gd name="connsiteX1717" fmla="*/ 486251 w 1489995"/>
                <a:gd name="connsiteY1717" fmla="*/ 1238155 h 1273968"/>
                <a:gd name="connsiteX1718" fmla="*/ 479774 w 1489995"/>
                <a:gd name="connsiteY1718" fmla="*/ 1237393 h 1273968"/>
                <a:gd name="connsiteX1719" fmla="*/ 478346 w 1489995"/>
                <a:gd name="connsiteY1719" fmla="*/ 1239203 h 1273968"/>
                <a:gd name="connsiteX1720" fmla="*/ 476345 w 1489995"/>
                <a:gd name="connsiteY1720" fmla="*/ 1236250 h 1273968"/>
                <a:gd name="connsiteX1721" fmla="*/ 470059 w 1489995"/>
                <a:gd name="connsiteY1721" fmla="*/ 1237012 h 1273968"/>
                <a:gd name="connsiteX1722" fmla="*/ 469868 w 1489995"/>
                <a:gd name="connsiteY1722" fmla="*/ 1235488 h 1273968"/>
                <a:gd name="connsiteX1723" fmla="*/ 466915 w 1489995"/>
                <a:gd name="connsiteY1723" fmla="*/ 1237393 h 1273968"/>
                <a:gd name="connsiteX1724" fmla="*/ 464915 w 1489995"/>
                <a:gd name="connsiteY1724" fmla="*/ 1234440 h 1273968"/>
                <a:gd name="connsiteX1725" fmla="*/ 463391 w 1489995"/>
                <a:gd name="connsiteY1725" fmla="*/ 1234631 h 1273968"/>
                <a:gd name="connsiteX1726" fmla="*/ 461010 w 1489995"/>
                <a:gd name="connsiteY1726" fmla="*/ 1228535 h 1273968"/>
                <a:gd name="connsiteX1727" fmla="*/ 461963 w 1489995"/>
                <a:gd name="connsiteY1727" fmla="*/ 1223582 h 1273968"/>
                <a:gd name="connsiteX1728" fmla="*/ 463296 w 1489995"/>
                <a:gd name="connsiteY1728" fmla="*/ 1221867 h 1273968"/>
                <a:gd name="connsiteX1729" fmla="*/ 462534 w 1489995"/>
                <a:gd name="connsiteY1729" fmla="*/ 1215485 h 1273968"/>
                <a:gd name="connsiteX1730" fmla="*/ 462153 w 1489995"/>
                <a:gd name="connsiteY1730" fmla="*/ 1212342 h 1273968"/>
                <a:gd name="connsiteX1731" fmla="*/ 463487 w 1489995"/>
                <a:gd name="connsiteY1731" fmla="*/ 1210628 h 1273968"/>
                <a:gd name="connsiteX1732" fmla="*/ 463105 w 1489995"/>
                <a:gd name="connsiteY1732" fmla="*/ 1207484 h 1273968"/>
                <a:gd name="connsiteX1733" fmla="*/ 467868 w 1489995"/>
                <a:gd name="connsiteY1733" fmla="*/ 1206818 h 1273968"/>
                <a:gd name="connsiteX1734" fmla="*/ 462915 w 1489995"/>
                <a:gd name="connsiteY1734" fmla="*/ 1205865 h 1273968"/>
                <a:gd name="connsiteX1735" fmla="*/ 457390 w 1489995"/>
                <a:gd name="connsiteY1735" fmla="*/ 1200150 h 1273968"/>
                <a:gd name="connsiteX1736" fmla="*/ 455962 w 1489995"/>
                <a:gd name="connsiteY1736" fmla="*/ 1201960 h 1273968"/>
                <a:gd name="connsiteX1737" fmla="*/ 446532 w 1489995"/>
                <a:gd name="connsiteY1737" fmla="*/ 1203103 h 1273968"/>
                <a:gd name="connsiteX1738" fmla="*/ 443198 w 1489995"/>
                <a:gd name="connsiteY1738" fmla="*/ 1201960 h 1273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</a:cxnLst>
              <a:rect l="l" t="t" r="r" b="b"/>
              <a:pathLst>
                <a:path w="1489995" h="1273968">
                  <a:moveTo>
                    <a:pt x="443198" y="1201960"/>
                  </a:moveTo>
                  <a:lnTo>
                    <a:pt x="439198" y="1208913"/>
                  </a:lnTo>
                  <a:lnTo>
                    <a:pt x="439007" y="1207294"/>
                  </a:lnTo>
                  <a:lnTo>
                    <a:pt x="433292" y="1212818"/>
                  </a:lnTo>
                  <a:lnTo>
                    <a:pt x="431578" y="1211485"/>
                  </a:lnTo>
                  <a:lnTo>
                    <a:pt x="430149" y="1213199"/>
                  </a:lnTo>
                  <a:lnTo>
                    <a:pt x="423481" y="1210913"/>
                  </a:lnTo>
                  <a:lnTo>
                    <a:pt x="422719" y="1217390"/>
                  </a:lnTo>
                  <a:lnTo>
                    <a:pt x="426625" y="1223296"/>
                  </a:lnTo>
                  <a:lnTo>
                    <a:pt x="423863" y="1226915"/>
                  </a:lnTo>
                  <a:lnTo>
                    <a:pt x="423481" y="1223677"/>
                  </a:lnTo>
                  <a:lnTo>
                    <a:pt x="422719" y="1230249"/>
                  </a:lnTo>
                  <a:lnTo>
                    <a:pt x="421291" y="1231964"/>
                  </a:lnTo>
                  <a:lnTo>
                    <a:pt x="421767" y="1235202"/>
                  </a:lnTo>
                  <a:lnTo>
                    <a:pt x="420148" y="1235393"/>
                  </a:lnTo>
                  <a:lnTo>
                    <a:pt x="418814" y="1237107"/>
                  </a:lnTo>
                  <a:lnTo>
                    <a:pt x="416814" y="1234154"/>
                  </a:lnTo>
                  <a:lnTo>
                    <a:pt x="415195" y="1234345"/>
                  </a:lnTo>
                  <a:lnTo>
                    <a:pt x="415576" y="1237583"/>
                  </a:lnTo>
                  <a:lnTo>
                    <a:pt x="414052" y="1237774"/>
                  </a:lnTo>
                  <a:lnTo>
                    <a:pt x="417957" y="1243679"/>
                  </a:lnTo>
                  <a:lnTo>
                    <a:pt x="414814" y="1244060"/>
                  </a:lnTo>
                  <a:lnTo>
                    <a:pt x="415290" y="1247204"/>
                  </a:lnTo>
                  <a:lnTo>
                    <a:pt x="412051" y="1247585"/>
                  </a:lnTo>
                  <a:lnTo>
                    <a:pt x="411289" y="1241298"/>
                  </a:lnTo>
                  <a:lnTo>
                    <a:pt x="408146" y="1241679"/>
                  </a:lnTo>
                  <a:lnTo>
                    <a:pt x="405955" y="1237202"/>
                  </a:lnTo>
                  <a:lnTo>
                    <a:pt x="403384" y="1242346"/>
                  </a:lnTo>
                  <a:lnTo>
                    <a:pt x="401860" y="1242536"/>
                  </a:lnTo>
                  <a:lnTo>
                    <a:pt x="402241" y="1245680"/>
                  </a:lnTo>
                  <a:lnTo>
                    <a:pt x="399479" y="1249204"/>
                  </a:lnTo>
                  <a:lnTo>
                    <a:pt x="399859" y="1252347"/>
                  </a:lnTo>
                  <a:lnTo>
                    <a:pt x="400240" y="1255586"/>
                  </a:lnTo>
                  <a:lnTo>
                    <a:pt x="390620" y="1255205"/>
                  </a:lnTo>
                  <a:lnTo>
                    <a:pt x="383858" y="1252823"/>
                  </a:lnTo>
                  <a:lnTo>
                    <a:pt x="383286" y="1248061"/>
                  </a:lnTo>
                  <a:lnTo>
                    <a:pt x="379952" y="1246918"/>
                  </a:lnTo>
                  <a:lnTo>
                    <a:pt x="371284" y="1254443"/>
                  </a:lnTo>
                  <a:lnTo>
                    <a:pt x="372237" y="1262348"/>
                  </a:lnTo>
                  <a:lnTo>
                    <a:pt x="372237" y="1262348"/>
                  </a:lnTo>
                  <a:lnTo>
                    <a:pt x="370713" y="1262539"/>
                  </a:lnTo>
                  <a:lnTo>
                    <a:pt x="366331" y="1266254"/>
                  </a:lnTo>
                  <a:lnTo>
                    <a:pt x="365950" y="1263110"/>
                  </a:lnTo>
                  <a:lnTo>
                    <a:pt x="356711" y="1265873"/>
                  </a:lnTo>
                  <a:lnTo>
                    <a:pt x="354711" y="1262920"/>
                  </a:lnTo>
                  <a:lnTo>
                    <a:pt x="349948" y="1263587"/>
                  </a:lnTo>
                  <a:lnTo>
                    <a:pt x="349377" y="1258824"/>
                  </a:lnTo>
                  <a:lnTo>
                    <a:pt x="345853" y="1256062"/>
                  </a:lnTo>
                  <a:lnTo>
                    <a:pt x="344614" y="1259396"/>
                  </a:lnTo>
                  <a:lnTo>
                    <a:pt x="338328" y="1260253"/>
                  </a:lnTo>
                  <a:lnTo>
                    <a:pt x="342614" y="1256443"/>
                  </a:lnTo>
                  <a:lnTo>
                    <a:pt x="342233" y="1253300"/>
                  </a:lnTo>
                  <a:lnTo>
                    <a:pt x="345186" y="1251299"/>
                  </a:lnTo>
                  <a:lnTo>
                    <a:pt x="337280" y="1252347"/>
                  </a:lnTo>
                  <a:lnTo>
                    <a:pt x="335947" y="1254157"/>
                  </a:lnTo>
                  <a:lnTo>
                    <a:pt x="332422" y="1251395"/>
                  </a:lnTo>
                  <a:lnTo>
                    <a:pt x="330232" y="1246823"/>
                  </a:lnTo>
                  <a:lnTo>
                    <a:pt x="330994" y="1240346"/>
                  </a:lnTo>
                  <a:lnTo>
                    <a:pt x="320897" y="1236821"/>
                  </a:lnTo>
                  <a:lnTo>
                    <a:pt x="316325" y="1239012"/>
                  </a:lnTo>
                  <a:lnTo>
                    <a:pt x="316611" y="1240536"/>
                  </a:lnTo>
                  <a:lnTo>
                    <a:pt x="319945" y="1241679"/>
                  </a:lnTo>
                  <a:lnTo>
                    <a:pt x="315373" y="1243870"/>
                  </a:lnTo>
                  <a:lnTo>
                    <a:pt x="311658" y="1252347"/>
                  </a:lnTo>
                  <a:lnTo>
                    <a:pt x="308324" y="1251204"/>
                  </a:lnTo>
                  <a:lnTo>
                    <a:pt x="308515" y="1252823"/>
                  </a:lnTo>
                  <a:lnTo>
                    <a:pt x="306705" y="1251395"/>
                  </a:lnTo>
                  <a:lnTo>
                    <a:pt x="303943" y="1255014"/>
                  </a:lnTo>
                  <a:lnTo>
                    <a:pt x="302038" y="1252061"/>
                  </a:lnTo>
                  <a:lnTo>
                    <a:pt x="303371" y="1250252"/>
                  </a:lnTo>
                  <a:lnTo>
                    <a:pt x="301752" y="1250442"/>
                  </a:lnTo>
                  <a:lnTo>
                    <a:pt x="300418" y="1252252"/>
                  </a:lnTo>
                  <a:lnTo>
                    <a:pt x="298990" y="1253966"/>
                  </a:lnTo>
                  <a:lnTo>
                    <a:pt x="297656" y="1242917"/>
                  </a:lnTo>
                  <a:lnTo>
                    <a:pt x="296228" y="1244727"/>
                  </a:lnTo>
                  <a:lnTo>
                    <a:pt x="294513" y="1243394"/>
                  </a:lnTo>
                  <a:lnTo>
                    <a:pt x="291655" y="1234059"/>
                  </a:lnTo>
                  <a:lnTo>
                    <a:pt x="288512" y="1234535"/>
                  </a:lnTo>
                  <a:lnTo>
                    <a:pt x="290513" y="1237488"/>
                  </a:lnTo>
                  <a:lnTo>
                    <a:pt x="284226" y="1238250"/>
                  </a:lnTo>
                  <a:lnTo>
                    <a:pt x="284988" y="1244537"/>
                  </a:lnTo>
                  <a:lnTo>
                    <a:pt x="280225" y="1245203"/>
                  </a:lnTo>
                  <a:lnTo>
                    <a:pt x="280702" y="1248347"/>
                  </a:lnTo>
                  <a:lnTo>
                    <a:pt x="273748" y="1244441"/>
                  </a:lnTo>
                  <a:lnTo>
                    <a:pt x="267271" y="1243584"/>
                  </a:lnTo>
                  <a:lnTo>
                    <a:pt x="263747" y="1253681"/>
                  </a:lnTo>
                  <a:lnTo>
                    <a:pt x="262128" y="1253871"/>
                  </a:lnTo>
                  <a:lnTo>
                    <a:pt x="262128" y="1253871"/>
                  </a:lnTo>
                  <a:lnTo>
                    <a:pt x="252222" y="1251966"/>
                  </a:lnTo>
                  <a:lnTo>
                    <a:pt x="250507" y="1250537"/>
                  </a:lnTo>
                  <a:lnTo>
                    <a:pt x="251269" y="1244060"/>
                  </a:lnTo>
                  <a:lnTo>
                    <a:pt x="252603" y="1242251"/>
                  </a:lnTo>
                  <a:lnTo>
                    <a:pt x="254413" y="1230821"/>
                  </a:lnTo>
                  <a:lnTo>
                    <a:pt x="254984" y="1222724"/>
                  </a:lnTo>
                  <a:lnTo>
                    <a:pt x="249841" y="1220153"/>
                  </a:lnTo>
                  <a:lnTo>
                    <a:pt x="250412" y="1212056"/>
                  </a:lnTo>
                  <a:lnTo>
                    <a:pt x="239935" y="1205389"/>
                  </a:lnTo>
                  <a:lnTo>
                    <a:pt x="236791" y="1205770"/>
                  </a:lnTo>
                  <a:lnTo>
                    <a:pt x="231457" y="1214533"/>
                  </a:lnTo>
                  <a:lnTo>
                    <a:pt x="229648" y="1213104"/>
                  </a:lnTo>
                  <a:lnTo>
                    <a:pt x="234029" y="1209389"/>
                  </a:lnTo>
                  <a:lnTo>
                    <a:pt x="235744" y="1197959"/>
                  </a:lnTo>
                  <a:lnTo>
                    <a:pt x="233743" y="1195007"/>
                  </a:lnTo>
                  <a:lnTo>
                    <a:pt x="232029" y="1193578"/>
                  </a:lnTo>
                  <a:lnTo>
                    <a:pt x="234696" y="1177195"/>
                  </a:lnTo>
                  <a:lnTo>
                    <a:pt x="231934" y="1167956"/>
                  </a:lnTo>
                  <a:lnTo>
                    <a:pt x="236029" y="1162622"/>
                  </a:lnTo>
                  <a:lnTo>
                    <a:pt x="240030" y="1155668"/>
                  </a:lnTo>
                  <a:lnTo>
                    <a:pt x="239554" y="1139666"/>
                  </a:lnTo>
                  <a:lnTo>
                    <a:pt x="242125" y="1134523"/>
                  </a:lnTo>
                  <a:lnTo>
                    <a:pt x="242888" y="1128046"/>
                  </a:lnTo>
                  <a:lnTo>
                    <a:pt x="239173" y="1123760"/>
                  </a:lnTo>
                  <a:lnTo>
                    <a:pt x="234601" y="1125855"/>
                  </a:lnTo>
                  <a:lnTo>
                    <a:pt x="227933" y="1123569"/>
                  </a:lnTo>
                  <a:lnTo>
                    <a:pt x="227266" y="1118807"/>
                  </a:lnTo>
                  <a:lnTo>
                    <a:pt x="223742" y="1116044"/>
                  </a:lnTo>
                  <a:lnTo>
                    <a:pt x="219361" y="1119854"/>
                  </a:lnTo>
                  <a:lnTo>
                    <a:pt x="217837" y="1120045"/>
                  </a:lnTo>
                  <a:lnTo>
                    <a:pt x="210884" y="1116044"/>
                  </a:lnTo>
                  <a:lnTo>
                    <a:pt x="210502" y="1112901"/>
                  </a:lnTo>
                  <a:lnTo>
                    <a:pt x="213646" y="1112520"/>
                  </a:lnTo>
                  <a:lnTo>
                    <a:pt x="214789" y="1109186"/>
                  </a:lnTo>
                  <a:lnTo>
                    <a:pt x="205168" y="1108805"/>
                  </a:lnTo>
                  <a:lnTo>
                    <a:pt x="204788" y="1105662"/>
                  </a:lnTo>
                  <a:lnTo>
                    <a:pt x="200025" y="1106234"/>
                  </a:lnTo>
                  <a:lnTo>
                    <a:pt x="196501" y="1103471"/>
                  </a:lnTo>
                  <a:lnTo>
                    <a:pt x="193357" y="1103948"/>
                  </a:lnTo>
                  <a:lnTo>
                    <a:pt x="190881" y="1097756"/>
                  </a:lnTo>
                  <a:lnTo>
                    <a:pt x="187547" y="1096613"/>
                  </a:lnTo>
                  <a:lnTo>
                    <a:pt x="195643" y="1097185"/>
                  </a:lnTo>
                  <a:lnTo>
                    <a:pt x="202787" y="1102709"/>
                  </a:lnTo>
                  <a:lnTo>
                    <a:pt x="210693" y="1101662"/>
                  </a:lnTo>
                  <a:lnTo>
                    <a:pt x="212026" y="1099947"/>
                  </a:lnTo>
                  <a:lnTo>
                    <a:pt x="216789" y="1099280"/>
                  </a:lnTo>
                  <a:lnTo>
                    <a:pt x="219742" y="1097280"/>
                  </a:lnTo>
                  <a:lnTo>
                    <a:pt x="216408" y="1096137"/>
                  </a:lnTo>
                  <a:lnTo>
                    <a:pt x="209836" y="1082516"/>
                  </a:lnTo>
                  <a:lnTo>
                    <a:pt x="200120" y="1082135"/>
                  </a:lnTo>
                  <a:lnTo>
                    <a:pt x="196405" y="1077849"/>
                  </a:lnTo>
                  <a:lnTo>
                    <a:pt x="198977" y="1072706"/>
                  </a:lnTo>
                  <a:lnTo>
                    <a:pt x="196977" y="1069753"/>
                  </a:lnTo>
                  <a:lnTo>
                    <a:pt x="198120" y="1066419"/>
                  </a:lnTo>
                  <a:lnTo>
                    <a:pt x="200120" y="1069372"/>
                  </a:lnTo>
                  <a:lnTo>
                    <a:pt x="200311" y="1070896"/>
                  </a:lnTo>
                  <a:lnTo>
                    <a:pt x="202120" y="1072325"/>
                  </a:lnTo>
                  <a:lnTo>
                    <a:pt x="204883" y="1068705"/>
                  </a:lnTo>
                  <a:lnTo>
                    <a:pt x="205073" y="1070324"/>
                  </a:lnTo>
                  <a:lnTo>
                    <a:pt x="206692" y="1070134"/>
                  </a:lnTo>
                  <a:lnTo>
                    <a:pt x="206692" y="1070134"/>
                  </a:lnTo>
                  <a:lnTo>
                    <a:pt x="208026" y="1068324"/>
                  </a:lnTo>
                  <a:lnTo>
                    <a:pt x="215741" y="1065752"/>
                  </a:lnTo>
                  <a:lnTo>
                    <a:pt x="219075" y="1066895"/>
                  </a:lnTo>
                  <a:lnTo>
                    <a:pt x="226123" y="1059656"/>
                  </a:lnTo>
                  <a:lnTo>
                    <a:pt x="221456" y="1060228"/>
                  </a:lnTo>
                  <a:lnTo>
                    <a:pt x="220789" y="1055465"/>
                  </a:lnTo>
                  <a:lnTo>
                    <a:pt x="216122" y="1056132"/>
                  </a:lnTo>
                  <a:lnTo>
                    <a:pt x="215932" y="1054513"/>
                  </a:lnTo>
                  <a:lnTo>
                    <a:pt x="212503" y="1053370"/>
                  </a:lnTo>
                  <a:lnTo>
                    <a:pt x="208026" y="1055561"/>
                  </a:lnTo>
                  <a:lnTo>
                    <a:pt x="210788" y="1051941"/>
                  </a:lnTo>
                  <a:lnTo>
                    <a:pt x="207359" y="1050798"/>
                  </a:lnTo>
                  <a:lnTo>
                    <a:pt x="203073" y="1054513"/>
                  </a:lnTo>
                  <a:lnTo>
                    <a:pt x="201073" y="1051560"/>
                  </a:lnTo>
                  <a:lnTo>
                    <a:pt x="198120" y="1053560"/>
                  </a:lnTo>
                  <a:lnTo>
                    <a:pt x="196977" y="1056894"/>
                  </a:lnTo>
                  <a:lnTo>
                    <a:pt x="194024" y="1058894"/>
                  </a:lnTo>
                  <a:lnTo>
                    <a:pt x="194405" y="1062037"/>
                  </a:lnTo>
                  <a:lnTo>
                    <a:pt x="189452" y="1061085"/>
                  </a:lnTo>
                  <a:lnTo>
                    <a:pt x="186690" y="1051846"/>
                  </a:lnTo>
                  <a:lnTo>
                    <a:pt x="190024" y="1052989"/>
                  </a:lnTo>
                  <a:lnTo>
                    <a:pt x="189833" y="1051465"/>
                  </a:lnTo>
                  <a:lnTo>
                    <a:pt x="186499" y="1050227"/>
                  </a:lnTo>
                  <a:lnTo>
                    <a:pt x="190595" y="1044893"/>
                  </a:lnTo>
                  <a:lnTo>
                    <a:pt x="186690" y="1038987"/>
                  </a:lnTo>
                  <a:lnTo>
                    <a:pt x="189166" y="1033844"/>
                  </a:lnTo>
                  <a:lnTo>
                    <a:pt x="198311" y="1029462"/>
                  </a:lnTo>
                  <a:lnTo>
                    <a:pt x="205740" y="1012507"/>
                  </a:lnTo>
                  <a:lnTo>
                    <a:pt x="228409" y="1001649"/>
                  </a:lnTo>
                  <a:lnTo>
                    <a:pt x="232886" y="999458"/>
                  </a:lnTo>
                  <a:lnTo>
                    <a:pt x="239268" y="998601"/>
                  </a:lnTo>
                  <a:lnTo>
                    <a:pt x="236125" y="998982"/>
                  </a:lnTo>
                  <a:lnTo>
                    <a:pt x="236887" y="1005364"/>
                  </a:lnTo>
                  <a:lnTo>
                    <a:pt x="238696" y="1006697"/>
                  </a:lnTo>
                  <a:lnTo>
                    <a:pt x="243554" y="1007650"/>
                  </a:lnTo>
                  <a:lnTo>
                    <a:pt x="245745" y="1012222"/>
                  </a:lnTo>
                  <a:lnTo>
                    <a:pt x="247364" y="1012031"/>
                  </a:lnTo>
                  <a:lnTo>
                    <a:pt x="247555" y="1013555"/>
                  </a:lnTo>
                  <a:lnTo>
                    <a:pt x="252317" y="1012984"/>
                  </a:lnTo>
                  <a:lnTo>
                    <a:pt x="254032" y="1014317"/>
                  </a:lnTo>
                  <a:lnTo>
                    <a:pt x="255079" y="1009460"/>
                  </a:lnTo>
                  <a:lnTo>
                    <a:pt x="256603" y="1009269"/>
                  </a:lnTo>
                  <a:lnTo>
                    <a:pt x="256222" y="1006031"/>
                  </a:lnTo>
                  <a:lnTo>
                    <a:pt x="257556" y="1004316"/>
                  </a:lnTo>
                  <a:lnTo>
                    <a:pt x="258413" y="997744"/>
                  </a:lnTo>
                  <a:lnTo>
                    <a:pt x="261366" y="995839"/>
                  </a:lnTo>
                  <a:lnTo>
                    <a:pt x="263652" y="989076"/>
                  </a:lnTo>
                  <a:lnTo>
                    <a:pt x="266795" y="988695"/>
                  </a:lnTo>
                  <a:lnTo>
                    <a:pt x="272986" y="986314"/>
                  </a:lnTo>
                  <a:lnTo>
                    <a:pt x="272510" y="983170"/>
                  </a:lnTo>
                  <a:lnTo>
                    <a:pt x="274320" y="984504"/>
                  </a:lnTo>
                  <a:lnTo>
                    <a:pt x="275749" y="982790"/>
                  </a:lnTo>
                  <a:lnTo>
                    <a:pt x="278892" y="982313"/>
                  </a:lnTo>
                  <a:lnTo>
                    <a:pt x="283178" y="978599"/>
                  </a:lnTo>
                  <a:lnTo>
                    <a:pt x="284988" y="979932"/>
                  </a:lnTo>
                  <a:lnTo>
                    <a:pt x="288893" y="973074"/>
                  </a:lnTo>
                  <a:lnTo>
                    <a:pt x="286703" y="968502"/>
                  </a:lnTo>
                  <a:lnTo>
                    <a:pt x="281559" y="965930"/>
                  </a:lnTo>
                  <a:lnTo>
                    <a:pt x="279559" y="962978"/>
                  </a:lnTo>
                  <a:lnTo>
                    <a:pt x="276225" y="961835"/>
                  </a:lnTo>
                  <a:lnTo>
                    <a:pt x="273272" y="963835"/>
                  </a:lnTo>
                  <a:lnTo>
                    <a:pt x="271939" y="965549"/>
                  </a:lnTo>
                  <a:lnTo>
                    <a:pt x="266033" y="969550"/>
                  </a:lnTo>
                  <a:lnTo>
                    <a:pt x="264223" y="968121"/>
                  </a:lnTo>
                  <a:lnTo>
                    <a:pt x="264795" y="960120"/>
                  </a:lnTo>
                  <a:lnTo>
                    <a:pt x="274034" y="957262"/>
                  </a:lnTo>
                  <a:lnTo>
                    <a:pt x="277178" y="944023"/>
                  </a:lnTo>
                  <a:lnTo>
                    <a:pt x="276415" y="937736"/>
                  </a:lnTo>
                  <a:lnTo>
                    <a:pt x="272605" y="933450"/>
                  </a:lnTo>
                  <a:lnTo>
                    <a:pt x="272224" y="930307"/>
                  </a:lnTo>
                  <a:lnTo>
                    <a:pt x="269843" y="924115"/>
                  </a:lnTo>
                  <a:lnTo>
                    <a:pt x="270796" y="919258"/>
                  </a:lnTo>
                  <a:lnTo>
                    <a:pt x="280321" y="918020"/>
                  </a:lnTo>
                  <a:lnTo>
                    <a:pt x="279463" y="911733"/>
                  </a:lnTo>
                  <a:lnTo>
                    <a:pt x="285369" y="907732"/>
                  </a:lnTo>
                  <a:lnTo>
                    <a:pt x="282226" y="908114"/>
                  </a:lnTo>
                  <a:lnTo>
                    <a:pt x="284416" y="899827"/>
                  </a:lnTo>
                  <a:lnTo>
                    <a:pt x="277463" y="895922"/>
                  </a:lnTo>
                  <a:lnTo>
                    <a:pt x="276415" y="888016"/>
                  </a:lnTo>
                  <a:lnTo>
                    <a:pt x="283369" y="879157"/>
                  </a:lnTo>
                  <a:lnTo>
                    <a:pt x="281368" y="876205"/>
                  </a:lnTo>
                  <a:lnTo>
                    <a:pt x="277654" y="871823"/>
                  </a:lnTo>
                  <a:lnTo>
                    <a:pt x="280321" y="868299"/>
                  </a:lnTo>
                  <a:lnTo>
                    <a:pt x="283750" y="869442"/>
                  </a:lnTo>
                  <a:lnTo>
                    <a:pt x="287464" y="860965"/>
                  </a:lnTo>
                  <a:lnTo>
                    <a:pt x="283464" y="855059"/>
                  </a:lnTo>
                  <a:lnTo>
                    <a:pt x="286607" y="854678"/>
                  </a:lnTo>
                  <a:lnTo>
                    <a:pt x="285464" y="845153"/>
                  </a:lnTo>
                  <a:lnTo>
                    <a:pt x="287179" y="846582"/>
                  </a:lnTo>
                  <a:lnTo>
                    <a:pt x="290417" y="846201"/>
                  </a:lnTo>
                  <a:lnTo>
                    <a:pt x="290132" y="844582"/>
                  </a:lnTo>
                  <a:lnTo>
                    <a:pt x="290417" y="846201"/>
                  </a:lnTo>
                  <a:lnTo>
                    <a:pt x="291941" y="845915"/>
                  </a:lnTo>
                  <a:lnTo>
                    <a:pt x="293370" y="844201"/>
                  </a:lnTo>
                  <a:lnTo>
                    <a:pt x="296704" y="845344"/>
                  </a:lnTo>
                  <a:lnTo>
                    <a:pt x="299657" y="843344"/>
                  </a:lnTo>
                  <a:lnTo>
                    <a:pt x="300228" y="848106"/>
                  </a:lnTo>
                  <a:lnTo>
                    <a:pt x="303181" y="846106"/>
                  </a:lnTo>
                  <a:lnTo>
                    <a:pt x="299657" y="830580"/>
                  </a:lnTo>
                  <a:lnTo>
                    <a:pt x="298037" y="817912"/>
                  </a:lnTo>
                  <a:lnTo>
                    <a:pt x="295656" y="811816"/>
                  </a:lnTo>
                  <a:lnTo>
                    <a:pt x="296609" y="806863"/>
                  </a:lnTo>
                  <a:lnTo>
                    <a:pt x="296228" y="803720"/>
                  </a:lnTo>
                  <a:lnTo>
                    <a:pt x="294418" y="802386"/>
                  </a:lnTo>
                  <a:lnTo>
                    <a:pt x="292417" y="799433"/>
                  </a:lnTo>
                  <a:lnTo>
                    <a:pt x="293656" y="796004"/>
                  </a:lnTo>
                  <a:lnTo>
                    <a:pt x="294799" y="792670"/>
                  </a:lnTo>
                  <a:lnTo>
                    <a:pt x="293941" y="786384"/>
                  </a:lnTo>
                  <a:lnTo>
                    <a:pt x="292227" y="784955"/>
                  </a:lnTo>
                  <a:lnTo>
                    <a:pt x="294799" y="779812"/>
                  </a:lnTo>
                  <a:lnTo>
                    <a:pt x="302419" y="777240"/>
                  </a:lnTo>
                  <a:lnTo>
                    <a:pt x="291370" y="778669"/>
                  </a:lnTo>
                  <a:lnTo>
                    <a:pt x="286226" y="776097"/>
                  </a:lnTo>
                  <a:lnTo>
                    <a:pt x="274034" y="768096"/>
                  </a:lnTo>
                  <a:lnTo>
                    <a:pt x="270034" y="762190"/>
                  </a:lnTo>
                  <a:lnTo>
                    <a:pt x="256984" y="760571"/>
                  </a:lnTo>
                  <a:lnTo>
                    <a:pt x="251841" y="758095"/>
                  </a:lnTo>
                  <a:lnTo>
                    <a:pt x="245936" y="762000"/>
                  </a:lnTo>
                  <a:lnTo>
                    <a:pt x="239459" y="761238"/>
                  </a:lnTo>
                  <a:lnTo>
                    <a:pt x="240792" y="759428"/>
                  </a:lnTo>
                  <a:lnTo>
                    <a:pt x="239077" y="758095"/>
                  </a:lnTo>
                  <a:lnTo>
                    <a:pt x="240411" y="756285"/>
                  </a:lnTo>
                  <a:lnTo>
                    <a:pt x="244030" y="759047"/>
                  </a:lnTo>
                  <a:lnTo>
                    <a:pt x="245554" y="758857"/>
                  </a:lnTo>
                  <a:lnTo>
                    <a:pt x="245745" y="747617"/>
                  </a:lnTo>
                  <a:lnTo>
                    <a:pt x="246507" y="741140"/>
                  </a:lnTo>
                  <a:lnTo>
                    <a:pt x="244697" y="739711"/>
                  </a:lnTo>
                  <a:lnTo>
                    <a:pt x="243745" y="731806"/>
                  </a:lnTo>
                  <a:lnTo>
                    <a:pt x="237649" y="734187"/>
                  </a:lnTo>
                  <a:lnTo>
                    <a:pt x="232505" y="731615"/>
                  </a:lnTo>
                  <a:lnTo>
                    <a:pt x="225742" y="729329"/>
                  </a:lnTo>
                  <a:lnTo>
                    <a:pt x="216503" y="732091"/>
                  </a:lnTo>
                  <a:lnTo>
                    <a:pt x="211931" y="734282"/>
                  </a:lnTo>
                  <a:lnTo>
                    <a:pt x="211931" y="734282"/>
                  </a:lnTo>
                  <a:lnTo>
                    <a:pt x="210407" y="734473"/>
                  </a:lnTo>
                  <a:lnTo>
                    <a:pt x="209359" y="726567"/>
                  </a:lnTo>
                  <a:lnTo>
                    <a:pt x="204978" y="717518"/>
                  </a:lnTo>
                  <a:lnTo>
                    <a:pt x="201644" y="716375"/>
                  </a:lnTo>
                  <a:lnTo>
                    <a:pt x="198691" y="718280"/>
                  </a:lnTo>
                  <a:lnTo>
                    <a:pt x="196977" y="716947"/>
                  </a:lnTo>
                  <a:lnTo>
                    <a:pt x="192976" y="711041"/>
                  </a:lnTo>
                  <a:lnTo>
                    <a:pt x="189833" y="711422"/>
                  </a:lnTo>
                  <a:lnTo>
                    <a:pt x="187833" y="695611"/>
                  </a:lnTo>
                  <a:lnTo>
                    <a:pt x="182880" y="694658"/>
                  </a:lnTo>
                  <a:lnTo>
                    <a:pt x="178879" y="688753"/>
                  </a:lnTo>
                  <a:lnTo>
                    <a:pt x="175736" y="689134"/>
                  </a:lnTo>
                  <a:lnTo>
                    <a:pt x="172402" y="687991"/>
                  </a:lnTo>
                  <a:lnTo>
                    <a:pt x="169640" y="691515"/>
                  </a:lnTo>
                  <a:lnTo>
                    <a:pt x="168021" y="691801"/>
                  </a:lnTo>
                  <a:lnTo>
                    <a:pt x="166497" y="691991"/>
                  </a:lnTo>
                  <a:lnTo>
                    <a:pt x="163163" y="690753"/>
                  </a:lnTo>
                  <a:lnTo>
                    <a:pt x="161734" y="692563"/>
                  </a:lnTo>
                  <a:lnTo>
                    <a:pt x="163925" y="697135"/>
                  </a:lnTo>
                  <a:lnTo>
                    <a:pt x="144970" y="699516"/>
                  </a:lnTo>
                  <a:lnTo>
                    <a:pt x="139827" y="696944"/>
                  </a:lnTo>
                  <a:lnTo>
                    <a:pt x="118777" y="694849"/>
                  </a:lnTo>
                  <a:lnTo>
                    <a:pt x="118300" y="691706"/>
                  </a:lnTo>
                  <a:lnTo>
                    <a:pt x="114967" y="690467"/>
                  </a:lnTo>
                  <a:lnTo>
                    <a:pt x="114586" y="687324"/>
                  </a:lnTo>
                  <a:lnTo>
                    <a:pt x="109252" y="683228"/>
                  </a:lnTo>
                  <a:lnTo>
                    <a:pt x="110585" y="681419"/>
                  </a:lnTo>
                  <a:lnTo>
                    <a:pt x="108680" y="678466"/>
                  </a:lnTo>
                  <a:lnTo>
                    <a:pt x="103537" y="675894"/>
                  </a:lnTo>
                  <a:lnTo>
                    <a:pt x="99917" y="673132"/>
                  </a:lnTo>
                  <a:lnTo>
                    <a:pt x="98393" y="673322"/>
                  </a:lnTo>
                  <a:lnTo>
                    <a:pt x="94774" y="670655"/>
                  </a:lnTo>
                  <a:lnTo>
                    <a:pt x="85534" y="673418"/>
                  </a:lnTo>
                  <a:lnTo>
                    <a:pt x="82772" y="664178"/>
                  </a:lnTo>
                  <a:lnTo>
                    <a:pt x="78010" y="664750"/>
                  </a:lnTo>
                  <a:lnTo>
                    <a:pt x="72866" y="662178"/>
                  </a:lnTo>
                  <a:lnTo>
                    <a:pt x="73438" y="654082"/>
                  </a:lnTo>
                  <a:lnTo>
                    <a:pt x="76771" y="655225"/>
                  </a:lnTo>
                  <a:lnTo>
                    <a:pt x="78010" y="651891"/>
                  </a:lnTo>
                  <a:lnTo>
                    <a:pt x="89249" y="652082"/>
                  </a:lnTo>
                  <a:lnTo>
                    <a:pt x="97726" y="655796"/>
                  </a:lnTo>
                  <a:lnTo>
                    <a:pt x="97345" y="652653"/>
                  </a:lnTo>
                  <a:lnTo>
                    <a:pt x="90583" y="650272"/>
                  </a:lnTo>
                  <a:lnTo>
                    <a:pt x="89059" y="650462"/>
                  </a:lnTo>
                  <a:lnTo>
                    <a:pt x="86296" y="641223"/>
                  </a:lnTo>
                  <a:lnTo>
                    <a:pt x="82867" y="640080"/>
                  </a:lnTo>
                  <a:lnTo>
                    <a:pt x="70294" y="641699"/>
                  </a:lnTo>
                  <a:lnTo>
                    <a:pt x="66294" y="648557"/>
                  </a:lnTo>
                  <a:lnTo>
                    <a:pt x="60007" y="649415"/>
                  </a:lnTo>
                  <a:lnTo>
                    <a:pt x="56483" y="646652"/>
                  </a:lnTo>
                  <a:lnTo>
                    <a:pt x="57626" y="643319"/>
                  </a:lnTo>
                  <a:lnTo>
                    <a:pt x="57245" y="640080"/>
                  </a:lnTo>
                  <a:lnTo>
                    <a:pt x="54292" y="642080"/>
                  </a:lnTo>
                  <a:lnTo>
                    <a:pt x="52102" y="637604"/>
                  </a:lnTo>
                  <a:lnTo>
                    <a:pt x="47815" y="641318"/>
                  </a:lnTo>
                  <a:lnTo>
                    <a:pt x="32956" y="638365"/>
                  </a:lnTo>
                  <a:lnTo>
                    <a:pt x="30861" y="646652"/>
                  </a:lnTo>
                  <a:lnTo>
                    <a:pt x="27622" y="647129"/>
                  </a:lnTo>
                  <a:lnTo>
                    <a:pt x="25336" y="653796"/>
                  </a:lnTo>
                  <a:lnTo>
                    <a:pt x="23717" y="653986"/>
                  </a:lnTo>
                  <a:lnTo>
                    <a:pt x="18764" y="653034"/>
                  </a:lnTo>
                  <a:lnTo>
                    <a:pt x="17812" y="645128"/>
                  </a:lnTo>
                  <a:lnTo>
                    <a:pt x="6763" y="646557"/>
                  </a:lnTo>
                  <a:lnTo>
                    <a:pt x="2191" y="648748"/>
                  </a:lnTo>
                  <a:lnTo>
                    <a:pt x="667" y="648938"/>
                  </a:lnTo>
                  <a:lnTo>
                    <a:pt x="0" y="644176"/>
                  </a:lnTo>
                  <a:lnTo>
                    <a:pt x="4191" y="638842"/>
                  </a:lnTo>
                  <a:lnTo>
                    <a:pt x="3524" y="634175"/>
                  </a:lnTo>
                  <a:lnTo>
                    <a:pt x="9430" y="630174"/>
                  </a:lnTo>
                  <a:lnTo>
                    <a:pt x="10858" y="628364"/>
                  </a:lnTo>
                  <a:lnTo>
                    <a:pt x="8858" y="625411"/>
                  </a:lnTo>
                  <a:lnTo>
                    <a:pt x="12954" y="620078"/>
                  </a:lnTo>
                  <a:lnTo>
                    <a:pt x="12382" y="615410"/>
                  </a:lnTo>
                  <a:lnTo>
                    <a:pt x="17335" y="616363"/>
                  </a:lnTo>
                  <a:lnTo>
                    <a:pt x="23622" y="615506"/>
                  </a:lnTo>
                  <a:lnTo>
                    <a:pt x="24003" y="605885"/>
                  </a:lnTo>
                  <a:lnTo>
                    <a:pt x="21622" y="599789"/>
                  </a:lnTo>
                  <a:lnTo>
                    <a:pt x="21431" y="598170"/>
                  </a:lnTo>
                  <a:lnTo>
                    <a:pt x="16478" y="597218"/>
                  </a:lnTo>
                  <a:lnTo>
                    <a:pt x="13906" y="589502"/>
                  </a:lnTo>
                  <a:lnTo>
                    <a:pt x="9811" y="594836"/>
                  </a:lnTo>
                  <a:lnTo>
                    <a:pt x="7810" y="591884"/>
                  </a:lnTo>
                  <a:lnTo>
                    <a:pt x="8382" y="583787"/>
                  </a:lnTo>
                  <a:lnTo>
                    <a:pt x="9144" y="577310"/>
                  </a:lnTo>
                  <a:lnTo>
                    <a:pt x="7144" y="574358"/>
                  </a:lnTo>
                  <a:lnTo>
                    <a:pt x="11525" y="570548"/>
                  </a:lnTo>
                  <a:lnTo>
                    <a:pt x="14859" y="571786"/>
                  </a:lnTo>
                  <a:lnTo>
                    <a:pt x="17621" y="568166"/>
                  </a:lnTo>
                  <a:lnTo>
                    <a:pt x="20764" y="567785"/>
                  </a:lnTo>
                  <a:lnTo>
                    <a:pt x="21526" y="561308"/>
                  </a:lnTo>
                  <a:lnTo>
                    <a:pt x="31242" y="561689"/>
                  </a:lnTo>
                  <a:lnTo>
                    <a:pt x="31242" y="561689"/>
                  </a:lnTo>
                  <a:lnTo>
                    <a:pt x="31432" y="563213"/>
                  </a:lnTo>
                  <a:lnTo>
                    <a:pt x="41434" y="566738"/>
                  </a:lnTo>
                  <a:lnTo>
                    <a:pt x="46196" y="566166"/>
                  </a:lnTo>
                  <a:lnTo>
                    <a:pt x="47149" y="561213"/>
                  </a:lnTo>
                  <a:lnTo>
                    <a:pt x="45434" y="559880"/>
                  </a:lnTo>
                  <a:lnTo>
                    <a:pt x="46577" y="556451"/>
                  </a:lnTo>
                  <a:lnTo>
                    <a:pt x="48387" y="557879"/>
                  </a:lnTo>
                  <a:lnTo>
                    <a:pt x="53054" y="557213"/>
                  </a:lnTo>
                  <a:lnTo>
                    <a:pt x="51911" y="547783"/>
                  </a:lnTo>
                  <a:lnTo>
                    <a:pt x="51721" y="546163"/>
                  </a:lnTo>
                  <a:lnTo>
                    <a:pt x="52102" y="536543"/>
                  </a:lnTo>
                  <a:lnTo>
                    <a:pt x="52483" y="539686"/>
                  </a:lnTo>
                  <a:lnTo>
                    <a:pt x="53816" y="537877"/>
                  </a:lnTo>
                  <a:lnTo>
                    <a:pt x="56007" y="542449"/>
                  </a:lnTo>
                  <a:lnTo>
                    <a:pt x="60960" y="543401"/>
                  </a:lnTo>
                  <a:lnTo>
                    <a:pt x="65913" y="544354"/>
                  </a:lnTo>
                  <a:lnTo>
                    <a:pt x="66865" y="539496"/>
                  </a:lnTo>
                  <a:lnTo>
                    <a:pt x="66103" y="533114"/>
                  </a:lnTo>
                  <a:lnTo>
                    <a:pt x="65246" y="526828"/>
                  </a:lnTo>
                  <a:lnTo>
                    <a:pt x="60103" y="524256"/>
                  </a:lnTo>
                  <a:lnTo>
                    <a:pt x="60103" y="524256"/>
                  </a:lnTo>
                  <a:lnTo>
                    <a:pt x="69628" y="523113"/>
                  </a:lnTo>
                  <a:lnTo>
                    <a:pt x="70580" y="518160"/>
                  </a:lnTo>
                  <a:lnTo>
                    <a:pt x="66008" y="507492"/>
                  </a:lnTo>
                  <a:lnTo>
                    <a:pt x="68770" y="503968"/>
                  </a:lnTo>
                  <a:lnTo>
                    <a:pt x="66199" y="496253"/>
                  </a:lnTo>
                  <a:lnTo>
                    <a:pt x="69913" y="500539"/>
                  </a:lnTo>
                  <a:lnTo>
                    <a:pt x="69723" y="499015"/>
                  </a:lnTo>
                  <a:lnTo>
                    <a:pt x="77629" y="497967"/>
                  </a:lnTo>
                  <a:lnTo>
                    <a:pt x="80581" y="496062"/>
                  </a:lnTo>
                  <a:lnTo>
                    <a:pt x="80391" y="494443"/>
                  </a:lnTo>
                  <a:lnTo>
                    <a:pt x="83534" y="494062"/>
                  </a:lnTo>
                  <a:lnTo>
                    <a:pt x="83534" y="494062"/>
                  </a:lnTo>
                  <a:lnTo>
                    <a:pt x="83153" y="490919"/>
                  </a:lnTo>
                  <a:lnTo>
                    <a:pt x="87820" y="490252"/>
                  </a:lnTo>
                  <a:lnTo>
                    <a:pt x="86106" y="488918"/>
                  </a:lnTo>
                  <a:lnTo>
                    <a:pt x="85249" y="482632"/>
                  </a:lnTo>
                  <a:lnTo>
                    <a:pt x="86868" y="482346"/>
                  </a:lnTo>
                  <a:lnTo>
                    <a:pt x="90202" y="483584"/>
                  </a:lnTo>
                  <a:lnTo>
                    <a:pt x="91345" y="480250"/>
                  </a:lnTo>
                  <a:lnTo>
                    <a:pt x="97726" y="479393"/>
                  </a:lnTo>
                  <a:lnTo>
                    <a:pt x="100013" y="472726"/>
                  </a:lnTo>
                  <a:lnTo>
                    <a:pt x="107728" y="470154"/>
                  </a:lnTo>
                  <a:lnTo>
                    <a:pt x="110871" y="469678"/>
                  </a:lnTo>
                  <a:lnTo>
                    <a:pt x="110680" y="468154"/>
                  </a:lnTo>
                  <a:lnTo>
                    <a:pt x="113633" y="466154"/>
                  </a:lnTo>
                  <a:lnTo>
                    <a:pt x="113633" y="466154"/>
                  </a:lnTo>
                  <a:lnTo>
                    <a:pt x="121348" y="476345"/>
                  </a:lnTo>
                  <a:lnTo>
                    <a:pt x="124777" y="477584"/>
                  </a:lnTo>
                  <a:lnTo>
                    <a:pt x="127730" y="475583"/>
                  </a:lnTo>
                  <a:lnTo>
                    <a:pt x="135541" y="474536"/>
                  </a:lnTo>
                  <a:lnTo>
                    <a:pt x="142684" y="467296"/>
                  </a:lnTo>
                  <a:lnTo>
                    <a:pt x="147828" y="469773"/>
                  </a:lnTo>
                  <a:lnTo>
                    <a:pt x="147352" y="466630"/>
                  </a:lnTo>
                  <a:lnTo>
                    <a:pt x="160782" y="458534"/>
                  </a:lnTo>
                  <a:lnTo>
                    <a:pt x="156591" y="451009"/>
                  </a:lnTo>
                  <a:lnTo>
                    <a:pt x="164973" y="453200"/>
                  </a:lnTo>
                  <a:lnTo>
                    <a:pt x="167926" y="451199"/>
                  </a:lnTo>
                  <a:lnTo>
                    <a:pt x="171640" y="442722"/>
                  </a:lnTo>
                  <a:lnTo>
                    <a:pt x="169831" y="441388"/>
                  </a:lnTo>
                  <a:lnTo>
                    <a:pt x="171164" y="439579"/>
                  </a:lnTo>
                  <a:lnTo>
                    <a:pt x="171450" y="441103"/>
                  </a:lnTo>
                  <a:lnTo>
                    <a:pt x="176117" y="440531"/>
                  </a:lnTo>
                  <a:lnTo>
                    <a:pt x="180308" y="435197"/>
                  </a:lnTo>
                  <a:lnTo>
                    <a:pt x="192691" y="419195"/>
                  </a:lnTo>
                  <a:lnTo>
                    <a:pt x="194691" y="422148"/>
                  </a:lnTo>
                  <a:lnTo>
                    <a:pt x="193262" y="423958"/>
                  </a:lnTo>
                  <a:lnTo>
                    <a:pt x="193262" y="436721"/>
                  </a:lnTo>
                  <a:lnTo>
                    <a:pt x="202597" y="433959"/>
                  </a:lnTo>
                  <a:lnTo>
                    <a:pt x="205930" y="435102"/>
                  </a:lnTo>
                  <a:lnTo>
                    <a:pt x="211264" y="439293"/>
                  </a:lnTo>
                  <a:lnTo>
                    <a:pt x="214408" y="438912"/>
                  </a:lnTo>
                  <a:lnTo>
                    <a:pt x="225076" y="434340"/>
                  </a:lnTo>
                  <a:lnTo>
                    <a:pt x="242792" y="435292"/>
                  </a:lnTo>
                  <a:lnTo>
                    <a:pt x="247936" y="437769"/>
                  </a:lnTo>
                  <a:lnTo>
                    <a:pt x="250317" y="431102"/>
                  </a:lnTo>
                  <a:lnTo>
                    <a:pt x="251079" y="424529"/>
                  </a:lnTo>
                  <a:lnTo>
                    <a:pt x="253079" y="427577"/>
                  </a:lnTo>
                  <a:lnTo>
                    <a:pt x="256794" y="419005"/>
                  </a:lnTo>
                  <a:lnTo>
                    <a:pt x="258794" y="421958"/>
                  </a:lnTo>
                  <a:lnTo>
                    <a:pt x="258032" y="428530"/>
                  </a:lnTo>
                  <a:lnTo>
                    <a:pt x="261175" y="428149"/>
                  </a:lnTo>
                  <a:lnTo>
                    <a:pt x="263747" y="423005"/>
                  </a:lnTo>
                  <a:lnTo>
                    <a:pt x="266890" y="422529"/>
                  </a:lnTo>
                  <a:lnTo>
                    <a:pt x="275177" y="411861"/>
                  </a:lnTo>
                  <a:lnTo>
                    <a:pt x="280607" y="404813"/>
                  </a:lnTo>
                  <a:lnTo>
                    <a:pt x="282988" y="398050"/>
                  </a:lnTo>
                  <a:lnTo>
                    <a:pt x="286131" y="397669"/>
                  </a:lnTo>
                  <a:lnTo>
                    <a:pt x="292036" y="393668"/>
                  </a:lnTo>
                  <a:lnTo>
                    <a:pt x="295180" y="393287"/>
                  </a:lnTo>
                  <a:lnTo>
                    <a:pt x="299180" y="399193"/>
                  </a:lnTo>
                  <a:lnTo>
                    <a:pt x="300323" y="395859"/>
                  </a:lnTo>
                  <a:lnTo>
                    <a:pt x="302133" y="397192"/>
                  </a:lnTo>
                  <a:lnTo>
                    <a:pt x="308705" y="410813"/>
                  </a:lnTo>
                  <a:lnTo>
                    <a:pt x="307943" y="417386"/>
                  </a:lnTo>
                  <a:lnTo>
                    <a:pt x="309848" y="420338"/>
                  </a:lnTo>
                  <a:lnTo>
                    <a:pt x="309848" y="420338"/>
                  </a:lnTo>
                  <a:lnTo>
                    <a:pt x="326993" y="416528"/>
                  </a:lnTo>
                  <a:lnTo>
                    <a:pt x="327374" y="406813"/>
                  </a:lnTo>
                  <a:lnTo>
                    <a:pt x="330327" y="404813"/>
                  </a:lnTo>
                  <a:lnTo>
                    <a:pt x="327946" y="398717"/>
                  </a:lnTo>
                  <a:lnTo>
                    <a:pt x="333661" y="393192"/>
                  </a:lnTo>
                  <a:lnTo>
                    <a:pt x="337661" y="386334"/>
                  </a:lnTo>
                  <a:lnTo>
                    <a:pt x="343948" y="385477"/>
                  </a:lnTo>
                  <a:lnTo>
                    <a:pt x="359473" y="381857"/>
                  </a:lnTo>
                  <a:lnTo>
                    <a:pt x="362712" y="381476"/>
                  </a:lnTo>
                  <a:lnTo>
                    <a:pt x="361474" y="384810"/>
                  </a:lnTo>
                  <a:lnTo>
                    <a:pt x="370522" y="380524"/>
                  </a:lnTo>
                  <a:lnTo>
                    <a:pt x="371761" y="377095"/>
                  </a:lnTo>
                  <a:lnTo>
                    <a:pt x="376428" y="376523"/>
                  </a:lnTo>
                  <a:lnTo>
                    <a:pt x="381000" y="374333"/>
                  </a:lnTo>
                  <a:lnTo>
                    <a:pt x="381762" y="367856"/>
                  </a:lnTo>
                  <a:lnTo>
                    <a:pt x="384905" y="367475"/>
                  </a:lnTo>
                  <a:lnTo>
                    <a:pt x="384715" y="365855"/>
                  </a:lnTo>
                  <a:lnTo>
                    <a:pt x="388048" y="366998"/>
                  </a:lnTo>
                  <a:lnTo>
                    <a:pt x="390811" y="363474"/>
                  </a:lnTo>
                  <a:lnTo>
                    <a:pt x="392049" y="360140"/>
                  </a:lnTo>
                  <a:lnTo>
                    <a:pt x="390811" y="350615"/>
                  </a:lnTo>
                  <a:lnTo>
                    <a:pt x="390430" y="347472"/>
                  </a:lnTo>
                  <a:lnTo>
                    <a:pt x="387287" y="347853"/>
                  </a:lnTo>
                  <a:lnTo>
                    <a:pt x="388810" y="347663"/>
                  </a:lnTo>
                  <a:lnTo>
                    <a:pt x="388620" y="346138"/>
                  </a:lnTo>
                  <a:lnTo>
                    <a:pt x="395192" y="346900"/>
                  </a:lnTo>
                  <a:lnTo>
                    <a:pt x="395383" y="348425"/>
                  </a:lnTo>
                  <a:lnTo>
                    <a:pt x="401669" y="347663"/>
                  </a:lnTo>
                  <a:lnTo>
                    <a:pt x="402050" y="350806"/>
                  </a:lnTo>
                  <a:lnTo>
                    <a:pt x="414909" y="350806"/>
                  </a:lnTo>
                  <a:lnTo>
                    <a:pt x="418052" y="350425"/>
                  </a:lnTo>
                  <a:lnTo>
                    <a:pt x="417862" y="348806"/>
                  </a:lnTo>
                  <a:lnTo>
                    <a:pt x="415862" y="345853"/>
                  </a:lnTo>
                  <a:lnTo>
                    <a:pt x="417481" y="345662"/>
                  </a:lnTo>
                  <a:lnTo>
                    <a:pt x="417195" y="344043"/>
                  </a:lnTo>
                  <a:lnTo>
                    <a:pt x="415480" y="342710"/>
                  </a:lnTo>
                  <a:lnTo>
                    <a:pt x="417767" y="335947"/>
                  </a:lnTo>
                  <a:lnTo>
                    <a:pt x="413861" y="330041"/>
                  </a:lnTo>
                  <a:lnTo>
                    <a:pt x="410718" y="330517"/>
                  </a:lnTo>
                  <a:lnTo>
                    <a:pt x="408908" y="316230"/>
                  </a:lnTo>
                  <a:lnTo>
                    <a:pt x="416623" y="313658"/>
                  </a:lnTo>
                  <a:lnTo>
                    <a:pt x="414814" y="312325"/>
                  </a:lnTo>
                  <a:lnTo>
                    <a:pt x="419576" y="311753"/>
                  </a:lnTo>
                  <a:lnTo>
                    <a:pt x="422053" y="306610"/>
                  </a:lnTo>
                  <a:lnTo>
                    <a:pt x="425196" y="306134"/>
                  </a:lnTo>
                  <a:lnTo>
                    <a:pt x="427958" y="302609"/>
                  </a:lnTo>
                  <a:lnTo>
                    <a:pt x="435673" y="300038"/>
                  </a:lnTo>
                  <a:lnTo>
                    <a:pt x="441388" y="307277"/>
                  </a:lnTo>
                  <a:lnTo>
                    <a:pt x="444817" y="308515"/>
                  </a:lnTo>
                  <a:lnTo>
                    <a:pt x="444151" y="303752"/>
                  </a:lnTo>
                  <a:lnTo>
                    <a:pt x="447294" y="303371"/>
                  </a:lnTo>
                  <a:lnTo>
                    <a:pt x="447104" y="301752"/>
                  </a:lnTo>
                  <a:lnTo>
                    <a:pt x="459200" y="308229"/>
                  </a:lnTo>
                  <a:lnTo>
                    <a:pt x="469011" y="310229"/>
                  </a:lnTo>
                  <a:lnTo>
                    <a:pt x="471011" y="313182"/>
                  </a:lnTo>
                  <a:lnTo>
                    <a:pt x="474155" y="312801"/>
                  </a:lnTo>
                  <a:lnTo>
                    <a:pt x="474631" y="315944"/>
                  </a:lnTo>
                  <a:lnTo>
                    <a:pt x="476155" y="315754"/>
                  </a:lnTo>
                  <a:lnTo>
                    <a:pt x="489013" y="315659"/>
                  </a:lnTo>
                  <a:lnTo>
                    <a:pt x="503396" y="315468"/>
                  </a:lnTo>
                  <a:lnTo>
                    <a:pt x="503777" y="318611"/>
                  </a:lnTo>
                  <a:lnTo>
                    <a:pt x="510350" y="319373"/>
                  </a:lnTo>
                  <a:lnTo>
                    <a:pt x="519970" y="319754"/>
                  </a:lnTo>
                  <a:lnTo>
                    <a:pt x="521780" y="321088"/>
                  </a:lnTo>
                  <a:lnTo>
                    <a:pt x="523113" y="319373"/>
                  </a:lnTo>
                  <a:lnTo>
                    <a:pt x="538925" y="317373"/>
                  </a:lnTo>
                  <a:lnTo>
                    <a:pt x="540258" y="315563"/>
                  </a:lnTo>
                  <a:lnTo>
                    <a:pt x="548640" y="317754"/>
                  </a:lnTo>
                  <a:lnTo>
                    <a:pt x="550926" y="310991"/>
                  </a:lnTo>
                  <a:lnTo>
                    <a:pt x="548735" y="306419"/>
                  </a:lnTo>
                  <a:lnTo>
                    <a:pt x="558832" y="310039"/>
                  </a:lnTo>
                  <a:lnTo>
                    <a:pt x="557498" y="311753"/>
                  </a:lnTo>
                  <a:lnTo>
                    <a:pt x="561404" y="317659"/>
                  </a:lnTo>
                  <a:lnTo>
                    <a:pt x="562642" y="314325"/>
                  </a:lnTo>
                  <a:lnTo>
                    <a:pt x="569500" y="318230"/>
                  </a:lnTo>
                  <a:lnTo>
                    <a:pt x="569119" y="315087"/>
                  </a:lnTo>
                  <a:lnTo>
                    <a:pt x="572452" y="316230"/>
                  </a:lnTo>
                  <a:lnTo>
                    <a:pt x="573405" y="311372"/>
                  </a:lnTo>
                  <a:lnTo>
                    <a:pt x="589026" y="320611"/>
                  </a:lnTo>
                  <a:lnTo>
                    <a:pt x="593979" y="321564"/>
                  </a:lnTo>
                  <a:lnTo>
                    <a:pt x="594360" y="324707"/>
                  </a:lnTo>
                  <a:lnTo>
                    <a:pt x="596170" y="326041"/>
                  </a:lnTo>
                  <a:lnTo>
                    <a:pt x="599694" y="316040"/>
                  </a:lnTo>
                  <a:lnTo>
                    <a:pt x="601313" y="315849"/>
                  </a:lnTo>
                  <a:lnTo>
                    <a:pt x="605600" y="312039"/>
                  </a:lnTo>
                  <a:lnTo>
                    <a:pt x="605218" y="308896"/>
                  </a:lnTo>
                  <a:lnTo>
                    <a:pt x="608933" y="300419"/>
                  </a:lnTo>
                  <a:lnTo>
                    <a:pt x="610743" y="301752"/>
                  </a:lnTo>
                  <a:lnTo>
                    <a:pt x="614839" y="296418"/>
                  </a:lnTo>
                  <a:lnTo>
                    <a:pt x="621983" y="301942"/>
                  </a:lnTo>
                  <a:lnTo>
                    <a:pt x="626935" y="302895"/>
                  </a:lnTo>
                  <a:lnTo>
                    <a:pt x="628269" y="301181"/>
                  </a:lnTo>
                  <a:lnTo>
                    <a:pt x="628079" y="299561"/>
                  </a:lnTo>
                  <a:lnTo>
                    <a:pt x="633222" y="302133"/>
                  </a:lnTo>
                  <a:lnTo>
                    <a:pt x="637984" y="301561"/>
                  </a:lnTo>
                  <a:lnTo>
                    <a:pt x="635794" y="296990"/>
                  </a:lnTo>
                  <a:lnTo>
                    <a:pt x="647224" y="298704"/>
                  </a:lnTo>
                  <a:lnTo>
                    <a:pt x="646652" y="294037"/>
                  </a:lnTo>
                  <a:lnTo>
                    <a:pt x="649986" y="295180"/>
                  </a:lnTo>
                  <a:lnTo>
                    <a:pt x="651319" y="293370"/>
                  </a:lnTo>
                  <a:lnTo>
                    <a:pt x="657892" y="294132"/>
                  </a:lnTo>
                  <a:lnTo>
                    <a:pt x="658082" y="295751"/>
                  </a:lnTo>
                  <a:lnTo>
                    <a:pt x="661416" y="296894"/>
                  </a:lnTo>
                  <a:lnTo>
                    <a:pt x="661606" y="298513"/>
                  </a:lnTo>
                  <a:lnTo>
                    <a:pt x="664940" y="299657"/>
                  </a:lnTo>
                  <a:lnTo>
                    <a:pt x="665607" y="304419"/>
                  </a:lnTo>
                  <a:lnTo>
                    <a:pt x="666750" y="301085"/>
                  </a:lnTo>
                  <a:lnTo>
                    <a:pt x="670084" y="302228"/>
                  </a:lnTo>
                  <a:lnTo>
                    <a:pt x="666559" y="299466"/>
                  </a:lnTo>
                  <a:lnTo>
                    <a:pt x="669703" y="299085"/>
                  </a:lnTo>
                  <a:lnTo>
                    <a:pt x="671513" y="300419"/>
                  </a:lnTo>
                  <a:lnTo>
                    <a:pt x="670084" y="302228"/>
                  </a:lnTo>
                  <a:lnTo>
                    <a:pt x="670274" y="303848"/>
                  </a:lnTo>
                  <a:lnTo>
                    <a:pt x="674656" y="300038"/>
                  </a:lnTo>
                  <a:lnTo>
                    <a:pt x="676180" y="299847"/>
                  </a:lnTo>
                  <a:lnTo>
                    <a:pt x="681323" y="289560"/>
                  </a:lnTo>
                  <a:lnTo>
                    <a:pt x="679704" y="289750"/>
                  </a:lnTo>
                  <a:lnTo>
                    <a:pt x="680752" y="284798"/>
                  </a:lnTo>
                  <a:lnTo>
                    <a:pt x="679133" y="285083"/>
                  </a:lnTo>
                  <a:lnTo>
                    <a:pt x="680561" y="283273"/>
                  </a:lnTo>
                  <a:lnTo>
                    <a:pt x="677132" y="282131"/>
                  </a:lnTo>
                  <a:lnTo>
                    <a:pt x="678561" y="280321"/>
                  </a:lnTo>
                  <a:lnTo>
                    <a:pt x="677323" y="270796"/>
                  </a:lnTo>
                  <a:lnTo>
                    <a:pt x="684085" y="273177"/>
                  </a:lnTo>
                  <a:lnTo>
                    <a:pt x="683800" y="258794"/>
                  </a:lnTo>
                  <a:lnTo>
                    <a:pt x="683228" y="254032"/>
                  </a:lnTo>
                  <a:lnTo>
                    <a:pt x="684752" y="253841"/>
                  </a:lnTo>
                  <a:lnTo>
                    <a:pt x="685990" y="250508"/>
                  </a:lnTo>
                  <a:lnTo>
                    <a:pt x="682371" y="247745"/>
                  </a:lnTo>
                  <a:lnTo>
                    <a:pt x="679037" y="246602"/>
                  </a:lnTo>
                  <a:lnTo>
                    <a:pt x="678466" y="241840"/>
                  </a:lnTo>
                  <a:lnTo>
                    <a:pt x="674942" y="239077"/>
                  </a:lnTo>
                  <a:lnTo>
                    <a:pt x="674465" y="235934"/>
                  </a:lnTo>
                  <a:lnTo>
                    <a:pt x="678847" y="232124"/>
                  </a:lnTo>
                  <a:lnTo>
                    <a:pt x="680847" y="235077"/>
                  </a:lnTo>
                  <a:lnTo>
                    <a:pt x="683800" y="233172"/>
                  </a:lnTo>
                  <a:lnTo>
                    <a:pt x="680180" y="230410"/>
                  </a:lnTo>
                  <a:lnTo>
                    <a:pt x="679799" y="227267"/>
                  </a:lnTo>
                  <a:lnTo>
                    <a:pt x="676275" y="224504"/>
                  </a:lnTo>
                  <a:lnTo>
                    <a:pt x="677418" y="221075"/>
                  </a:lnTo>
                  <a:lnTo>
                    <a:pt x="679228" y="222504"/>
                  </a:lnTo>
                  <a:lnTo>
                    <a:pt x="678751" y="219361"/>
                  </a:lnTo>
                  <a:lnTo>
                    <a:pt x="677037" y="217932"/>
                  </a:lnTo>
                  <a:lnTo>
                    <a:pt x="676847" y="216408"/>
                  </a:lnTo>
                  <a:lnTo>
                    <a:pt x="673227" y="213646"/>
                  </a:lnTo>
                  <a:lnTo>
                    <a:pt x="673037" y="212027"/>
                  </a:lnTo>
                  <a:lnTo>
                    <a:pt x="675989" y="210026"/>
                  </a:lnTo>
                  <a:lnTo>
                    <a:pt x="679133" y="209645"/>
                  </a:lnTo>
                  <a:lnTo>
                    <a:pt x="680371" y="206311"/>
                  </a:lnTo>
                  <a:lnTo>
                    <a:pt x="683323" y="204311"/>
                  </a:lnTo>
                  <a:lnTo>
                    <a:pt x="695992" y="215551"/>
                  </a:lnTo>
                  <a:lnTo>
                    <a:pt x="711137" y="221647"/>
                  </a:lnTo>
                  <a:lnTo>
                    <a:pt x="712375" y="218313"/>
                  </a:lnTo>
                  <a:lnTo>
                    <a:pt x="715709" y="219456"/>
                  </a:lnTo>
                  <a:lnTo>
                    <a:pt x="712089" y="216694"/>
                  </a:lnTo>
                  <a:lnTo>
                    <a:pt x="714851" y="213169"/>
                  </a:lnTo>
                  <a:lnTo>
                    <a:pt x="713137" y="211741"/>
                  </a:lnTo>
                  <a:lnTo>
                    <a:pt x="708374" y="212312"/>
                  </a:lnTo>
                  <a:lnTo>
                    <a:pt x="706564" y="210979"/>
                  </a:lnTo>
                  <a:lnTo>
                    <a:pt x="710755" y="205645"/>
                  </a:lnTo>
                  <a:lnTo>
                    <a:pt x="714280" y="208407"/>
                  </a:lnTo>
                  <a:lnTo>
                    <a:pt x="715423" y="205073"/>
                  </a:lnTo>
                  <a:lnTo>
                    <a:pt x="712089" y="203835"/>
                  </a:lnTo>
                  <a:lnTo>
                    <a:pt x="713708" y="203644"/>
                  </a:lnTo>
                  <a:lnTo>
                    <a:pt x="718185" y="201454"/>
                  </a:lnTo>
                  <a:lnTo>
                    <a:pt x="716185" y="185738"/>
                  </a:lnTo>
                  <a:lnTo>
                    <a:pt x="726853" y="193929"/>
                  </a:lnTo>
                  <a:lnTo>
                    <a:pt x="734759" y="192977"/>
                  </a:lnTo>
                  <a:lnTo>
                    <a:pt x="733806" y="185071"/>
                  </a:lnTo>
                  <a:lnTo>
                    <a:pt x="742474" y="190405"/>
                  </a:lnTo>
                  <a:lnTo>
                    <a:pt x="750570" y="190976"/>
                  </a:lnTo>
                  <a:lnTo>
                    <a:pt x="749141" y="179927"/>
                  </a:lnTo>
                  <a:lnTo>
                    <a:pt x="750284" y="176498"/>
                  </a:lnTo>
                  <a:lnTo>
                    <a:pt x="749713" y="171831"/>
                  </a:lnTo>
                  <a:lnTo>
                    <a:pt x="750856" y="168497"/>
                  </a:lnTo>
                  <a:lnTo>
                    <a:pt x="745998" y="167450"/>
                  </a:lnTo>
                  <a:lnTo>
                    <a:pt x="749141" y="167069"/>
                  </a:lnTo>
                  <a:lnTo>
                    <a:pt x="749522" y="157448"/>
                  </a:lnTo>
                  <a:lnTo>
                    <a:pt x="738759" y="136303"/>
                  </a:lnTo>
                  <a:lnTo>
                    <a:pt x="751237" y="133160"/>
                  </a:lnTo>
                  <a:lnTo>
                    <a:pt x="748189" y="122301"/>
                  </a:lnTo>
                  <a:lnTo>
                    <a:pt x="760095" y="127159"/>
                  </a:lnTo>
                  <a:lnTo>
                    <a:pt x="761619" y="126968"/>
                  </a:lnTo>
                  <a:lnTo>
                    <a:pt x="760857" y="133540"/>
                  </a:lnTo>
                  <a:lnTo>
                    <a:pt x="767429" y="134302"/>
                  </a:lnTo>
                  <a:lnTo>
                    <a:pt x="766001" y="136017"/>
                  </a:lnTo>
                  <a:lnTo>
                    <a:pt x="769810" y="140398"/>
                  </a:lnTo>
                  <a:lnTo>
                    <a:pt x="772097" y="133636"/>
                  </a:lnTo>
                  <a:lnTo>
                    <a:pt x="770382" y="132302"/>
                  </a:lnTo>
                  <a:lnTo>
                    <a:pt x="775430" y="122015"/>
                  </a:lnTo>
                  <a:lnTo>
                    <a:pt x="786479" y="120586"/>
                  </a:lnTo>
                  <a:lnTo>
                    <a:pt x="783526" y="122587"/>
                  </a:lnTo>
                  <a:lnTo>
                    <a:pt x="787337" y="126968"/>
                  </a:lnTo>
                  <a:lnTo>
                    <a:pt x="789908" y="134588"/>
                  </a:lnTo>
                  <a:lnTo>
                    <a:pt x="791623" y="136017"/>
                  </a:lnTo>
                  <a:lnTo>
                    <a:pt x="799909" y="138113"/>
                  </a:lnTo>
                  <a:lnTo>
                    <a:pt x="804672" y="137541"/>
                  </a:lnTo>
                  <a:lnTo>
                    <a:pt x="807434" y="134017"/>
                  </a:lnTo>
                  <a:lnTo>
                    <a:pt x="801910" y="128302"/>
                  </a:lnTo>
                  <a:lnTo>
                    <a:pt x="801719" y="126683"/>
                  </a:lnTo>
                  <a:lnTo>
                    <a:pt x="811339" y="127063"/>
                  </a:lnTo>
                  <a:lnTo>
                    <a:pt x="812768" y="125254"/>
                  </a:lnTo>
                  <a:lnTo>
                    <a:pt x="815340" y="120110"/>
                  </a:lnTo>
                  <a:lnTo>
                    <a:pt x="821817" y="120967"/>
                  </a:lnTo>
                  <a:lnTo>
                    <a:pt x="823436" y="120682"/>
                  </a:lnTo>
                  <a:lnTo>
                    <a:pt x="823627" y="122301"/>
                  </a:lnTo>
                  <a:lnTo>
                    <a:pt x="822198" y="124111"/>
                  </a:lnTo>
                  <a:lnTo>
                    <a:pt x="822865" y="128778"/>
                  </a:lnTo>
                  <a:lnTo>
                    <a:pt x="821436" y="130588"/>
                  </a:lnTo>
                  <a:lnTo>
                    <a:pt x="826960" y="136303"/>
                  </a:lnTo>
                  <a:lnTo>
                    <a:pt x="825246" y="134969"/>
                  </a:lnTo>
                  <a:lnTo>
                    <a:pt x="822484" y="138494"/>
                  </a:lnTo>
                  <a:lnTo>
                    <a:pt x="821436" y="143446"/>
                  </a:lnTo>
                  <a:lnTo>
                    <a:pt x="823246" y="144780"/>
                  </a:lnTo>
                  <a:lnTo>
                    <a:pt x="824675" y="155829"/>
                  </a:lnTo>
                  <a:lnTo>
                    <a:pt x="830199" y="161544"/>
                  </a:lnTo>
                  <a:lnTo>
                    <a:pt x="831818" y="161354"/>
                  </a:lnTo>
                  <a:lnTo>
                    <a:pt x="832771" y="156400"/>
                  </a:lnTo>
                  <a:lnTo>
                    <a:pt x="834771" y="159353"/>
                  </a:lnTo>
                  <a:lnTo>
                    <a:pt x="836105" y="157639"/>
                  </a:lnTo>
                  <a:lnTo>
                    <a:pt x="836295" y="159163"/>
                  </a:lnTo>
                  <a:lnTo>
                    <a:pt x="839438" y="158782"/>
                  </a:lnTo>
                  <a:lnTo>
                    <a:pt x="838105" y="160592"/>
                  </a:lnTo>
                  <a:lnTo>
                    <a:pt x="838105" y="160592"/>
                  </a:lnTo>
                  <a:lnTo>
                    <a:pt x="843248" y="163068"/>
                  </a:lnTo>
                  <a:lnTo>
                    <a:pt x="845248" y="166021"/>
                  </a:lnTo>
                  <a:lnTo>
                    <a:pt x="847915" y="162496"/>
                  </a:lnTo>
                  <a:lnTo>
                    <a:pt x="845820" y="157925"/>
                  </a:lnTo>
                  <a:lnTo>
                    <a:pt x="849916" y="152590"/>
                  </a:lnTo>
                  <a:lnTo>
                    <a:pt x="850297" y="155829"/>
                  </a:lnTo>
                  <a:lnTo>
                    <a:pt x="856869" y="156591"/>
                  </a:lnTo>
                  <a:lnTo>
                    <a:pt x="858393" y="156400"/>
                  </a:lnTo>
                  <a:lnTo>
                    <a:pt x="859155" y="149828"/>
                  </a:lnTo>
                  <a:lnTo>
                    <a:pt x="864108" y="150781"/>
                  </a:lnTo>
                  <a:lnTo>
                    <a:pt x="866299" y="155353"/>
                  </a:lnTo>
                  <a:lnTo>
                    <a:pt x="871252" y="156305"/>
                  </a:lnTo>
                  <a:lnTo>
                    <a:pt x="870585" y="151638"/>
                  </a:lnTo>
                  <a:lnTo>
                    <a:pt x="872014" y="149828"/>
                  </a:lnTo>
                  <a:lnTo>
                    <a:pt x="883444" y="151543"/>
                  </a:lnTo>
                  <a:lnTo>
                    <a:pt x="889730" y="150781"/>
                  </a:lnTo>
                  <a:lnTo>
                    <a:pt x="889540" y="149161"/>
                  </a:lnTo>
                  <a:lnTo>
                    <a:pt x="900017" y="155829"/>
                  </a:lnTo>
                  <a:lnTo>
                    <a:pt x="900017" y="155829"/>
                  </a:lnTo>
                  <a:lnTo>
                    <a:pt x="900779" y="155543"/>
                  </a:lnTo>
                  <a:lnTo>
                    <a:pt x="901446" y="154115"/>
                  </a:lnTo>
                  <a:lnTo>
                    <a:pt x="898398" y="143256"/>
                  </a:lnTo>
                  <a:lnTo>
                    <a:pt x="904494" y="140875"/>
                  </a:lnTo>
                  <a:lnTo>
                    <a:pt x="904304" y="139256"/>
                  </a:lnTo>
                  <a:lnTo>
                    <a:pt x="914019" y="139636"/>
                  </a:lnTo>
                  <a:lnTo>
                    <a:pt x="916781" y="136112"/>
                  </a:lnTo>
                  <a:lnTo>
                    <a:pt x="920115" y="137255"/>
                  </a:lnTo>
                  <a:lnTo>
                    <a:pt x="923830" y="115919"/>
                  </a:lnTo>
                  <a:lnTo>
                    <a:pt x="923449" y="112776"/>
                  </a:lnTo>
                  <a:lnTo>
                    <a:pt x="943165" y="116681"/>
                  </a:lnTo>
                  <a:lnTo>
                    <a:pt x="944309" y="113348"/>
                  </a:lnTo>
                  <a:lnTo>
                    <a:pt x="946309" y="103442"/>
                  </a:lnTo>
                  <a:lnTo>
                    <a:pt x="940308" y="81820"/>
                  </a:lnTo>
                  <a:lnTo>
                    <a:pt x="940498" y="70485"/>
                  </a:lnTo>
                  <a:lnTo>
                    <a:pt x="975074" y="77343"/>
                  </a:lnTo>
                  <a:lnTo>
                    <a:pt x="994410" y="90869"/>
                  </a:lnTo>
                  <a:lnTo>
                    <a:pt x="1008602" y="76295"/>
                  </a:lnTo>
                  <a:lnTo>
                    <a:pt x="1011746" y="75914"/>
                  </a:lnTo>
                  <a:lnTo>
                    <a:pt x="1014508" y="72295"/>
                  </a:lnTo>
                  <a:lnTo>
                    <a:pt x="1015651" y="68961"/>
                  </a:lnTo>
                  <a:lnTo>
                    <a:pt x="1013651" y="66008"/>
                  </a:lnTo>
                  <a:lnTo>
                    <a:pt x="1008317" y="61913"/>
                  </a:lnTo>
                  <a:lnTo>
                    <a:pt x="1009269" y="56959"/>
                  </a:lnTo>
                  <a:lnTo>
                    <a:pt x="1007364" y="54007"/>
                  </a:lnTo>
                  <a:lnTo>
                    <a:pt x="1019747" y="50768"/>
                  </a:lnTo>
                  <a:lnTo>
                    <a:pt x="1019556" y="49244"/>
                  </a:lnTo>
                  <a:lnTo>
                    <a:pt x="1027081" y="45053"/>
                  </a:lnTo>
                  <a:lnTo>
                    <a:pt x="1031748" y="44482"/>
                  </a:lnTo>
                  <a:lnTo>
                    <a:pt x="1034891" y="44005"/>
                  </a:lnTo>
                  <a:lnTo>
                    <a:pt x="1037654" y="40481"/>
                  </a:lnTo>
                  <a:lnTo>
                    <a:pt x="1038320" y="45244"/>
                  </a:lnTo>
                  <a:lnTo>
                    <a:pt x="1044035" y="39719"/>
                  </a:lnTo>
                  <a:lnTo>
                    <a:pt x="1050131" y="37338"/>
                  </a:lnTo>
                  <a:lnTo>
                    <a:pt x="1045750" y="28289"/>
                  </a:lnTo>
                  <a:lnTo>
                    <a:pt x="1047369" y="28003"/>
                  </a:lnTo>
                  <a:lnTo>
                    <a:pt x="1042988" y="18955"/>
                  </a:lnTo>
                  <a:lnTo>
                    <a:pt x="1039844" y="19336"/>
                  </a:lnTo>
                  <a:lnTo>
                    <a:pt x="1045940" y="16954"/>
                  </a:lnTo>
                  <a:lnTo>
                    <a:pt x="1047274" y="15240"/>
                  </a:lnTo>
                  <a:lnTo>
                    <a:pt x="1050608" y="16383"/>
                  </a:lnTo>
                  <a:lnTo>
                    <a:pt x="1050417" y="14859"/>
                  </a:lnTo>
                  <a:lnTo>
                    <a:pt x="1053656" y="14383"/>
                  </a:lnTo>
                  <a:lnTo>
                    <a:pt x="1055370" y="15811"/>
                  </a:lnTo>
                  <a:lnTo>
                    <a:pt x="1048798" y="2191"/>
                  </a:lnTo>
                  <a:lnTo>
                    <a:pt x="1053370" y="0"/>
                  </a:lnTo>
                  <a:lnTo>
                    <a:pt x="1066419" y="1524"/>
                  </a:lnTo>
                  <a:lnTo>
                    <a:pt x="1064990" y="3334"/>
                  </a:lnTo>
                  <a:lnTo>
                    <a:pt x="1067372" y="9430"/>
                  </a:lnTo>
                  <a:lnTo>
                    <a:pt x="1064419" y="11430"/>
                  </a:lnTo>
                  <a:lnTo>
                    <a:pt x="1066419" y="14383"/>
                  </a:lnTo>
                  <a:lnTo>
                    <a:pt x="1069562" y="14002"/>
                  </a:lnTo>
                  <a:lnTo>
                    <a:pt x="1073182" y="16764"/>
                  </a:lnTo>
                  <a:lnTo>
                    <a:pt x="1072706" y="13621"/>
                  </a:lnTo>
                  <a:lnTo>
                    <a:pt x="1077659" y="14573"/>
                  </a:lnTo>
                  <a:lnTo>
                    <a:pt x="1082040" y="23622"/>
                  </a:lnTo>
                  <a:lnTo>
                    <a:pt x="1077277" y="24194"/>
                  </a:lnTo>
                  <a:lnTo>
                    <a:pt x="1080706" y="25432"/>
                  </a:lnTo>
                  <a:lnTo>
                    <a:pt x="1082612" y="28384"/>
                  </a:lnTo>
                  <a:lnTo>
                    <a:pt x="1087374" y="27718"/>
                  </a:lnTo>
                  <a:lnTo>
                    <a:pt x="1090898" y="30480"/>
                  </a:lnTo>
                  <a:lnTo>
                    <a:pt x="1090136" y="24194"/>
                  </a:lnTo>
                  <a:lnTo>
                    <a:pt x="1094899" y="23622"/>
                  </a:lnTo>
                  <a:lnTo>
                    <a:pt x="1095661" y="17050"/>
                  </a:lnTo>
                  <a:lnTo>
                    <a:pt x="1096994" y="15335"/>
                  </a:lnTo>
                  <a:lnTo>
                    <a:pt x="1100423" y="16478"/>
                  </a:lnTo>
                  <a:lnTo>
                    <a:pt x="1097471" y="18478"/>
                  </a:lnTo>
                  <a:lnTo>
                    <a:pt x="1099185" y="19812"/>
                  </a:lnTo>
                  <a:lnTo>
                    <a:pt x="1102328" y="19431"/>
                  </a:lnTo>
                  <a:lnTo>
                    <a:pt x="1104329" y="22384"/>
                  </a:lnTo>
                  <a:lnTo>
                    <a:pt x="1109091" y="21812"/>
                  </a:lnTo>
                  <a:lnTo>
                    <a:pt x="1112234" y="21336"/>
                  </a:lnTo>
                  <a:lnTo>
                    <a:pt x="1118140" y="17431"/>
                  </a:lnTo>
                  <a:lnTo>
                    <a:pt x="1118521" y="20574"/>
                  </a:lnTo>
                  <a:lnTo>
                    <a:pt x="1117378" y="23908"/>
                  </a:lnTo>
                  <a:lnTo>
                    <a:pt x="1119188" y="25336"/>
                  </a:lnTo>
                  <a:lnTo>
                    <a:pt x="1125664" y="38862"/>
                  </a:lnTo>
                  <a:lnTo>
                    <a:pt x="1127284" y="38672"/>
                  </a:lnTo>
                  <a:lnTo>
                    <a:pt x="1128808" y="38481"/>
                  </a:lnTo>
                  <a:lnTo>
                    <a:pt x="1133951" y="41053"/>
                  </a:lnTo>
                  <a:lnTo>
                    <a:pt x="1134809" y="47339"/>
                  </a:lnTo>
                  <a:lnTo>
                    <a:pt x="1136142" y="45625"/>
                  </a:lnTo>
                  <a:lnTo>
                    <a:pt x="1139285" y="45148"/>
                  </a:lnTo>
                  <a:lnTo>
                    <a:pt x="1139476" y="46768"/>
                  </a:lnTo>
                  <a:lnTo>
                    <a:pt x="1138523" y="51721"/>
                  </a:lnTo>
                  <a:lnTo>
                    <a:pt x="1142333" y="56007"/>
                  </a:lnTo>
                  <a:lnTo>
                    <a:pt x="1141285" y="60960"/>
                  </a:lnTo>
                  <a:lnTo>
                    <a:pt x="1145667" y="57245"/>
                  </a:lnTo>
                  <a:lnTo>
                    <a:pt x="1147477" y="58579"/>
                  </a:lnTo>
                  <a:lnTo>
                    <a:pt x="1151954" y="56388"/>
                  </a:lnTo>
                  <a:lnTo>
                    <a:pt x="1156716" y="55817"/>
                  </a:lnTo>
                  <a:lnTo>
                    <a:pt x="1156716" y="55817"/>
                  </a:lnTo>
                  <a:lnTo>
                    <a:pt x="1160907" y="63246"/>
                  </a:lnTo>
                  <a:lnTo>
                    <a:pt x="1166051" y="65818"/>
                  </a:lnTo>
                  <a:lnTo>
                    <a:pt x="1164812" y="69247"/>
                  </a:lnTo>
                  <a:lnTo>
                    <a:pt x="1169575" y="68580"/>
                  </a:lnTo>
                  <a:lnTo>
                    <a:pt x="1178433" y="75438"/>
                  </a:lnTo>
                  <a:lnTo>
                    <a:pt x="1175671" y="79057"/>
                  </a:lnTo>
                  <a:lnTo>
                    <a:pt x="1175861" y="80581"/>
                  </a:lnTo>
                  <a:lnTo>
                    <a:pt x="1178909" y="78676"/>
                  </a:lnTo>
                  <a:lnTo>
                    <a:pt x="1177862" y="83534"/>
                  </a:lnTo>
                  <a:lnTo>
                    <a:pt x="1181290" y="97536"/>
                  </a:lnTo>
                  <a:lnTo>
                    <a:pt x="1183100" y="98965"/>
                  </a:lnTo>
                  <a:lnTo>
                    <a:pt x="1185005" y="101917"/>
                  </a:lnTo>
                  <a:lnTo>
                    <a:pt x="1192721" y="99346"/>
                  </a:lnTo>
                  <a:lnTo>
                    <a:pt x="1193102" y="102489"/>
                  </a:lnTo>
                  <a:lnTo>
                    <a:pt x="1194721" y="102298"/>
                  </a:lnTo>
                  <a:lnTo>
                    <a:pt x="1194911" y="103823"/>
                  </a:lnTo>
                  <a:lnTo>
                    <a:pt x="1199483" y="101727"/>
                  </a:lnTo>
                  <a:lnTo>
                    <a:pt x="1204341" y="102679"/>
                  </a:lnTo>
                  <a:lnTo>
                    <a:pt x="1209675" y="106775"/>
                  </a:lnTo>
                  <a:lnTo>
                    <a:pt x="1208342" y="108585"/>
                  </a:lnTo>
                  <a:lnTo>
                    <a:pt x="1209961" y="108394"/>
                  </a:lnTo>
                  <a:lnTo>
                    <a:pt x="1210342" y="111538"/>
                  </a:lnTo>
                  <a:lnTo>
                    <a:pt x="1213485" y="111157"/>
                  </a:lnTo>
                  <a:lnTo>
                    <a:pt x="1212342" y="114490"/>
                  </a:lnTo>
                  <a:lnTo>
                    <a:pt x="1210723" y="114681"/>
                  </a:lnTo>
                  <a:lnTo>
                    <a:pt x="1211104" y="117824"/>
                  </a:lnTo>
                  <a:lnTo>
                    <a:pt x="1209580" y="118015"/>
                  </a:lnTo>
                  <a:lnTo>
                    <a:pt x="1210151" y="122777"/>
                  </a:lnTo>
                  <a:lnTo>
                    <a:pt x="1203674" y="122015"/>
                  </a:lnTo>
                  <a:lnTo>
                    <a:pt x="1204055" y="125158"/>
                  </a:lnTo>
                  <a:lnTo>
                    <a:pt x="1196150" y="126111"/>
                  </a:lnTo>
                  <a:lnTo>
                    <a:pt x="1191768" y="129921"/>
                  </a:lnTo>
                  <a:lnTo>
                    <a:pt x="1192816" y="137827"/>
                  </a:lnTo>
                  <a:lnTo>
                    <a:pt x="1194816" y="140779"/>
                  </a:lnTo>
                  <a:lnTo>
                    <a:pt x="1198150" y="141923"/>
                  </a:lnTo>
                  <a:lnTo>
                    <a:pt x="1205675" y="150590"/>
                  </a:lnTo>
                  <a:lnTo>
                    <a:pt x="1206246" y="155353"/>
                  </a:lnTo>
                  <a:lnTo>
                    <a:pt x="1205103" y="158686"/>
                  </a:lnTo>
                  <a:lnTo>
                    <a:pt x="1203769" y="160496"/>
                  </a:lnTo>
                  <a:lnTo>
                    <a:pt x="1207103" y="161639"/>
                  </a:lnTo>
                  <a:lnTo>
                    <a:pt x="1212437" y="165735"/>
                  </a:lnTo>
                  <a:lnTo>
                    <a:pt x="1211009" y="167545"/>
                  </a:lnTo>
                  <a:lnTo>
                    <a:pt x="1211485" y="170688"/>
                  </a:lnTo>
                  <a:lnTo>
                    <a:pt x="1208056" y="169545"/>
                  </a:lnTo>
                  <a:lnTo>
                    <a:pt x="1206722" y="171355"/>
                  </a:lnTo>
                  <a:lnTo>
                    <a:pt x="1208246" y="171069"/>
                  </a:lnTo>
                  <a:lnTo>
                    <a:pt x="1208723" y="174308"/>
                  </a:lnTo>
                  <a:lnTo>
                    <a:pt x="1207484" y="177641"/>
                  </a:lnTo>
                  <a:lnTo>
                    <a:pt x="1209104" y="177451"/>
                  </a:lnTo>
                  <a:lnTo>
                    <a:pt x="1208342" y="183928"/>
                  </a:lnTo>
                  <a:lnTo>
                    <a:pt x="1206722" y="184118"/>
                  </a:lnTo>
                  <a:lnTo>
                    <a:pt x="1207389" y="188881"/>
                  </a:lnTo>
                  <a:lnTo>
                    <a:pt x="1203008" y="192596"/>
                  </a:lnTo>
                  <a:lnTo>
                    <a:pt x="1205389" y="198787"/>
                  </a:lnTo>
                  <a:lnTo>
                    <a:pt x="1209961" y="196596"/>
                  </a:lnTo>
                  <a:lnTo>
                    <a:pt x="1210342" y="199739"/>
                  </a:lnTo>
                  <a:lnTo>
                    <a:pt x="1213294" y="197739"/>
                  </a:lnTo>
                  <a:lnTo>
                    <a:pt x="1215104" y="199073"/>
                  </a:lnTo>
                  <a:lnTo>
                    <a:pt x="1221010" y="208026"/>
                  </a:lnTo>
                  <a:lnTo>
                    <a:pt x="1221391" y="211169"/>
                  </a:lnTo>
                  <a:lnTo>
                    <a:pt x="1216628" y="211741"/>
                  </a:lnTo>
                  <a:lnTo>
                    <a:pt x="1217295" y="216503"/>
                  </a:lnTo>
                  <a:lnTo>
                    <a:pt x="1220629" y="217646"/>
                  </a:lnTo>
                  <a:lnTo>
                    <a:pt x="1219486" y="220980"/>
                  </a:lnTo>
                  <a:lnTo>
                    <a:pt x="1226153" y="223361"/>
                  </a:lnTo>
                  <a:lnTo>
                    <a:pt x="1220914" y="244888"/>
                  </a:lnTo>
                  <a:lnTo>
                    <a:pt x="1219105" y="243459"/>
                  </a:lnTo>
                  <a:lnTo>
                    <a:pt x="1217962" y="246888"/>
                  </a:lnTo>
                  <a:lnTo>
                    <a:pt x="1215962" y="243935"/>
                  </a:lnTo>
                  <a:lnTo>
                    <a:pt x="1214818" y="247269"/>
                  </a:lnTo>
                  <a:lnTo>
                    <a:pt x="1208437" y="248031"/>
                  </a:lnTo>
                  <a:lnTo>
                    <a:pt x="1209294" y="254413"/>
                  </a:lnTo>
                  <a:lnTo>
                    <a:pt x="1210818" y="254222"/>
                  </a:lnTo>
                  <a:lnTo>
                    <a:pt x="1211294" y="257365"/>
                  </a:lnTo>
                  <a:lnTo>
                    <a:pt x="1208342" y="259271"/>
                  </a:lnTo>
                  <a:lnTo>
                    <a:pt x="1213676" y="263461"/>
                  </a:lnTo>
                  <a:lnTo>
                    <a:pt x="1212437" y="266795"/>
                  </a:lnTo>
                  <a:lnTo>
                    <a:pt x="1209294" y="267176"/>
                  </a:lnTo>
                  <a:lnTo>
                    <a:pt x="1207960" y="268986"/>
                  </a:lnTo>
                  <a:lnTo>
                    <a:pt x="1206341" y="269177"/>
                  </a:lnTo>
                  <a:lnTo>
                    <a:pt x="1207770" y="267367"/>
                  </a:lnTo>
                  <a:lnTo>
                    <a:pt x="1205960" y="266033"/>
                  </a:lnTo>
                  <a:lnTo>
                    <a:pt x="1204531" y="267843"/>
                  </a:lnTo>
                  <a:lnTo>
                    <a:pt x="1201198" y="266605"/>
                  </a:lnTo>
                  <a:lnTo>
                    <a:pt x="1199864" y="268415"/>
                  </a:lnTo>
                  <a:lnTo>
                    <a:pt x="1196245" y="265652"/>
                  </a:lnTo>
                  <a:lnTo>
                    <a:pt x="1193768" y="270796"/>
                  </a:lnTo>
                  <a:lnTo>
                    <a:pt x="1186815" y="279654"/>
                  </a:lnTo>
                  <a:lnTo>
                    <a:pt x="1192339" y="285369"/>
                  </a:lnTo>
                  <a:lnTo>
                    <a:pt x="1196340" y="291275"/>
                  </a:lnTo>
                  <a:lnTo>
                    <a:pt x="1199483" y="290894"/>
                  </a:lnTo>
                  <a:lnTo>
                    <a:pt x="1204817" y="295085"/>
                  </a:lnTo>
                  <a:lnTo>
                    <a:pt x="1203293" y="295275"/>
                  </a:lnTo>
                  <a:lnTo>
                    <a:pt x="1199102" y="300609"/>
                  </a:lnTo>
                  <a:lnTo>
                    <a:pt x="1201864" y="309848"/>
                  </a:lnTo>
                  <a:lnTo>
                    <a:pt x="1204055" y="314420"/>
                  </a:lnTo>
                  <a:lnTo>
                    <a:pt x="1207675" y="317087"/>
                  </a:lnTo>
                  <a:lnTo>
                    <a:pt x="1214533" y="321088"/>
                  </a:lnTo>
                  <a:lnTo>
                    <a:pt x="1221296" y="323374"/>
                  </a:lnTo>
                  <a:lnTo>
                    <a:pt x="1224248" y="321469"/>
                  </a:lnTo>
                  <a:lnTo>
                    <a:pt x="1229582" y="312706"/>
                  </a:lnTo>
                  <a:lnTo>
                    <a:pt x="1233488" y="318611"/>
                  </a:lnTo>
                  <a:lnTo>
                    <a:pt x="1241965" y="322326"/>
                  </a:lnTo>
                  <a:lnTo>
                    <a:pt x="1245394" y="323564"/>
                  </a:lnTo>
                  <a:lnTo>
                    <a:pt x="1243965" y="325374"/>
                  </a:lnTo>
                  <a:lnTo>
                    <a:pt x="1242631" y="327088"/>
                  </a:lnTo>
                  <a:lnTo>
                    <a:pt x="1241012" y="327279"/>
                  </a:lnTo>
                  <a:lnTo>
                    <a:pt x="1240441" y="335375"/>
                  </a:lnTo>
                  <a:lnTo>
                    <a:pt x="1243775" y="336613"/>
                  </a:lnTo>
                  <a:lnTo>
                    <a:pt x="1247965" y="331280"/>
                  </a:lnTo>
                  <a:lnTo>
                    <a:pt x="1249680" y="332613"/>
                  </a:lnTo>
                  <a:lnTo>
                    <a:pt x="1249871" y="334232"/>
                  </a:lnTo>
                  <a:lnTo>
                    <a:pt x="1253871" y="340138"/>
                  </a:lnTo>
                  <a:lnTo>
                    <a:pt x="1255490" y="339947"/>
                  </a:lnTo>
                  <a:lnTo>
                    <a:pt x="1257395" y="342900"/>
                  </a:lnTo>
                  <a:lnTo>
                    <a:pt x="1260634" y="342424"/>
                  </a:lnTo>
                  <a:lnTo>
                    <a:pt x="1264348" y="346805"/>
                  </a:lnTo>
                  <a:lnTo>
                    <a:pt x="1264920" y="351568"/>
                  </a:lnTo>
                  <a:lnTo>
                    <a:pt x="1261586" y="350330"/>
                  </a:lnTo>
                  <a:lnTo>
                    <a:pt x="1255681" y="354330"/>
                  </a:lnTo>
                  <a:lnTo>
                    <a:pt x="1256062" y="357473"/>
                  </a:lnTo>
                  <a:lnTo>
                    <a:pt x="1259681" y="360236"/>
                  </a:lnTo>
                  <a:lnTo>
                    <a:pt x="1260253" y="364998"/>
                  </a:lnTo>
                  <a:lnTo>
                    <a:pt x="1257681" y="370046"/>
                  </a:lnTo>
                  <a:lnTo>
                    <a:pt x="1261301" y="372809"/>
                  </a:lnTo>
                  <a:lnTo>
                    <a:pt x="1271492" y="377952"/>
                  </a:lnTo>
                  <a:lnTo>
                    <a:pt x="1271968" y="381095"/>
                  </a:lnTo>
                  <a:lnTo>
                    <a:pt x="1273683" y="382524"/>
                  </a:lnTo>
                  <a:lnTo>
                    <a:pt x="1274921" y="379095"/>
                  </a:lnTo>
                  <a:lnTo>
                    <a:pt x="1276445" y="378905"/>
                  </a:lnTo>
                  <a:lnTo>
                    <a:pt x="1276826" y="382048"/>
                  </a:lnTo>
                  <a:lnTo>
                    <a:pt x="1278636" y="383477"/>
                  </a:lnTo>
                  <a:lnTo>
                    <a:pt x="1280065" y="381667"/>
                  </a:lnTo>
                  <a:lnTo>
                    <a:pt x="1281589" y="381476"/>
                  </a:lnTo>
                  <a:lnTo>
                    <a:pt x="1281208" y="378333"/>
                  </a:lnTo>
                  <a:lnTo>
                    <a:pt x="1290828" y="378714"/>
                  </a:lnTo>
                  <a:lnTo>
                    <a:pt x="1295019" y="373380"/>
                  </a:lnTo>
                  <a:lnTo>
                    <a:pt x="1298162" y="372999"/>
                  </a:lnTo>
                  <a:lnTo>
                    <a:pt x="1299972" y="374333"/>
                  </a:lnTo>
                  <a:lnTo>
                    <a:pt x="1300163" y="375952"/>
                  </a:lnTo>
                  <a:lnTo>
                    <a:pt x="1303687" y="378714"/>
                  </a:lnTo>
                  <a:lnTo>
                    <a:pt x="1303877" y="380238"/>
                  </a:lnTo>
                  <a:lnTo>
                    <a:pt x="1306830" y="378238"/>
                  </a:lnTo>
                  <a:lnTo>
                    <a:pt x="1310450" y="381000"/>
                  </a:lnTo>
                  <a:lnTo>
                    <a:pt x="1311783" y="379286"/>
                  </a:lnTo>
                  <a:lnTo>
                    <a:pt x="1318546" y="381571"/>
                  </a:lnTo>
                  <a:lnTo>
                    <a:pt x="1325404" y="385477"/>
                  </a:lnTo>
                  <a:lnTo>
                    <a:pt x="1324070" y="387286"/>
                  </a:lnTo>
                  <a:lnTo>
                    <a:pt x="1327594" y="390049"/>
                  </a:lnTo>
                  <a:lnTo>
                    <a:pt x="1328928" y="388239"/>
                  </a:lnTo>
                  <a:lnTo>
                    <a:pt x="1333310" y="384524"/>
                  </a:lnTo>
                  <a:lnTo>
                    <a:pt x="1335691" y="377761"/>
                  </a:lnTo>
                  <a:lnTo>
                    <a:pt x="1342168" y="378619"/>
                  </a:lnTo>
                  <a:lnTo>
                    <a:pt x="1346549" y="374809"/>
                  </a:lnTo>
                  <a:lnTo>
                    <a:pt x="1351217" y="374237"/>
                  </a:lnTo>
                  <a:lnTo>
                    <a:pt x="1352645" y="372428"/>
                  </a:lnTo>
                  <a:lnTo>
                    <a:pt x="1357313" y="371856"/>
                  </a:lnTo>
                  <a:lnTo>
                    <a:pt x="1358551" y="368522"/>
                  </a:lnTo>
                  <a:lnTo>
                    <a:pt x="1358932" y="371665"/>
                  </a:lnTo>
                  <a:lnTo>
                    <a:pt x="1360551" y="371475"/>
                  </a:lnTo>
                  <a:lnTo>
                    <a:pt x="1361504" y="379286"/>
                  </a:lnTo>
                  <a:lnTo>
                    <a:pt x="1363123" y="379095"/>
                  </a:lnTo>
                  <a:lnTo>
                    <a:pt x="1363313" y="380714"/>
                  </a:lnTo>
                  <a:lnTo>
                    <a:pt x="1367981" y="380048"/>
                  </a:lnTo>
                  <a:lnTo>
                    <a:pt x="1371600" y="382810"/>
                  </a:lnTo>
                  <a:lnTo>
                    <a:pt x="1371790" y="384429"/>
                  </a:lnTo>
                  <a:lnTo>
                    <a:pt x="1376553" y="383858"/>
                  </a:lnTo>
                  <a:lnTo>
                    <a:pt x="1378744" y="388334"/>
                  </a:lnTo>
                  <a:lnTo>
                    <a:pt x="1374362" y="392144"/>
                  </a:lnTo>
                  <a:lnTo>
                    <a:pt x="1376553" y="396621"/>
                  </a:lnTo>
                  <a:lnTo>
                    <a:pt x="1376743" y="398240"/>
                  </a:lnTo>
                  <a:lnTo>
                    <a:pt x="1375219" y="398431"/>
                  </a:lnTo>
                  <a:lnTo>
                    <a:pt x="1377982" y="407670"/>
                  </a:lnTo>
                  <a:lnTo>
                    <a:pt x="1377029" y="412623"/>
                  </a:lnTo>
                  <a:lnTo>
                    <a:pt x="1378744" y="413957"/>
                  </a:lnTo>
                  <a:lnTo>
                    <a:pt x="1382744" y="419957"/>
                  </a:lnTo>
                  <a:lnTo>
                    <a:pt x="1378363" y="423672"/>
                  </a:lnTo>
                  <a:lnTo>
                    <a:pt x="1373696" y="424244"/>
                  </a:lnTo>
                  <a:lnTo>
                    <a:pt x="1370933" y="427863"/>
                  </a:lnTo>
                  <a:lnTo>
                    <a:pt x="1374267" y="429006"/>
                  </a:lnTo>
                  <a:lnTo>
                    <a:pt x="1376077" y="443198"/>
                  </a:lnTo>
                  <a:lnTo>
                    <a:pt x="1372362" y="451675"/>
                  </a:lnTo>
                  <a:lnTo>
                    <a:pt x="1378839" y="452438"/>
                  </a:lnTo>
                  <a:lnTo>
                    <a:pt x="1379696" y="458819"/>
                  </a:lnTo>
                  <a:lnTo>
                    <a:pt x="1381220" y="458629"/>
                  </a:lnTo>
                  <a:lnTo>
                    <a:pt x="1387983" y="460915"/>
                  </a:lnTo>
                  <a:lnTo>
                    <a:pt x="1385983" y="470821"/>
                  </a:lnTo>
                  <a:lnTo>
                    <a:pt x="1388745" y="467296"/>
                  </a:lnTo>
                  <a:lnTo>
                    <a:pt x="1389126" y="470440"/>
                  </a:lnTo>
                  <a:lnTo>
                    <a:pt x="1390936" y="471773"/>
                  </a:lnTo>
                  <a:lnTo>
                    <a:pt x="1388364" y="476917"/>
                  </a:lnTo>
                  <a:lnTo>
                    <a:pt x="1394269" y="472916"/>
                  </a:lnTo>
                  <a:lnTo>
                    <a:pt x="1390364" y="479869"/>
                  </a:lnTo>
                  <a:lnTo>
                    <a:pt x="1391126" y="486156"/>
                  </a:lnTo>
                  <a:lnTo>
                    <a:pt x="1388650" y="491300"/>
                  </a:lnTo>
                  <a:lnTo>
                    <a:pt x="1386840" y="489966"/>
                  </a:lnTo>
                  <a:lnTo>
                    <a:pt x="1384078" y="493490"/>
                  </a:lnTo>
                  <a:lnTo>
                    <a:pt x="1385888" y="494919"/>
                  </a:lnTo>
                  <a:lnTo>
                    <a:pt x="1387888" y="497872"/>
                  </a:lnTo>
                  <a:lnTo>
                    <a:pt x="1386268" y="498062"/>
                  </a:lnTo>
                  <a:lnTo>
                    <a:pt x="1385316" y="503015"/>
                  </a:lnTo>
                  <a:lnTo>
                    <a:pt x="1383506" y="501586"/>
                  </a:lnTo>
                  <a:lnTo>
                    <a:pt x="1383887" y="504730"/>
                  </a:lnTo>
                  <a:lnTo>
                    <a:pt x="1379410" y="506921"/>
                  </a:lnTo>
                  <a:lnTo>
                    <a:pt x="1378363" y="511873"/>
                  </a:lnTo>
                  <a:lnTo>
                    <a:pt x="1373505" y="510921"/>
                  </a:lnTo>
                  <a:lnTo>
                    <a:pt x="1372648" y="517398"/>
                  </a:lnTo>
                  <a:lnTo>
                    <a:pt x="1370743" y="514445"/>
                  </a:lnTo>
                  <a:lnTo>
                    <a:pt x="1369314" y="516255"/>
                  </a:lnTo>
                  <a:lnTo>
                    <a:pt x="1369981" y="521017"/>
                  </a:lnTo>
                  <a:lnTo>
                    <a:pt x="1366742" y="521398"/>
                  </a:lnTo>
                  <a:lnTo>
                    <a:pt x="1365028" y="519970"/>
                  </a:lnTo>
                  <a:lnTo>
                    <a:pt x="1363409" y="520160"/>
                  </a:lnTo>
                  <a:lnTo>
                    <a:pt x="1362456" y="525113"/>
                  </a:lnTo>
                  <a:lnTo>
                    <a:pt x="1367218" y="524542"/>
                  </a:lnTo>
                  <a:lnTo>
                    <a:pt x="1375886" y="529876"/>
                  </a:lnTo>
                  <a:lnTo>
                    <a:pt x="1376077" y="531400"/>
                  </a:lnTo>
                  <a:lnTo>
                    <a:pt x="1366076" y="540734"/>
                  </a:lnTo>
                  <a:lnTo>
                    <a:pt x="1358360" y="543306"/>
                  </a:lnTo>
                  <a:lnTo>
                    <a:pt x="1358551" y="544925"/>
                  </a:lnTo>
                  <a:lnTo>
                    <a:pt x="1369981" y="546640"/>
                  </a:lnTo>
                  <a:lnTo>
                    <a:pt x="1379220" y="543878"/>
                  </a:lnTo>
                  <a:lnTo>
                    <a:pt x="1386554" y="550926"/>
                  </a:lnTo>
                  <a:lnTo>
                    <a:pt x="1388555" y="553879"/>
                  </a:lnTo>
                  <a:lnTo>
                    <a:pt x="1395317" y="556260"/>
                  </a:lnTo>
                  <a:lnTo>
                    <a:pt x="1396460" y="552926"/>
                  </a:lnTo>
                  <a:lnTo>
                    <a:pt x="1396079" y="549688"/>
                  </a:lnTo>
                  <a:lnTo>
                    <a:pt x="1399604" y="552450"/>
                  </a:lnTo>
                  <a:lnTo>
                    <a:pt x="1402747" y="552069"/>
                  </a:lnTo>
                  <a:lnTo>
                    <a:pt x="1401604" y="555403"/>
                  </a:lnTo>
                  <a:lnTo>
                    <a:pt x="1412272" y="563690"/>
                  </a:lnTo>
                  <a:lnTo>
                    <a:pt x="1418939" y="566071"/>
                  </a:lnTo>
                  <a:lnTo>
                    <a:pt x="1420368" y="564261"/>
                  </a:lnTo>
                  <a:lnTo>
                    <a:pt x="1422178" y="565595"/>
                  </a:lnTo>
                  <a:lnTo>
                    <a:pt x="1420559" y="565880"/>
                  </a:lnTo>
                  <a:lnTo>
                    <a:pt x="1427321" y="568166"/>
                  </a:lnTo>
                  <a:lnTo>
                    <a:pt x="1419035" y="578834"/>
                  </a:lnTo>
                  <a:lnTo>
                    <a:pt x="1419797" y="585216"/>
                  </a:lnTo>
                  <a:lnTo>
                    <a:pt x="1417987" y="583787"/>
                  </a:lnTo>
                  <a:lnTo>
                    <a:pt x="1416463" y="583978"/>
                  </a:lnTo>
                  <a:lnTo>
                    <a:pt x="1419225" y="593312"/>
                  </a:lnTo>
                  <a:lnTo>
                    <a:pt x="1413319" y="597218"/>
                  </a:lnTo>
                  <a:lnTo>
                    <a:pt x="1408176" y="594646"/>
                  </a:lnTo>
                  <a:lnTo>
                    <a:pt x="1407605" y="589979"/>
                  </a:lnTo>
                  <a:lnTo>
                    <a:pt x="1404080" y="587216"/>
                  </a:lnTo>
                  <a:lnTo>
                    <a:pt x="1398080" y="591122"/>
                  </a:lnTo>
                  <a:lnTo>
                    <a:pt x="1394555" y="601218"/>
                  </a:lnTo>
                  <a:lnTo>
                    <a:pt x="1401699" y="606743"/>
                  </a:lnTo>
                  <a:lnTo>
                    <a:pt x="1406081" y="602933"/>
                  </a:lnTo>
                  <a:lnTo>
                    <a:pt x="1410176" y="610457"/>
                  </a:lnTo>
                  <a:lnTo>
                    <a:pt x="1413319" y="610076"/>
                  </a:lnTo>
                  <a:lnTo>
                    <a:pt x="1408843" y="612267"/>
                  </a:lnTo>
                  <a:lnTo>
                    <a:pt x="1405033" y="607886"/>
                  </a:lnTo>
                  <a:lnTo>
                    <a:pt x="1402271" y="611505"/>
                  </a:lnTo>
                  <a:lnTo>
                    <a:pt x="1399127" y="611886"/>
                  </a:lnTo>
                  <a:lnTo>
                    <a:pt x="1397794" y="613696"/>
                  </a:lnTo>
                  <a:lnTo>
                    <a:pt x="1400365" y="621316"/>
                  </a:lnTo>
                  <a:lnTo>
                    <a:pt x="1402556" y="625888"/>
                  </a:lnTo>
                  <a:lnTo>
                    <a:pt x="1402747" y="640271"/>
                  </a:lnTo>
                  <a:lnTo>
                    <a:pt x="1396270" y="639509"/>
                  </a:lnTo>
                  <a:lnTo>
                    <a:pt x="1391698" y="641699"/>
                  </a:lnTo>
                  <a:lnTo>
                    <a:pt x="1389983" y="640271"/>
                  </a:lnTo>
                  <a:lnTo>
                    <a:pt x="1390364" y="643414"/>
                  </a:lnTo>
                  <a:lnTo>
                    <a:pt x="1387221" y="643890"/>
                  </a:lnTo>
                  <a:lnTo>
                    <a:pt x="1385411" y="642461"/>
                  </a:lnTo>
                  <a:lnTo>
                    <a:pt x="1382077" y="641318"/>
                  </a:lnTo>
                  <a:lnTo>
                    <a:pt x="1380839" y="644652"/>
                  </a:lnTo>
                  <a:lnTo>
                    <a:pt x="1377887" y="646652"/>
                  </a:lnTo>
                  <a:lnTo>
                    <a:pt x="1378172" y="648272"/>
                  </a:lnTo>
                  <a:lnTo>
                    <a:pt x="1381697" y="650938"/>
                  </a:lnTo>
                  <a:lnTo>
                    <a:pt x="1392936" y="651129"/>
                  </a:lnTo>
                  <a:lnTo>
                    <a:pt x="1391793" y="654558"/>
                  </a:lnTo>
                  <a:lnTo>
                    <a:pt x="1396270" y="652367"/>
                  </a:lnTo>
                  <a:lnTo>
                    <a:pt x="1396937" y="657035"/>
                  </a:lnTo>
                  <a:lnTo>
                    <a:pt x="1395508" y="658844"/>
                  </a:lnTo>
                  <a:lnTo>
                    <a:pt x="1393698" y="657511"/>
                  </a:lnTo>
                  <a:lnTo>
                    <a:pt x="1392364" y="659225"/>
                  </a:lnTo>
                  <a:lnTo>
                    <a:pt x="1387221" y="656654"/>
                  </a:lnTo>
                  <a:lnTo>
                    <a:pt x="1387412" y="658273"/>
                  </a:lnTo>
                  <a:lnTo>
                    <a:pt x="1390745" y="659416"/>
                  </a:lnTo>
                  <a:lnTo>
                    <a:pt x="1389221" y="659606"/>
                  </a:lnTo>
                  <a:lnTo>
                    <a:pt x="1384078" y="657130"/>
                  </a:lnTo>
                  <a:lnTo>
                    <a:pt x="1380744" y="655892"/>
                  </a:lnTo>
                  <a:lnTo>
                    <a:pt x="1375029" y="661416"/>
                  </a:lnTo>
                  <a:lnTo>
                    <a:pt x="1368933" y="663797"/>
                  </a:lnTo>
                  <a:lnTo>
                    <a:pt x="1374267" y="667988"/>
                  </a:lnTo>
                  <a:lnTo>
                    <a:pt x="1374648" y="671132"/>
                  </a:lnTo>
                  <a:lnTo>
                    <a:pt x="1376172" y="670941"/>
                  </a:lnTo>
                  <a:lnTo>
                    <a:pt x="1377029" y="677228"/>
                  </a:lnTo>
                  <a:lnTo>
                    <a:pt x="1380554" y="679990"/>
                  </a:lnTo>
                  <a:lnTo>
                    <a:pt x="1382173" y="679799"/>
                  </a:lnTo>
                  <a:lnTo>
                    <a:pt x="1380744" y="681609"/>
                  </a:lnTo>
                  <a:lnTo>
                    <a:pt x="1383887" y="681133"/>
                  </a:lnTo>
                  <a:lnTo>
                    <a:pt x="1384364" y="684276"/>
                  </a:lnTo>
                  <a:lnTo>
                    <a:pt x="1389507" y="686848"/>
                  </a:lnTo>
                  <a:lnTo>
                    <a:pt x="1394651" y="689420"/>
                  </a:lnTo>
                  <a:lnTo>
                    <a:pt x="1396365" y="690848"/>
                  </a:lnTo>
                  <a:lnTo>
                    <a:pt x="1400556" y="685514"/>
                  </a:lnTo>
                  <a:lnTo>
                    <a:pt x="1408843" y="687610"/>
                  </a:lnTo>
                  <a:lnTo>
                    <a:pt x="1407414" y="689420"/>
                  </a:lnTo>
                  <a:lnTo>
                    <a:pt x="1405700" y="687991"/>
                  </a:lnTo>
                  <a:lnTo>
                    <a:pt x="1409414" y="692372"/>
                  </a:lnTo>
                  <a:lnTo>
                    <a:pt x="1412367" y="690372"/>
                  </a:lnTo>
                  <a:lnTo>
                    <a:pt x="1417510" y="692944"/>
                  </a:lnTo>
                  <a:lnTo>
                    <a:pt x="1413129" y="696659"/>
                  </a:lnTo>
                  <a:lnTo>
                    <a:pt x="1409986" y="697040"/>
                  </a:lnTo>
                  <a:lnTo>
                    <a:pt x="1411986" y="699992"/>
                  </a:lnTo>
                  <a:lnTo>
                    <a:pt x="1415320" y="701231"/>
                  </a:lnTo>
                  <a:lnTo>
                    <a:pt x="1418558" y="700850"/>
                  </a:lnTo>
                  <a:lnTo>
                    <a:pt x="1418749" y="702374"/>
                  </a:lnTo>
                  <a:lnTo>
                    <a:pt x="1420082" y="700659"/>
                  </a:lnTo>
                  <a:lnTo>
                    <a:pt x="1421892" y="701993"/>
                  </a:lnTo>
                  <a:lnTo>
                    <a:pt x="1427035" y="704564"/>
                  </a:lnTo>
                  <a:lnTo>
                    <a:pt x="1434275" y="698849"/>
                  </a:lnTo>
                  <a:lnTo>
                    <a:pt x="1436084" y="700183"/>
                  </a:lnTo>
                  <a:lnTo>
                    <a:pt x="1436465" y="703326"/>
                  </a:lnTo>
                  <a:lnTo>
                    <a:pt x="1438275" y="704755"/>
                  </a:lnTo>
                  <a:lnTo>
                    <a:pt x="1435322" y="706660"/>
                  </a:lnTo>
                  <a:lnTo>
                    <a:pt x="1436084" y="713041"/>
                  </a:lnTo>
                  <a:lnTo>
                    <a:pt x="1439227" y="712565"/>
                  </a:lnTo>
                  <a:lnTo>
                    <a:pt x="1442752" y="702564"/>
                  </a:lnTo>
                  <a:lnTo>
                    <a:pt x="1444752" y="705517"/>
                  </a:lnTo>
                  <a:lnTo>
                    <a:pt x="1443609" y="708851"/>
                  </a:lnTo>
                  <a:lnTo>
                    <a:pt x="1446752" y="708470"/>
                  </a:lnTo>
                  <a:lnTo>
                    <a:pt x="1445800" y="713423"/>
                  </a:lnTo>
                  <a:lnTo>
                    <a:pt x="1446371" y="718090"/>
                  </a:lnTo>
                  <a:lnTo>
                    <a:pt x="1445038" y="719899"/>
                  </a:lnTo>
                  <a:lnTo>
                    <a:pt x="1437513" y="724090"/>
                  </a:lnTo>
                  <a:lnTo>
                    <a:pt x="1437704" y="725615"/>
                  </a:lnTo>
                  <a:lnTo>
                    <a:pt x="1439704" y="728567"/>
                  </a:lnTo>
                  <a:lnTo>
                    <a:pt x="1448372" y="733901"/>
                  </a:lnTo>
                  <a:lnTo>
                    <a:pt x="1467707" y="747427"/>
                  </a:lnTo>
                  <a:lnTo>
                    <a:pt x="1469136" y="745712"/>
                  </a:lnTo>
                  <a:lnTo>
                    <a:pt x="1472279" y="745236"/>
                  </a:lnTo>
                  <a:lnTo>
                    <a:pt x="1474470" y="749808"/>
                  </a:lnTo>
                  <a:lnTo>
                    <a:pt x="1475804" y="747998"/>
                  </a:lnTo>
                  <a:lnTo>
                    <a:pt x="1477613" y="749427"/>
                  </a:lnTo>
                  <a:lnTo>
                    <a:pt x="1479423" y="750761"/>
                  </a:lnTo>
                  <a:lnTo>
                    <a:pt x="1478185" y="754190"/>
                  </a:lnTo>
                  <a:lnTo>
                    <a:pt x="1481614" y="755332"/>
                  </a:lnTo>
                  <a:lnTo>
                    <a:pt x="1484376" y="751808"/>
                  </a:lnTo>
                  <a:lnTo>
                    <a:pt x="1488281" y="757714"/>
                  </a:lnTo>
                  <a:lnTo>
                    <a:pt x="1485710" y="762857"/>
                  </a:lnTo>
                  <a:lnTo>
                    <a:pt x="1487519" y="764191"/>
                  </a:lnTo>
                  <a:lnTo>
                    <a:pt x="1486567" y="769144"/>
                  </a:lnTo>
                  <a:lnTo>
                    <a:pt x="1488567" y="772097"/>
                  </a:lnTo>
                  <a:lnTo>
                    <a:pt x="1485138" y="770953"/>
                  </a:lnTo>
                  <a:lnTo>
                    <a:pt x="1480661" y="773049"/>
                  </a:lnTo>
                  <a:lnTo>
                    <a:pt x="1476470" y="778383"/>
                  </a:lnTo>
                  <a:lnTo>
                    <a:pt x="1485995" y="790003"/>
                  </a:lnTo>
                  <a:lnTo>
                    <a:pt x="1487805" y="791432"/>
                  </a:lnTo>
                  <a:lnTo>
                    <a:pt x="1489615" y="792766"/>
                  </a:lnTo>
                  <a:lnTo>
                    <a:pt x="1489996" y="795909"/>
                  </a:lnTo>
                  <a:lnTo>
                    <a:pt x="1488758" y="799338"/>
                  </a:lnTo>
                  <a:lnTo>
                    <a:pt x="1487424" y="801053"/>
                  </a:lnTo>
                  <a:lnTo>
                    <a:pt x="1483900" y="798290"/>
                  </a:lnTo>
                  <a:lnTo>
                    <a:pt x="1484852" y="806196"/>
                  </a:lnTo>
                  <a:lnTo>
                    <a:pt x="1483328" y="806386"/>
                  </a:lnTo>
                  <a:lnTo>
                    <a:pt x="1482281" y="811340"/>
                  </a:lnTo>
                  <a:lnTo>
                    <a:pt x="1480756" y="811530"/>
                  </a:lnTo>
                  <a:lnTo>
                    <a:pt x="1480947" y="813149"/>
                  </a:lnTo>
                  <a:lnTo>
                    <a:pt x="1475613" y="821817"/>
                  </a:lnTo>
                  <a:lnTo>
                    <a:pt x="1479233" y="824579"/>
                  </a:lnTo>
                  <a:lnTo>
                    <a:pt x="1476185" y="826580"/>
                  </a:lnTo>
                  <a:lnTo>
                    <a:pt x="1466945" y="829342"/>
                  </a:lnTo>
                  <a:lnTo>
                    <a:pt x="1465421" y="829532"/>
                  </a:lnTo>
                  <a:lnTo>
                    <a:pt x="1465802" y="832676"/>
                  </a:lnTo>
                  <a:lnTo>
                    <a:pt x="1465802" y="832676"/>
                  </a:lnTo>
                  <a:lnTo>
                    <a:pt x="1464659" y="836105"/>
                  </a:lnTo>
                  <a:lnTo>
                    <a:pt x="1469708" y="838581"/>
                  </a:lnTo>
                  <a:lnTo>
                    <a:pt x="1468946" y="845153"/>
                  </a:lnTo>
                  <a:lnTo>
                    <a:pt x="1467993" y="850106"/>
                  </a:lnTo>
                  <a:lnTo>
                    <a:pt x="1469803" y="851440"/>
                  </a:lnTo>
                  <a:lnTo>
                    <a:pt x="1469041" y="857917"/>
                  </a:lnTo>
                  <a:lnTo>
                    <a:pt x="1467422" y="858203"/>
                  </a:lnTo>
                  <a:lnTo>
                    <a:pt x="1465421" y="855250"/>
                  </a:lnTo>
                  <a:lnTo>
                    <a:pt x="1462850" y="860298"/>
                  </a:lnTo>
                  <a:lnTo>
                    <a:pt x="1466469" y="863060"/>
                  </a:lnTo>
                  <a:lnTo>
                    <a:pt x="1466660" y="864680"/>
                  </a:lnTo>
                  <a:lnTo>
                    <a:pt x="1467231" y="869442"/>
                  </a:lnTo>
                  <a:lnTo>
                    <a:pt x="1464088" y="869823"/>
                  </a:lnTo>
                  <a:lnTo>
                    <a:pt x="1462754" y="871633"/>
                  </a:lnTo>
                  <a:lnTo>
                    <a:pt x="1463326" y="876300"/>
                  </a:lnTo>
                  <a:lnTo>
                    <a:pt x="1463516" y="877919"/>
                  </a:lnTo>
                  <a:lnTo>
                    <a:pt x="1459421" y="883253"/>
                  </a:lnTo>
                  <a:lnTo>
                    <a:pt x="1455610" y="878872"/>
                  </a:lnTo>
                  <a:lnTo>
                    <a:pt x="1447990" y="881539"/>
                  </a:lnTo>
                  <a:lnTo>
                    <a:pt x="1448181" y="883063"/>
                  </a:lnTo>
                  <a:lnTo>
                    <a:pt x="1449896" y="884491"/>
                  </a:lnTo>
                  <a:lnTo>
                    <a:pt x="1448372" y="884682"/>
                  </a:lnTo>
                  <a:lnTo>
                    <a:pt x="1448943" y="889349"/>
                  </a:lnTo>
                  <a:lnTo>
                    <a:pt x="1444466" y="891540"/>
                  </a:lnTo>
                  <a:lnTo>
                    <a:pt x="1441228" y="892016"/>
                  </a:lnTo>
                  <a:lnTo>
                    <a:pt x="1441704" y="895160"/>
                  </a:lnTo>
                  <a:lnTo>
                    <a:pt x="1440085" y="895350"/>
                  </a:lnTo>
                  <a:lnTo>
                    <a:pt x="1436084" y="889445"/>
                  </a:lnTo>
                  <a:lnTo>
                    <a:pt x="1431036" y="886873"/>
                  </a:lnTo>
                  <a:lnTo>
                    <a:pt x="1428083" y="888873"/>
                  </a:lnTo>
                  <a:lnTo>
                    <a:pt x="1418177" y="899732"/>
                  </a:lnTo>
                  <a:lnTo>
                    <a:pt x="1418558" y="902875"/>
                  </a:lnTo>
                  <a:lnTo>
                    <a:pt x="1413701" y="901922"/>
                  </a:lnTo>
                  <a:lnTo>
                    <a:pt x="1411129" y="907066"/>
                  </a:lnTo>
                  <a:lnTo>
                    <a:pt x="1407223" y="913924"/>
                  </a:lnTo>
                  <a:lnTo>
                    <a:pt x="1407795" y="918686"/>
                  </a:lnTo>
                  <a:lnTo>
                    <a:pt x="1409795" y="921639"/>
                  </a:lnTo>
                  <a:lnTo>
                    <a:pt x="1414463" y="921068"/>
                  </a:lnTo>
                  <a:lnTo>
                    <a:pt x="1417606" y="920591"/>
                  </a:lnTo>
                  <a:lnTo>
                    <a:pt x="1416653" y="925544"/>
                  </a:lnTo>
                  <a:lnTo>
                    <a:pt x="1420273" y="928307"/>
                  </a:lnTo>
                  <a:lnTo>
                    <a:pt x="1419225" y="933260"/>
                  </a:lnTo>
                  <a:lnTo>
                    <a:pt x="1424368" y="935831"/>
                  </a:lnTo>
                  <a:lnTo>
                    <a:pt x="1421416" y="937832"/>
                  </a:lnTo>
                  <a:lnTo>
                    <a:pt x="1421892" y="940975"/>
                  </a:lnTo>
                  <a:lnTo>
                    <a:pt x="1419130" y="944499"/>
                  </a:lnTo>
                  <a:lnTo>
                    <a:pt x="1415891" y="944880"/>
                  </a:lnTo>
                  <a:lnTo>
                    <a:pt x="1413224" y="948499"/>
                  </a:lnTo>
                  <a:lnTo>
                    <a:pt x="1413415" y="950024"/>
                  </a:lnTo>
                  <a:lnTo>
                    <a:pt x="1409795" y="947261"/>
                  </a:lnTo>
                  <a:lnTo>
                    <a:pt x="1408271" y="947452"/>
                  </a:lnTo>
                  <a:lnTo>
                    <a:pt x="1406462" y="946118"/>
                  </a:lnTo>
                  <a:lnTo>
                    <a:pt x="1401889" y="948309"/>
                  </a:lnTo>
                  <a:lnTo>
                    <a:pt x="1394841" y="942785"/>
                  </a:lnTo>
                  <a:lnTo>
                    <a:pt x="1395413" y="947547"/>
                  </a:lnTo>
                  <a:lnTo>
                    <a:pt x="1392269" y="947928"/>
                  </a:lnTo>
                  <a:lnTo>
                    <a:pt x="1388745" y="945166"/>
                  </a:lnTo>
                  <a:lnTo>
                    <a:pt x="1387888" y="938879"/>
                  </a:lnTo>
                  <a:lnTo>
                    <a:pt x="1386554" y="940594"/>
                  </a:lnTo>
                  <a:lnTo>
                    <a:pt x="1384744" y="939260"/>
                  </a:lnTo>
                  <a:lnTo>
                    <a:pt x="1382363" y="946023"/>
                  </a:lnTo>
                  <a:lnTo>
                    <a:pt x="1378268" y="951357"/>
                  </a:lnTo>
                  <a:lnTo>
                    <a:pt x="1375886" y="958024"/>
                  </a:lnTo>
                  <a:lnTo>
                    <a:pt x="1377696" y="959453"/>
                  </a:lnTo>
                  <a:lnTo>
                    <a:pt x="1374934" y="962978"/>
                  </a:lnTo>
                  <a:lnTo>
                    <a:pt x="1375696" y="969264"/>
                  </a:lnTo>
                  <a:lnTo>
                    <a:pt x="1374172" y="969455"/>
                  </a:lnTo>
                  <a:lnTo>
                    <a:pt x="1373600" y="964787"/>
                  </a:lnTo>
                  <a:lnTo>
                    <a:pt x="1368647" y="963740"/>
                  </a:lnTo>
                  <a:lnTo>
                    <a:pt x="1361694" y="972693"/>
                  </a:lnTo>
                  <a:lnTo>
                    <a:pt x="1353026" y="967359"/>
                  </a:lnTo>
                  <a:lnTo>
                    <a:pt x="1345597" y="971550"/>
                  </a:lnTo>
                  <a:lnTo>
                    <a:pt x="1338453" y="978884"/>
                  </a:lnTo>
                  <a:lnTo>
                    <a:pt x="1336643" y="977456"/>
                  </a:lnTo>
                  <a:lnTo>
                    <a:pt x="1335310" y="979265"/>
                  </a:lnTo>
                  <a:lnTo>
                    <a:pt x="1330357" y="978218"/>
                  </a:lnTo>
                  <a:lnTo>
                    <a:pt x="1327214" y="978694"/>
                  </a:lnTo>
                  <a:lnTo>
                    <a:pt x="1326833" y="975551"/>
                  </a:lnTo>
                  <a:lnTo>
                    <a:pt x="1325880" y="980408"/>
                  </a:lnTo>
                  <a:lnTo>
                    <a:pt x="1325689" y="978884"/>
                  </a:lnTo>
                  <a:lnTo>
                    <a:pt x="1322451" y="979265"/>
                  </a:lnTo>
                  <a:lnTo>
                    <a:pt x="1317784" y="979837"/>
                  </a:lnTo>
                  <a:lnTo>
                    <a:pt x="1317022" y="986409"/>
                  </a:lnTo>
                  <a:lnTo>
                    <a:pt x="1313402" y="983647"/>
                  </a:lnTo>
                  <a:lnTo>
                    <a:pt x="1312069" y="985457"/>
                  </a:lnTo>
                  <a:lnTo>
                    <a:pt x="1314260" y="989933"/>
                  </a:lnTo>
                  <a:lnTo>
                    <a:pt x="1306544" y="992505"/>
                  </a:lnTo>
                  <a:lnTo>
                    <a:pt x="1306354" y="990981"/>
                  </a:lnTo>
                  <a:lnTo>
                    <a:pt x="1303592" y="994505"/>
                  </a:lnTo>
                  <a:lnTo>
                    <a:pt x="1301591" y="991553"/>
                  </a:lnTo>
                  <a:lnTo>
                    <a:pt x="1298639" y="993553"/>
                  </a:lnTo>
                  <a:lnTo>
                    <a:pt x="1298448" y="991934"/>
                  </a:lnTo>
                  <a:lnTo>
                    <a:pt x="1292162" y="992791"/>
                  </a:lnTo>
                  <a:lnTo>
                    <a:pt x="1291971" y="991172"/>
                  </a:lnTo>
                  <a:lnTo>
                    <a:pt x="1297400" y="984028"/>
                  </a:lnTo>
                  <a:lnTo>
                    <a:pt x="1295495" y="981075"/>
                  </a:lnTo>
                  <a:lnTo>
                    <a:pt x="1292257" y="981551"/>
                  </a:lnTo>
                  <a:lnTo>
                    <a:pt x="1289590" y="985076"/>
                  </a:lnTo>
                  <a:lnTo>
                    <a:pt x="1286161" y="983932"/>
                  </a:lnTo>
                  <a:lnTo>
                    <a:pt x="1283589" y="989076"/>
                  </a:lnTo>
                  <a:lnTo>
                    <a:pt x="1278922" y="989648"/>
                  </a:lnTo>
                  <a:lnTo>
                    <a:pt x="1277112" y="988219"/>
                  </a:lnTo>
                  <a:lnTo>
                    <a:pt x="1273207" y="995172"/>
                  </a:lnTo>
                  <a:lnTo>
                    <a:pt x="1271588" y="995362"/>
                  </a:lnTo>
                  <a:lnTo>
                    <a:pt x="1272064" y="998506"/>
                  </a:lnTo>
                  <a:lnTo>
                    <a:pt x="1275398" y="999744"/>
                  </a:lnTo>
                  <a:lnTo>
                    <a:pt x="1273969" y="1001459"/>
                  </a:lnTo>
                  <a:lnTo>
                    <a:pt x="1275969" y="1004411"/>
                  </a:lnTo>
                  <a:lnTo>
                    <a:pt x="1268444" y="1008602"/>
                  </a:lnTo>
                  <a:lnTo>
                    <a:pt x="1269683" y="1018032"/>
                  </a:lnTo>
                  <a:lnTo>
                    <a:pt x="1270540" y="1024414"/>
                  </a:lnTo>
                  <a:lnTo>
                    <a:pt x="1256729" y="1029367"/>
                  </a:lnTo>
                  <a:lnTo>
                    <a:pt x="1258634" y="1032320"/>
                  </a:lnTo>
                  <a:lnTo>
                    <a:pt x="1253395" y="1040987"/>
                  </a:lnTo>
                  <a:lnTo>
                    <a:pt x="1251776" y="1041178"/>
                  </a:lnTo>
                  <a:lnTo>
                    <a:pt x="1251394" y="1038035"/>
                  </a:lnTo>
                  <a:lnTo>
                    <a:pt x="1250061" y="1039844"/>
                  </a:lnTo>
                  <a:lnTo>
                    <a:pt x="1250061" y="1039844"/>
                  </a:lnTo>
                  <a:lnTo>
                    <a:pt x="1246823" y="1040225"/>
                  </a:lnTo>
                  <a:lnTo>
                    <a:pt x="1248632" y="1041559"/>
                  </a:lnTo>
                  <a:lnTo>
                    <a:pt x="1245489" y="1042035"/>
                  </a:lnTo>
                  <a:lnTo>
                    <a:pt x="1247489" y="1044988"/>
                  </a:lnTo>
                  <a:lnTo>
                    <a:pt x="1244727" y="1048512"/>
                  </a:lnTo>
                  <a:lnTo>
                    <a:pt x="1243775" y="1053465"/>
                  </a:lnTo>
                  <a:lnTo>
                    <a:pt x="1242536" y="1056799"/>
                  </a:lnTo>
                  <a:lnTo>
                    <a:pt x="1244727" y="1061371"/>
                  </a:lnTo>
                  <a:lnTo>
                    <a:pt x="1242822" y="1071182"/>
                  </a:lnTo>
                  <a:lnTo>
                    <a:pt x="1245013" y="1075754"/>
                  </a:lnTo>
                  <a:lnTo>
                    <a:pt x="1243965" y="1080707"/>
                  </a:lnTo>
                  <a:lnTo>
                    <a:pt x="1247585" y="1083469"/>
                  </a:lnTo>
                  <a:lnTo>
                    <a:pt x="1245965" y="1083659"/>
                  </a:lnTo>
                  <a:lnTo>
                    <a:pt x="1248537" y="1091375"/>
                  </a:lnTo>
                  <a:lnTo>
                    <a:pt x="1251680" y="1090898"/>
                  </a:lnTo>
                  <a:lnTo>
                    <a:pt x="1255681" y="1084040"/>
                  </a:lnTo>
                  <a:lnTo>
                    <a:pt x="1263587" y="1095851"/>
                  </a:lnTo>
                  <a:lnTo>
                    <a:pt x="1271302" y="1093280"/>
                  </a:lnTo>
                  <a:lnTo>
                    <a:pt x="1282541" y="1093375"/>
                  </a:lnTo>
                  <a:lnTo>
                    <a:pt x="1281493" y="1098328"/>
                  </a:lnTo>
                  <a:lnTo>
                    <a:pt x="1285875" y="1107377"/>
                  </a:lnTo>
                  <a:lnTo>
                    <a:pt x="1293590" y="1117664"/>
                  </a:lnTo>
                  <a:lnTo>
                    <a:pt x="1294257" y="1122426"/>
                  </a:lnTo>
                  <a:lnTo>
                    <a:pt x="1291304" y="1124331"/>
                  </a:lnTo>
                  <a:lnTo>
                    <a:pt x="1290066" y="1127760"/>
                  </a:lnTo>
                  <a:lnTo>
                    <a:pt x="1293876" y="1132046"/>
                  </a:lnTo>
                  <a:lnTo>
                    <a:pt x="1290161" y="1140524"/>
                  </a:lnTo>
                  <a:lnTo>
                    <a:pt x="1286542" y="1137761"/>
                  </a:lnTo>
                  <a:lnTo>
                    <a:pt x="1287209" y="1142524"/>
                  </a:lnTo>
                  <a:lnTo>
                    <a:pt x="1285399" y="1141190"/>
                  </a:lnTo>
                  <a:lnTo>
                    <a:pt x="1285589" y="1142714"/>
                  </a:lnTo>
                  <a:lnTo>
                    <a:pt x="1283970" y="1142905"/>
                  </a:lnTo>
                  <a:lnTo>
                    <a:pt x="1279684" y="1146715"/>
                  </a:lnTo>
                  <a:lnTo>
                    <a:pt x="1280255" y="1151477"/>
                  </a:lnTo>
                  <a:lnTo>
                    <a:pt x="1274159" y="1153859"/>
                  </a:lnTo>
                  <a:lnTo>
                    <a:pt x="1273969" y="1152239"/>
                  </a:lnTo>
                  <a:lnTo>
                    <a:pt x="1270826" y="1152620"/>
                  </a:lnTo>
                  <a:lnTo>
                    <a:pt x="1266254" y="1154811"/>
                  </a:lnTo>
                  <a:lnTo>
                    <a:pt x="1264253" y="1151858"/>
                  </a:lnTo>
                  <a:lnTo>
                    <a:pt x="1261586" y="1155383"/>
                  </a:lnTo>
                  <a:lnTo>
                    <a:pt x="1259110" y="1149287"/>
                  </a:lnTo>
                  <a:lnTo>
                    <a:pt x="1252252" y="1145381"/>
                  </a:lnTo>
                  <a:lnTo>
                    <a:pt x="1251109" y="1148715"/>
                  </a:lnTo>
                  <a:lnTo>
                    <a:pt x="1246156" y="1147762"/>
                  </a:lnTo>
                  <a:lnTo>
                    <a:pt x="1247108" y="1155668"/>
                  </a:lnTo>
                  <a:lnTo>
                    <a:pt x="1247108" y="1155668"/>
                  </a:lnTo>
                  <a:lnTo>
                    <a:pt x="1244156" y="1157669"/>
                  </a:lnTo>
                  <a:lnTo>
                    <a:pt x="1240631" y="1154906"/>
                  </a:lnTo>
                  <a:lnTo>
                    <a:pt x="1241774" y="1151573"/>
                  </a:lnTo>
                  <a:lnTo>
                    <a:pt x="1237107" y="1152144"/>
                  </a:lnTo>
                  <a:lnTo>
                    <a:pt x="1237488" y="1155287"/>
                  </a:lnTo>
                  <a:lnTo>
                    <a:pt x="1241012" y="1158050"/>
                  </a:lnTo>
                  <a:lnTo>
                    <a:pt x="1240060" y="1163003"/>
                  </a:lnTo>
                  <a:lnTo>
                    <a:pt x="1235297" y="1163574"/>
                  </a:lnTo>
                  <a:lnTo>
                    <a:pt x="1235678" y="1166717"/>
                  </a:lnTo>
                  <a:lnTo>
                    <a:pt x="1234345" y="1168527"/>
                  </a:lnTo>
                  <a:lnTo>
                    <a:pt x="1233202" y="1171861"/>
                  </a:lnTo>
                  <a:lnTo>
                    <a:pt x="1235107" y="1174814"/>
                  </a:lnTo>
                  <a:lnTo>
                    <a:pt x="1233773" y="1176623"/>
                  </a:lnTo>
                  <a:lnTo>
                    <a:pt x="1233964" y="1178147"/>
                  </a:lnTo>
                  <a:lnTo>
                    <a:pt x="1225868" y="1177576"/>
                  </a:lnTo>
                  <a:lnTo>
                    <a:pt x="1225296" y="1172909"/>
                  </a:lnTo>
                  <a:lnTo>
                    <a:pt x="1222915" y="1166812"/>
                  </a:lnTo>
                  <a:lnTo>
                    <a:pt x="1215962" y="1162812"/>
                  </a:lnTo>
                  <a:lnTo>
                    <a:pt x="1216343" y="1165955"/>
                  </a:lnTo>
                  <a:lnTo>
                    <a:pt x="1214628" y="1164622"/>
                  </a:lnTo>
                  <a:lnTo>
                    <a:pt x="1214818" y="1166146"/>
                  </a:lnTo>
                  <a:lnTo>
                    <a:pt x="1211675" y="1166622"/>
                  </a:lnTo>
                  <a:lnTo>
                    <a:pt x="1206913" y="1167194"/>
                  </a:lnTo>
                  <a:lnTo>
                    <a:pt x="1205103" y="1165860"/>
                  </a:lnTo>
                  <a:lnTo>
                    <a:pt x="1203103" y="1162907"/>
                  </a:lnTo>
                  <a:lnTo>
                    <a:pt x="1202912" y="1161288"/>
                  </a:lnTo>
                  <a:lnTo>
                    <a:pt x="1198245" y="1161860"/>
                  </a:lnTo>
                  <a:lnTo>
                    <a:pt x="1199198" y="1157002"/>
                  </a:lnTo>
                  <a:lnTo>
                    <a:pt x="1200722" y="1156716"/>
                  </a:lnTo>
                  <a:lnTo>
                    <a:pt x="1202150" y="1155002"/>
                  </a:lnTo>
                  <a:lnTo>
                    <a:pt x="1197388" y="1155573"/>
                  </a:lnTo>
                  <a:lnTo>
                    <a:pt x="1196245" y="1158907"/>
                  </a:lnTo>
                  <a:lnTo>
                    <a:pt x="1194435" y="1157573"/>
                  </a:lnTo>
                  <a:lnTo>
                    <a:pt x="1191292" y="1157954"/>
                  </a:lnTo>
                  <a:lnTo>
                    <a:pt x="1192339" y="1165860"/>
                  </a:lnTo>
                  <a:lnTo>
                    <a:pt x="1187196" y="1163288"/>
                  </a:lnTo>
                  <a:lnTo>
                    <a:pt x="1179481" y="1165860"/>
                  </a:lnTo>
                  <a:lnTo>
                    <a:pt x="1177862" y="1166051"/>
                  </a:lnTo>
                  <a:lnTo>
                    <a:pt x="1178338" y="1169194"/>
                  </a:lnTo>
                  <a:lnTo>
                    <a:pt x="1175099" y="1169670"/>
                  </a:lnTo>
                  <a:lnTo>
                    <a:pt x="1171575" y="1166908"/>
                  </a:lnTo>
                  <a:lnTo>
                    <a:pt x="1170432" y="1170241"/>
                  </a:lnTo>
                  <a:lnTo>
                    <a:pt x="1167289" y="1170623"/>
                  </a:lnTo>
                  <a:lnTo>
                    <a:pt x="1163860" y="1169480"/>
                  </a:lnTo>
                  <a:lnTo>
                    <a:pt x="1157954" y="1173385"/>
                  </a:lnTo>
                  <a:lnTo>
                    <a:pt x="1150715" y="1166336"/>
                  </a:lnTo>
                  <a:lnTo>
                    <a:pt x="1146143" y="1168527"/>
                  </a:lnTo>
                  <a:lnTo>
                    <a:pt x="1143952" y="1163955"/>
                  </a:lnTo>
                  <a:lnTo>
                    <a:pt x="1137856" y="1166336"/>
                  </a:lnTo>
                  <a:lnTo>
                    <a:pt x="1136618" y="1169765"/>
                  </a:lnTo>
                  <a:lnTo>
                    <a:pt x="1134904" y="1168337"/>
                  </a:lnTo>
                  <a:lnTo>
                    <a:pt x="1133475" y="1170146"/>
                  </a:lnTo>
                  <a:lnTo>
                    <a:pt x="1131284" y="1165574"/>
                  </a:lnTo>
                  <a:lnTo>
                    <a:pt x="1129760" y="1165765"/>
                  </a:lnTo>
                  <a:lnTo>
                    <a:pt x="1129951" y="1167384"/>
                  </a:lnTo>
                  <a:lnTo>
                    <a:pt x="1124807" y="1164812"/>
                  </a:lnTo>
                  <a:lnTo>
                    <a:pt x="1126236" y="1163098"/>
                  </a:lnTo>
                  <a:lnTo>
                    <a:pt x="1120902" y="1158907"/>
                  </a:lnTo>
                  <a:lnTo>
                    <a:pt x="1120616" y="1157383"/>
                  </a:lnTo>
                  <a:lnTo>
                    <a:pt x="1108234" y="1160526"/>
                  </a:lnTo>
                  <a:lnTo>
                    <a:pt x="1101947" y="1161288"/>
                  </a:lnTo>
                  <a:lnTo>
                    <a:pt x="1096804" y="1171575"/>
                  </a:lnTo>
                  <a:lnTo>
                    <a:pt x="1100328" y="1174337"/>
                  </a:lnTo>
                  <a:lnTo>
                    <a:pt x="1105281" y="1175290"/>
                  </a:lnTo>
                  <a:lnTo>
                    <a:pt x="1109281" y="1181195"/>
                  </a:lnTo>
                  <a:lnTo>
                    <a:pt x="1107853" y="1183005"/>
                  </a:lnTo>
                  <a:lnTo>
                    <a:pt x="1110043" y="1187577"/>
                  </a:lnTo>
                  <a:lnTo>
                    <a:pt x="1108710" y="1189291"/>
                  </a:lnTo>
                  <a:lnTo>
                    <a:pt x="1102614" y="1191673"/>
                  </a:lnTo>
                  <a:lnTo>
                    <a:pt x="1091089" y="1189958"/>
                  </a:lnTo>
                  <a:lnTo>
                    <a:pt x="1088612" y="1195102"/>
                  </a:lnTo>
                  <a:lnTo>
                    <a:pt x="1081468" y="1189577"/>
                  </a:lnTo>
                  <a:lnTo>
                    <a:pt x="1076706" y="1190244"/>
                  </a:lnTo>
                  <a:lnTo>
                    <a:pt x="1073944" y="1193768"/>
                  </a:lnTo>
                  <a:lnTo>
                    <a:pt x="1074801" y="1200055"/>
                  </a:lnTo>
                  <a:lnTo>
                    <a:pt x="1073372" y="1201865"/>
                  </a:lnTo>
                  <a:lnTo>
                    <a:pt x="1072039" y="1203579"/>
                  </a:lnTo>
                  <a:lnTo>
                    <a:pt x="1075563" y="1206341"/>
                  </a:lnTo>
                  <a:lnTo>
                    <a:pt x="1079754" y="1213866"/>
                  </a:lnTo>
                  <a:lnTo>
                    <a:pt x="1076611" y="1214247"/>
                  </a:lnTo>
                  <a:lnTo>
                    <a:pt x="1071848" y="1214914"/>
                  </a:lnTo>
                  <a:lnTo>
                    <a:pt x="1070515" y="1216628"/>
                  </a:lnTo>
                  <a:lnTo>
                    <a:pt x="1071277" y="1223010"/>
                  </a:lnTo>
                  <a:lnTo>
                    <a:pt x="1066514" y="1223582"/>
                  </a:lnTo>
                  <a:lnTo>
                    <a:pt x="1065562" y="1228535"/>
                  </a:lnTo>
                  <a:lnTo>
                    <a:pt x="1064038" y="1228725"/>
                  </a:lnTo>
                  <a:lnTo>
                    <a:pt x="1058894" y="1226153"/>
                  </a:lnTo>
                  <a:lnTo>
                    <a:pt x="1056323" y="1231297"/>
                  </a:lnTo>
                  <a:lnTo>
                    <a:pt x="1051369" y="1230344"/>
                  </a:lnTo>
                  <a:lnTo>
                    <a:pt x="1048988" y="1224248"/>
                  </a:lnTo>
                  <a:lnTo>
                    <a:pt x="1041844" y="1218724"/>
                  </a:lnTo>
                  <a:lnTo>
                    <a:pt x="1046226" y="1214914"/>
                  </a:lnTo>
                  <a:lnTo>
                    <a:pt x="1041083" y="1212342"/>
                  </a:lnTo>
                  <a:lnTo>
                    <a:pt x="1039082" y="1209389"/>
                  </a:lnTo>
                  <a:lnTo>
                    <a:pt x="1040511" y="1207675"/>
                  </a:lnTo>
                  <a:lnTo>
                    <a:pt x="1038701" y="1206246"/>
                  </a:lnTo>
                  <a:lnTo>
                    <a:pt x="1036892" y="1204912"/>
                  </a:lnTo>
                  <a:lnTo>
                    <a:pt x="1035463" y="1193864"/>
                  </a:lnTo>
                  <a:lnTo>
                    <a:pt x="1031176" y="1197578"/>
                  </a:lnTo>
                  <a:lnTo>
                    <a:pt x="1032319" y="1194245"/>
                  </a:lnTo>
                  <a:lnTo>
                    <a:pt x="1031938" y="1191101"/>
                  </a:lnTo>
                  <a:lnTo>
                    <a:pt x="1030319" y="1191292"/>
                  </a:lnTo>
                  <a:lnTo>
                    <a:pt x="1031748" y="1189482"/>
                  </a:lnTo>
                  <a:lnTo>
                    <a:pt x="1031176" y="1184815"/>
                  </a:lnTo>
                  <a:lnTo>
                    <a:pt x="1026223" y="1183767"/>
                  </a:lnTo>
                  <a:lnTo>
                    <a:pt x="1029367" y="1183386"/>
                  </a:lnTo>
                  <a:lnTo>
                    <a:pt x="1032510" y="1183005"/>
                  </a:lnTo>
                  <a:lnTo>
                    <a:pt x="1032319" y="1181386"/>
                  </a:lnTo>
                  <a:lnTo>
                    <a:pt x="1025557" y="1179100"/>
                  </a:lnTo>
                  <a:lnTo>
                    <a:pt x="1025176" y="1175957"/>
                  </a:lnTo>
                  <a:lnTo>
                    <a:pt x="1024223" y="1180814"/>
                  </a:lnTo>
                  <a:lnTo>
                    <a:pt x="1021080" y="1181291"/>
                  </a:lnTo>
                  <a:lnTo>
                    <a:pt x="1019080" y="1178338"/>
                  </a:lnTo>
                  <a:lnTo>
                    <a:pt x="1016127" y="1180243"/>
                  </a:lnTo>
                  <a:lnTo>
                    <a:pt x="1012603" y="1190339"/>
                  </a:lnTo>
                  <a:lnTo>
                    <a:pt x="1014413" y="1191768"/>
                  </a:lnTo>
                  <a:lnTo>
                    <a:pt x="1012984" y="1193483"/>
                  </a:lnTo>
                  <a:lnTo>
                    <a:pt x="1009650" y="1192340"/>
                  </a:lnTo>
                  <a:lnTo>
                    <a:pt x="1009079" y="1187577"/>
                  </a:lnTo>
                  <a:lnTo>
                    <a:pt x="1005268" y="1183291"/>
                  </a:lnTo>
                  <a:lnTo>
                    <a:pt x="1003744" y="1183481"/>
                  </a:lnTo>
                  <a:lnTo>
                    <a:pt x="998601" y="1180910"/>
                  </a:lnTo>
                  <a:lnTo>
                    <a:pt x="992791" y="1173671"/>
                  </a:lnTo>
                  <a:lnTo>
                    <a:pt x="988219" y="1163003"/>
                  </a:lnTo>
                  <a:lnTo>
                    <a:pt x="985076" y="1163384"/>
                  </a:lnTo>
                  <a:lnTo>
                    <a:pt x="981932" y="1163765"/>
                  </a:lnTo>
                  <a:lnTo>
                    <a:pt x="965359" y="1159478"/>
                  </a:lnTo>
                  <a:lnTo>
                    <a:pt x="962977" y="1153382"/>
                  </a:lnTo>
                  <a:lnTo>
                    <a:pt x="953643" y="1143286"/>
                  </a:lnTo>
                  <a:lnTo>
                    <a:pt x="955072" y="1141571"/>
                  </a:lnTo>
                  <a:lnTo>
                    <a:pt x="953262" y="1140143"/>
                  </a:lnTo>
                  <a:lnTo>
                    <a:pt x="952500" y="1146715"/>
                  </a:lnTo>
                  <a:lnTo>
                    <a:pt x="951738" y="1153192"/>
                  </a:lnTo>
                  <a:lnTo>
                    <a:pt x="943832" y="1154240"/>
                  </a:lnTo>
                  <a:lnTo>
                    <a:pt x="944023" y="1155764"/>
                  </a:lnTo>
                  <a:lnTo>
                    <a:pt x="941070" y="1157764"/>
                  </a:lnTo>
                  <a:lnTo>
                    <a:pt x="941260" y="1159383"/>
                  </a:lnTo>
                  <a:lnTo>
                    <a:pt x="939546" y="1157954"/>
                  </a:lnTo>
                  <a:lnTo>
                    <a:pt x="936784" y="1161479"/>
                  </a:lnTo>
                  <a:lnTo>
                    <a:pt x="936974" y="1163098"/>
                  </a:lnTo>
                  <a:lnTo>
                    <a:pt x="940118" y="1162717"/>
                  </a:lnTo>
                  <a:lnTo>
                    <a:pt x="939546" y="1170813"/>
                  </a:lnTo>
                  <a:lnTo>
                    <a:pt x="927926" y="1167479"/>
                  </a:lnTo>
                  <a:lnTo>
                    <a:pt x="928306" y="1170623"/>
                  </a:lnTo>
                  <a:lnTo>
                    <a:pt x="930116" y="1171956"/>
                  </a:lnTo>
                  <a:lnTo>
                    <a:pt x="925354" y="1172623"/>
                  </a:lnTo>
                  <a:lnTo>
                    <a:pt x="926878" y="1172432"/>
                  </a:lnTo>
                  <a:lnTo>
                    <a:pt x="928878" y="1175385"/>
                  </a:lnTo>
                  <a:lnTo>
                    <a:pt x="927544" y="1177100"/>
                  </a:lnTo>
                  <a:lnTo>
                    <a:pt x="930878" y="1178338"/>
                  </a:lnTo>
                  <a:lnTo>
                    <a:pt x="928306" y="1183481"/>
                  </a:lnTo>
                  <a:lnTo>
                    <a:pt x="930116" y="1184815"/>
                  </a:lnTo>
                  <a:lnTo>
                    <a:pt x="926973" y="1185196"/>
                  </a:lnTo>
                  <a:lnTo>
                    <a:pt x="925735" y="1188625"/>
                  </a:lnTo>
                  <a:lnTo>
                    <a:pt x="924211" y="1188815"/>
                  </a:lnTo>
                  <a:lnTo>
                    <a:pt x="923449" y="1195292"/>
                  </a:lnTo>
                  <a:lnTo>
                    <a:pt x="921830" y="1195483"/>
                  </a:lnTo>
                  <a:lnTo>
                    <a:pt x="920687" y="1198816"/>
                  </a:lnTo>
                  <a:lnTo>
                    <a:pt x="922210" y="1198626"/>
                  </a:lnTo>
                  <a:lnTo>
                    <a:pt x="922687" y="1201769"/>
                  </a:lnTo>
                  <a:lnTo>
                    <a:pt x="927544" y="1202817"/>
                  </a:lnTo>
                  <a:lnTo>
                    <a:pt x="925259" y="1209485"/>
                  </a:lnTo>
                  <a:lnTo>
                    <a:pt x="927259" y="1212437"/>
                  </a:lnTo>
                  <a:lnTo>
                    <a:pt x="930212" y="1210437"/>
                  </a:lnTo>
                  <a:lnTo>
                    <a:pt x="930593" y="1213676"/>
                  </a:lnTo>
                  <a:lnTo>
                    <a:pt x="928973" y="1213866"/>
                  </a:lnTo>
                  <a:lnTo>
                    <a:pt x="934117" y="1216343"/>
                  </a:lnTo>
                  <a:lnTo>
                    <a:pt x="934498" y="1219581"/>
                  </a:lnTo>
                  <a:lnTo>
                    <a:pt x="930021" y="1221677"/>
                  </a:lnTo>
                  <a:lnTo>
                    <a:pt x="934688" y="1221105"/>
                  </a:lnTo>
                  <a:lnTo>
                    <a:pt x="933355" y="1222915"/>
                  </a:lnTo>
                  <a:lnTo>
                    <a:pt x="928783" y="1225106"/>
                  </a:lnTo>
                  <a:lnTo>
                    <a:pt x="925449" y="1223867"/>
                  </a:lnTo>
                  <a:lnTo>
                    <a:pt x="924115" y="1225677"/>
                  </a:lnTo>
                  <a:lnTo>
                    <a:pt x="924306" y="1227296"/>
                  </a:lnTo>
                  <a:lnTo>
                    <a:pt x="916591" y="1229868"/>
                  </a:lnTo>
                  <a:lnTo>
                    <a:pt x="916781" y="1231392"/>
                  </a:lnTo>
                  <a:lnTo>
                    <a:pt x="913638" y="1231868"/>
                  </a:lnTo>
                  <a:lnTo>
                    <a:pt x="913257" y="1228630"/>
                  </a:lnTo>
                  <a:lnTo>
                    <a:pt x="906971" y="1229487"/>
                  </a:lnTo>
                  <a:lnTo>
                    <a:pt x="903542" y="1228249"/>
                  </a:lnTo>
                  <a:lnTo>
                    <a:pt x="902208" y="1230059"/>
                  </a:lnTo>
                  <a:lnTo>
                    <a:pt x="902589" y="1233202"/>
                  </a:lnTo>
                  <a:lnTo>
                    <a:pt x="897826" y="1233869"/>
                  </a:lnTo>
                  <a:lnTo>
                    <a:pt x="896302" y="1234059"/>
                  </a:lnTo>
                  <a:lnTo>
                    <a:pt x="895350" y="1239012"/>
                  </a:lnTo>
                  <a:lnTo>
                    <a:pt x="888206" y="1246251"/>
                  </a:lnTo>
                  <a:lnTo>
                    <a:pt x="884872" y="1245108"/>
                  </a:lnTo>
                  <a:lnTo>
                    <a:pt x="883730" y="1248442"/>
                  </a:lnTo>
                  <a:lnTo>
                    <a:pt x="878776" y="1247489"/>
                  </a:lnTo>
                  <a:lnTo>
                    <a:pt x="876014" y="1251014"/>
                  </a:lnTo>
                  <a:lnTo>
                    <a:pt x="876395" y="1254252"/>
                  </a:lnTo>
                  <a:lnTo>
                    <a:pt x="871633" y="1254824"/>
                  </a:lnTo>
                  <a:lnTo>
                    <a:pt x="877443" y="1262062"/>
                  </a:lnTo>
                  <a:lnTo>
                    <a:pt x="874681" y="1265682"/>
                  </a:lnTo>
                  <a:lnTo>
                    <a:pt x="873919" y="1272159"/>
                  </a:lnTo>
                  <a:lnTo>
                    <a:pt x="872490" y="1273969"/>
                  </a:lnTo>
                  <a:lnTo>
                    <a:pt x="866013" y="1273207"/>
                  </a:lnTo>
                  <a:lnTo>
                    <a:pt x="864013" y="1270254"/>
                  </a:lnTo>
                  <a:lnTo>
                    <a:pt x="865156" y="1266825"/>
                  </a:lnTo>
                  <a:lnTo>
                    <a:pt x="862393" y="1257586"/>
                  </a:lnTo>
                  <a:lnTo>
                    <a:pt x="857440" y="1256633"/>
                  </a:lnTo>
                  <a:lnTo>
                    <a:pt x="843820" y="1250347"/>
                  </a:lnTo>
                  <a:lnTo>
                    <a:pt x="830009" y="1255300"/>
                  </a:lnTo>
                  <a:lnTo>
                    <a:pt x="826865" y="1255681"/>
                  </a:lnTo>
                  <a:lnTo>
                    <a:pt x="824675" y="1251204"/>
                  </a:lnTo>
                  <a:lnTo>
                    <a:pt x="820007" y="1251776"/>
                  </a:lnTo>
                  <a:lnTo>
                    <a:pt x="819531" y="1248632"/>
                  </a:lnTo>
                  <a:lnTo>
                    <a:pt x="822484" y="1246632"/>
                  </a:lnTo>
                  <a:lnTo>
                    <a:pt x="825627" y="1246251"/>
                  </a:lnTo>
                  <a:lnTo>
                    <a:pt x="826675" y="1241298"/>
                  </a:lnTo>
                  <a:lnTo>
                    <a:pt x="829437" y="1237774"/>
                  </a:lnTo>
                  <a:lnTo>
                    <a:pt x="830009" y="1229678"/>
                  </a:lnTo>
                  <a:lnTo>
                    <a:pt x="829532" y="1226534"/>
                  </a:lnTo>
                  <a:lnTo>
                    <a:pt x="828008" y="1226725"/>
                  </a:lnTo>
                  <a:lnTo>
                    <a:pt x="826580" y="1228439"/>
                  </a:lnTo>
                  <a:lnTo>
                    <a:pt x="825627" y="1233392"/>
                  </a:lnTo>
                  <a:lnTo>
                    <a:pt x="822674" y="1235393"/>
                  </a:lnTo>
                  <a:lnTo>
                    <a:pt x="817721" y="1234440"/>
                  </a:lnTo>
                  <a:lnTo>
                    <a:pt x="818197" y="1237583"/>
                  </a:lnTo>
                  <a:lnTo>
                    <a:pt x="814959" y="1237964"/>
                  </a:lnTo>
                  <a:lnTo>
                    <a:pt x="815816" y="1231487"/>
                  </a:lnTo>
                  <a:lnTo>
                    <a:pt x="810673" y="1241774"/>
                  </a:lnTo>
                  <a:lnTo>
                    <a:pt x="805720" y="1240727"/>
                  </a:lnTo>
                  <a:lnTo>
                    <a:pt x="807148" y="1239012"/>
                  </a:lnTo>
                  <a:lnTo>
                    <a:pt x="805529" y="1239203"/>
                  </a:lnTo>
                  <a:lnTo>
                    <a:pt x="804196" y="1240917"/>
                  </a:lnTo>
                  <a:lnTo>
                    <a:pt x="802196" y="1237964"/>
                  </a:lnTo>
                  <a:lnTo>
                    <a:pt x="800767" y="1239774"/>
                  </a:lnTo>
                  <a:lnTo>
                    <a:pt x="799052" y="1238441"/>
                  </a:lnTo>
                  <a:lnTo>
                    <a:pt x="794099" y="1237393"/>
                  </a:lnTo>
                  <a:lnTo>
                    <a:pt x="792099" y="1234440"/>
                  </a:lnTo>
                  <a:lnTo>
                    <a:pt x="789146" y="1236440"/>
                  </a:lnTo>
                  <a:lnTo>
                    <a:pt x="786384" y="1240060"/>
                  </a:lnTo>
                  <a:lnTo>
                    <a:pt x="784193" y="1235488"/>
                  </a:lnTo>
                  <a:lnTo>
                    <a:pt x="782860" y="1237298"/>
                  </a:lnTo>
                  <a:lnTo>
                    <a:pt x="782384" y="1234154"/>
                  </a:lnTo>
                  <a:lnTo>
                    <a:pt x="777907" y="1236250"/>
                  </a:lnTo>
                  <a:lnTo>
                    <a:pt x="777716" y="1234726"/>
                  </a:lnTo>
                  <a:lnTo>
                    <a:pt x="774383" y="1233583"/>
                  </a:lnTo>
                  <a:lnTo>
                    <a:pt x="776668" y="1226820"/>
                  </a:lnTo>
                  <a:lnTo>
                    <a:pt x="774954" y="1225487"/>
                  </a:lnTo>
                  <a:lnTo>
                    <a:pt x="770192" y="1226058"/>
                  </a:lnTo>
                  <a:lnTo>
                    <a:pt x="767429" y="1229582"/>
                  </a:lnTo>
                  <a:lnTo>
                    <a:pt x="762476" y="1228630"/>
                  </a:lnTo>
                  <a:lnTo>
                    <a:pt x="753809" y="1223296"/>
                  </a:lnTo>
                  <a:lnTo>
                    <a:pt x="749046" y="1223962"/>
                  </a:lnTo>
                  <a:lnTo>
                    <a:pt x="750856" y="1225296"/>
                  </a:lnTo>
                  <a:lnTo>
                    <a:pt x="748475" y="1232059"/>
                  </a:lnTo>
                  <a:lnTo>
                    <a:pt x="742379" y="1234440"/>
                  </a:lnTo>
                  <a:lnTo>
                    <a:pt x="744379" y="1237393"/>
                  </a:lnTo>
                  <a:lnTo>
                    <a:pt x="747522" y="1236916"/>
                  </a:lnTo>
                  <a:lnTo>
                    <a:pt x="746093" y="1238726"/>
                  </a:lnTo>
                  <a:lnTo>
                    <a:pt x="744569" y="1238917"/>
                  </a:lnTo>
                  <a:lnTo>
                    <a:pt x="740759" y="1234631"/>
                  </a:lnTo>
                  <a:lnTo>
                    <a:pt x="739616" y="1237964"/>
                  </a:lnTo>
                  <a:lnTo>
                    <a:pt x="736092" y="1235202"/>
                  </a:lnTo>
                  <a:lnTo>
                    <a:pt x="735616" y="1232059"/>
                  </a:lnTo>
                  <a:lnTo>
                    <a:pt x="734092" y="1232249"/>
                  </a:lnTo>
                  <a:lnTo>
                    <a:pt x="731901" y="1227677"/>
                  </a:lnTo>
                  <a:lnTo>
                    <a:pt x="727138" y="1228344"/>
                  </a:lnTo>
                  <a:lnTo>
                    <a:pt x="726186" y="1220438"/>
                  </a:lnTo>
                  <a:lnTo>
                    <a:pt x="719804" y="1221200"/>
                  </a:lnTo>
                  <a:lnTo>
                    <a:pt x="718661" y="1224629"/>
                  </a:lnTo>
                  <a:lnTo>
                    <a:pt x="715518" y="1225010"/>
                  </a:lnTo>
                  <a:lnTo>
                    <a:pt x="707422" y="1211580"/>
                  </a:lnTo>
                  <a:lnTo>
                    <a:pt x="704279" y="1211961"/>
                  </a:lnTo>
                  <a:lnTo>
                    <a:pt x="700468" y="1207675"/>
                  </a:lnTo>
                  <a:lnTo>
                    <a:pt x="702850" y="1213771"/>
                  </a:lnTo>
                  <a:lnTo>
                    <a:pt x="701326" y="1213961"/>
                  </a:lnTo>
                  <a:lnTo>
                    <a:pt x="697706" y="1211199"/>
                  </a:lnTo>
                  <a:lnTo>
                    <a:pt x="696373" y="1213009"/>
                  </a:lnTo>
                  <a:lnTo>
                    <a:pt x="697897" y="1212818"/>
                  </a:lnTo>
                  <a:lnTo>
                    <a:pt x="702278" y="1221867"/>
                  </a:lnTo>
                  <a:lnTo>
                    <a:pt x="700945" y="1223677"/>
                  </a:lnTo>
                  <a:lnTo>
                    <a:pt x="702659" y="1225010"/>
                  </a:lnTo>
                  <a:lnTo>
                    <a:pt x="699897" y="1228630"/>
                  </a:lnTo>
                  <a:lnTo>
                    <a:pt x="701897" y="1231583"/>
                  </a:lnTo>
                  <a:lnTo>
                    <a:pt x="706660" y="1230916"/>
                  </a:lnTo>
                  <a:lnTo>
                    <a:pt x="705231" y="1232726"/>
                  </a:lnTo>
                  <a:lnTo>
                    <a:pt x="701897" y="1231583"/>
                  </a:lnTo>
                  <a:lnTo>
                    <a:pt x="702278" y="1234726"/>
                  </a:lnTo>
                  <a:lnTo>
                    <a:pt x="700754" y="1234916"/>
                  </a:lnTo>
                  <a:lnTo>
                    <a:pt x="698183" y="1227201"/>
                  </a:lnTo>
                  <a:lnTo>
                    <a:pt x="695039" y="1227582"/>
                  </a:lnTo>
                  <a:lnTo>
                    <a:pt x="691420" y="1224820"/>
                  </a:lnTo>
                  <a:lnTo>
                    <a:pt x="686752" y="1225487"/>
                  </a:lnTo>
                  <a:lnTo>
                    <a:pt x="685514" y="1228820"/>
                  </a:lnTo>
                  <a:lnTo>
                    <a:pt x="682180" y="1227677"/>
                  </a:lnTo>
                  <a:lnTo>
                    <a:pt x="682371" y="1229201"/>
                  </a:lnTo>
                  <a:lnTo>
                    <a:pt x="680752" y="1229392"/>
                  </a:lnTo>
                  <a:lnTo>
                    <a:pt x="682752" y="1232345"/>
                  </a:lnTo>
                  <a:lnTo>
                    <a:pt x="681228" y="1232535"/>
                  </a:lnTo>
                  <a:lnTo>
                    <a:pt x="681418" y="1234154"/>
                  </a:lnTo>
                  <a:lnTo>
                    <a:pt x="679609" y="1232821"/>
                  </a:lnTo>
                  <a:lnTo>
                    <a:pt x="679799" y="1234345"/>
                  </a:lnTo>
                  <a:lnTo>
                    <a:pt x="678466" y="1236155"/>
                  </a:lnTo>
                  <a:lnTo>
                    <a:pt x="676465" y="1233202"/>
                  </a:lnTo>
                  <a:lnTo>
                    <a:pt x="675132" y="1234916"/>
                  </a:lnTo>
                  <a:lnTo>
                    <a:pt x="672751" y="1241679"/>
                  </a:lnTo>
                  <a:lnTo>
                    <a:pt x="671131" y="1241870"/>
                  </a:lnTo>
                  <a:lnTo>
                    <a:pt x="672370" y="1238536"/>
                  </a:lnTo>
                  <a:lnTo>
                    <a:pt x="668941" y="1237298"/>
                  </a:lnTo>
                  <a:lnTo>
                    <a:pt x="666179" y="1240917"/>
                  </a:lnTo>
                  <a:lnTo>
                    <a:pt x="665226" y="1245870"/>
                  </a:lnTo>
                  <a:lnTo>
                    <a:pt x="663702" y="1246061"/>
                  </a:lnTo>
                  <a:lnTo>
                    <a:pt x="663035" y="1241298"/>
                  </a:lnTo>
                  <a:lnTo>
                    <a:pt x="659892" y="1241679"/>
                  </a:lnTo>
                  <a:lnTo>
                    <a:pt x="659511" y="1238536"/>
                  </a:lnTo>
                  <a:lnTo>
                    <a:pt x="656177" y="1237393"/>
                  </a:lnTo>
                  <a:lnTo>
                    <a:pt x="648843" y="1243108"/>
                  </a:lnTo>
                  <a:lnTo>
                    <a:pt x="645509" y="1241965"/>
                  </a:lnTo>
                  <a:lnTo>
                    <a:pt x="643700" y="1240536"/>
                  </a:lnTo>
                  <a:lnTo>
                    <a:pt x="646843" y="1240155"/>
                  </a:lnTo>
                  <a:lnTo>
                    <a:pt x="648272" y="1238345"/>
                  </a:lnTo>
                  <a:lnTo>
                    <a:pt x="646081" y="1233869"/>
                  </a:lnTo>
                  <a:lnTo>
                    <a:pt x="648843" y="1230249"/>
                  </a:lnTo>
                  <a:lnTo>
                    <a:pt x="648462" y="1227106"/>
                  </a:lnTo>
                  <a:lnTo>
                    <a:pt x="645319" y="1227487"/>
                  </a:lnTo>
                  <a:lnTo>
                    <a:pt x="643509" y="1226153"/>
                  </a:lnTo>
                  <a:lnTo>
                    <a:pt x="641699" y="1224820"/>
                  </a:lnTo>
                  <a:lnTo>
                    <a:pt x="641699" y="1224820"/>
                  </a:lnTo>
                  <a:lnTo>
                    <a:pt x="639509" y="1220248"/>
                  </a:lnTo>
                  <a:lnTo>
                    <a:pt x="638175" y="1222058"/>
                  </a:lnTo>
                  <a:lnTo>
                    <a:pt x="631031" y="1216533"/>
                  </a:lnTo>
                  <a:lnTo>
                    <a:pt x="625316" y="1222058"/>
                  </a:lnTo>
                  <a:lnTo>
                    <a:pt x="623126" y="1217486"/>
                  </a:lnTo>
                  <a:lnTo>
                    <a:pt x="621792" y="1219295"/>
                  </a:lnTo>
                  <a:lnTo>
                    <a:pt x="621601" y="1217771"/>
                  </a:lnTo>
                  <a:lnTo>
                    <a:pt x="619792" y="1216343"/>
                  </a:lnTo>
                  <a:lnTo>
                    <a:pt x="620363" y="1208246"/>
                  </a:lnTo>
                  <a:lnTo>
                    <a:pt x="621697" y="1206437"/>
                  </a:lnTo>
                  <a:lnTo>
                    <a:pt x="616363" y="1202341"/>
                  </a:lnTo>
                  <a:lnTo>
                    <a:pt x="609886" y="1201579"/>
                  </a:lnTo>
                  <a:lnTo>
                    <a:pt x="609505" y="1198436"/>
                  </a:lnTo>
                  <a:lnTo>
                    <a:pt x="604933" y="1200626"/>
                  </a:lnTo>
                  <a:lnTo>
                    <a:pt x="602551" y="1194435"/>
                  </a:lnTo>
                  <a:lnTo>
                    <a:pt x="596837" y="1200055"/>
                  </a:lnTo>
                  <a:lnTo>
                    <a:pt x="593693" y="1200436"/>
                  </a:lnTo>
                  <a:lnTo>
                    <a:pt x="582835" y="1203389"/>
                  </a:lnTo>
                  <a:lnTo>
                    <a:pt x="580644" y="1198912"/>
                  </a:lnTo>
                  <a:lnTo>
                    <a:pt x="577882" y="1202436"/>
                  </a:lnTo>
                  <a:lnTo>
                    <a:pt x="574738" y="1202817"/>
                  </a:lnTo>
                  <a:lnTo>
                    <a:pt x="573405" y="1204627"/>
                  </a:lnTo>
                  <a:lnTo>
                    <a:pt x="573786" y="1207770"/>
                  </a:lnTo>
                  <a:lnTo>
                    <a:pt x="574834" y="1215676"/>
                  </a:lnTo>
                  <a:lnTo>
                    <a:pt x="570262" y="1217866"/>
                  </a:lnTo>
                  <a:lnTo>
                    <a:pt x="570643" y="1221010"/>
                  </a:lnTo>
                  <a:lnTo>
                    <a:pt x="566356" y="1224725"/>
                  </a:lnTo>
                  <a:lnTo>
                    <a:pt x="563213" y="1225201"/>
                  </a:lnTo>
                  <a:lnTo>
                    <a:pt x="563594" y="1228344"/>
                  </a:lnTo>
                  <a:lnTo>
                    <a:pt x="566547" y="1226344"/>
                  </a:lnTo>
                  <a:lnTo>
                    <a:pt x="560832" y="1231868"/>
                  </a:lnTo>
                  <a:lnTo>
                    <a:pt x="561404" y="1236631"/>
                  </a:lnTo>
                  <a:lnTo>
                    <a:pt x="556546" y="1235678"/>
                  </a:lnTo>
                  <a:lnTo>
                    <a:pt x="556069" y="1232440"/>
                  </a:lnTo>
                  <a:lnTo>
                    <a:pt x="559022" y="1230535"/>
                  </a:lnTo>
                  <a:lnTo>
                    <a:pt x="557308" y="1229106"/>
                  </a:lnTo>
                  <a:lnTo>
                    <a:pt x="551117" y="1231487"/>
                  </a:lnTo>
                  <a:lnTo>
                    <a:pt x="543306" y="1232535"/>
                  </a:lnTo>
                  <a:lnTo>
                    <a:pt x="540353" y="1234535"/>
                  </a:lnTo>
                  <a:lnTo>
                    <a:pt x="536924" y="1233297"/>
                  </a:lnTo>
                  <a:lnTo>
                    <a:pt x="532067" y="1232345"/>
                  </a:lnTo>
                  <a:lnTo>
                    <a:pt x="525685" y="1233107"/>
                  </a:lnTo>
                  <a:lnTo>
                    <a:pt x="522542" y="1233583"/>
                  </a:lnTo>
                  <a:lnTo>
                    <a:pt x="521398" y="1236916"/>
                  </a:lnTo>
                  <a:lnTo>
                    <a:pt x="514255" y="1231392"/>
                  </a:lnTo>
                  <a:lnTo>
                    <a:pt x="509492" y="1231964"/>
                  </a:lnTo>
                  <a:lnTo>
                    <a:pt x="501205" y="1229868"/>
                  </a:lnTo>
                  <a:lnTo>
                    <a:pt x="502444" y="1239298"/>
                  </a:lnTo>
                  <a:lnTo>
                    <a:pt x="497300" y="1236726"/>
                  </a:lnTo>
                  <a:lnTo>
                    <a:pt x="492728" y="1238917"/>
                  </a:lnTo>
                  <a:lnTo>
                    <a:pt x="491014" y="1237583"/>
                  </a:lnTo>
                  <a:lnTo>
                    <a:pt x="490633" y="1234440"/>
                  </a:lnTo>
                  <a:lnTo>
                    <a:pt x="491776" y="1231011"/>
                  </a:lnTo>
                  <a:lnTo>
                    <a:pt x="489775" y="1228058"/>
                  </a:lnTo>
                  <a:lnTo>
                    <a:pt x="486632" y="1228535"/>
                  </a:lnTo>
                  <a:lnTo>
                    <a:pt x="487394" y="1234821"/>
                  </a:lnTo>
                  <a:lnTo>
                    <a:pt x="486251" y="1238155"/>
                  </a:lnTo>
                  <a:lnTo>
                    <a:pt x="479774" y="1237393"/>
                  </a:lnTo>
                  <a:lnTo>
                    <a:pt x="478346" y="1239203"/>
                  </a:lnTo>
                  <a:lnTo>
                    <a:pt x="476345" y="1236250"/>
                  </a:lnTo>
                  <a:lnTo>
                    <a:pt x="470059" y="1237012"/>
                  </a:lnTo>
                  <a:lnTo>
                    <a:pt x="469868" y="1235488"/>
                  </a:lnTo>
                  <a:lnTo>
                    <a:pt x="466915" y="1237393"/>
                  </a:lnTo>
                  <a:lnTo>
                    <a:pt x="464915" y="1234440"/>
                  </a:lnTo>
                  <a:lnTo>
                    <a:pt x="463391" y="1234631"/>
                  </a:lnTo>
                  <a:lnTo>
                    <a:pt x="461010" y="1228535"/>
                  </a:lnTo>
                  <a:lnTo>
                    <a:pt x="461963" y="1223582"/>
                  </a:lnTo>
                  <a:lnTo>
                    <a:pt x="463296" y="1221867"/>
                  </a:lnTo>
                  <a:lnTo>
                    <a:pt x="462534" y="1215485"/>
                  </a:lnTo>
                  <a:lnTo>
                    <a:pt x="462153" y="1212342"/>
                  </a:lnTo>
                  <a:lnTo>
                    <a:pt x="463487" y="1210628"/>
                  </a:lnTo>
                  <a:lnTo>
                    <a:pt x="463105" y="1207484"/>
                  </a:lnTo>
                  <a:lnTo>
                    <a:pt x="467868" y="1206818"/>
                  </a:lnTo>
                  <a:lnTo>
                    <a:pt x="462915" y="1205865"/>
                  </a:lnTo>
                  <a:lnTo>
                    <a:pt x="457390" y="1200150"/>
                  </a:lnTo>
                  <a:lnTo>
                    <a:pt x="455962" y="1201960"/>
                  </a:lnTo>
                  <a:lnTo>
                    <a:pt x="446532" y="1203103"/>
                  </a:lnTo>
                  <a:lnTo>
                    <a:pt x="443198" y="120196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6" name="Volný tvar: obrazec 35">
              <a:extLst>
                <a:ext uri="{FF2B5EF4-FFF2-40B4-BE49-F238E27FC236}">
                  <a16:creationId xmlns:a16="http://schemas.microsoft.com/office/drawing/2014/main" id="{37B82D56-1789-4E17-EC16-F5E65F1A01B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37533" y="2694717"/>
              <a:ext cx="860393" cy="1348549"/>
            </a:xfrm>
            <a:custGeom>
              <a:avLst/>
              <a:gdLst>
                <a:gd name="connsiteX0" fmla="*/ 855250 w 860393"/>
                <a:gd name="connsiteY0" fmla="*/ 1022509 h 1348549"/>
                <a:gd name="connsiteX1" fmla="*/ 856012 w 860393"/>
                <a:gd name="connsiteY1" fmla="*/ 1016032 h 1348549"/>
                <a:gd name="connsiteX2" fmla="*/ 854202 w 860393"/>
                <a:gd name="connsiteY2" fmla="*/ 1014698 h 1348549"/>
                <a:gd name="connsiteX3" fmla="*/ 853821 w 860393"/>
                <a:gd name="connsiteY3" fmla="*/ 1011555 h 1348549"/>
                <a:gd name="connsiteX4" fmla="*/ 852202 w 860393"/>
                <a:gd name="connsiteY4" fmla="*/ 1011746 h 1348549"/>
                <a:gd name="connsiteX5" fmla="*/ 854583 w 860393"/>
                <a:gd name="connsiteY5" fmla="*/ 1004983 h 1348549"/>
                <a:gd name="connsiteX6" fmla="*/ 847439 w 860393"/>
                <a:gd name="connsiteY6" fmla="*/ 999458 h 1348549"/>
                <a:gd name="connsiteX7" fmla="*/ 850011 w 860393"/>
                <a:gd name="connsiteY7" fmla="*/ 994315 h 1348549"/>
                <a:gd name="connsiteX8" fmla="*/ 849821 w 860393"/>
                <a:gd name="connsiteY8" fmla="*/ 992791 h 1348549"/>
                <a:gd name="connsiteX9" fmla="*/ 846677 w 860393"/>
                <a:gd name="connsiteY9" fmla="*/ 993172 h 1348549"/>
                <a:gd name="connsiteX10" fmla="*/ 845725 w 860393"/>
                <a:gd name="connsiteY10" fmla="*/ 998125 h 1348549"/>
                <a:gd name="connsiteX11" fmla="*/ 835438 w 860393"/>
                <a:gd name="connsiteY11" fmla="*/ 992981 h 1348549"/>
                <a:gd name="connsiteX12" fmla="*/ 832675 w 860393"/>
                <a:gd name="connsiteY12" fmla="*/ 996601 h 1348549"/>
                <a:gd name="connsiteX13" fmla="*/ 833247 w 860393"/>
                <a:gd name="connsiteY13" fmla="*/ 1001268 h 1348549"/>
                <a:gd name="connsiteX14" fmla="*/ 828484 w 860393"/>
                <a:gd name="connsiteY14" fmla="*/ 1001935 h 1348549"/>
                <a:gd name="connsiteX15" fmla="*/ 827151 w 860393"/>
                <a:gd name="connsiteY15" fmla="*/ 1003649 h 1348549"/>
                <a:gd name="connsiteX16" fmla="*/ 822484 w 860393"/>
                <a:gd name="connsiteY16" fmla="*/ 1017080 h 1348549"/>
                <a:gd name="connsiteX17" fmla="*/ 815340 w 860393"/>
                <a:gd name="connsiteY17" fmla="*/ 1011555 h 1348549"/>
                <a:gd name="connsiteX18" fmla="*/ 814483 w 860393"/>
                <a:gd name="connsiteY18" fmla="*/ 1005268 h 1348549"/>
                <a:gd name="connsiteX19" fmla="*/ 810578 w 860393"/>
                <a:gd name="connsiteY19" fmla="*/ 999363 h 1348549"/>
                <a:gd name="connsiteX20" fmla="*/ 807434 w 860393"/>
                <a:gd name="connsiteY20" fmla="*/ 999744 h 1348549"/>
                <a:gd name="connsiteX21" fmla="*/ 806958 w 860393"/>
                <a:gd name="connsiteY21" fmla="*/ 996601 h 1348549"/>
                <a:gd name="connsiteX22" fmla="*/ 814102 w 860393"/>
                <a:gd name="connsiteY22" fmla="*/ 989267 h 1348549"/>
                <a:gd name="connsiteX23" fmla="*/ 819055 w 860393"/>
                <a:gd name="connsiteY23" fmla="*/ 990314 h 1348549"/>
                <a:gd name="connsiteX24" fmla="*/ 822960 w 860393"/>
                <a:gd name="connsiteY24" fmla="*/ 983361 h 1348549"/>
                <a:gd name="connsiteX25" fmla="*/ 819626 w 860393"/>
                <a:gd name="connsiteY25" fmla="*/ 982218 h 1348549"/>
                <a:gd name="connsiteX26" fmla="*/ 820769 w 860393"/>
                <a:gd name="connsiteY26" fmla="*/ 978789 h 1348549"/>
                <a:gd name="connsiteX27" fmla="*/ 819150 w 860393"/>
                <a:gd name="connsiteY27" fmla="*/ 979075 h 1348549"/>
                <a:gd name="connsiteX28" fmla="*/ 822103 w 860393"/>
                <a:gd name="connsiteY28" fmla="*/ 977075 h 1348549"/>
                <a:gd name="connsiteX29" fmla="*/ 818959 w 860393"/>
                <a:gd name="connsiteY29" fmla="*/ 977455 h 1348549"/>
                <a:gd name="connsiteX30" fmla="*/ 813816 w 860393"/>
                <a:gd name="connsiteY30" fmla="*/ 974884 h 1348549"/>
                <a:gd name="connsiteX31" fmla="*/ 814673 w 860393"/>
                <a:gd name="connsiteY31" fmla="*/ 968407 h 1348549"/>
                <a:gd name="connsiteX32" fmla="*/ 812863 w 860393"/>
                <a:gd name="connsiteY32" fmla="*/ 966978 h 1348549"/>
                <a:gd name="connsiteX33" fmla="*/ 809911 w 860393"/>
                <a:gd name="connsiteY33" fmla="*/ 968978 h 1348549"/>
                <a:gd name="connsiteX34" fmla="*/ 807720 w 860393"/>
                <a:gd name="connsiteY34" fmla="*/ 964501 h 1348549"/>
                <a:gd name="connsiteX35" fmla="*/ 809054 w 860393"/>
                <a:gd name="connsiteY35" fmla="*/ 962692 h 1348549"/>
                <a:gd name="connsiteX36" fmla="*/ 807530 w 860393"/>
                <a:gd name="connsiteY36" fmla="*/ 962882 h 1348549"/>
                <a:gd name="connsiteX37" fmla="*/ 806863 w 860393"/>
                <a:gd name="connsiteY37" fmla="*/ 958120 h 1348549"/>
                <a:gd name="connsiteX38" fmla="*/ 803720 w 860393"/>
                <a:gd name="connsiteY38" fmla="*/ 958501 h 1348549"/>
                <a:gd name="connsiteX39" fmla="*/ 801338 w 860393"/>
                <a:gd name="connsiteY39" fmla="*/ 952405 h 1348549"/>
                <a:gd name="connsiteX40" fmla="*/ 799433 w 860393"/>
                <a:gd name="connsiteY40" fmla="*/ 949452 h 1348549"/>
                <a:gd name="connsiteX41" fmla="*/ 795814 w 860393"/>
                <a:gd name="connsiteY41" fmla="*/ 946690 h 1348549"/>
                <a:gd name="connsiteX42" fmla="*/ 790289 w 860393"/>
                <a:gd name="connsiteY42" fmla="*/ 940975 h 1348549"/>
                <a:gd name="connsiteX43" fmla="*/ 785717 w 860393"/>
                <a:gd name="connsiteY43" fmla="*/ 930402 h 1348549"/>
                <a:gd name="connsiteX44" fmla="*/ 779240 w 860393"/>
                <a:gd name="connsiteY44" fmla="*/ 929640 h 1348549"/>
                <a:gd name="connsiteX45" fmla="*/ 770572 w 860393"/>
                <a:gd name="connsiteY45" fmla="*/ 924306 h 1348549"/>
                <a:gd name="connsiteX46" fmla="*/ 764762 w 860393"/>
                <a:gd name="connsiteY46" fmla="*/ 916972 h 1348549"/>
                <a:gd name="connsiteX47" fmla="*/ 761619 w 860393"/>
                <a:gd name="connsiteY47" fmla="*/ 917448 h 1348549"/>
                <a:gd name="connsiteX48" fmla="*/ 758857 w 860393"/>
                <a:gd name="connsiteY48" fmla="*/ 920972 h 1348549"/>
                <a:gd name="connsiteX49" fmla="*/ 757047 w 860393"/>
                <a:gd name="connsiteY49" fmla="*/ 919543 h 1348549"/>
                <a:gd name="connsiteX50" fmla="*/ 755904 w 860393"/>
                <a:gd name="connsiteY50" fmla="*/ 910114 h 1348549"/>
                <a:gd name="connsiteX51" fmla="*/ 750570 w 860393"/>
                <a:gd name="connsiteY51" fmla="*/ 906018 h 1348549"/>
                <a:gd name="connsiteX52" fmla="*/ 754285 w 860393"/>
                <a:gd name="connsiteY52" fmla="*/ 897541 h 1348549"/>
                <a:gd name="connsiteX53" fmla="*/ 743617 w 860393"/>
                <a:gd name="connsiteY53" fmla="*/ 889254 h 1348549"/>
                <a:gd name="connsiteX54" fmla="*/ 735044 w 860393"/>
                <a:gd name="connsiteY54" fmla="*/ 872680 h 1348549"/>
                <a:gd name="connsiteX55" fmla="*/ 727996 w 860393"/>
                <a:gd name="connsiteY55" fmla="*/ 867156 h 1348549"/>
                <a:gd name="connsiteX56" fmla="*/ 727996 w 860393"/>
                <a:gd name="connsiteY56" fmla="*/ 867156 h 1348549"/>
                <a:gd name="connsiteX57" fmla="*/ 725424 w 860393"/>
                <a:gd name="connsiteY57" fmla="*/ 872300 h 1348549"/>
                <a:gd name="connsiteX58" fmla="*/ 725043 w 860393"/>
                <a:gd name="connsiteY58" fmla="*/ 882015 h 1348549"/>
                <a:gd name="connsiteX59" fmla="*/ 723424 w 860393"/>
                <a:gd name="connsiteY59" fmla="*/ 882205 h 1348549"/>
                <a:gd name="connsiteX60" fmla="*/ 722090 w 860393"/>
                <a:gd name="connsiteY60" fmla="*/ 883920 h 1348549"/>
                <a:gd name="connsiteX61" fmla="*/ 720280 w 860393"/>
                <a:gd name="connsiteY61" fmla="*/ 882587 h 1348549"/>
                <a:gd name="connsiteX62" fmla="*/ 717709 w 860393"/>
                <a:gd name="connsiteY62" fmla="*/ 887730 h 1348549"/>
                <a:gd name="connsiteX63" fmla="*/ 715994 w 860393"/>
                <a:gd name="connsiteY63" fmla="*/ 886301 h 1348549"/>
                <a:gd name="connsiteX64" fmla="*/ 715613 w 860393"/>
                <a:gd name="connsiteY64" fmla="*/ 883158 h 1348549"/>
                <a:gd name="connsiteX65" fmla="*/ 694849 w 860393"/>
                <a:gd name="connsiteY65" fmla="*/ 871347 h 1348549"/>
                <a:gd name="connsiteX66" fmla="*/ 692467 w 860393"/>
                <a:gd name="connsiteY66" fmla="*/ 865251 h 1348549"/>
                <a:gd name="connsiteX67" fmla="*/ 690848 w 860393"/>
                <a:gd name="connsiteY67" fmla="*/ 852678 h 1348549"/>
                <a:gd name="connsiteX68" fmla="*/ 687610 w 860393"/>
                <a:gd name="connsiteY68" fmla="*/ 840200 h 1348549"/>
                <a:gd name="connsiteX69" fmla="*/ 688657 w 860393"/>
                <a:gd name="connsiteY69" fmla="*/ 835247 h 1348549"/>
                <a:gd name="connsiteX70" fmla="*/ 694849 w 860393"/>
                <a:gd name="connsiteY70" fmla="*/ 821626 h 1348549"/>
                <a:gd name="connsiteX71" fmla="*/ 696468 w 860393"/>
                <a:gd name="connsiteY71" fmla="*/ 821436 h 1348549"/>
                <a:gd name="connsiteX72" fmla="*/ 697421 w 860393"/>
                <a:gd name="connsiteY72" fmla="*/ 816483 h 1348549"/>
                <a:gd name="connsiteX73" fmla="*/ 699040 w 860393"/>
                <a:gd name="connsiteY73" fmla="*/ 816293 h 1348549"/>
                <a:gd name="connsiteX74" fmla="*/ 697039 w 860393"/>
                <a:gd name="connsiteY74" fmla="*/ 813340 h 1348549"/>
                <a:gd name="connsiteX75" fmla="*/ 697611 w 860393"/>
                <a:gd name="connsiteY75" fmla="*/ 805243 h 1348549"/>
                <a:gd name="connsiteX76" fmla="*/ 696087 w 860393"/>
                <a:gd name="connsiteY76" fmla="*/ 805529 h 1348549"/>
                <a:gd name="connsiteX77" fmla="*/ 693706 w 860393"/>
                <a:gd name="connsiteY77" fmla="*/ 812197 h 1348549"/>
                <a:gd name="connsiteX78" fmla="*/ 690563 w 860393"/>
                <a:gd name="connsiteY78" fmla="*/ 812578 h 1348549"/>
                <a:gd name="connsiteX79" fmla="*/ 686943 w 860393"/>
                <a:gd name="connsiteY79" fmla="*/ 809815 h 1348549"/>
                <a:gd name="connsiteX80" fmla="*/ 685229 w 860393"/>
                <a:gd name="connsiteY80" fmla="*/ 808482 h 1348549"/>
                <a:gd name="connsiteX81" fmla="*/ 681799 w 860393"/>
                <a:gd name="connsiteY81" fmla="*/ 807339 h 1348549"/>
                <a:gd name="connsiteX82" fmla="*/ 684371 w 860393"/>
                <a:gd name="connsiteY82" fmla="*/ 802196 h 1348549"/>
                <a:gd name="connsiteX83" fmla="*/ 680847 w 860393"/>
                <a:gd name="connsiteY83" fmla="*/ 799433 h 1348549"/>
                <a:gd name="connsiteX84" fmla="*/ 677513 w 860393"/>
                <a:gd name="connsiteY84" fmla="*/ 798195 h 1348549"/>
                <a:gd name="connsiteX85" fmla="*/ 671322 w 860393"/>
                <a:gd name="connsiteY85" fmla="*/ 800576 h 1348549"/>
                <a:gd name="connsiteX86" fmla="*/ 665416 w 860393"/>
                <a:gd name="connsiteY86" fmla="*/ 791718 h 1348549"/>
                <a:gd name="connsiteX87" fmla="*/ 660654 w 860393"/>
                <a:gd name="connsiteY87" fmla="*/ 792385 h 1348549"/>
                <a:gd name="connsiteX88" fmla="*/ 651986 w 860393"/>
                <a:gd name="connsiteY88" fmla="*/ 787051 h 1348549"/>
                <a:gd name="connsiteX89" fmla="*/ 649605 w 860393"/>
                <a:gd name="connsiteY89" fmla="*/ 793718 h 1348549"/>
                <a:gd name="connsiteX90" fmla="*/ 646271 w 860393"/>
                <a:gd name="connsiteY90" fmla="*/ 792575 h 1348549"/>
                <a:gd name="connsiteX91" fmla="*/ 642175 w 860393"/>
                <a:gd name="connsiteY91" fmla="*/ 797909 h 1348549"/>
                <a:gd name="connsiteX92" fmla="*/ 636080 w 860393"/>
                <a:gd name="connsiteY92" fmla="*/ 800290 h 1348549"/>
                <a:gd name="connsiteX93" fmla="*/ 635317 w 860393"/>
                <a:gd name="connsiteY93" fmla="*/ 806768 h 1348549"/>
                <a:gd name="connsiteX94" fmla="*/ 622649 w 860393"/>
                <a:gd name="connsiteY94" fmla="*/ 808387 h 1348549"/>
                <a:gd name="connsiteX95" fmla="*/ 615887 w 860393"/>
                <a:gd name="connsiteY95" fmla="*/ 806101 h 1348549"/>
                <a:gd name="connsiteX96" fmla="*/ 604075 w 860393"/>
                <a:gd name="connsiteY96" fmla="*/ 788289 h 1348549"/>
                <a:gd name="connsiteX97" fmla="*/ 595598 w 860393"/>
                <a:gd name="connsiteY97" fmla="*/ 784574 h 1348549"/>
                <a:gd name="connsiteX98" fmla="*/ 587312 w 860393"/>
                <a:gd name="connsiteY98" fmla="*/ 782479 h 1348549"/>
                <a:gd name="connsiteX99" fmla="*/ 585311 w 860393"/>
                <a:gd name="connsiteY99" fmla="*/ 779526 h 1348549"/>
                <a:gd name="connsiteX100" fmla="*/ 581978 w 860393"/>
                <a:gd name="connsiteY100" fmla="*/ 778288 h 1348549"/>
                <a:gd name="connsiteX101" fmla="*/ 579406 w 860393"/>
                <a:gd name="connsiteY101" fmla="*/ 783431 h 1348549"/>
                <a:gd name="connsiteX102" fmla="*/ 578167 w 860393"/>
                <a:gd name="connsiteY102" fmla="*/ 786860 h 1348549"/>
                <a:gd name="connsiteX103" fmla="*/ 579977 w 860393"/>
                <a:gd name="connsiteY103" fmla="*/ 788194 h 1348549"/>
                <a:gd name="connsiteX104" fmla="*/ 572072 w 860393"/>
                <a:gd name="connsiteY104" fmla="*/ 802005 h 1348549"/>
                <a:gd name="connsiteX105" fmla="*/ 558927 w 860393"/>
                <a:gd name="connsiteY105" fmla="*/ 798862 h 1348549"/>
                <a:gd name="connsiteX106" fmla="*/ 555498 w 860393"/>
                <a:gd name="connsiteY106" fmla="*/ 797719 h 1348549"/>
                <a:gd name="connsiteX107" fmla="*/ 547211 w 860393"/>
                <a:gd name="connsiteY107" fmla="*/ 782764 h 1348549"/>
                <a:gd name="connsiteX108" fmla="*/ 543878 w 860393"/>
                <a:gd name="connsiteY108" fmla="*/ 781526 h 1348549"/>
                <a:gd name="connsiteX109" fmla="*/ 541115 w 860393"/>
                <a:gd name="connsiteY109" fmla="*/ 785146 h 1348549"/>
                <a:gd name="connsiteX110" fmla="*/ 535972 w 860393"/>
                <a:gd name="connsiteY110" fmla="*/ 782574 h 1348549"/>
                <a:gd name="connsiteX111" fmla="*/ 520922 w 860393"/>
                <a:gd name="connsiteY111" fmla="*/ 778097 h 1348549"/>
                <a:gd name="connsiteX112" fmla="*/ 513493 w 860393"/>
                <a:gd name="connsiteY112" fmla="*/ 782193 h 1348549"/>
                <a:gd name="connsiteX113" fmla="*/ 509111 w 860393"/>
                <a:gd name="connsiteY113" fmla="*/ 786003 h 1348549"/>
                <a:gd name="connsiteX114" fmla="*/ 504444 w 860393"/>
                <a:gd name="connsiteY114" fmla="*/ 786575 h 1348549"/>
                <a:gd name="connsiteX115" fmla="*/ 504825 w 860393"/>
                <a:gd name="connsiteY115" fmla="*/ 789718 h 1348549"/>
                <a:gd name="connsiteX116" fmla="*/ 502634 w 860393"/>
                <a:gd name="connsiteY116" fmla="*/ 785241 h 1348549"/>
                <a:gd name="connsiteX117" fmla="*/ 495490 w 860393"/>
                <a:gd name="connsiteY117" fmla="*/ 779717 h 1348549"/>
                <a:gd name="connsiteX118" fmla="*/ 501587 w 860393"/>
                <a:gd name="connsiteY118" fmla="*/ 777335 h 1348549"/>
                <a:gd name="connsiteX119" fmla="*/ 499681 w 860393"/>
                <a:gd name="connsiteY119" fmla="*/ 774383 h 1348549"/>
                <a:gd name="connsiteX120" fmla="*/ 492538 w 860393"/>
                <a:gd name="connsiteY120" fmla="*/ 768858 h 1348549"/>
                <a:gd name="connsiteX121" fmla="*/ 492157 w 860393"/>
                <a:gd name="connsiteY121" fmla="*/ 765715 h 1348549"/>
                <a:gd name="connsiteX122" fmla="*/ 495109 w 860393"/>
                <a:gd name="connsiteY122" fmla="*/ 763714 h 1348549"/>
                <a:gd name="connsiteX123" fmla="*/ 492728 w 860393"/>
                <a:gd name="connsiteY123" fmla="*/ 757618 h 1348549"/>
                <a:gd name="connsiteX124" fmla="*/ 485775 w 860393"/>
                <a:gd name="connsiteY124" fmla="*/ 753713 h 1348549"/>
                <a:gd name="connsiteX125" fmla="*/ 483584 w 860393"/>
                <a:gd name="connsiteY125" fmla="*/ 749141 h 1348549"/>
                <a:gd name="connsiteX126" fmla="*/ 480441 w 860393"/>
                <a:gd name="connsiteY126" fmla="*/ 749522 h 1348549"/>
                <a:gd name="connsiteX127" fmla="*/ 478441 w 860393"/>
                <a:gd name="connsiteY127" fmla="*/ 746569 h 1348549"/>
                <a:gd name="connsiteX128" fmla="*/ 467011 w 860393"/>
                <a:gd name="connsiteY128" fmla="*/ 731996 h 1348549"/>
                <a:gd name="connsiteX129" fmla="*/ 465011 w 860393"/>
                <a:gd name="connsiteY129" fmla="*/ 729043 h 1348549"/>
                <a:gd name="connsiteX130" fmla="*/ 463582 w 860393"/>
                <a:gd name="connsiteY130" fmla="*/ 730853 h 1348549"/>
                <a:gd name="connsiteX131" fmla="*/ 456152 w 860393"/>
                <a:gd name="connsiteY131" fmla="*/ 722185 h 1348549"/>
                <a:gd name="connsiteX132" fmla="*/ 448818 w 860393"/>
                <a:gd name="connsiteY132" fmla="*/ 727901 h 1348549"/>
                <a:gd name="connsiteX133" fmla="*/ 439388 w 860393"/>
                <a:gd name="connsiteY133" fmla="*/ 729139 h 1348549"/>
                <a:gd name="connsiteX134" fmla="*/ 436626 w 860393"/>
                <a:gd name="connsiteY134" fmla="*/ 732663 h 1348549"/>
                <a:gd name="connsiteX135" fmla="*/ 434054 w 860393"/>
                <a:gd name="connsiteY135" fmla="*/ 737806 h 1348549"/>
                <a:gd name="connsiteX136" fmla="*/ 432054 w 860393"/>
                <a:gd name="connsiteY136" fmla="*/ 734854 h 1348549"/>
                <a:gd name="connsiteX137" fmla="*/ 433006 w 860393"/>
                <a:gd name="connsiteY137" fmla="*/ 729901 h 1348549"/>
                <a:gd name="connsiteX138" fmla="*/ 421386 w 860393"/>
                <a:gd name="connsiteY138" fmla="*/ 726567 h 1348549"/>
                <a:gd name="connsiteX139" fmla="*/ 415290 w 860393"/>
                <a:gd name="connsiteY139" fmla="*/ 729043 h 1348549"/>
                <a:gd name="connsiteX140" fmla="*/ 410337 w 860393"/>
                <a:gd name="connsiteY140" fmla="*/ 727996 h 1348549"/>
                <a:gd name="connsiteX141" fmla="*/ 410146 w 860393"/>
                <a:gd name="connsiteY141" fmla="*/ 726472 h 1348549"/>
                <a:gd name="connsiteX142" fmla="*/ 409956 w 860393"/>
                <a:gd name="connsiteY142" fmla="*/ 724852 h 1348549"/>
                <a:gd name="connsiteX143" fmla="*/ 404622 w 860393"/>
                <a:gd name="connsiteY143" fmla="*/ 720757 h 1348549"/>
                <a:gd name="connsiteX144" fmla="*/ 403003 w 860393"/>
                <a:gd name="connsiteY144" fmla="*/ 720947 h 1348549"/>
                <a:gd name="connsiteX145" fmla="*/ 401860 w 860393"/>
                <a:gd name="connsiteY145" fmla="*/ 724281 h 1348549"/>
                <a:gd name="connsiteX146" fmla="*/ 401288 w 860393"/>
                <a:gd name="connsiteY146" fmla="*/ 719518 h 1348549"/>
                <a:gd name="connsiteX147" fmla="*/ 399288 w 860393"/>
                <a:gd name="connsiteY147" fmla="*/ 716566 h 1348549"/>
                <a:gd name="connsiteX148" fmla="*/ 394716 w 860393"/>
                <a:gd name="connsiteY148" fmla="*/ 718756 h 1348549"/>
                <a:gd name="connsiteX149" fmla="*/ 391192 w 860393"/>
                <a:gd name="connsiteY149" fmla="*/ 715994 h 1348549"/>
                <a:gd name="connsiteX150" fmla="*/ 384620 w 860393"/>
                <a:gd name="connsiteY150" fmla="*/ 715232 h 1348549"/>
                <a:gd name="connsiteX151" fmla="*/ 382238 w 860393"/>
                <a:gd name="connsiteY151" fmla="*/ 709136 h 1348549"/>
                <a:gd name="connsiteX152" fmla="*/ 379286 w 860393"/>
                <a:gd name="connsiteY152" fmla="*/ 711137 h 1348549"/>
                <a:gd name="connsiteX153" fmla="*/ 375761 w 860393"/>
                <a:gd name="connsiteY153" fmla="*/ 708374 h 1348549"/>
                <a:gd name="connsiteX154" fmla="*/ 371189 w 860393"/>
                <a:gd name="connsiteY154" fmla="*/ 710565 h 1348549"/>
                <a:gd name="connsiteX155" fmla="*/ 369284 w 860393"/>
                <a:gd name="connsiteY155" fmla="*/ 707612 h 1348549"/>
                <a:gd name="connsiteX156" fmla="*/ 368046 w 860393"/>
                <a:gd name="connsiteY156" fmla="*/ 710946 h 1348549"/>
                <a:gd name="connsiteX157" fmla="*/ 364903 w 860393"/>
                <a:gd name="connsiteY157" fmla="*/ 711327 h 1348549"/>
                <a:gd name="connsiteX158" fmla="*/ 365284 w 860393"/>
                <a:gd name="connsiteY158" fmla="*/ 714470 h 1348549"/>
                <a:gd name="connsiteX159" fmla="*/ 363760 w 860393"/>
                <a:gd name="connsiteY159" fmla="*/ 714756 h 1348549"/>
                <a:gd name="connsiteX160" fmla="*/ 361950 w 860393"/>
                <a:gd name="connsiteY160" fmla="*/ 713327 h 1348549"/>
                <a:gd name="connsiteX161" fmla="*/ 358997 w 860393"/>
                <a:gd name="connsiteY161" fmla="*/ 715327 h 1348549"/>
                <a:gd name="connsiteX162" fmla="*/ 357664 w 860393"/>
                <a:gd name="connsiteY162" fmla="*/ 717137 h 1348549"/>
                <a:gd name="connsiteX163" fmla="*/ 357188 w 860393"/>
                <a:gd name="connsiteY163" fmla="*/ 713899 h 1348549"/>
                <a:gd name="connsiteX164" fmla="*/ 355473 w 860393"/>
                <a:gd name="connsiteY164" fmla="*/ 712565 h 1348549"/>
                <a:gd name="connsiteX165" fmla="*/ 354997 w 860393"/>
                <a:gd name="connsiteY165" fmla="*/ 709422 h 1348549"/>
                <a:gd name="connsiteX166" fmla="*/ 351854 w 860393"/>
                <a:gd name="connsiteY166" fmla="*/ 709803 h 1348549"/>
                <a:gd name="connsiteX167" fmla="*/ 354235 w 860393"/>
                <a:gd name="connsiteY167" fmla="*/ 703135 h 1348549"/>
                <a:gd name="connsiteX168" fmla="*/ 360331 w 860393"/>
                <a:gd name="connsiteY168" fmla="*/ 687896 h 1348549"/>
                <a:gd name="connsiteX169" fmla="*/ 362807 w 860393"/>
                <a:gd name="connsiteY169" fmla="*/ 669893 h 1348549"/>
                <a:gd name="connsiteX170" fmla="*/ 359664 w 860393"/>
                <a:gd name="connsiteY170" fmla="*/ 670369 h 1348549"/>
                <a:gd name="connsiteX171" fmla="*/ 355949 w 860393"/>
                <a:gd name="connsiteY171" fmla="*/ 678847 h 1348549"/>
                <a:gd name="connsiteX172" fmla="*/ 350806 w 860393"/>
                <a:gd name="connsiteY172" fmla="*/ 676275 h 1348549"/>
                <a:gd name="connsiteX173" fmla="*/ 349472 w 860393"/>
                <a:gd name="connsiteY173" fmla="*/ 678085 h 1348549"/>
                <a:gd name="connsiteX174" fmla="*/ 350044 w 860393"/>
                <a:gd name="connsiteY174" fmla="*/ 682752 h 1348549"/>
                <a:gd name="connsiteX175" fmla="*/ 345091 w 860393"/>
                <a:gd name="connsiteY175" fmla="*/ 681800 h 1348549"/>
                <a:gd name="connsiteX176" fmla="*/ 341947 w 860393"/>
                <a:gd name="connsiteY176" fmla="*/ 682180 h 1348549"/>
                <a:gd name="connsiteX177" fmla="*/ 334899 w 860393"/>
                <a:gd name="connsiteY177" fmla="*/ 689515 h 1348549"/>
                <a:gd name="connsiteX178" fmla="*/ 332708 w 860393"/>
                <a:gd name="connsiteY178" fmla="*/ 685038 h 1348549"/>
                <a:gd name="connsiteX179" fmla="*/ 329374 w 860393"/>
                <a:gd name="connsiteY179" fmla="*/ 683800 h 1348549"/>
                <a:gd name="connsiteX180" fmla="*/ 324803 w 860393"/>
                <a:gd name="connsiteY180" fmla="*/ 673132 h 1348549"/>
                <a:gd name="connsiteX181" fmla="*/ 323945 w 860393"/>
                <a:gd name="connsiteY181" fmla="*/ 666845 h 1348549"/>
                <a:gd name="connsiteX182" fmla="*/ 321945 w 860393"/>
                <a:gd name="connsiteY182" fmla="*/ 663893 h 1348549"/>
                <a:gd name="connsiteX183" fmla="*/ 318611 w 860393"/>
                <a:gd name="connsiteY183" fmla="*/ 662750 h 1348549"/>
                <a:gd name="connsiteX184" fmla="*/ 316039 w 860393"/>
                <a:gd name="connsiteY184" fmla="*/ 667893 h 1348549"/>
                <a:gd name="connsiteX185" fmla="*/ 316611 w 860393"/>
                <a:gd name="connsiteY185" fmla="*/ 659797 h 1348549"/>
                <a:gd name="connsiteX186" fmla="*/ 314230 w 860393"/>
                <a:gd name="connsiteY186" fmla="*/ 653701 h 1348549"/>
                <a:gd name="connsiteX187" fmla="*/ 305753 w 860393"/>
                <a:gd name="connsiteY187" fmla="*/ 649891 h 1348549"/>
                <a:gd name="connsiteX188" fmla="*/ 306705 w 860393"/>
                <a:gd name="connsiteY188" fmla="*/ 645033 h 1348549"/>
                <a:gd name="connsiteX189" fmla="*/ 309944 w 860393"/>
                <a:gd name="connsiteY189" fmla="*/ 644557 h 1348549"/>
                <a:gd name="connsiteX190" fmla="*/ 307467 w 860393"/>
                <a:gd name="connsiteY190" fmla="*/ 638461 h 1348549"/>
                <a:gd name="connsiteX191" fmla="*/ 312230 w 860393"/>
                <a:gd name="connsiteY191" fmla="*/ 637889 h 1348549"/>
                <a:gd name="connsiteX192" fmla="*/ 313468 w 860393"/>
                <a:gd name="connsiteY192" fmla="*/ 634555 h 1348549"/>
                <a:gd name="connsiteX193" fmla="*/ 319183 w 860393"/>
                <a:gd name="connsiteY193" fmla="*/ 629031 h 1348549"/>
                <a:gd name="connsiteX194" fmla="*/ 318897 w 860393"/>
                <a:gd name="connsiteY194" fmla="*/ 627412 h 1348549"/>
                <a:gd name="connsiteX195" fmla="*/ 319945 w 860393"/>
                <a:gd name="connsiteY195" fmla="*/ 622459 h 1348549"/>
                <a:gd name="connsiteX196" fmla="*/ 321659 w 860393"/>
                <a:gd name="connsiteY196" fmla="*/ 623888 h 1348549"/>
                <a:gd name="connsiteX197" fmla="*/ 323088 w 860393"/>
                <a:gd name="connsiteY197" fmla="*/ 622078 h 1348549"/>
                <a:gd name="connsiteX198" fmla="*/ 322707 w 860393"/>
                <a:gd name="connsiteY198" fmla="*/ 618934 h 1348549"/>
                <a:gd name="connsiteX199" fmla="*/ 324993 w 860393"/>
                <a:gd name="connsiteY199" fmla="*/ 612172 h 1348549"/>
                <a:gd name="connsiteX200" fmla="*/ 316706 w 860393"/>
                <a:gd name="connsiteY200" fmla="*/ 610076 h 1348549"/>
                <a:gd name="connsiteX201" fmla="*/ 317849 w 860393"/>
                <a:gd name="connsiteY201" fmla="*/ 606647 h 1348549"/>
                <a:gd name="connsiteX202" fmla="*/ 315563 w 860393"/>
                <a:gd name="connsiteY202" fmla="*/ 600551 h 1348549"/>
                <a:gd name="connsiteX203" fmla="*/ 323183 w 860393"/>
                <a:gd name="connsiteY203" fmla="*/ 597980 h 1348549"/>
                <a:gd name="connsiteX204" fmla="*/ 322802 w 860393"/>
                <a:gd name="connsiteY204" fmla="*/ 594836 h 1348549"/>
                <a:gd name="connsiteX205" fmla="*/ 327374 w 860393"/>
                <a:gd name="connsiteY205" fmla="*/ 592646 h 1348549"/>
                <a:gd name="connsiteX206" fmla="*/ 328327 w 860393"/>
                <a:gd name="connsiteY206" fmla="*/ 587693 h 1348549"/>
                <a:gd name="connsiteX207" fmla="*/ 334613 w 860393"/>
                <a:gd name="connsiteY207" fmla="*/ 586930 h 1348549"/>
                <a:gd name="connsiteX208" fmla="*/ 336804 w 860393"/>
                <a:gd name="connsiteY208" fmla="*/ 578644 h 1348549"/>
                <a:gd name="connsiteX209" fmla="*/ 338519 w 860393"/>
                <a:gd name="connsiteY209" fmla="*/ 579977 h 1348549"/>
                <a:gd name="connsiteX210" fmla="*/ 341090 w 860393"/>
                <a:gd name="connsiteY210" fmla="*/ 574834 h 1348549"/>
                <a:gd name="connsiteX211" fmla="*/ 339090 w 860393"/>
                <a:gd name="connsiteY211" fmla="*/ 571881 h 1348549"/>
                <a:gd name="connsiteX212" fmla="*/ 341852 w 860393"/>
                <a:gd name="connsiteY212" fmla="*/ 568357 h 1348549"/>
                <a:gd name="connsiteX213" fmla="*/ 339471 w 860393"/>
                <a:gd name="connsiteY213" fmla="*/ 562261 h 1348549"/>
                <a:gd name="connsiteX214" fmla="*/ 339280 w 860393"/>
                <a:gd name="connsiteY214" fmla="*/ 560642 h 1348549"/>
                <a:gd name="connsiteX215" fmla="*/ 335185 w 860393"/>
                <a:gd name="connsiteY215" fmla="*/ 553212 h 1348549"/>
                <a:gd name="connsiteX216" fmla="*/ 320516 w 860393"/>
                <a:gd name="connsiteY216" fmla="*/ 539020 h 1348549"/>
                <a:gd name="connsiteX217" fmla="*/ 312039 w 860393"/>
                <a:gd name="connsiteY217" fmla="*/ 535305 h 1348549"/>
                <a:gd name="connsiteX218" fmla="*/ 309658 w 860393"/>
                <a:gd name="connsiteY218" fmla="*/ 529114 h 1348549"/>
                <a:gd name="connsiteX219" fmla="*/ 311182 w 860393"/>
                <a:gd name="connsiteY219" fmla="*/ 528923 h 1348549"/>
                <a:gd name="connsiteX220" fmla="*/ 320040 w 860393"/>
                <a:gd name="connsiteY220" fmla="*/ 523018 h 1348549"/>
                <a:gd name="connsiteX221" fmla="*/ 320802 w 860393"/>
                <a:gd name="connsiteY221" fmla="*/ 516541 h 1348549"/>
                <a:gd name="connsiteX222" fmla="*/ 318421 w 860393"/>
                <a:gd name="connsiteY222" fmla="*/ 510349 h 1348549"/>
                <a:gd name="connsiteX223" fmla="*/ 316801 w 860393"/>
                <a:gd name="connsiteY223" fmla="*/ 497776 h 1348549"/>
                <a:gd name="connsiteX224" fmla="*/ 325279 w 860393"/>
                <a:gd name="connsiteY224" fmla="*/ 488632 h 1348549"/>
                <a:gd name="connsiteX225" fmla="*/ 329851 w 860393"/>
                <a:gd name="connsiteY225" fmla="*/ 473678 h 1348549"/>
                <a:gd name="connsiteX226" fmla="*/ 337471 w 860393"/>
                <a:gd name="connsiteY226" fmla="*/ 471107 h 1348549"/>
                <a:gd name="connsiteX227" fmla="*/ 342995 w 860393"/>
                <a:gd name="connsiteY227" fmla="*/ 463963 h 1348549"/>
                <a:gd name="connsiteX228" fmla="*/ 345567 w 860393"/>
                <a:gd name="connsiteY228" fmla="*/ 458819 h 1348549"/>
                <a:gd name="connsiteX229" fmla="*/ 353282 w 860393"/>
                <a:gd name="connsiteY229" fmla="*/ 456247 h 1348549"/>
                <a:gd name="connsiteX230" fmla="*/ 360521 w 860393"/>
                <a:gd name="connsiteY230" fmla="*/ 437674 h 1348549"/>
                <a:gd name="connsiteX231" fmla="*/ 359473 w 860393"/>
                <a:gd name="connsiteY231" fmla="*/ 429768 h 1348549"/>
                <a:gd name="connsiteX232" fmla="*/ 357092 w 860393"/>
                <a:gd name="connsiteY232" fmla="*/ 423672 h 1348549"/>
                <a:gd name="connsiteX233" fmla="*/ 357473 w 860393"/>
                <a:gd name="connsiteY233" fmla="*/ 414052 h 1348549"/>
                <a:gd name="connsiteX234" fmla="*/ 349948 w 860393"/>
                <a:gd name="connsiteY234" fmla="*/ 392525 h 1348549"/>
                <a:gd name="connsiteX235" fmla="*/ 365665 w 860393"/>
                <a:gd name="connsiteY235" fmla="*/ 377666 h 1348549"/>
                <a:gd name="connsiteX236" fmla="*/ 369665 w 860393"/>
                <a:gd name="connsiteY236" fmla="*/ 370808 h 1348549"/>
                <a:gd name="connsiteX237" fmla="*/ 365665 w 860393"/>
                <a:gd name="connsiteY237" fmla="*/ 364903 h 1348549"/>
                <a:gd name="connsiteX238" fmla="*/ 364236 w 860393"/>
                <a:gd name="connsiteY238" fmla="*/ 353854 h 1348549"/>
                <a:gd name="connsiteX239" fmla="*/ 361664 w 860393"/>
                <a:gd name="connsiteY239" fmla="*/ 346138 h 1348549"/>
                <a:gd name="connsiteX240" fmla="*/ 371951 w 860393"/>
                <a:gd name="connsiteY240" fmla="*/ 338423 h 1348549"/>
                <a:gd name="connsiteX241" fmla="*/ 375095 w 860393"/>
                <a:gd name="connsiteY241" fmla="*/ 338042 h 1348549"/>
                <a:gd name="connsiteX242" fmla="*/ 383096 w 860393"/>
                <a:gd name="connsiteY242" fmla="*/ 325755 h 1348549"/>
                <a:gd name="connsiteX243" fmla="*/ 387287 w 860393"/>
                <a:gd name="connsiteY243" fmla="*/ 320421 h 1348549"/>
                <a:gd name="connsiteX244" fmla="*/ 392335 w 860393"/>
                <a:gd name="connsiteY244" fmla="*/ 310134 h 1348549"/>
                <a:gd name="connsiteX245" fmla="*/ 397669 w 860393"/>
                <a:gd name="connsiteY245" fmla="*/ 314230 h 1348549"/>
                <a:gd name="connsiteX246" fmla="*/ 400717 w 860393"/>
                <a:gd name="connsiteY246" fmla="*/ 312325 h 1348549"/>
                <a:gd name="connsiteX247" fmla="*/ 405003 w 860393"/>
                <a:gd name="connsiteY247" fmla="*/ 308515 h 1348549"/>
                <a:gd name="connsiteX248" fmla="*/ 404241 w 860393"/>
                <a:gd name="connsiteY248" fmla="*/ 302228 h 1348549"/>
                <a:gd name="connsiteX249" fmla="*/ 408146 w 860393"/>
                <a:gd name="connsiteY249" fmla="*/ 295275 h 1348549"/>
                <a:gd name="connsiteX250" fmla="*/ 414052 w 860393"/>
                <a:gd name="connsiteY250" fmla="*/ 291370 h 1348549"/>
                <a:gd name="connsiteX251" fmla="*/ 427672 w 860393"/>
                <a:gd name="connsiteY251" fmla="*/ 297656 h 1348549"/>
                <a:gd name="connsiteX252" fmla="*/ 434912 w 860393"/>
                <a:gd name="connsiteY252" fmla="*/ 291846 h 1348549"/>
                <a:gd name="connsiteX253" fmla="*/ 442246 w 860393"/>
                <a:gd name="connsiteY253" fmla="*/ 273272 h 1348549"/>
                <a:gd name="connsiteX254" fmla="*/ 450723 w 860393"/>
                <a:gd name="connsiteY254" fmla="*/ 264223 h 1348549"/>
                <a:gd name="connsiteX255" fmla="*/ 453962 w 860393"/>
                <a:gd name="connsiteY255" fmla="*/ 252603 h 1348549"/>
                <a:gd name="connsiteX256" fmla="*/ 455771 w 860393"/>
                <a:gd name="connsiteY256" fmla="*/ 253936 h 1348549"/>
                <a:gd name="connsiteX257" fmla="*/ 463487 w 860393"/>
                <a:gd name="connsiteY257" fmla="*/ 264223 h 1348549"/>
                <a:gd name="connsiteX258" fmla="*/ 468821 w 860393"/>
                <a:gd name="connsiteY258" fmla="*/ 268319 h 1348549"/>
                <a:gd name="connsiteX259" fmla="*/ 471773 w 860393"/>
                <a:gd name="connsiteY259" fmla="*/ 266319 h 1348549"/>
                <a:gd name="connsiteX260" fmla="*/ 480060 w 860393"/>
                <a:gd name="connsiteY260" fmla="*/ 268510 h 1348549"/>
                <a:gd name="connsiteX261" fmla="*/ 485965 w 860393"/>
                <a:gd name="connsiteY261" fmla="*/ 264509 h 1348549"/>
                <a:gd name="connsiteX262" fmla="*/ 485394 w 860393"/>
                <a:gd name="connsiteY262" fmla="*/ 259842 h 1348549"/>
                <a:gd name="connsiteX263" fmla="*/ 488156 w 860393"/>
                <a:gd name="connsiteY263" fmla="*/ 256222 h 1348549"/>
                <a:gd name="connsiteX264" fmla="*/ 487299 w 860393"/>
                <a:gd name="connsiteY264" fmla="*/ 249936 h 1348549"/>
                <a:gd name="connsiteX265" fmla="*/ 488156 w 860393"/>
                <a:gd name="connsiteY265" fmla="*/ 243459 h 1348549"/>
                <a:gd name="connsiteX266" fmla="*/ 485299 w 860393"/>
                <a:gd name="connsiteY266" fmla="*/ 234124 h 1348549"/>
                <a:gd name="connsiteX267" fmla="*/ 487680 w 860393"/>
                <a:gd name="connsiteY267" fmla="*/ 227457 h 1348549"/>
                <a:gd name="connsiteX268" fmla="*/ 489204 w 860393"/>
                <a:gd name="connsiteY268" fmla="*/ 214408 h 1348549"/>
                <a:gd name="connsiteX269" fmla="*/ 487013 w 860393"/>
                <a:gd name="connsiteY269" fmla="*/ 209836 h 1348549"/>
                <a:gd name="connsiteX270" fmla="*/ 489775 w 860393"/>
                <a:gd name="connsiteY270" fmla="*/ 206311 h 1348549"/>
                <a:gd name="connsiteX271" fmla="*/ 481108 w 860393"/>
                <a:gd name="connsiteY271" fmla="*/ 188214 h 1348549"/>
                <a:gd name="connsiteX272" fmla="*/ 472249 w 860393"/>
                <a:gd name="connsiteY272" fmla="*/ 194119 h 1348549"/>
                <a:gd name="connsiteX273" fmla="*/ 469582 w 860393"/>
                <a:gd name="connsiteY273" fmla="*/ 186404 h 1348549"/>
                <a:gd name="connsiteX274" fmla="*/ 459581 w 860393"/>
                <a:gd name="connsiteY274" fmla="*/ 182880 h 1348549"/>
                <a:gd name="connsiteX275" fmla="*/ 445389 w 860393"/>
                <a:gd name="connsiteY275" fmla="*/ 184690 h 1348549"/>
                <a:gd name="connsiteX276" fmla="*/ 442436 w 860393"/>
                <a:gd name="connsiteY276" fmla="*/ 186690 h 1348549"/>
                <a:gd name="connsiteX277" fmla="*/ 441484 w 860393"/>
                <a:gd name="connsiteY277" fmla="*/ 204406 h 1348549"/>
                <a:gd name="connsiteX278" fmla="*/ 435102 w 860393"/>
                <a:gd name="connsiteY278" fmla="*/ 205264 h 1348549"/>
                <a:gd name="connsiteX279" fmla="*/ 431578 w 860393"/>
                <a:gd name="connsiteY279" fmla="*/ 202501 h 1348549"/>
                <a:gd name="connsiteX280" fmla="*/ 428149 w 860393"/>
                <a:gd name="connsiteY280" fmla="*/ 188500 h 1348549"/>
                <a:gd name="connsiteX281" fmla="*/ 424244 w 860393"/>
                <a:gd name="connsiteY281" fmla="*/ 182594 h 1348549"/>
                <a:gd name="connsiteX282" fmla="*/ 431959 w 860393"/>
                <a:gd name="connsiteY282" fmla="*/ 180022 h 1348549"/>
                <a:gd name="connsiteX283" fmla="*/ 429768 w 860393"/>
                <a:gd name="connsiteY283" fmla="*/ 175450 h 1348549"/>
                <a:gd name="connsiteX284" fmla="*/ 430339 w 860393"/>
                <a:gd name="connsiteY284" fmla="*/ 167354 h 1348549"/>
                <a:gd name="connsiteX285" fmla="*/ 435197 w 860393"/>
                <a:gd name="connsiteY285" fmla="*/ 155543 h 1348549"/>
                <a:gd name="connsiteX286" fmla="*/ 429673 w 860393"/>
                <a:gd name="connsiteY286" fmla="*/ 149828 h 1348549"/>
                <a:gd name="connsiteX287" fmla="*/ 426530 w 860393"/>
                <a:gd name="connsiteY287" fmla="*/ 150209 h 1348549"/>
                <a:gd name="connsiteX288" fmla="*/ 423196 w 860393"/>
                <a:gd name="connsiteY288" fmla="*/ 149066 h 1348549"/>
                <a:gd name="connsiteX289" fmla="*/ 425101 w 860393"/>
                <a:gd name="connsiteY289" fmla="*/ 139160 h 1348549"/>
                <a:gd name="connsiteX290" fmla="*/ 430054 w 860393"/>
                <a:gd name="connsiteY290" fmla="*/ 140113 h 1348549"/>
                <a:gd name="connsiteX291" fmla="*/ 432625 w 860393"/>
                <a:gd name="connsiteY291" fmla="*/ 135064 h 1348549"/>
                <a:gd name="connsiteX292" fmla="*/ 430435 w 860393"/>
                <a:gd name="connsiteY292" fmla="*/ 130492 h 1348549"/>
                <a:gd name="connsiteX293" fmla="*/ 414814 w 860393"/>
                <a:gd name="connsiteY293" fmla="*/ 134112 h 1348549"/>
                <a:gd name="connsiteX294" fmla="*/ 406146 w 860393"/>
                <a:gd name="connsiteY294" fmla="*/ 141637 h 1348549"/>
                <a:gd name="connsiteX295" fmla="*/ 398336 w 860393"/>
                <a:gd name="connsiteY295" fmla="*/ 142589 h 1348549"/>
                <a:gd name="connsiteX296" fmla="*/ 389001 w 860393"/>
                <a:gd name="connsiteY296" fmla="*/ 145351 h 1348549"/>
                <a:gd name="connsiteX297" fmla="*/ 378714 w 860393"/>
                <a:gd name="connsiteY297" fmla="*/ 140303 h 1348549"/>
                <a:gd name="connsiteX298" fmla="*/ 371665 w 860393"/>
                <a:gd name="connsiteY298" fmla="*/ 134779 h 1348549"/>
                <a:gd name="connsiteX299" fmla="*/ 359759 w 860393"/>
                <a:gd name="connsiteY299" fmla="*/ 129826 h 1348549"/>
                <a:gd name="connsiteX300" fmla="*/ 357378 w 860393"/>
                <a:gd name="connsiteY300" fmla="*/ 123730 h 1348549"/>
                <a:gd name="connsiteX301" fmla="*/ 350330 w 860393"/>
                <a:gd name="connsiteY301" fmla="*/ 118205 h 1348549"/>
                <a:gd name="connsiteX302" fmla="*/ 343376 w 860393"/>
                <a:gd name="connsiteY302" fmla="*/ 114300 h 1348549"/>
                <a:gd name="connsiteX303" fmla="*/ 335471 w 860393"/>
                <a:gd name="connsiteY303" fmla="*/ 102489 h 1348549"/>
                <a:gd name="connsiteX304" fmla="*/ 326136 w 860393"/>
                <a:gd name="connsiteY304" fmla="*/ 92488 h 1348549"/>
                <a:gd name="connsiteX305" fmla="*/ 324517 w 860393"/>
                <a:gd name="connsiteY305" fmla="*/ 79819 h 1348549"/>
                <a:gd name="connsiteX306" fmla="*/ 328041 w 860393"/>
                <a:gd name="connsiteY306" fmla="*/ 69723 h 1348549"/>
                <a:gd name="connsiteX307" fmla="*/ 321183 w 860393"/>
                <a:gd name="connsiteY307" fmla="*/ 65818 h 1348549"/>
                <a:gd name="connsiteX308" fmla="*/ 314611 w 860393"/>
                <a:gd name="connsiteY308" fmla="*/ 65056 h 1348549"/>
                <a:gd name="connsiteX309" fmla="*/ 310324 w 860393"/>
                <a:gd name="connsiteY309" fmla="*/ 68770 h 1348549"/>
                <a:gd name="connsiteX310" fmla="*/ 299466 w 860393"/>
                <a:gd name="connsiteY310" fmla="*/ 71818 h 1348549"/>
                <a:gd name="connsiteX311" fmla="*/ 295084 w 860393"/>
                <a:gd name="connsiteY311" fmla="*/ 75533 h 1348549"/>
                <a:gd name="connsiteX312" fmla="*/ 293370 w 860393"/>
                <a:gd name="connsiteY312" fmla="*/ 74200 h 1348549"/>
                <a:gd name="connsiteX313" fmla="*/ 285464 w 860393"/>
                <a:gd name="connsiteY313" fmla="*/ 75152 h 1348549"/>
                <a:gd name="connsiteX314" fmla="*/ 272224 w 860393"/>
                <a:gd name="connsiteY314" fmla="*/ 59245 h 1348549"/>
                <a:gd name="connsiteX315" fmla="*/ 264319 w 860393"/>
                <a:gd name="connsiteY315" fmla="*/ 60198 h 1348549"/>
                <a:gd name="connsiteX316" fmla="*/ 262699 w 860393"/>
                <a:gd name="connsiteY316" fmla="*/ 47625 h 1348549"/>
                <a:gd name="connsiteX317" fmla="*/ 257746 w 860393"/>
                <a:gd name="connsiteY317" fmla="*/ 46672 h 1348549"/>
                <a:gd name="connsiteX318" fmla="*/ 245173 w 860393"/>
                <a:gd name="connsiteY318" fmla="*/ 48292 h 1348549"/>
                <a:gd name="connsiteX319" fmla="*/ 243935 w 860393"/>
                <a:gd name="connsiteY319" fmla="*/ 51625 h 1348549"/>
                <a:gd name="connsiteX320" fmla="*/ 222409 w 860393"/>
                <a:gd name="connsiteY320" fmla="*/ 46291 h 1348549"/>
                <a:gd name="connsiteX321" fmla="*/ 211550 w 860393"/>
                <a:gd name="connsiteY321" fmla="*/ 36481 h 1348549"/>
                <a:gd name="connsiteX322" fmla="*/ 206883 w 860393"/>
                <a:gd name="connsiteY322" fmla="*/ 37052 h 1348549"/>
                <a:gd name="connsiteX323" fmla="*/ 202692 w 860393"/>
                <a:gd name="connsiteY323" fmla="*/ 29623 h 1348549"/>
                <a:gd name="connsiteX324" fmla="*/ 199549 w 860393"/>
                <a:gd name="connsiteY324" fmla="*/ 30004 h 1348549"/>
                <a:gd name="connsiteX325" fmla="*/ 195167 w 860393"/>
                <a:gd name="connsiteY325" fmla="*/ 33814 h 1348549"/>
                <a:gd name="connsiteX326" fmla="*/ 189452 w 860393"/>
                <a:gd name="connsiteY326" fmla="*/ 26479 h 1348549"/>
                <a:gd name="connsiteX327" fmla="*/ 184309 w 860393"/>
                <a:gd name="connsiteY327" fmla="*/ 23908 h 1348549"/>
                <a:gd name="connsiteX328" fmla="*/ 175831 w 860393"/>
                <a:gd name="connsiteY328" fmla="*/ 33052 h 1348549"/>
                <a:gd name="connsiteX329" fmla="*/ 167926 w 860393"/>
                <a:gd name="connsiteY329" fmla="*/ 34004 h 1348549"/>
                <a:gd name="connsiteX330" fmla="*/ 165735 w 860393"/>
                <a:gd name="connsiteY330" fmla="*/ 29527 h 1348549"/>
                <a:gd name="connsiteX331" fmla="*/ 151543 w 860393"/>
                <a:gd name="connsiteY331" fmla="*/ 18478 h 1348549"/>
                <a:gd name="connsiteX332" fmla="*/ 134588 w 860393"/>
                <a:gd name="connsiteY332" fmla="*/ 11049 h 1348549"/>
                <a:gd name="connsiteX333" fmla="*/ 120301 w 860393"/>
                <a:gd name="connsiteY333" fmla="*/ 0 h 1348549"/>
                <a:gd name="connsiteX334" fmla="*/ 118967 w 860393"/>
                <a:gd name="connsiteY334" fmla="*/ 1810 h 1348549"/>
                <a:gd name="connsiteX335" fmla="*/ 115538 w 860393"/>
                <a:gd name="connsiteY335" fmla="*/ 571 h 1348549"/>
                <a:gd name="connsiteX336" fmla="*/ 111633 w 860393"/>
                <a:gd name="connsiteY336" fmla="*/ 7525 h 1348549"/>
                <a:gd name="connsiteX337" fmla="*/ 106680 w 860393"/>
                <a:gd name="connsiteY337" fmla="*/ 6572 h 1348549"/>
                <a:gd name="connsiteX338" fmla="*/ 103727 w 860393"/>
                <a:gd name="connsiteY338" fmla="*/ 8572 h 1348549"/>
                <a:gd name="connsiteX339" fmla="*/ 102965 w 860393"/>
                <a:gd name="connsiteY339" fmla="*/ 15049 h 1348549"/>
                <a:gd name="connsiteX340" fmla="*/ 98679 w 860393"/>
                <a:gd name="connsiteY340" fmla="*/ 18764 h 1348549"/>
                <a:gd name="connsiteX341" fmla="*/ 99441 w 860393"/>
                <a:gd name="connsiteY341" fmla="*/ 25146 h 1348549"/>
                <a:gd name="connsiteX342" fmla="*/ 95536 w 860393"/>
                <a:gd name="connsiteY342" fmla="*/ 32004 h 1348549"/>
                <a:gd name="connsiteX343" fmla="*/ 96298 w 860393"/>
                <a:gd name="connsiteY343" fmla="*/ 38290 h 1348549"/>
                <a:gd name="connsiteX344" fmla="*/ 90678 w 860393"/>
                <a:gd name="connsiteY344" fmla="*/ 43910 h 1348549"/>
                <a:gd name="connsiteX345" fmla="*/ 89630 w 860393"/>
                <a:gd name="connsiteY345" fmla="*/ 48768 h 1348549"/>
                <a:gd name="connsiteX346" fmla="*/ 92773 w 860393"/>
                <a:gd name="connsiteY346" fmla="*/ 48387 h 1348549"/>
                <a:gd name="connsiteX347" fmla="*/ 100108 w 860393"/>
                <a:gd name="connsiteY347" fmla="*/ 55531 h 1348549"/>
                <a:gd name="connsiteX348" fmla="*/ 107061 w 860393"/>
                <a:gd name="connsiteY348" fmla="*/ 59436 h 1348549"/>
                <a:gd name="connsiteX349" fmla="*/ 112204 w 860393"/>
                <a:gd name="connsiteY349" fmla="*/ 62008 h 1348549"/>
                <a:gd name="connsiteX350" fmla="*/ 116300 w 860393"/>
                <a:gd name="connsiteY350" fmla="*/ 69437 h 1348549"/>
                <a:gd name="connsiteX351" fmla="*/ 122491 w 860393"/>
                <a:gd name="connsiteY351" fmla="*/ 67056 h 1348549"/>
                <a:gd name="connsiteX352" fmla="*/ 124396 w 860393"/>
                <a:gd name="connsiteY352" fmla="*/ 70009 h 1348549"/>
                <a:gd name="connsiteX353" fmla="*/ 124873 w 860393"/>
                <a:gd name="connsiteY353" fmla="*/ 73152 h 1348549"/>
                <a:gd name="connsiteX354" fmla="*/ 127063 w 860393"/>
                <a:gd name="connsiteY354" fmla="*/ 77724 h 1348549"/>
                <a:gd name="connsiteX355" fmla="*/ 130397 w 860393"/>
                <a:gd name="connsiteY355" fmla="*/ 91726 h 1348549"/>
                <a:gd name="connsiteX356" fmla="*/ 128016 w 860393"/>
                <a:gd name="connsiteY356" fmla="*/ 98488 h 1348549"/>
                <a:gd name="connsiteX357" fmla="*/ 136588 w 860393"/>
                <a:gd name="connsiteY357" fmla="*/ 114967 h 1348549"/>
                <a:gd name="connsiteX358" fmla="*/ 143923 w 860393"/>
                <a:gd name="connsiteY358" fmla="*/ 122111 h 1348549"/>
                <a:gd name="connsiteX359" fmla="*/ 145256 w 860393"/>
                <a:gd name="connsiteY359" fmla="*/ 133159 h 1348549"/>
                <a:gd name="connsiteX360" fmla="*/ 142589 w 860393"/>
                <a:gd name="connsiteY360" fmla="*/ 136684 h 1348549"/>
                <a:gd name="connsiteX361" fmla="*/ 147066 w 860393"/>
                <a:gd name="connsiteY361" fmla="*/ 147352 h 1348549"/>
                <a:gd name="connsiteX362" fmla="*/ 156210 w 860393"/>
                <a:gd name="connsiteY362" fmla="*/ 155829 h 1348549"/>
                <a:gd name="connsiteX363" fmla="*/ 161163 w 860393"/>
                <a:gd name="connsiteY363" fmla="*/ 156781 h 1348549"/>
                <a:gd name="connsiteX364" fmla="*/ 164116 w 860393"/>
                <a:gd name="connsiteY364" fmla="*/ 154781 h 1348549"/>
                <a:gd name="connsiteX365" fmla="*/ 167259 w 860393"/>
                <a:gd name="connsiteY365" fmla="*/ 154400 h 1348549"/>
                <a:gd name="connsiteX366" fmla="*/ 169640 w 860393"/>
                <a:gd name="connsiteY366" fmla="*/ 160496 h 1348549"/>
                <a:gd name="connsiteX367" fmla="*/ 186595 w 860393"/>
                <a:gd name="connsiteY367" fmla="*/ 167926 h 1348549"/>
                <a:gd name="connsiteX368" fmla="*/ 189547 w 860393"/>
                <a:gd name="connsiteY368" fmla="*/ 166021 h 1348549"/>
                <a:gd name="connsiteX369" fmla="*/ 191357 w 860393"/>
                <a:gd name="connsiteY369" fmla="*/ 167354 h 1348549"/>
                <a:gd name="connsiteX370" fmla="*/ 192214 w 860393"/>
                <a:gd name="connsiteY370" fmla="*/ 173641 h 1348549"/>
                <a:gd name="connsiteX371" fmla="*/ 195739 w 860393"/>
                <a:gd name="connsiteY371" fmla="*/ 176403 h 1348549"/>
                <a:gd name="connsiteX372" fmla="*/ 204406 w 860393"/>
                <a:gd name="connsiteY372" fmla="*/ 194596 h 1348549"/>
                <a:gd name="connsiteX373" fmla="*/ 202882 w 860393"/>
                <a:gd name="connsiteY373" fmla="*/ 207550 h 1348549"/>
                <a:gd name="connsiteX374" fmla="*/ 198977 w 860393"/>
                <a:gd name="connsiteY374" fmla="*/ 214503 h 1348549"/>
                <a:gd name="connsiteX375" fmla="*/ 193072 w 860393"/>
                <a:gd name="connsiteY375" fmla="*/ 218503 h 1348549"/>
                <a:gd name="connsiteX376" fmla="*/ 191929 w 860393"/>
                <a:gd name="connsiteY376" fmla="*/ 221837 h 1348549"/>
                <a:gd name="connsiteX377" fmla="*/ 199168 w 860393"/>
                <a:gd name="connsiteY377" fmla="*/ 228886 h 1348549"/>
                <a:gd name="connsiteX378" fmla="*/ 198596 w 860393"/>
                <a:gd name="connsiteY378" fmla="*/ 236982 h 1348549"/>
                <a:gd name="connsiteX379" fmla="*/ 211455 w 860393"/>
                <a:gd name="connsiteY379" fmla="*/ 249745 h 1348549"/>
                <a:gd name="connsiteX380" fmla="*/ 207169 w 860393"/>
                <a:gd name="connsiteY380" fmla="*/ 253555 h 1348549"/>
                <a:gd name="connsiteX381" fmla="*/ 203454 w 860393"/>
                <a:gd name="connsiteY381" fmla="*/ 262033 h 1348549"/>
                <a:gd name="connsiteX382" fmla="*/ 192596 w 860393"/>
                <a:gd name="connsiteY382" fmla="*/ 265081 h 1348549"/>
                <a:gd name="connsiteX383" fmla="*/ 190976 w 860393"/>
                <a:gd name="connsiteY383" fmla="*/ 265271 h 1348549"/>
                <a:gd name="connsiteX384" fmla="*/ 186214 w 860393"/>
                <a:gd name="connsiteY384" fmla="*/ 252984 h 1348549"/>
                <a:gd name="connsiteX385" fmla="*/ 180499 w 860393"/>
                <a:gd name="connsiteY385" fmla="*/ 245745 h 1348549"/>
                <a:gd name="connsiteX386" fmla="*/ 179261 w 860393"/>
                <a:gd name="connsiteY386" fmla="*/ 236220 h 1348549"/>
                <a:gd name="connsiteX387" fmla="*/ 174117 w 860393"/>
                <a:gd name="connsiteY387" fmla="*/ 233743 h 1348549"/>
                <a:gd name="connsiteX388" fmla="*/ 165449 w 860393"/>
                <a:gd name="connsiteY388" fmla="*/ 241173 h 1348549"/>
                <a:gd name="connsiteX389" fmla="*/ 166116 w 860393"/>
                <a:gd name="connsiteY389" fmla="*/ 245936 h 1348549"/>
                <a:gd name="connsiteX390" fmla="*/ 168116 w 860393"/>
                <a:gd name="connsiteY390" fmla="*/ 248888 h 1348549"/>
                <a:gd name="connsiteX391" fmla="*/ 163925 w 860393"/>
                <a:gd name="connsiteY391" fmla="*/ 254222 h 1348549"/>
                <a:gd name="connsiteX392" fmla="*/ 162782 w 860393"/>
                <a:gd name="connsiteY392" fmla="*/ 257556 h 1348549"/>
                <a:gd name="connsiteX393" fmla="*/ 158210 w 860393"/>
                <a:gd name="connsiteY393" fmla="*/ 259747 h 1348549"/>
                <a:gd name="connsiteX394" fmla="*/ 154686 w 860393"/>
                <a:gd name="connsiteY394" fmla="*/ 256984 h 1348549"/>
                <a:gd name="connsiteX395" fmla="*/ 142018 w 860393"/>
                <a:gd name="connsiteY395" fmla="*/ 258604 h 1348549"/>
                <a:gd name="connsiteX396" fmla="*/ 140113 w 860393"/>
                <a:gd name="connsiteY396" fmla="*/ 255651 h 1348549"/>
                <a:gd name="connsiteX397" fmla="*/ 135160 w 860393"/>
                <a:gd name="connsiteY397" fmla="*/ 254698 h 1348549"/>
                <a:gd name="connsiteX398" fmla="*/ 122872 w 860393"/>
                <a:gd name="connsiteY398" fmla="*/ 259461 h 1348549"/>
                <a:gd name="connsiteX399" fmla="*/ 121920 w 860393"/>
                <a:gd name="connsiteY399" fmla="*/ 264414 h 1348549"/>
                <a:gd name="connsiteX400" fmla="*/ 115824 w 860393"/>
                <a:gd name="connsiteY400" fmla="*/ 266795 h 1348549"/>
                <a:gd name="connsiteX401" fmla="*/ 111728 w 860393"/>
                <a:gd name="connsiteY401" fmla="*/ 272129 h 1348549"/>
                <a:gd name="connsiteX402" fmla="*/ 112871 w 860393"/>
                <a:gd name="connsiteY402" fmla="*/ 281559 h 1348549"/>
                <a:gd name="connsiteX403" fmla="*/ 111919 w 860393"/>
                <a:gd name="connsiteY403" fmla="*/ 286512 h 1348549"/>
                <a:gd name="connsiteX404" fmla="*/ 105823 w 860393"/>
                <a:gd name="connsiteY404" fmla="*/ 288893 h 1348549"/>
                <a:gd name="connsiteX405" fmla="*/ 99250 w 860393"/>
                <a:gd name="connsiteY405" fmla="*/ 288131 h 1348549"/>
                <a:gd name="connsiteX406" fmla="*/ 98488 w 860393"/>
                <a:gd name="connsiteY406" fmla="*/ 294608 h 1348549"/>
                <a:gd name="connsiteX407" fmla="*/ 100679 w 860393"/>
                <a:gd name="connsiteY407" fmla="*/ 299180 h 1348549"/>
                <a:gd name="connsiteX408" fmla="*/ 99727 w 860393"/>
                <a:gd name="connsiteY408" fmla="*/ 304133 h 1348549"/>
                <a:gd name="connsiteX409" fmla="*/ 100774 w 860393"/>
                <a:gd name="connsiteY409" fmla="*/ 312039 h 1348549"/>
                <a:gd name="connsiteX410" fmla="*/ 98203 w 860393"/>
                <a:gd name="connsiteY410" fmla="*/ 317182 h 1348549"/>
                <a:gd name="connsiteX411" fmla="*/ 90869 w 860393"/>
                <a:gd name="connsiteY411" fmla="*/ 322897 h 1348549"/>
                <a:gd name="connsiteX412" fmla="*/ 90106 w 860393"/>
                <a:gd name="connsiteY412" fmla="*/ 329374 h 1348549"/>
                <a:gd name="connsiteX413" fmla="*/ 86392 w 860393"/>
                <a:gd name="connsiteY413" fmla="*/ 337947 h 1348549"/>
                <a:gd name="connsiteX414" fmla="*/ 85820 w 860393"/>
                <a:gd name="connsiteY414" fmla="*/ 345948 h 1348549"/>
                <a:gd name="connsiteX415" fmla="*/ 83058 w 860393"/>
                <a:gd name="connsiteY415" fmla="*/ 349567 h 1348549"/>
                <a:gd name="connsiteX416" fmla="*/ 81153 w 860393"/>
                <a:gd name="connsiteY416" fmla="*/ 359378 h 1348549"/>
                <a:gd name="connsiteX417" fmla="*/ 81915 w 860393"/>
                <a:gd name="connsiteY417" fmla="*/ 365760 h 1348549"/>
                <a:gd name="connsiteX418" fmla="*/ 79534 w 860393"/>
                <a:gd name="connsiteY418" fmla="*/ 372428 h 1348549"/>
                <a:gd name="connsiteX419" fmla="*/ 78010 w 860393"/>
                <a:gd name="connsiteY419" fmla="*/ 372618 h 1348549"/>
                <a:gd name="connsiteX420" fmla="*/ 77343 w 860393"/>
                <a:gd name="connsiteY420" fmla="*/ 367951 h 1348549"/>
                <a:gd name="connsiteX421" fmla="*/ 74200 w 860393"/>
                <a:gd name="connsiteY421" fmla="*/ 368332 h 1348549"/>
                <a:gd name="connsiteX422" fmla="*/ 76009 w 860393"/>
                <a:gd name="connsiteY422" fmla="*/ 382524 h 1348549"/>
                <a:gd name="connsiteX423" fmla="*/ 70295 w 860393"/>
                <a:gd name="connsiteY423" fmla="*/ 388048 h 1348549"/>
                <a:gd name="connsiteX424" fmla="*/ 62484 w 860393"/>
                <a:gd name="connsiteY424" fmla="*/ 389096 h 1348549"/>
                <a:gd name="connsiteX425" fmla="*/ 61055 w 860393"/>
                <a:gd name="connsiteY425" fmla="*/ 390811 h 1348549"/>
                <a:gd name="connsiteX426" fmla="*/ 63055 w 860393"/>
                <a:gd name="connsiteY426" fmla="*/ 393763 h 1348549"/>
                <a:gd name="connsiteX427" fmla="*/ 69628 w 860393"/>
                <a:gd name="connsiteY427" fmla="*/ 407384 h 1348549"/>
                <a:gd name="connsiteX428" fmla="*/ 70390 w 860393"/>
                <a:gd name="connsiteY428" fmla="*/ 413671 h 1348549"/>
                <a:gd name="connsiteX429" fmla="*/ 74200 w 860393"/>
                <a:gd name="connsiteY429" fmla="*/ 418052 h 1348549"/>
                <a:gd name="connsiteX430" fmla="*/ 66865 w 860393"/>
                <a:gd name="connsiteY430" fmla="*/ 423767 h 1348549"/>
                <a:gd name="connsiteX431" fmla="*/ 60007 w 860393"/>
                <a:gd name="connsiteY431" fmla="*/ 432625 h 1348549"/>
                <a:gd name="connsiteX432" fmla="*/ 57436 w 860393"/>
                <a:gd name="connsiteY432" fmla="*/ 437769 h 1348549"/>
                <a:gd name="connsiteX433" fmla="*/ 68294 w 860393"/>
                <a:gd name="connsiteY433" fmla="*/ 447675 h 1348549"/>
                <a:gd name="connsiteX434" fmla="*/ 64389 w 860393"/>
                <a:gd name="connsiteY434" fmla="*/ 454533 h 1348549"/>
                <a:gd name="connsiteX435" fmla="*/ 72104 w 860393"/>
                <a:gd name="connsiteY435" fmla="*/ 464820 h 1348549"/>
                <a:gd name="connsiteX436" fmla="*/ 66199 w 860393"/>
                <a:gd name="connsiteY436" fmla="*/ 468725 h 1348549"/>
                <a:gd name="connsiteX437" fmla="*/ 65246 w 860393"/>
                <a:gd name="connsiteY437" fmla="*/ 473678 h 1348549"/>
                <a:gd name="connsiteX438" fmla="*/ 65627 w 860393"/>
                <a:gd name="connsiteY438" fmla="*/ 476821 h 1348549"/>
                <a:gd name="connsiteX439" fmla="*/ 64389 w 860393"/>
                <a:gd name="connsiteY439" fmla="*/ 480250 h 1348549"/>
                <a:gd name="connsiteX440" fmla="*/ 56579 w 860393"/>
                <a:gd name="connsiteY440" fmla="*/ 481203 h 1348549"/>
                <a:gd name="connsiteX441" fmla="*/ 55340 w 860393"/>
                <a:gd name="connsiteY441" fmla="*/ 484537 h 1348549"/>
                <a:gd name="connsiteX442" fmla="*/ 46291 w 860393"/>
                <a:gd name="connsiteY442" fmla="*/ 488918 h 1348549"/>
                <a:gd name="connsiteX443" fmla="*/ 43910 w 860393"/>
                <a:gd name="connsiteY443" fmla="*/ 495681 h 1348549"/>
                <a:gd name="connsiteX444" fmla="*/ 39053 w 860393"/>
                <a:gd name="connsiteY444" fmla="*/ 494728 h 1348549"/>
                <a:gd name="connsiteX445" fmla="*/ 37814 w 860393"/>
                <a:gd name="connsiteY445" fmla="*/ 498062 h 1348549"/>
                <a:gd name="connsiteX446" fmla="*/ 38671 w 860393"/>
                <a:gd name="connsiteY446" fmla="*/ 504349 h 1348549"/>
                <a:gd name="connsiteX447" fmla="*/ 37433 w 860393"/>
                <a:gd name="connsiteY447" fmla="*/ 507682 h 1348549"/>
                <a:gd name="connsiteX448" fmla="*/ 33147 w 860393"/>
                <a:gd name="connsiteY448" fmla="*/ 511492 h 1348549"/>
                <a:gd name="connsiteX449" fmla="*/ 29242 w 860393"/>
                <a:gd name="connsiteY449" fmla="*/ 518350 h 1348549"/>
                <a:gd name="connsiteX450" fmla="*/ 29432 w 860393"/>
                <a:gd name="connsiteY450" fmla="*/ 519970 h 1348549"/>
                <a:gd name="connsiteX451" fmla="*/ 24860 w 860393"/>
                <a:gd name="connsiteY451" fmla="*/ 522160 h 1348549"/>
                <a:gd name="connsiteX452" fmla="*/ 19145 w 860393"/>
                <a:gd name="connsiteY452" fmla="*/ 514826 h 1348549"/>
                <a:gd name="connsiteX453" fmla="*/ 6096 w 860393"/>
                <a:gd name="connsiteY453" fmla="*/ 513302 h 1348549"/>
                <a:gd name="connsiteX454" fmla="*/ 0 w 860393"/>
                <a:gd name="connsiteY454" fmla="*/ 515684 h 1348549"/>
                <a:gd name="connsiteX455" fmla="*/ 3810 w 860393"/>
                <a:gd name="connsiteY455" fmla="*/ 532829 h 1348549"/>
                <a:gd name="connsiteX456" fmla="*/ 9144 w 860393"/>
                <a:gd name="connsiteY456" fmla="*/ 537019 h 1348549"/>
                <a:gd name="connsiteX457" fmla="*/ 13049 w 860393"/>
                <a:gd name="connsiteY457" fmla="*/ 542925 h 1348549"/>
                <a:gd name="connsiteX458" fmla="*/ 12097 w 860393"/>
                <a:gd name="connsiteY458" fmla="*/ 547783 h 1348549"/>
                <a:gd name="connsiteX459" fmla="*/ 17621 w 860393"/>
                <a:gd name="connsiteY459" fmla="*/ 553498 h 1348549"/>
                <a:gd name="connsiteX460" fmla="*/ 15526 w 860393"/>
                <a:gd name="connsiteY460" fmla="*/ 561784 h 1348549"/>
                <a:gd name="connsiteX461" fmla="*/ 15145 w 860393"/>
                <a:gd name="connsiteY461" fmla="*/ 571500 h 1348549"/>
                <a:gd name="connsiteX462" fmla="*/ 15716 w 860393"/>
                <a:gd name="connsiteY462" fmla="*/ 576263 h 1348549"/>
                <a:gd name="connsiteX463" fmla="*/ 20860 w 860393"/>
                <a:gd name="connsiteY463" fmla="*/ 578834 h 1348549"/>
                <a:gd name="connsiteX464" fmla="*/ 22288 w 860393"/>
                <a:gd name="connsiteY464" fmla="*/ 589788 h 1348549"/>
                <a:gd name="connsiteX465" fmla="*/ 29146 w 860393"/>
                <a:gd name="connsiteY465" fmla="*/ 593788 h 1348549"/>
                <a:gd name="connsiteX466" fmla="*/ 25432 w 860393"/>
                <a:gd name="connsiteY466" fmla="*/ 602266 h 1348549"/>
                <a:gd name="connsiteX467" fmla="*/ 33909 w 860393"/>
                <a:gd name="connsiteY467" fmla="*/ 605980 h 1348549"/>
                <a:gd name="connsiteX468" fmla="*/ 31432 w 860393"/>
                <a:gd name="connsiteY468" fmla="*/ 611124 h 1348549"/>
                <a:gd name="connsiteX469" fmla="*/ 33623 w 860393"/>
                <a:gd name="connsiteY469" fmla="*/ 615696 h 1348549"/>
                <a:gd name="connsiteX470" fmla="*/ 31051 w 860393"/>
                <a:gd name="connsiteY470" fmla="*/ 620744 h 1348549"/>
                <a:gd name="connsiteX471" fmla="*/ 31813 w 860393"/>
                <a:gd name="connsiteY471" fmla="*/ 627126 h 1348549"/>
                <a:gd name="connsiteX472" fmla="*/ 33814 w 860393"/>
                <a:gd name="connsiteY472" fmla="*/ 630079 h 1348549"/>
                <a:gd name="connsiteX473" fmla="*/ 29908 w 860393"/>
                <a:gd name="connsiteY473" fmla="*/ 636937 h 1348549"/>
                <a:gd name="connsiteX474" fmla="*/ 36195 w 860393"/>
                <a:gd name="connsiteY474" fmla="*/ 649034 h 1348549"/>
                <a:gd name="connsiteX475" fmla="*/ 37243 w 860393"/>
                <a:gd name="connsiteY475" fmla="*/ 656844 h 1348549"/>
                <a:gd name="connsiteX476" fmla="*/ 43910 w 860393"/>
                <a:gd name="connsiteY476" fmla="*/ 659225 h 1348549"/>
                <a:gd name="connsiteX477" fmla="*/ 40957 w 860393"/>
                <a:gd name="connsiteY477" fmla="*/ 661226 h 1348549"/>
                <a:gd name="connsiteX478" fmla="*/ 42767 w 860393"/>
                <a:gd name="connsiteY478" fmla="*/ 662559 h 1348549"/>
                <a:gd name="connsiteX479" fmla="*/ 33909 w 860393"/>
                <a:gd name="connsiteY479" fmla="*/ 668560 h 1348549"/>
                <a:gd name="connsiteX480" fmla="*/ 30766 w 860393"/>
                <a:gd name="connsiteY480" fmla="*/ 668941 h 1348549"/>
                <a:gd name="connsiteX481" fmla="*/ 24860 w 860393"/>
                <a:gd name="connsiteY481" fmla="*/ 672941 h 1348549"/>
                <a:gd name="connsiteX482" fmla="*/ 22098 w 860393"/>
                <a:gd name="connsiteY482" fmla="*/ 676465 h 1348549"/>
                <a:gd name="connsiteX483" fmla="*/ 22098 w 860393"/>
                <a:gd name="connsiteY483" fmla="*/ 689324 h 1348549"/>
                <a:gd name="connsiteX484" fmla="*/ 21336 w 860393"/>
                <a:gd name="connsiteY484" fmla="*/ 695801 h 1348549"/>
                <a:gd name="connsiteX485" fmla="*/ 24860 w 860393"/>
                <a:gd name="connsiteY485" fmla="*/ 698563 h 1348549"/>
                <a:gd name="connsiteX486" fmla="*/ 20955 w 860393"/>
                <a:gd name="connsiteY486" fmla="*/ 705422 h 1348549"/>
                <a:gd name="connsiteX487" fmla="*/ 23527 w 860393"/>
                <a:gd name="connsiteY487" fmla="*/ 713137 h 1348549"/>
                <a:gd name="connsiteX488" fmla="*/ 28480 w 860393"/>
                <a:gd name="connsiteY488" fmla="*/ 714089 h 1348549"/>
                <a:gd name="connsiteX489" fmla="*/ 28670 w 860393"/>
                <a:gd name="connsiteY489" fmla="*/ 715709 h 1348549"/>
                <a:gd name="connsiteX490" fmla="*/ 32290 w 860393"/>
                <a:gd name="connsiteY490" fmla="*/ 718471 h 1348549"/>
                <a:gd name="connsiteX491" fmla="*/ 34195 w 860393"/>
                <a:gd name="connsiteY491" fmla="*/ 721423 h 1348549"/>
                <a:gd name="connsiteX492" fmla="*/ 39338 w 860393"/>
                <a:gd name="connsiteY492" fmla="*/ 723995 h 1348549"/>
                <a:gd name="connsiteX493" fmla="*/ 36576 w 860393"/>
                <a:gd name="connsiteY493" fmla="*/ 727519 h 1348549"/>
                <a:gd name="connsiteX494" fmla="*/ 38957 w 860393"/>
                <a:gd name="connsiteY494" fmla="*/ 733615 h 1348549"/>
                <a:gd name="connsiteX495" fmla="*/ 36671 w 860393"/>
                <a:gd name="connsiteY495" fmla="*/ 740378 h 1348549"/>
                <a:gd name="connsiteX496" fmla="*/ 44767 w 860393"/>
                <a:gd name="connsiteY496" fmla="*/ 753713 h 1348549"/>
                <a:gd name="connsiteX497" fmla="*/ 56483 w 860393"/>
                <a:gd name="connsiteY497" fmla="*/ 769906 h 1348549"/>
                <a:gd name="connsiteX498" fmla="*/ 61817 w 860393"/>
                <a:gd name="connsiteY498" fmla="*/ 774001 h 1348549"/>
                <a:gd name="connsiteX499" fmla="*/ 66675 w 860393"/>
                <a:gd name="connsiteY499" fmla="*/ 775049 h 1348549"/>
                <a:gd name="connsiteX500" fmla="*/ 70675 w 860393"/>
                <a:gd name="connsiteY500" fmla="*/ 780955 h 1348549"/>
                <a:gd name="connsiteX501" fmla="*/ 67723 w 860393"/>
                <a:gd name="connsiteY501" fmla="*/ 782860 h 1348549"/>
                <a:gd name="connsiteX502" fmla="*/ 68104 w 860393"/>
                <a:gd name="connsiteY502" fmla="*/ 786098 h 1348549"/>
                <a:gd name="connsiteX503" fmla="*/ 68294 w 860393"/>
                <a:gd name="connsiteY503" fmla="*/ 787622 h 1348549"/>
                <a:gd name="connsiteX504" fmla="*/ 63817 w 860393"/>
                <a:gd name="connsiteY504" fmla="*/ 789813 h 1348549"/>
                <a:gd name="connsiteX505" fmla="*/ 64008 w 860393"/>
                <a:gd name="connsiteY505" fmla="*/ 791432 h 1348549"/>
                <a:gd name="connsiteX506" fmla="*/ 73247 w 860393"/>
                <a:gd name="connsiteY506" fmla="*/ 801434 h 1348549"/>
                <a:gd name="connsiteX507" fmla="*/ 78391 w 860393"/>
                <a:gd name="connsiteY507" fmla="*/ 804005 h 1348549"/>
                <a:gd name="connsiteX508" fmla="*/ 74676 w 860393"/>
                <a:gd name="connsiteY508" fmla="*/ 812483 h 1348549"/>
                <a:gd name="connsiteX509" fmla="*/ 71533 w 860393"/>
                <a:gd name="connsiteY509" fmla="*/ 812863 h 1348549"/>
                <a:gd name="connsiteX510" fmla="*/ 67628 w 860393"/>
                <a:gd name="connsiteY510" fmla="*/ 819817 h 1348549"/>
                <a:gd name="connsiteX511" fmla="*/ 63246 w 860393"/>
                <a:gd name="connsiteY511" fmla="*/ 823531 h 1348549"/>
                <a:gd name="connsiteX512" fmla="*/ 65437 w 860393"/>
                <a:gd name="connsiteY512" fmla="*/ 828104 h 1348549"/>
                <a:gd name="connsiteX513" fmla="*/ 68580 w 860393"/>
                <a:gd name="connsiteY513" fmla="*/ 827722 h 1348549"/>
                <a:gd name="connsiteX514" fmla="*/ 73342 w 860393"/>
                <a:gd name="connsiteY514" fmla="*/ 827056 h 1348549"/>
                <a:gd name="connsiteX515" fmla="*/ 74295 w 860393"/>
                <a:gd name="connsiteY515" fmla="*/ 822198 h 1348549"/>
                <a:gd name="connsiteX516" fmla="*/ 79057 w 860393"/>
                <a:gd name="connsiteY516" fmla="*/ 821531 h 1348549"/>
                <a:gd name="connsiteX517" fmla="*/ 79629 w 860393"/>
                <a:gd name="connsiteY517" fmla="*/ 826294 h 1348549"/>
                <a:gd name="connsiteX518" fmla="*/ 81439 w 860393"/>
                <a:gd name="connsiteY518" fmla="*/ 827627 h 1348549"/>
                <a:gd name="connsiteX519" fmla="*/ 86011 w 860393"/>
                <a:gd name="connsiteY519" fmla="*/ 825437 h 1348549"/>
                <a:gd name="connsiteX520" fmla="*/ 92297 w 860393"/>
                <a:gd name="connsiteY520" fmla="*/ 824675 h 1348549"/>
                <a:gd name="connsiteX521" fmla="*/ 96203 w 860393"/>
                <a:gd name="connsiteY521" fmla="*/ 830580 h 1348549"/>
                <a:gd name="connsiteX522" fmla="*/ 103156 w 860393"/>
                <a:gd name="connsiteY522" fmla="*/ 834485 h 1348549"/>
                <a:gd name="connsiteX523" fmla="*/ 102394 w 860393"/>
                <a:gd name="connsiteY523" fmla="*/ 841058 h 1348549"/>
                <a:gd name="connsiteX524" fmla="*/ 98679 w 860393"/>
                <a:gd name="connsiteY524" fmla="*/ 849535 h 1348549"/>
                <a:gd name="connsiteX525" fmla="*/ 100394 w 860393"/>
                <a:gd name="connsiteY525" fmla="*/ 850868 h 1348549"/>
                <a:gd name="connsiteX526" fmla="*/ 100870 w 860393"/>
                <a:gd name="connsiteY526" fmla="*/ 854012 h 1348549"/>
                <a:gd name="connsiteX527" fmla="*/ 103822 w 860393"/>
                <a:gd name="connsiteY527" fmla="*/ 852106 h 1348549"/>
                <a:gd name="connsiteX528" fmla="*/ 104394 w 860393"/>
                <a:gd name="connsiteY528" fmla="*/ 856774 h 1348549"/>
                <a:gd name="connsiteX529" fmla="*/ 101917 w 860393"/>
                <a:gd name="connsiteY529" fmla="*/ 874776 h 1348549"/>
                <a:gd name="connsiteX530" fmla="*/ 104299 w 860393"/>
                <a:gd name="connsiteY530" fmla="*/ 880872 h 1348549"/>
                <a:gd name="connsiteX531" fmla="*/ 98774 w 860393"/>
                <a:gd name="connsiteY531" fmla="*/ 888016 h 1348549"/>
                <a:gd name="connsiteX532" fmla="*/ 95631 w 860393"/>
                <a:gd name="connsiteY532" fmla="*/ 888397 h 1348549"/>
                <a:gd name="connsiteX533" fmla="*/ 89440 w 860393"/>
                <a:gd name="connsiteY533" fmla="*/ 890778 h 1348549"/>
                <a:gd name="connsiteX534" fmla="*/ 91630 w 860393"/>
                <a:gd name="connsiteY534" fmla="*/ 895350 h 1348549"/>
                <a:gd name="connsiteX535" fmla="*/ 90297 w 860393"/>
                <a:gd name="connsiteY535" fmla="*/ 897064 h 1348549"/>
                <a:gd name="connsiteX536" fmla="*/ 88868 w 860393"/>
                <a:gd name="connsiteY536" fmla="*/ 898874 h 1348549"/>
                <a:gd name="connsiteX537" fmla="*/ 82391 w 860393"/>
                <a:gd name="connsiteY537" fmla="*/ 898112 h 1348549"/>
                <a:gd name="connsiteX538" fmla="*/ 78296 w 860393"/>
                <a:gd name="connsiteY538" fmla="*/ 903446 h 1348549"/>
                <a:gd name="connsiteX539" fmla="*/ 78867 w 860393"/>
                <a:gd name="connsiteY539" fmla="*/ 908209 h 1348549"/>
                <a:gd name="connsiteX540" fmla="*/ 74104 w 860393"/>
                <a:gd name="connsiteY540" fmla="*/ 908780 h 1348549"/>
                <a:gd name="connsiteX541" fmla="*/ 75724 w 860393"/>
                <a:gd name="connsiteY541" fmla="*/ 921448 h 1348549"/>
                <a:gd name="connsiteX542" fmla="*/ 74390 w 860393"/>
                <a:gd name="connsiteY542" fmla="*/ 923163 h 1348549"/>
                <a:gd name="connsiteX543" fmla="*/ 75152 w 860393"/>
                <a:gd name="connsiteY543" fmla="*/ 929545 h 1348549"/>
                <a:gd name="connsiteX544" fmla="*/ 81153 w 860393"/>
                <a:gd name="connsiteY544" fmla="*/ 938403 h 1348549"/>
                <a:gd name="connsiteX545" fmla="*/ 88392 w 860393"/>
                <a:gd name="connsiteY545" fmla="*/ 945451 h 1348549"/>
                <a:gd name="connsiteX546" fmla="*/ 87058 w 860393"/>
                <a:gd name="connsiteY546" fmla="*/ 947261 h 1348549"/>
                <a:gd name="connsiteX547" fmla="*/ 83534 w 860393"/>
                <a:gd name="connsiteY547" fmla="*/ 944499 h 1348549"/>
                <a:gd name="connsiteX548" fmla="*/ 83058 w 860393"/>
                <a:gd name="connsiteY548" fmla="*/ 941356 h 1348549"/>
                <a:gd name="connsiteX549" fmla="*/ 81344 w 860393"/>
                <a:gd name="connsiteY549" fmla="*/ 939927 h 1348549"/>
                <a:gd name="connsiteX550" fmla="*/ 81724 w 860393"/>
                <a:gd name="connsiteY550" fmla="*/ 943070 h 1348549"/>
                <a:gd name="connsiteX551" fmla="*/ 80486 w 860393"/>
                <a:gd name="connsiteY551" fmla="*/ 946499 h 1348549"/>
                <a:gd name="connsiteX552" fmla="*/ 78962 w 860393"/>
                <a:gd name="connsiteY552" fmla="*/ 946690 h 1348549"/>
                <a:gd name="connsiteX553" fmla="*/ 78391 w 860393"/>
                <a:gd name="connsiteY553" fmla="*/ 954786 h 1348549"/>
                <a:gd name="connsiteX554" fmla="*/ 74104 w 860393"/>
                <a:gd name="connsiteY554" fmla="*/ 958501 h 1348549"/>
                <a:gd name="connsiteX555" fmla="*/ 77819 w 860393"/>
                <a:gd name="connsiteY555" fmla="*/ 962787 h 1348549"/>
                <a:gd name="connsiteX556" fmla="*/ 76676 w 860393"/>
                <a:gd name="connsiteY556" fmla="*/ 966216 h 1348549"/>
                <a:gd name="connsiteX557" fmla="*/ 73723 w 860393"/>
                <a:gd name="connsiteY557" fmla="*/ 968216 h 1348549"/>
                <a:gd name="connsiteX558" fmla="*/ 76105 w 860393"/>
                <a:gd name="connsiteY558" fmla="*/ 974312 h 1348549"/>
                <a:gd name="connsiteX559" fmla="*/ 77819 w 860393"/>
                <a:gd name="connsiteY559" fmla="*/ 975646 h 1348549"/>
                <a:gd name="connsiteX560" fmla="*/ 71723 w 860393"/>
                <a:gd name="connsiteY560" fmla="*/ 978027 h 1348549"/>
                <a:gd name="connsiteX561" fmla="*/ 72104 w 860393"/>
                <a:gd name="connsiteY561" fmla="*/ 981170 h 1348549"/>
                <a:gd name="connsiteX562" fmla="*/ 67628 w 860393"/>
                <a:gd name="connsiteY562" fmla="*/ 983361 h 1348549"/>
                <a:gd name="connsiteX563" fmla="*/ 65818 w 860393"/>
                <a:gd name="connsiteY563" fmla="*/ 982027 h 1348549"/>
                <a:gd name="connsiteX564" fmla="*/ 65056 w 860393"/>
                <a:gd name="connsiteY564" fmla="*/ 988505 h 1348549"/>
                <a:gd name="connsiteX565" fmla="*/ 70009 w 860393"/>
                <a:gd name="connsiteY565" fmla="*/ 989457 h 1348549"/>
                <a:gd name="connsiteX566" fmla="*/ 72390 w 860393"/>
                <a:gd name="connsiteY566" fmla="*/ 995648 h 1348549"/>
                <a:gd name="connsiteX567" fmla="*/ 75724 w 860393"/>
                <a:gd name="connsiteY567" fmla="*/ 996791 h 1348549"/>
                <a:gd name="connsiteX568" fmla="*/ 74581 w 860393"/>
                <a:gd name="connsiteY568" fmla="*/ 1000125 h 1348549"/>
                <a:gd name="connsiteX569" fmla="*/ 70009 w 860393"/>
                <a:gd name="connsiteY569" fmla="*/ 1002316 h 1348549"/>
                <a:gd name="connsiteX570" fmla="*/ 62294 w 860393"/>
                <a:gd name="connsiteY570" fmla="*/ 1004888 h 1348549"/>
                <a:gd name="connsiteX571" fmla="*/ 60579 w 860393"/>
                <a:gd name="connsiteY571" fmla="*/ 1003554 h 1348549"/>
                <a:gd name="connsiteX572" fmla="*/ 58388 w 860393"/>
                <a:gd name="connsiteY572" fmla="*/ 998982 h 1348549"/>
                <a:gd name="connsiteX573" fmla="*/ 54769 w 860393"/>
                <a:gd name="connsiteY573" fmla="*/ 996220 h 1348549"/>
                <a:gd name="connsiteX574" fmla="*/ 51816 w 860393"/>
                <a:gd name="connsiteY574" fmla="*/ 998220 h 1348549"/>
                <a:gd name="connsiteX575" fmla="*/ 49625 w 860393"/>
                <a:gd name="connsiteY575" fmla="*/ 993648 h 1348549"/>
                <a:gd name="connsiteX576" fmla="*/ 48673 w 860393"/>
                <a:gd name="connsiteY576" fmla="*/ 998601 h 1348549"/>
                <a:gd name="connsiteX577" fmla="*/ 46672 w 860393"/>
                <a:gd name="connsiteY577" fmla="*/ 995648 h 1348549"/>
                <a:gd name="connsiteX578" fmla="*/ 40005 w 860393"/>
                <a:gd name="connsiteY578" fmla="*/ 993362 h 1348549"/>
                <a:gd name="connsiteX579" fmla="*/ 34480 w 860393"/>
                <a:gd name="connsiteY579" fmla="*/ 987647 h 1348549"/>
                <a:gd name="connsiteX580" fmla="*/ 38386 w 860393"/>
                <a:gd name="connsiteY580" fmla="*/ 993553 h 1348549"/>
                <a:gd name="connsiteX581" fmla="*/ 35242 w 860393"/>
                <a:gd name="connsiteY581" fmla="*/ 993934 h 1348549"/>
                <a:gd name="connsiteX582" fmla="*/ 37433 w 860393"/>
                <a:gd name="connsiteY582" fmla="*/ 998410 h 1348549"/>
                <a:gd name="connsiteX583" fmla="*/ 34480 w 860393"/>
                <a:gd name="connsiteY583" fmla="*/ 1000411 h 1348549"/>
                <a:gd name="connsiteX584" fmla="*/ 34671 w 860393"/>
                <a:gd name="connsiteY584" fmla="*/ 1002030 h 1348549"/>
                <a:gd name="connsiteX585" fmla="*/ 37052 w 860393"/>
                <a:gd name="connsiteY585" fmla="*/ 1008126 h 1348549"/>
                <a:gd name="connsiteX586" fmla="*/ 36290 w 860393"/>
                <a:gd name="connsiteY586" fmla="*/ 1014603 h 1348549"/>
                <a:gd name="connsiteX587" fmla="*/ 38100 w 860393"/>
                <a:gd name="connsiteY587" fmla="*/ 1016032 h 1348549"/>
                <a:gd name="connsiteX588" fmla="*/ 41243 w 860393"/>
                <a:gd name="connsiteY588" fmla="*/ 1015651 h 1348549"/>
                <a:gd name="connsiteX589" fmla="*/ 41434 w 860393"/>
                <a:gd name="connsiteY589" fmla="*/ 1017175 h 1348549"/>
                <a:gd name="connsiteX590" fmla="*/ 41624 w 860393"/>
                <a:gd name="connsiteY590" fmla="*/ 1018794 h 1348549"/>
                <a:gd name="connsiteX591" fmla="*/ 38862 w 860393"/>
                <a:gd name="connsiteY591" fmla="*/ 1022318 h 1348549"/>
                <a:gd name="connsiteX592" fmla="*/ 36766 w 860393"/>
                <a:gd name="connsiteY592" fmla="*/ 1030605 h 1348549"/>
                <a:gd name="connsiteX593" fmla="*/ 33814 w 860393"/>
                <a:gd name="connsiteY593" fmla="*/ 1032605 h 1348549"/>
                <a:gd name="connsiteX594" fmla="*/ 31432 w 860393"/>
                <a:gd name="connsiteY594" fmla="*/ 1039273 h 1348549"/>
                <a:gd name="connsiteX595" fmla="*/ 37909 w 860393"/>
                <a:gd name="connsiteY595" fmla="*/ 1040035 h 1348549"/>
                <a:gd name="connsiteX596" fmla="*/ 44101 w 860393"/>
                <a:gd name="connsiteY596" fmla="*/ 1037654 h 1348549"/>
                <a:gd name="connsiteX597" fmla="*/ 47434 w 860393"/>
                <a:gd name="connsiteY597" fmla="*/ 1038892 h 1348549"/>
                <a:gd name="connsiteX598" fmla="*/ 52388 w 860393"/>
                <a:gd name="connsiteY598" fmla="*/ 1039844 h 1348549"/>
                <a:gd name="connsiteX599" fmla="*/ 55340 w 860393"/>
                <a:gd name="connsiteY599" fmla="*/ 1037844 h 1348549"/>
                <a:gd name="connsiteX600" fmla="*/ 62008 w 860393"/>
                <a:gd name="connsiteY600" fmla="*/ 1040225 h 1348549"/>
                <a:gd name="connsiteX601" fmla="*/ 64008 w 860393"/>
                <a:gd name="connsiteY601" fmla="*/ 1043178 h 1348549"/>
                <a:gd name="connsiteX602" fmla="*/ 72676 w 860393"/>
                <a:gd name="connsiteY602" fmla="*/ 1048512 h 1348549"/>
                <a:gd name="connsiteX603" fmla="*/ 80772 w 860393"/>
                <a:gd name="connsiteY603" fmla="*/ 1049084 h 1348549"/>
                <a:gd name="connsiteX604" fmla="*/ 85154 w 860393"/>
                <a:gd name="connsiteY604" fmla="*/ 1045273 h 1348549"/>
                <a:gd name="connsiteX605" fmla="*/ 83725 w 860393"/>
                <a:gd name="connsiteY605" fmla="*/ 1047083 h 1348549"/>
                <a:gd name="connsiteX606" fmla="*/ 84106 w 860393"/>
                <a:gd name="connsiteY606" fmla="*/ 1050227 h 1348549"/>
                <a:gd name="connsiteX607" fmla="*/ 85344 w 860393"/>
                <a:gd name="connsiteY607" fmla="*/ 1046893 h 1348549"/>
                <a:gd name="connsiteX608" fmla="*/ 87058 w 860393"/>
                <a:gd name="connsiteY608" fmla="*/ 1048226 h 1348549"/>
                <a:gd name="connsiteX609" fmla="*/ 92012 w 860393"/>
                <a:gd name="connsiteY609" fmla="*/ 1049274 h 1348549"/>
                <a:gd name="connsiteX610" fmla="*/ 92202 w 860393"/>
                <a:gd name="connsiteY610" fmla="*/ 1050798 h 1348549"/>
                <a:gd name="connsiteX611" fmla="*/ 95155 w 860393"/>
                <a:gd name="connsiteY611" fmla="*/ 1048798 h 1348549"/>
                <a:gd name="connsiteX612" fmla="*/ 96964 w 860393"/>
                <a:gd name="connsiteY612" fmla="*/ 1050227 h 1348549"/>
                <a:gd name="connsiteX613" fmla="*/ 98584 w 860393"/>
                <a:gd name="connsiteY613" fmla="*/ 1050036 h 1348549"/>
                <a:gd name="connsiteX614" fmla="*/ 97155 w 860393"/>
                <a:gd name="connsiteY614" fmla="*/ 1051751 h 1348549"/>
                <a:gd name="connsiteX615" fmla="*/ 90869 w 860393"/>
                <a:gd name="connsiteY615" fmla="*/ 1052608 h 1348549"/>
                <a:gd name="connsiteX616" fmla="*/ 85725 w 860393"/>
                <a:gd name="connsiteY616" fmla="*/ 1050036 h 1348549"/>
                <a:gd name="connsiteX617" fmla="*/ 81153 w 860393"/>
                <a:gd name="connsiteY617" fmla="*/ 1052227 h 1348549"/>
                <a:gd name="connsiteX618" fmla="*/ 77248 w 860393"/>
                <a:gd name="connsiteY618" fmla="*/ 1059085 h 1348549"/>
                <a:gd name="connsiteX619" fmla="*/ 79248 w 860393"/>
                <a:gd name="connsiteY619" fmla="*/ 1062133 h 1348549"/>
                <a:gd name="connsiteX620" fmla="*/ 80200 w 860393"/>
                <a:gd name="connsiteY620" fmla="*/ 1069943 h 1348549"/>
                <a:gd name="connsiteX621" fmla="*/ 78867 w 860393"/>
                <a:gd name="connsiteY621" fmla="*/ 1071753 h 1348549"/>
                <a:gd name="connsiteX622" fmla="*/ 75914 w 860393"/>
                <a:gd name="connsiteY622" fmla="*/ 1073753 h 1348549"/>
                <a:gd name="connsiteX623" fmla="*/ 72580 w 860393"/>
                <a:gd name="connsiteY623" fmla="*/ 1072515 h 1348549"/>
                <a:gd name="connsiteX624" fmla="*/ 66865 w 860393"/>
                <a:gd name="connsiteY624" fmla="*/ 1078135 h 1348549"/>
                <a:gd name="connsiteX625" fmla="*/ 68866 w 860393"/>
                <a:gd name="connsiteY625" fmla="*/ 1081088 h 1348549"/>
                <a:gd name="connsiteX626" fmla="*/ 65532 w 860393"/>
                <a:gd name="connsiteY626" fmla="*/ 1092708 h 1348549"/>
                <a:gd name="connsiteX627" fmla="*/ 69247 w 860393"/>
                <a:gd name="connsiteY627" fmla="*/ 1096994 h 1348549"/>
                <a:gd name="connsiteX628" fmla="*/ 70104 w 860393"/>
                <a:gd name="connsiteY628" fmla="*/ 1103376 h 1348549"/>
                <a:gd name="connsiteX629" fmla="*/ 72009 w 860393"/>
                <a:gd name="connsiteY629" fmla="*/ 1106329 h 1348549"/>
                <a:gd name="connsiteX630" fmla="*/ 72676 w 860393"/>
                <a:gd name="connsiteY630" fmla="*/ 1110996 h 1348549"/>
                <a:gd name="connsiteX631" fmla="*/ 76581 w 860393"/>
                <a:gd name="connsiteY631" fmla="*/ 1116902 h 1348549"/>
                <a:gd name="connsiteX632" fmla="*/ 76771 w 860393"/>
                <a:gd name="connsiteY632" fmla="*/ 1118521 h 1348549"/>
                <a:gd name="connsiteX633" fmla="*/ 73628 w 860393"/>
                <a:gd name="connsiteY633" fmla="*/ 1118902 h 1348549"/>
                <a:gd name="connsiteX634" fmla="*/ 76962 w 860393"/>
                <a:gd name="connsiteY634" fmla="*/ 1120140 h 1348549"/>
                <a:gd name="connsiteX635" fmla="*/ 76105 w 860393"/>
                <a:gd name="connsiteY635" fmla="*/ 1137856 h 1348549"/>
                <a:gd name="connsiteX636" fmla="*/ 80963 w 860393"/>
                <a:gd name="connsiteY636" fmla="*/ 1138809 h 1348549"/>
                <a:gd name="connsiteX637" fmla="*/ 82963 w 860393"/>
                <a:gd name="connsiteY637" fmla="*/ 1141762 h 1348549"/>
                <a:gd name="connsiteX638" fmla="*/ 89249 w 860393"/>
                <a:gd name="connsiteY638" fmla="*/ 1141000 h 1348549"/>
                <a:gd name="connsiteX639" fmla="*/ 91059 w 860393"/>
                <a:gd name="connsiteY639" fmla="*/ 1142333 h 1348549"/>
                <a:gd name="connsiteX640" fmla="*/ 88963 w 860393"/>
                <a:gd name="connsiteY640" fmla="*/ 1150620 h 1348549"/>
                <a:gd name="connsiteX641" fmla="*/ 92107 w 860393"/>
                <a:gd name="connsiteY641" fmla="*/ 1150239 h 1348549"/>
                <a:gd name="connsiteX642" fmla="*/ 94297 w 860393"/>
                <a:gd name="connsiteY642" fmla="*/ 1154811 h 1348549"/>
                <a:gd name="connsiteX643" fmla="*/ 92869 w 860393"/>
                <a:gd name="connsiteY643" fmla="*/ 1156526 h 1348549"/>
                <a:gd name="connsiteX644" fmla="*/ 97822 w 860393"/>
                <a:gd name="connsiteY644" fmla="*/ 1157573 h 1348549"/>
                <a:gd name="connsiteX645" fmla="*/ 98203 w 860393"/>
                <a:gd name="connsiteY645" fmla="*/ 1160717 h 1348549"/>
                <a:gd name="connsiteX646" fmla="*/ 97250 w 860393"/>
                <a:gd name="connsiteY646" fmla="*/ 1165669 h 1348549"/>
                <a:gd name="connsiteX647" fmla="*/ 95440 w 860393"/>
                <a:gd name="connsiteY647" fmla="*/ 1164241 h 1348549"/>
                <a:gd name="connsiteX648" fmla="*/ 94107 w 860393"/>
                <a:gd name="connsiteY648" fmla="*/ 1166051 h 1348549"/>
                <a:gd name="connsiteX649" fmla="*/ 87821 w 860393"/>
                <a:gd name="connsiteY649" fmla="*/ 1166813 h 1348549"/>
                <a:gd name="connsiteX650" fmla="*/ 86392 w 860393"/>
                <a:gd name="connsiteY650" fmla="*/ 1168622 h 1348549"/>
                <a:gd name="connsiteX651" fmla="*/ 79915 w 860393"/>
                <a:gd name="connsiteY651" fmla="*/ 1167860 h 1348549"/>
                <a:gd name="connsiteX652" fmla="*/ 77343 w 860393"/>
                <a:gd name="connsiteY652" fmla="*/ 1173004 h 1348549"/>
                <a:gd name="connsiteX653" fmla="*/ 77724 w 860393"/>
                <a:gd name="connsiteY653" fmla="*/ 1176147 h 1348549"/>
                <a:gd name="connsiteX654" fmla="*/ 75343 w 860393"/>
                <a:gd name="connsiteY654" fmla="*/ 1182814 h 1348549"/>
                <a:gd name="connsiteX655" fmla="*/ 76200 w 860393"/>
                <a:gd name="connsiteY655" fmla="*/ 1189196 h 1348549"/>
                <a:gd name="connsiteX656" fmla="*/ 79534 w 860393"/>
                <a:gd name="connsiteY656" fmla="*/ 1190339 h 1348549"/>
                <a:gd name="connsiteX657" fmla="*/ 80677 w 860393"/>
                <a:gd name="connsiteY657" fmla="*/ 1187006 h 1348549"/>
                <a:gd name="connsiteX658" fmla="*/ 85630 w 860393"/>
                <a:gd name="connsiteY658" fmla="*/ 1187958 h 1348549"/>
                <a:gd name="connsiteX659" fmla="*/ 83344 w 860393"/>
                <a:gd name="connsiteY659" fmla="*/ 1194721 h 1348549"/>
                <a:gd name="connsiteX660" fmla="*/ 100489 w 860393"/>
                <a:gd name="connsiteY660" fmla="*/ 1203674 h 1348549"/>
                <a:gd name="connsiteX661" fmla="*/ 108013 w 860393"/>
                <a:gd name="connsiteY661" fmla="*/ 1212342 h 1348549"/>
                <a:gd name="connsiteX662" fmla="*/ 118110 w 860393"/>
                <a:gd name="connsiteY662" fmla="*/ 1215866 h 1348549"/>
                <a:gd name="connsiteX663" fmla="*/ 122015 w 860393"/>
                <a:gd name="connsiteY663" fmla="*/ 1221772 h 1348549"/>
                <a:gd name="connsiteX664" fmla="*/ 124968 w 860393"/>
                <a:gd name="connsiteY664" fmla="*/ 1219867 h 1348549"/>
                <a:gd name="connsiteX665" fmla="*/ 124587 w 860393"/>
                <a:gd name="connsiteY665" fmla="*/ 1216723 h 1348549"/>
                <a:gd name="connsiteX666" fmla="*/ 129730 w 860393"/>
                <a:gd name="connsiteY666" fmla="*/ 1206437 h 1348549"/>
                <a:gd name="connsiteX667" fmla="*/ 135636 w 860393"/>
                <a:gd name="connsiteY667" fmla="*/ 1202436 h 1348549"/>
                <a:gd name="connsiteX668" fmla="*/ 140303 w 860393"/>
                <a:gd name="connsiteY668" fmla="*/ 1201864 h 1348549"/>
                <a:gd name="connsiteX669" fmla="*/ 144685 w 860393"/>
                <a:gd name="connsiteY669" fmla="*/ 1198055 h 1348549"/>
                <a:gd name="connsiteX670" fmla="*/ 148019 w 860393"/>
                <a:gd name="connsiteY670" fmla="*/ 1199293 h 1348549"/>
                <a:gd name="connsiteX671" fmla="*/ 144304 w 860393"/>
                <a:gd name="connsiteY671" fmla="*/ 1194911 h 1348549"/>
                <a:gd name="connsiteX672" fmla="*/ 145066 w 860393"/>
                <a:gd name="connsiteY672" fmla="*/ 1188434 h 1348549"/>
                <a:gd name="connsiteX673" fmla="*/ 144875 w 860393"/>
                <a:gd name="connsiteY673" fmla="*/ 1186815 h 1348549"/>
                <a:gd name="connsiteX674" fmla="*/ 144208 w 860393"/>
                <a:gd name="connsiteY674" fmla="*/ 1182052 h 1348549"/>
                <a:gd name="connsiteX675" fmla="*/ 145828 w 860393"/>
                <a:gd name="connsiteY675" fmla="*/ 1181862 h 1348549"/>
                <a:gd name="connsiteX676" fmla="*/ 148971 w 860393"/>
                <a:gd name="connsiteY676" fmla="*/ 1168718 h 1348549"/>
                <a:gd name="connsiteX677" fmla="*/ 152876 w 860393"/>
                <a:gd name="connsiteY677" fmla="*/ 1174623 h 1348549"/>
                <a:gd name="connsiteX678" fmla="*/ 155829 w 860393"/>
                <a:gd name="connsiteY678" fmla="*/ 1172623 h 1348549"/>
                <a:gd name="connsiteX679" fmla="*/ 161544 w 860393"/>
                <a:gd name="connsiteY679" fmla="*/ 1167098 h 1348549"/>
                <a:gd name="connsiteX680" fmla="*/ 154210 w 860393"/>
                <a:gd name="connsiteY680" fmla="*/ 1159955 h 1348549"/>
                <a:gd name="connsiteX681" fmla="*/ 155067 w 860393"/>
                <a:gd name="connsiteY681" fmla="*/ 1153477 h 1348549"/>
                <a:gd name="connsiteX682" fmla="*/ 153257 w 860393"/>
                <a:gd name="connsiteY682" fmla="*/ 1152049 h 1348549"/>
                <a:gd name="connsiteX683" fmla="*/ 144971 w 860393"/>
                <a:gd name="connsiteY683" fmla="*/ 1149953 h 1348549"/>
                <a:gd name="connsiteX684" fmla="*/ 142970 w 860393"/>
                <a:gd name="connsiteY684" fmla="*/ 1147001 h 1348549"/>
                <a:gd name="connsiteX685" fmla="*/ 144113 w 860393"/>
                <a:gd name="connsiteY685" fmla="*/ 1143572 h 1348549"/>
                <a:gd name="connsiteX686" fmla="*/ 148685 w 860393"/>
                <a:gd name="connsiteY686" fmla="*/ 1141476 h 1348549"/>
                <a:gd name="connsiteX687" fmla="*/ 148495 w 860393"/>
                <a:gd name="connsiteY687" fmla="*/ 1139857 h 1348549"/>
                <a:gd name="connsiteX688" fmla="*/ 149638 w 860393"/>
                <a:gd name="connsiteY688" fmla="*/ 1136523 h 1348549"/>
                <a:gd name="connsiteX689" fmla="*/ 146304 w 860393"/>
                <a:gd name="connsiteY689" fmla="*/ 1135285 h 1348549"/>
                <a:gd name="connsiteX690" fmla="*/ 145923 w 860393"/>
                <a:gd name="connsiteY690" fmla="*/ 1132142 h 1348549"/>
                <a:gd name="connsiteX691" fmla="*/ 141161 w 860393"/>
                <a:gd name="connsiteY691" fmla="*/ 1132808 h 1348549"/>
                <a:gd name="connsiteX692" fmla="*/ 139827 w 860393"/>
                <a:gd name="connsiteY692" fmla="*/ 1134523 h 1348549"/>
                <a:gd name="connsiteX693" fmla="*/ 139160 w 860393"/>
                <a:gd name="connsiteY693" fmla="*/ 1129856 h 1348549"/>
                <a:gd name="connsiteX694" fmla="*/ 137636 w 860393"/>
                <a:gd name="connsiteY694" fmla="*/ 1130046 h 1348549"/>
                <a:gd name="connsiteX695" fmla="*/ 135255 w 860393"/>
                <a:gd name="connsiteY695" fmla="*/ 1123950 h 1348549"/>
                <a:gd name="connsiteX696" fmla="*/ 133445 w 860393"/>
                <a:gd name="connsiteY696" fmla="*/ 1122521 h 1348549"/>
                <a:gd name="connsiteX697" fmla="*/ 133255 w 860393"/>
                <a:gd name="connsiteY697" fmla="*/ 1120997 h 1348549"/>
                <a:gd name="connsiteX698" fmla="*/ 130302 w 860393"/>
                <a:gd name="connsiteY698" fmla="*/ 1122902 h 1348549"/>
                <a:gd name="connsiteX699" fmla="*/ 126968 w 860393"/>
                <a:gd name="connsiteY699" fmla="*/ 1121759 h 1348549"/>
                <a:gd name="connsiteX700" fmla="*/ 125349 w 860393"/>
                <a:gd name="connsiteY700" fmla="*/ 1121950 h 1348549"/>
                <a:gd name="connsiteX701" fmla="*/ 127730 w 860393"/>
                <a:gd name="connsiteY701" fmla="*/ 1115282 h 1348549"/>
                <a:gd name="connsiteX702" fmla="*/ 123920 w 860393"/>
                <a:gd name="connsiteY702" fmla="*/ 1110901 h 1348549"/>
                <a:gd name="connsiteX703" fmla="*/ 117634 w 860393"/>
                <a:gd name="connsiteY703" fmla="*/ 1111758 h 1348549"/>
                <a:gd name="connsiteX704" fmla="*/ 121920 w 860393"/>
                <a:gd name="connsiteY704" fmla="*/ 1107948 h 1348549"/>
                <a:gd name="connsiteX705" fmla="*/ 127063 w 860393"/>
                <a:gd name="connsiteY705" fmla="*/ 1110520 h 1348549"/>
                <a:gd name="connsiteX706" fmla="*/ 130016 w 860393"/>
                <a:gd name="connsiteY706" fmla="*/ 1108519 h 1348549"/>
                <a:gd name="connsiteX707" fmla="*/ 131064 w 860393"/>
                <a:gd name="connsiteY707" fmla="*/ 1103567 h 1348549"/>
                <a:gd name="connsiteX708" fmla="*/ 134207 w 860393"/>
                <a:gd name="connsiteY708" fmla="*/ 1103185 h 1348549"/>
                <a:gd name="connsiteX709" fmla="*/ 132397 w 860393"/>
                <a:gd name="connsiteY709" fmla="*/ 1101852 h 1348549"/>
                <a:gd name="connsiteX710" fmla="*/ 130873 w 860393"/>
                <a:gd name="connsiteY710" fmla="*/ 1102043 h 1348549"/>
                <a:gd name="connsiteX711" fmla="*/ 129064 w 860393"/>
                <a:gd name="connsiteY711" fmla="*/ 1100614 h 1348549"/>
                <a:gd name="connsiteX712" fmla="*/ 132016 w 860393"/>
                <a:gd name="connsiteY712" fmla="*/ 1098709 h 1348549"/>
                <a:gd name="connsiteX713" fmla="*/ 136779 w 860393"/>
                <a:gd name="connsiteY713" fmla="*/ 1098042 h 1348549"/>
                <a:gd name="connsiteX714" fmla="*/ 151543 w 860393"/>
                <a:gd name="connsiteY714" fmla="*/ 1088136 h 1348549"/>
                <a:gd name="connsiteX715" fmla="*/ 154876 w 860393"/>
                <a:gd name="connsiteY715" fmla="*/ 1089374 h 1348549"/>
                <a:gd name="connsiteX716" fmla="*/ 157639 w 860393"/>
                <a:gd name="connsiteY716" fmla="*/ 1085755 h 1348549"/>
                <a:gd name="connsiteX717" fmla="*/ 159448 w 860393"/>
                <a:gd name="connsiteY717" fmla="*/ 1087184 h 1348549"/>
                <a:gd name="connsiteX718" fmla="*/ 170497 w 860393"/>
                <a:gd name="connsiteY718" fmla="*/ 1098614 h 1348549"/>
                <a:gd name="connsiteX719" fmla="*/ 174403 w 860393"/>
                <a:gd name="connsiteY719" fmla="*/ 1091660 h 1348549"/>
                <a:gd name="connsiteX720" fmla="*/ 177737 w 860393"/>
                <a:gd name="connsiteY720" fmla="*/ 1092803 h 1348549"/>
                <a:gd name="connsiteX721" fmla="*/ 177927 w 860393"/>
                <a:gd name="connsiteY721" fmla="*/ 1094423 h 1348549"/>
                <a:gd name="connsiteX722" fmla="*/ 181356 w 860393"/>
                <a:gd name="connsiteY722" fmla="*/ 1095565 h 1348549"/>
                <a:gd name="connsiteX723" fmla="*/ 179927 w 860393"/>
                <a:gd name="connsiteY723" fmla="*/ 1097375 h 1348549"/>
                <a:gd name="connsiteX724" fmla="*/ 181928 w 860393"/>
                <a:gd name="connsiteY724" fmla="*/ 1100328 h 1348549"/>
                <a:gd name="connsiteX725" fmla="*/ 188881 w 860393"/>
                <a:gd name="connsiteY725" fmla="*/ 1104233 h 1348549"/>
                <a:gd name="connsiteX726" fmla="*/ 190024 w 860393"/>
                <a:gd name="connsiteY726" fmla="*/ 1113758 h 1348549"/>
                <a:gd name="connsiteX727" fmla="*/ 183737 w 860393"/>
                <a:gd name="connsiteY727" fmla="*/ 1114520 h 1348549"/>
                <a:gd name="connsiteX728" fmla="*/ 185738 w 860393"/>
                <a:gd name="connsiteY728" fmla="*/ 1117473 h 1348549"/>
                <a:gd name="connsiteX729" fmla="*/ 188881 w 860393"/>
                <a:gd name="connsiteY729" fmla="*/ 1117092 h 1348549"/>
                <a:gd name="connsiteX730" fmla="*/ 189452 w 860393"/>
                <a:gd name="connsiteY730" fmla="*/ 1121759 h 1348549"/>
                <a:gd name="connsiteX731" fmla="*/ 200978 w 860393"/>
                <a:gd name="connsiteY731" fmla="*/ 1123569 h 1348549"/>
                <a:gd name="connsiteX732" fmla="*/ 202882 w 860393"/>
                <a:gd name="connsiteY732" fmla="*/ 1126522 h 1348549"/>
                <a:gd name="connsiteX733" fmla="*/ 201549 w 860393"/>
                <a:gd name="connsiteY733" fmla="*/ 1128331 h 1348549"/>
                <a:gd name="connsiteX734" fmla="*/ 196787 w 860393"/>
                <a:gd name="connsiteY734" fmla="*/ 1128903 h 1348549"/>
                <a:gd name="connsiteX735" fmla="*/ 197167 w 860393"/>
                <a:gd name="connsiteY735" fmla="*/ 1132046 h 1348549"/>
                <a:gd name="connsiteX736" fmla="*/ 198787 w 860393"/>
                <a:gd name="connsiteY736" fmla="*/ 1131856 h 1348549"/>
                <a:gd name="connsiteX737" fmla="*/ 202311 w 860393"/>
                <a:gd name="connsiteY737" fmla="*/ 1134618 h 1348549"/>
                <a:gd name="connsiteX738" fmla="*/ 205264 w 860393"/>
                <a:gd name="connsiteY738" fmla="*/ 1132618 h 1348549"/>
                <a:gd name="connsiteX739" fmla="*/ 207264 w 860393"/>
                <a:gd name="connsiteY739" fmla="*/ 1135571 h 1348549"/>
                <a:gd name="connsiteX740" fmla="*/ 209074 w 860393"/>
                <a:gd name="connsiteY740" fmla="*/ 1136999 h 1348549"/>
                <a:gd name="connsiteX741" fmla="*/ 210026 w 860393"/>
                <a:gd name="connsiteY741" fmla="*/ 1144810 h 1348549"/>
                <a:gd name="connsiteX742" fmla="*/ 208502 w 860393"/>
                <a:gd name="connsiteY742" fmla="*/ 1145096 h 1348549"/>
                <a:gd name="connsiteX743" fmla="*/ 208693 w 860393"/>
                <a:gd name="connsiteY743" fmla="*/ 1146619 h 1348549"/>
                <a:gd name="connsiteX744" fmla="*/ 213265 w 860393"/>
                <a:gd name="connsiteY744" fmla="*/ 1157288 h 1348549"/>
                <a:gd name="connsiteX745" fmla="*/ 213836 w 860393"/>
                <a:gd name="connsiteY745" fmla="*/ 1162050 h 1348549"/>
                <a:gd name="connsiteX746" fmla="*/ 213074 w 860393"/>
                <a:gd name="connsiteY746" fmla="*/ 1168527 h 1348549"/>
                <a:gd name="connsiteX747" fmla="*/ 211264 w 860393"/>
                <a:gd name="connsiteY747" fmla="*/ 1167098 h 1348549"/>
                <a:gd name="connsiteX748" fmla="*/ 210121 w 860393"/>
                <a:gd name="connsiteY748" fmla="*/ 1170527 h 1348549"/>
                <a:gd name="connsiteX749" fmla="*/ 217265 w 860393"/>
                <a:gd name="connsiteY749" fmla="*/ 1175956 h 1348549"/>
                <a:gd name="connsiteX750" fmla="*/ 222123 w 860393"/>
                <a:gd name="connsiteY750" fmla="*/ 1177004 h 1348549"/>
                <a:gd name="connsiteX751" fmla="*/ 226695 w 860393"/>
                <a:gd name="connsiteY751" fmla="*/ 1174814 h 1348549"/>
                <a:gd name="connsiteX752" fmla="*/ 227076 w 860393"/>
                <a:gd name="connsiteY752" fmla="*/ 1177957 h 1348549"/>
                <a:gd name="connsiteX753" fmla="*/ 231838 w 860393"/>
                <a:gd name="connsiteY753" fmla="*/ 1177385 h 1348549"/>
                <a:gd name="connsiteX754" fmla="*/ 232220 w 860393"/>
                <a:gd name="connsiteY754" fmla="*/ 1180529 h 1348549"/>
                <a:gd name="connsiteX755" fmla="*/ 229838 w 860393"/>
                <a:gd name="connsiteY755" fmla="*/ 1187196 h 1348549"/>
                <a:gd name="connsiteX756" fmla="*/ 231457 w 860393"/>
                <a:gd name="connsiteY756" fmla="*/ 1187006 h 1348549"/>
                <a:gd name="connsiteX757" fmla="*/ 232029 w 860393"/>
                <a:gd name="connsiteY757" fmla="*/ 1191768 h 1348549"/>
                <a:gd name="connsiteX758" fmla="*/ 228695 w 860393"/>
                <a:gd name="connsiteY758" fmla="*/ 1190530 h 1348549"/>
                <a:gd name="connsiteX759" fmla="*/ 229362 w 860393"/>
                <a:gd name="connsiteY759" fmla="*/ 1195292 h 1348549"/>
                <a:gd name="connsiteX760" fmla="*/ 238792 w 860393"/>
                <a:gd name="connsiteY760" fmla="*/ 1194149 h 1348549"/>
                <a:gd name="connsiteX761" fmla="*/ 236220 w 860393"/>
                <a:gd name="connsiteY761" fmla="*/ 1199293 h 1348549"/>
                <a:gd name="connsiteX762" fmla="*/ 237839 w 860393"/>
                <a:gd name="connsiteY762" fmla="*/ 1199007 h 1348549"/>
                <a:gd name="connsiteX763" fmla="*/ 240221 w 860393"/>
                <a:gd name="connsiteY763" fmla="*/ 1205198 h 1348549"/>
                <a:gd name="connsiteX764" fmla="*/ 243364 w 860393"/>
                <a:gd name="connsiteY764" fmla="*/ 1204722 h 1348549"/>
                <a:gd name="connsiteX765" fmla="*/ 242221 w 860393"/>
                <a:gd name="connsiteY765" fmla="*/ 1208151 h 1348549"/>
                <a:gd name="connsiteX766" fmla="*/ 242792 w 860393"/>
                <a:gd name="connsiteY766" fmla="*/ 1212818 h 1348549"/>
                <a:gd name="connsiteX767" fmla="*/ 245936 w 860393"/>
                <a:gd name="connsiteY767" fmla="*/ 1212437 h 1348549"/>
                <a:gd name="connsiteX768" fmla="*/ 245745 w 860393"/>
                <a:gd name="connsiteY768" fmla="*/ 1210913 h 1348549"/>
                <a:gd name="connsiteX769" fmla="*/ 247269 w 860393"/>
                <a:gd name="connsiteY769" fmla="*/ 1210627 h 1348549"/>
                <a:gd name="connsiteX770" fmla="*/ 252222 w 860393"/>
                <a:gd name="connsiteY770" fmla="*/ 1211675 h 1348549"/>
                <a:gd name="connsiteX771" fmla="*/ 252031 w 860393"/>
                <a:gd name="connsiteY771" fmla="*/ 1210056 h 1348549"/>
                <a:gd name="connsiteX772" fmla="*/ 252031 w 860393"/>
                <a:gd name="connsiteY772" fmla="*/ 1210056 h 1348549"/>
                <a:gd name="connsiteX773" fmla="*/ 254794 w 860393"/>
                <a:gd name="connsiteY773" fmla="*/ 1206532 h 1348549"/>
                <a:gd name="connsiteX774" fmla="*/ 253460 w 860393"/>
                <a:gd name="connsiteY774" fmla="*/ 1208246 h 1348549"/>
                <a:gd name="connsiteX775" fmla="*/ 252984 w 860393"/>
                <a:gd name="connsiteY775" fmla="*/ 1205103 h 1348549"/>
                <a:gd name="connsiteX776" fmla="*/ 251460 w 860393"/>
                <a:gd name="connsiteY776" fmla="*/ 1205293 h 1348549"/>
                <a:gd name="connsiteX777" fmla="*/ 252413 w 860393"/>
                <a:gd name="connsiteY777" fmla="*/ 1200436 h 1348549"/>
                <a:gd name="connsiteX778" fmla="*/ 249079 w 860393"/>
                <a:gd name="connsiteY778" fmla="*/ 1199198 h 1348549"/>
                <a:gd name="connsiteX779" fmla="*/ 253841 w 860393"/>
                <a:gd name="connsiteY779" fmla="*/ 1198626 h 1348549"/>
                <a:gd name="connsiteX780" fmla="*/ 253365 w 860393"/>
                <a:gd name="connsiteY780" fmla="*/ 1195483 h 1348549"/>
                <a:gd name="connsiteX781" fmla="*/ 256127 w 860393"/>
                <a:gd name="connsiteY781" fmla="*/ 1191863 h 1348549"/>
                <a:gd name="connsiteX782" fmla="*/ 253937 w 860393"/>
                <a:gd name="connsiteY782" fmla="*/ 1187387 h 1348549"/>
                <a:gd name="connsiteX783" fmla="*/ 255556 w 860393"/>
                <a:gd name="connsiteY783" fmla="*/ 1187196 h 1348549"/>
                <a:gd name="connsiteX784" fmla="*/ 257746 w 860393"/>
                <a:gd name="connsiteY784" fmla="*/ 1191673 h 1348549"/>
                <a:gd name="connsiteX785" fmla="*/ 260128 w 860393"/>
                <a:gd name="connsiteY785" fmla="*/ 1197769 h 1348549"/>
                <a:gd name="connsiteX786" fmla="*/ 263842 w 860393"/>
                <a:gd name="connsiteY786" fmla="*/ 1202150 h 1348549"/>
                <a:gd name="connsiteX787" fmla="*/ 264700 w 860393"/>
                <a:gd name="connsiteY787" fmla="*/ 1208437 h 1348549"/>
                <a:gd name="connsiteX788" fmla="*/ 260509 w 860393"/>
                <a:gd name="connsiteY788" fmla="*/ 1213771 h 1348549"/>
                <a:gd name="connsiteX789" fmla="*/ 259556 w 860393"/>
                <a:gd name="connsiteY789" fmla="*/ 1218724 h 1348549"/>
                <a:gd name="connsiteX790" fmla="*/ 261556 w 860393"/>
                <a:gd name="connsiteY790" fmla="*/ 1221677 h 1348549"/>
                <a:gd name="connsiteX791" fmla="*/ 258794 w 860393"/>
                <a:gd name="connsiteY791" fmla="*/ 1225201 h 1348549"/>
                <a:gd name="connsiteX792" fmla="*/ 253460 w 860393"/>
                <a:gd name="connsiteY792" fmla="*/ 1233964 h 1348549"/>
                <a:gd name="connsiteX793" fmla="*/ 255461 w 860393"/>
                <a:gd name="connsiteY793" fmla="*/ 1236917 h 1348549"/>
                <a:gd name="connsiteX794" fmla="*/ 255461 w 860393"/>
                <a:gd name="connsiteY794" fmla="*/ 1236917 h 1348549"/>
                <a:gd name="connsiteX795" fmla="*/ 257270 w 860393"/>
                <a:gd name="connsiteY795" fmla="*/ 1238250 h 1348549"/>
                <a:gd name="connsiteX796" fmla="*/ 256222 w 860393"/>
                <a:gd name="connsiteY796" fmla="*/ 1243203 h 1348549"/>
                <a:gd name="connsiteX797" fmla="*/ 251746 w 860393"/>
                <a:gd name="connsiteY797" fmla="*/ 1245394 h 1348549"/>
                <a:gd name="connsiteX798" fmla="*/ 255651 w 860393"/>
                <a:gd name="connsiteY798" fmla="*/ 1251299 h 1348549"/>
                <a:gd name="connsiteX799" fmla="*/ 257080 w 860393"/>
                <a:gd name="connsiteY799" fmla="*/ 1249489 h 1348549"/>
                <a:gd name="connsiteX800" fmla="*/ 267176 w 860393"/>
                <a:gd name="connsiteY800" fmla="*/ 1253014 h 1348549"/>
                <a:gd name="connsiteX801" fmla="*/ 265747 w 860393"/>
                <a:gd name="connsiteY801" fmla="*/ 1254823 h 1348549"/>
                <a:gd name="connsiteX802" fmla="*/ 267748 w 860393"/>
                <a:gd name="connsiteY802" fmla="*/ 1257776 h 1348549"/>
                <a:gd name="connsiteX803" fmla="*/ 274511 w 860393"/>
                <a:gd name="connsiteY803" fmla="*/ 1260158 h 1348549"/>
                <a:gd name="connsiteX804" fmla="*/ 274701 w 860393"/>
                <a:gd name="connsiteY804" fmla="*/ 1261681 h 1348549"/>
                <a:gd name="connsiteX805" fmla="*/ 276225 w 860393"/>
                <a:gd name="connsiteY805" fmla="*/ 1261491 h 1348549"/>
                <a:gd name="connsiteX806" fmla="*/ 279368 w 860393"/>
                <a:gd name="connsiteY806" fmla="*/ 1261110 h 1348549"/>
                <a:gd name="connsiteX807" fmla="*/ 288131 w 860393"/>
                <a:gd name="connsiteY807" fmla="*/ 1266444 h 1348549"/>
                <a:gd name="connsiteX808" fmla="*/ 289465 w 860393"/>
                <a:gd name="connsiteY808" fmla="*/ 1264634 h 1348549"/>
                <a:gd name="connsiteX809" fmla="*/ 292608 w 860393"/>
                <a:gd name="connsiteY809" fmla="*/ 1264253 h 1348549"/>
                <a:gd name="connsiteX810" fmla="*/ 301085 w 860393"/>
                <a:gd name="connsiteY810" fmla="*/ 1267968 h 1348549"/>
                <a:gd name="connsiteX811" fmla="*/ 306038 w 860393"/>
                <a:gd name="connsiteY811" fmla="*/ 1268921 h 1348549"/>
                <a:gd name="connsiteX812" fmla="*/ 304705 w 860393"/>
                <a:gd name="connsiteY812" fmla="*/ 1270730 h 1348549"/>
                <a:gd name="connsiteX813" fmla="*/ 308420 w 860393"/>
                <a:gd name="connsiteY813" fmla="*/ 1275017 h 1348549"/>
                <a:gd name="connsiteX814" fmla="*/ 314420 w 860393"/>
                <a:gd name="connsiteY814" fmla="*/ 1283875 h 1348549"/>
                <a:gd name="connsiteX815" fmla="*/ 322040 w 860393"/>
                <a:gd name="connsiteY815" fmla="*/ 1281303 h 1348549"/>
                <a:gd name="connsiteX816" fmla="*/ 322897 w 860393"/>
                <a:gd name="connsiteY816" fmla="*/ 1287589 h 1348549"/>
                <a:gd name="connsiteX817" fmla="*/ 321659 w 860393"/>
                <a:gd name="connsiteY817" fmla="*/ 1291018 h 1348549"/>
                <a:gd name="connsiteX818" fmla="*/ 321850 w 860393"/>
                <a:gd name="connsiteY818" fmla="*/ 1292543 h 1348549"/>
                <a:gd name="connsiteX819" fmla="*/ 318897 w 860393"/>
                <a:gd name="connsiteY819" fmla="*/ 1294543 h 1348549"/>
                <a:gd name="connsiteX820" fmla="*/ 322897 w 860393"/>
                <a:gd name="connsiteY820" fmla="*/ 1300448 h 1348549"/>
                <a:gd name="connsiteX821" fmla="*/ 325469 w 860393"/>
                <a:gd name="connsiteY821" fmla="*/ 1308164 h 1348549"/>
                <a:gd name="connsiteX822" fmla="*/ 326326 w 860393"/>
                <a:gd name="connsiteY822" fmla="*/ 1314450 h 1348549"/>
                <a:gd name="connsiteX823" fmla="*/ 328517 w 860393"/>
                <a:gd name="connsiteY823" fmla="*/ 1319022 h 1348549"/>
                <a:gd name="connsiteX824" fmla="*/ 329851 w 860393"/>
                <a:gd name="connsiteY824" fmla="*/ 1317212 h 1348549"/>
                <a:gd name="connsiteX825" fmla="*/ 331661 w 860393"/>
                <a:gd name="connsiteY825" fmla="*/ 1318641 h 1348549"/>
                <a:gd name="connsiteX826" fmla="*/ 332232 w 860393"/>
                <a:gd name="connsiteY826" fmla="*/ 1323308 h 1348549"/>
                <a:gd name="connsiteX827" fmla="*/ 334994 w 860393"/>
                <a:gd name="connsiteY827" fmla="*/ 1332643 h 1348549"/>
                <a:gd name="connsiteX828" fmla="*/ 336804 w 860393"/>
                <a:gd name="connsiteY828" fmla="*/ 1333976 h 1348549"/>
                <a:gd name="connsiteX829" fmla="*/ 335661 w 860393"/>
                <a:gd name="connsiteY829" fmla="*/ 1337310 h 1348549"/>
                <a:gd name="connsiteX830" fmla="*/ 338614 w 860393"/>
                <a:gd name="connsiteY830" fmla="*/ 1335310 h 1348549"/>
                <a:gd name="connsiteX831" fmla="*/ 338804 w 860393"/>
                <a:gd name="connsiteY831" fmla="*/ 1336929 h 1348549"/>
                <a:gd name="connsiteX832" fmla="*/ 339185 w 860393"/>
                <a:gd name="connsiteY832" fmla="*/ 1340072 h 1348549"/>
                <a:gd name="connsiteX833" fmla="*/ 337566 w 860393"/>
                <a:gd name="connsiteY833" fmla="*/ 1340263 h 1348549"/>
                <a:gd name="connsiteX834" fmla="*/ 340995 w 860393"/>
                <a:gd name="connsiteY834" fmla="*/ 1341501 h 1348549"/>
                <a:gd name="connsiteX835" fmla="*/ 342900 w 860393"/>
                <a:gd name="connsiteY835" fmla="*/ 1344454 h 1348549"/>
                <a:gd name="connsiteX836" fmla="*/ 346329 w 860393"/>
                <a:gd name="connsiteY836" fmla="*/ 1345597 h 1348549"/>
                <a:gd name="connsiteX837" fmla="*/ 348234 w 860393"/>
                <a:gd name="connsiteY837" fmla="*/ 1348550 h 1348549"/>
                <a:gd name="connsiteX838" fmla="*/ 348044 w 860393"/>
                <a:gd name="connsiteY838" fmla="*/ 1346930 h 1348549"/>
                <a:gd name="connsiteX839" fmla="*/ 349663 w 860393"/>
                <a:gd name="connsiteY839" fmla="*/ 1346740 h 1348549"/>
                <a:gd name="connsiteX840" fmla="*/ 349853 w 860393"/>
                <a:gd name="connsiteY840" fmla="*/ 1348359 h 1348549"/>
                <a:gd name="connsiteX841" fmla="*/ 352425 w 860393"/>
                <a:gd name="connsiteY841" fmla="*/ 1343215 h 1348549"/>
                <a:gd name="connsiteX842" fmla="*/ 352996 w 860393"/>
                <a:gd name="connsiteY842" fmla="*/ 1335119 h 1348549"/>
                <a:gd name="connsiteX843" fmla="*/ 351377 w 860393"/>
                <a:gd name="connsiteY843" fmla="*/ 1335310 h 1348549"/>
                <a:gd name="connsiteX844" fmla="*/ 350615 w 860393"/>
                <a:gd name="connsiteY844" fmla="*/ 1329023 h 1348549"/>
                <a:gd name="connsiteX845" fmla="*/ 354901 w 860393"/>
                <a:gd name="connsiteY845" fmla="*/ 1325213 h 1348549"/>
                <a:gd name="connsiteX846" fmla="*/ 359664 w 860393"/>
                <a:gd name="connsiteY846" fmla="*/ 1324642 h 1348549"/>
                <a:gd name="connsiteX847" fmla="*/ 364236 w 860393"/>
                <a:gd name="connsiteY847" fmla="*/ 1322451 h 1348549"/>
                <a:gd name="connsiteX848" fmla="*/ 358616 w 860393"/>
                <a:gd name="connsiteY848" fmla="*/ 1316736 h 1348549"/>
                <a:gd name="connsiteX849" fmla="*/ 361569 w 860393"/>
                <a:gd name="connsiteY849" fmla="*/ 1314736 h 1348549"/>
                <a:gd name="connsiteX850" fmla="*/ 364807 w 860393"/>
                <a:gd name="connsiteY850" fmla="*/ 1314355 h 1348549"/>
                <a:gd name="connsiteX851" fmla="*/ 367189 w 860393"/>
                <a:gd name="connsiteY851" fmla="*/ 1320451 h 1348549"/>
                <a:gd name="connsiteX852" fmla="*/ 374047 w 860393"/>
                <a:gd name="connsiteY852" fmla="*/ 1324451 h 1348549"/>
                <a:gd name="connsiteX853" fmla="*/ 375475 w 860393"/>
                <a:gd name="connsiteY853" fmla="*/ 1322642 h 1348549"/>
                <a:gd name="connsiteX854" fmla="*/ 376428 w 860393"/>
                <a:gd name="connsiteY854" fmla="*/ 1317689 h 1348549"/>
                <a:gd name="connsiteX855" fmla="*/ 381190 w 860393"/>
                <a:gd name="connsiteY855" fmla="*/ 1317117 h 1348549"/>
                <a:gd name="connsiteX856" fmla="*/ 385667 w 860393"/>
                <a:gd name="connsiteY856" fmla="*/ 1314926 h 1348549"/>
                <a:gd name="connsiteX857" fmla="*/ 387096 w 860393"/>
                <a:gd name="connsiteY857" fmla="*/ 1313117 h 1348549"/>
                <a:gd name="connsiteX858" fmla="*/ 395573 w 860393"/>
                <a:gd name="connsiteY858" fmla="*/ 1316831 h 1348549"/>
                <a:gd name="connsiteX859" fmla="*/ 398526 w 860393"/>
                <a:gd name="connsiteY859" fmla="*/ 1314926 h 1348549"/>
                <a:gd name="connsiteX860" fmla="*/ 403003 w 860393"/>
                <a:gd name="connsiteY860" fmla="*/ 1312735 h 1348549"/>
                <a:gd name="connsiteX861" fmla="*/ 404050 w 860393"/>
                <a:gd name="connsiteY861" fmla="*/ 1307783 h 1348549"/>
                <a:gd name="connsiteX862" fmla="*/ 406241 w 860393"/>
                <a:gd name="connsiteY862" fmla="*/ 1312259 h 1348549"/>
                <a:gd name="connsiteX863" fmla="*/ 407575 w 860393"/>
                <a:gd name="connsiteY863" fmla="*/ 1310545 h 1348549"/>
                <a:gd name="connsiteX864" fmla="*/ 416433 w 860393"/>
                <a:gd name="connsiteY864" fmla="*/ 1317403 h 1348549"/>
                <a:gd name="connsiteX865" fmla="*/ 417671 w 860393"/>
                <a:gd name="connsiteY865" fmla="*/ 1314069 h 1348549"/>
                <a:gd name="connsiteX866" fmla="*/ 421005 w 860393"/>
                <a:gd name="connsiteY866" fmla="*/ 1315212 h 1348549"/>
                <a:gd name="connsiteX867" fmla="*/ 429863 w 860393"/>
                <a:gd name="connsiteY867" fmla="*/ 1309306 h 1348549"/>
                <a:gd name="connsiteX868" fmla="*/ 431292 w 860393"/>
                <a:gd name="connsiteY868" fmla="*/ 1307497 h 1348549"/>
                <a:gd name="connsiteX869" fmla="*/ 429482 w 860393"/>
                <a:gd name="connsiteY869" fmla="*/ 1306163 h 1348549"/>
                <a:gd name="connsiteX870" fmla="*/ 430625 w 860393"/>
                <a:gd name="connsiteY870" fmla="*/ 1302734 h 1348549"/>
                <a:gd name="connsiteX871" fmla="*/ 435007 w 860393"/>
                <a:gd name="connsiteY871" fmla="*/ 1299019 h 1348549"/>
                <a:gd name="connsiteX872" fmla="*/ 436150 w 860393"/>
                <a:gd name="connsiteY872" fmla="*/ 1295686 h 1348549"/>
                <a:gd name="connsiteX873" fmla="*/ 439293 w 860393"/>
                <a:gd name="connsiteY873" fmla="*/ 1295210 h 1348549"/>
                <a:gd name="connsiteX874" fmla="*/ 437293 w 860393"/>
                <a:gd name="connsiteY874" fmla="*/ 1292257 h 1348549"/>
                <a:gd name="connsiteX875" fmla="*/ 440531 w 860393"/>
                <a:gd name="connsiteY875" fmla="*/ 1291876 h 1348549"/>
                <a:gd name="connsiteX876" fmla="*/ 441674 w 860393"/>
                <a:gd name="connsiteY876" fmla="*/ 1288542 h 1348549"/>
                <a:gd name="connsiteX877" fmla="*/ 443198 w 860393"/>
                <a:gd name="connsiteY877" fmla="*/ 1288352 h 1348549"/>
                <a:gd name="connsiteX878" fmla="*/ 445961 w 860393"/>
                <a:gd name="connsiteY878" fmla="*/ 1271968 h 1348549"/>
                <a:gd name="connsiteX879" fmla="*/ 447961 w 860393"/>
                <a:gd name="connsiteY879" fmla="*/ 1274921 h 1348549"/>
                <a:gd name="connsiteX880" fmla="*/ 454057 w 860393"/>
                <a:gd name="connsiteY880" fmla="*/ 1272540 h 1348549"/>
                <a:gd name="connsiteX881" fmla="*/ 453676 w 860393"/>
                <a:gd name="connsiteY881" fmla="*/ 1269397 h 1348549"/>
                <a:gd name="connsiteX882" fmla="*/ 458629 w 860393"/>
                <a:gd name="connsiteY882" fmla="*/ 1270349 h 1348549"/>
                <a:gd name="connsiteX883" fmla="*/ 462344 w 860393"/>
                <a:gd name="connsiteY883" fmla="*/ 1261872 h 1348549"/>
                <a:gd name="connsiteX884" fmla="*/ 465487 w 860393"/>
                <a:gd name="connsiteY884" fmla="*/ 1261491 h 1348549"/>
                <a:gd name="connsiteX885" fmla="*/ 467011 w 860393"/>
                <a:gd name="connsiteY885" fmla="*/ 1261205 h 1348549"/>
                <a:gd name="connsiteX886" fmla="*/ 473392 w 860393"/>
                <a:gd name="connsiteY886" fmla="*/ 1260443 h 1348549"/>
                <a:gd name="connsiteX887" fmla="*/ 470821 w 860393"/>
                <a:gd name="connsiteY887" fmla="*/ 1252728 h 1348549"/>
                <a:gd name="connsiteX888" fmla="*/ 472345 w 860393"/>
                <a:gd name="connsiteY888" fmla="*/ 1252538 h 1348549"/>
                <a:gd name="connsiteX889" fmla="*/ 469773 w 860393"/>
                <a:gd name="connsiteY889" fmla="*/ 1244822 h 1348549"/>
                <a:gd name="connsiteX890" fmla="*/ 469582 w 860393"/>
                <a:gd name="connsiteY890" fmla="*/ 1243298 h 1348549"/>
                <a:gd name="connsiteX891" fmla="*/ 462820 w 860393"/>
                <a:gd name="connsiteY891" fmla="*/ 1240917 h 1348549"/>
                <a:gd name="connsiteX892" fmla="*/ 463867 w 860393"/>
                <a:gd name="connsiteY892" fmla="*/ 1235964 h 1348549"/>
                <a:gd name="connsiteX893" fmla="*/ 459867 w 860393"/>
                <a:gd name="connsiteY893" fmla="*/ 1230059 h 1348549"/>
                <a:gd name="connsiteX894" fmla="*/ 457295 w 860393"/>
                <a:gd name="connsiteY894" fmla="*/ 1222439 h 1348549"/>
                <a:gd name="connsiteX895" fmla="*/ 456724 w 860393"/>
                <a:gd name="connsiteY895" fmla="*/ 1217676 h 1348549"/>
                <a:gd name="connsiteX896" fmla="*/ 456057 w 860393"/>
                <a:gd name="connsiteY896" fmla="*/ 1212914 h 1348549"/>
                <a:gd name="connsiteX897" fmla="*/ 457867 w 860393"/>
                <a:gd name="connsiteY897" fmla="*/ 1214342 h 1348549"/>
                <a:gd name="connsiteX898" fmla="*/ 456819 w 860393"/>
                <a:gd name="connsiteY898" fmla="*/ 1206437 h 1348549"/>
                <a:gd name="connsiteX899" fmla="*/ 461581 w 860393"/>
                <a:gd name="connsiteY899" fmla="*/ 1205770 h 1348549"/>
                <a:gd name="connsiteX900" fmla="*/ 462724 w 860393"/>
                <a:gd name="connsiteY900" fmla="*/ 1202436 h 1348549"/>
                <a:gd name="connsiteX901" fmla="*/ 462534 w 860393"/>
                <a:gd name="connsiteY901" fmla="*/ 1200912 h 1348549"/>
                <a:gd name="connsiteX902" fmla="*/ 465296 w 860393"/>
                <a:gd name="connsiteY902" fmla="*/ 1197293 h 1348549"/>
                <a:gd name="connsiteX903" fmla="*/ 467106 w 860393"/>
                <a:gd name="connsiteY903" fmla="*/ 1198721 h 1348549"/>
                <a:gd name="connsiteX904" fmla="*/ 468249 w 860393"/>
                <a:gd name="connsiteY904" fmla="*/ 1195292 h 1348549"/>
                <a:gd name="connsiteX905" fmla="*/ 466725 w 860393"/>
                <a:gd name="connsiteY905" fmla="*/ 1195578 h 1348549"/>
                <a:gd name="connsiteX906" fmla="*/ 469678 w 860393"/>
                <a:gd name="connsiteY906" fmla="*/ 1193578 h 1348549"/>
                <a:gd name="connsiteX907" fmla="*/ 470249 w 860393"/>
                <a:gd name="connsiteY907" fmla="*/ 1185481 h 1348549"/>
                <a:gd name="connsiteX908" fmla="*/ 476536 w 860393"/>
                <a:gd name="connsiteY908" fmla="*/ 1184624 h 1348549"/>
                <a:gd name="connsiteX909" fmla="*/ 476345 w 860393"/>
                <a:gd name="connsiteY909" fmla="*/ 1183100 h 1348549"/>
                <a:gd name="connsiteX910" fmla="*/ 481108 w 860393"/>
                <a:gd name="connsiteY910" fmla="*/ 1182529 h 1348549"/>
                <a:gd name="connsiteX911" fmla="*/ 480631 w 860393"/>
                <a:gd name="connsiteY911" fmla="*/ 1179290 h 1348549"/>
                <a:gd name="connsiteX912" fmla="*/ 480631 w 860393"/>
                <a:gd name="connsiteY912" fmla="*/ 1179290 h 1348549"/>
                <a:gd name="connsiteX913" fmla="*/ 488156 w 860393"/>
                <a:gd name="connsiteY913" fmla="*/ 1187958 h 1348549"/>
                <a:gd name="connsiteX914" fmla="*/ 491299 w 860393"/>
                <a:gd name="connsiteY914" fmla="*/ 1187577 h 1348549"/>
                <a:gd name="connsiteX915" fmla="*/ 491585 w 860393"/>
                <a:gd name="connsiteY915" fmla="*/ 1189196 h 1348549"/>
                <a:gd name="connsiteX916" fmla="*/ 485870 w 860393"/>
                <a:gd name="connsiteY916" fmla="*/ 1194721 h 1348549"/>
                <a:gd name="connsiteX917" fmla="*/ 485680 w 860393"/>
                <a:gd name="connsiteY917" fmla="*/ 1205960 h 1348549"/>
                <a:gd name="connsiteX918" fmla="*/ 484918 w 860393"/>
                <a:gd name="connsiteY918" fmla="*/ 1212437 h 1348549"/>
                <a:gd name="connsiteX919" fmla="*/ 485299 w 860393"/>
                <a:gd name="connsiteY919" fmla="*/ 1215581 h 1348549"/>
                <a:gd name="connsiteX920" fmla="*/ 493205 w 860393"/>
                <a:gd name="connsiteY920" fmla="*/ 1214628 h 1348549"/>
                <a:gd name="connsiteX921" fmla="*/ 496538 w 860393"/>
                <a:gd name="connsiteY921" fmla="*/ 1215771 h 1348549"/>
                <a:gd name="connsiteX922" fmla="*/ 495300 w 860393"/>
                <a:gd name="connsiteY922" fmla="*/ 1206341 h 1348549"/>
                <a:gd name="connsiteX923" fmla="*/ 507206 w 860393"/>
                <a:gd name="connsiteY923" fmla="*/ 1211199 h 1348549"/>
                <a:gd name="connsiteX924" fmla="*/ 510159 w 860393"/>
                <a:gd name="connsiteY924" fmla="*/ 1209294 h 1348549"/>
                <a:gd name="connsiteX925" fmla="*/ 513874 w 860393"/>
                <a:gd name="connsiteY925" fmla="*/ 1213580 h 1348549"/>
                <a:gd name="connsiteX926" fmla="*/ 512921 w 860393"/>
                <a:gd name="connsiteY926" fmla="*/ 1218533 h 1348549"/>
                <a:gd name="connsiteX927" fmla="*/ 522351 w 860393"/>
                <a:gd name="connsiteY927" fmla="*/ 1217295 h 1348549"/>
                <a:gd name="connsiteX928" fmla="*/ 524542 w 860393"/>
                <a:gd name="connsiteY928" fmla="*/ 1221867 h 1348549"/>
                <a:gd name="connsiteX929" fmla="*/ 525971 w 860393"/>
                <a:gd name="connsiteY929" fmla="*/ 1220057 h 1348549"/>
                <a:gd name="connsiteX930" fmla="*/ 523780 w 860393"/>
                <a:gd name="connsiteY930" fmla="*/ 1215581 h 1348549"/>
                <a:gd name="connsiteX931" fmla="*/ 528733 w 860393"/>
                <a:gd name="connsiteY931" fmla="*/ 1216533 h 1348549"/>
                <a:gd name="connsiteX932" fmla="*/ 528542 w 860393"/>
                <a:gd name="connsiteY932" fmla="*/ 1214914 h 1348549"/>
                <a:gd name="connsiteX933" fmla="*/ 531876 w 860393"/>
                <a:gd name="connsiteY933" fmla="*/ 1216152 h 1348549"/>
                <a:gd name="connsiteX934" fmla="*/ 538163 w 860393"/>
                <a:gd name="connsiteY934" fmla="*/ 1215295 h 1348549"/>
                <a:gd name="connsiteX935" fmla="*/ 537020 w 860393"/>
                <a:gd name="connsiteY935" fmla="*/ 1218629 h 1348549"/>
                <a:gd name="connsiteX936" fmla="*/ 543497 w 860393"/>
                <a:gd name="connsiteY936" fmla="*/ 1219390 h 1348549"/>
                <a:gd name="connsiteX937" fmla="*/ 549212 w 860393"/>
                <a:gd name="connsiteY937" fmla="*/ 1226725 h 1348549"/>
                <a:gd name="connsiteX938" fmla="*/ 549212 w 860393"/>
                <a:gd name="connsiteY938" fmla="*/ 1226725 h 1348549"/>
                <a:gd name="connsiteX939" fmla="*/ 554831 w 860393"/>
                <a:gd name="connsiteY939" fmla="*/ 1232440 h 1348549"/>
                <a:gd name="connsiteX940" fmla="*/ 555974 w 860393"/>
                <a:gd name="connsiteY940" fmla="*/ 1241869 h 1348549"/>
                <a:gd name="connsiteX941" fmla="*/ 556165 w 860393"/>
                <a:gd name="connsiteY941" fmla="*/ 1243489 h 1348549"/>
                <a:gd name="connsiteX942" fmla="*/ 571500 w 860393"/>
                <a:gd name="connsiteY942" fmla="*/ 1225487 h 1348549"/>
                <a:gd name="connsiteX943" fmla="*/ 576834 w 860393"/>
                <a:gd name="connsiteY943" fmla="*/ 1216819 h 1348549"/>
                <a:gd name="connsiteX944" fmla="*/ 579787 w 860393"/>
                <a:gd name="connsiteY944" fmla="*/ 1214818 h 1348549"/>
                <a:gd name="connsiteX945" fmla="*/ 581597 w 860393"/>
                <a:gd name="connsiteY945" fmla="*/ 1216152 h 1348549"/>
                <a:gd name="connsiteX946" fmla="*/ 584359 w 860393"/>
                <a:gd name="connsiteY946" fmla="*/ 1212628 h 1348549"/>
                <a:gd name="connsiteX947" fmla="*/ 584549 w 860393"/>
                <a:gd name="connsiteY947" fmla="*/ 1201388 h 1348549"/>
                <a:gd name="connsiteX948" fmla="*/ 582549 w 860393"/>
                <a:gd name="connsiteY948" fmla="*/ 1198435 h 1348549"/>
                <a:gd name="connsiteX949" fmla="*/ 579406 w 860393"/>
                <a:gd name="connsiteY949" fmla="*/ 1198817 h 1348549"/>
                <a:gd name="connsiteX950" fmla="*/ 583501 w 860393"/>
                <a:gd name="connsiteY950" fmla="*/ 1193483 h 1348549"/>
                <a:gd name="connsiteX951" fmla="*/ 576548 w 860393"/>
                <a:gd name="connsiteY951" fmla="*/ 1189577 h 1348549"/>
                <a:gd name="connsiteX952" fmla="*/ 584930 w 860393"/>
                <a:gd name="connsiteY952" fmla="*/ 1191673 h 1348549"/>
                <a:gd name="connsiteX953" fmla="*/ 584645 w 860393"/>
                <a:gd name="connsiteY953" fmla="*/ 1190149 h 1348549"/>
                <a:gd name="connsiteX954" fmla="*/ 587597 w 860393"/>
                <a:gd name="connsiteY954" fmla="*/ 1188148 h 1348549"/>
                <a:gd name="connsiteX955" fmla="*/ 589788 w 860393"/>
                <a:gd name="connsiteY955" fmla="*/ 1192721 h 1348549"/>
                <a:gd name="connsiteX956" fmla="*/ 589979 w 860393"/>
                <a:gd name="connsiteY956" fmla="*/ 1194244 h 1348549"/>
                <a:gd name="connsiteX957" fmla="*/ 593407 w 860393"/>
                <a:gd name="connsiteY957" fmla="*/ 1195388 h 1348549"/>
                <a:gd name="connsiteX958" fmla="*/ 597313 w 860393"/>
                <a:gd name="connsiteY958" fmla="*/ 1188530 h 1348549"/>
                <a:gd name="connsiteX959" fmla="*/ 600456 w 860393"/>
                <a:gd name="connsiteY959" fmla="*/ 1188148 h 1348549"/>
                <a:gd name="connsiteX960" fmla="*/ 604838 w 860393"/>
                <a:gd name="connsiteY960" fmla="*/ 1184339 h 1348549"/>
                <a:gd name="connsiteX961" fmla="*/ 606742 w 860393"/>
                <a:gd name="connsiteY961" fmla="*/ 1187291 h 1348549"/>
                <a:gd name="connsiteX962" fmla="*/ 620554 w 860393"/>
                <a:gd name="connsiteY962" fmla="*/ 1182338 h 1348549"/>
                <a:gd name="connsiteX963" fmla="*/ 622363 w 860393"/>
                <a:gd name="connsiteY963" fmla="*/ 1183767 h 1348549"/>
                <a:gd name="connsiteX964" fmla="*/ 627126 w 860393"/>
                <a:gd name="connsiteY964" fmla="*/ 1183100 h 1348549"/>
                <a:gd name="connsiteX965" fmla="*/ 630079 w 860393"/>
                <a:gd name="connsiteY965" fmla="*/ 1181100 h 1348549"/>
                <a:gd name="connsiteX966" fmla="*/ 633413 w 860393"/>
                <a:gd name="connsiteY966" fmla="*/ 1182338 h 1348549"/>
                <a:gd name="connsiteX967" fmla="*/ 638747 w 860393"/>
                <a:gd name="connsiteY967" fmla="*/ 1186434 h 1348549"/>
                <a:gd name="connsiteX968" fmla="*/ 639128 w 860393"/>
                <a:gd name="connsiteY968" fmla="*/ 1189577 h 1348549"/>
                <a:gd name="connsiteX969" fmla="*/ 637984 w 860393"/>
                <a:gd name="connsiteY969" fmla="*/ 1193006 h 1348549"/>
                <a:gd name="connsiteX970" fmla="*/ 642271 w 860393"/>
                <a:gd name="connsiteY970" fmla="*/ 1189196 h 1348549"/>
                <a:gd name="connsiteX971" fmla="*/ 644080 w 860393"/>
                <a:gd name="connsiteY971" fmla="*/ 1190530 h 1348549"/>
                <a:gd name="connsiteX972" fmla="*/ 644271 w 860393"/>
                <a:gd name="connsiteY972" fmla="*/ 1192149 h 1348549"/>
                <a:gd name="connsiteX973" fmla="*/ 645890 w 860393"/>
                <a:gd name="connsiteY973" fmla="*/ 1191959 h 1348549"/>
                <a:gd name="connsiteX974" fmla="*/ 650748 w 860393"/>
                <a:gd name="connsiteY974" fmla="*/ 1192911 h 1348549"/>
                <a:gd name="connsiteX975" fmla="*/ 651986 w 860393"/>
                <a:gd name="connsiteY975" fmla="*/ 1189577 h 1348549"/>
                <a:gd name="connsiteX976" fmla="*/ 652367 w 860393"/>
                <a:gd name="connsiteY976" fmla="*/ 1192721 h 1348549"/>
                <a:gd name="connsiteX977" fmla="*/ 653796 w 860393"/>
                <a:gd name="connsiteY977" fmla="*/ 1190911 h 1348549"/>
                <a:gd name="connsiteX978" fmla="*/ 658654 w 860393"/>
                <a:gd name="connsiteY978" fmla="*/ 1191959 h 1348549"/>
                <a:gd name="connsiteX979" fmla="*/ 666179 w 860393"/>
                <a:gd name="connsiteY979" fmla="*/ 1187768 h 1348549"/>
                <a:gd name="connsiteX980" fmla="*/ 666940 w 860393"/>
                <a:gd name="connsiteY980" fmla="*/ 1181290 h 1348549"/>
                <a:gd name="connsiteX981" fmla="*/ 671703 w 860393"/>
                <a:gd name="connsiteY981" fmla="*/ 1180624 h 1348549"/>
                <a:gd name="connsiteX982" fmla="*/ 678561 w 860393"/>
                <a:gd name="connsiteY982" fmla="*/ 1171765 h 1348549"/>
                <a:gd name="connsiteX983" fmla="*/ 674561 w 860393"/>
                <a:gd name="connsiteY983" fmla="*/ 1165860 h 1348549"/>
                <a:gd name="connsiteX984" fmla="*/ 677513 w 860393"/>
                <a:gd name="connsiteY984" fmla="*/ 1163860 h 1348549"/>
                <a:gd name="connsiteX985" fmla="*/ 672179 w 860393"/>
                <a:gd name="connsiteY985" fmla="*/ 1159764 h 1348549"/>
                <a:gd name="connsiteX986" fmla="*/ 668464 w 860393"/>
                <a:gd name="connsiteY986" fmla="*/ 1155383 h 1348549"/>
                <a:gd name="connsiteX987" fmla="*/ 668274 w 860393"/>
                <a:gd name="connsiteY987" fmla="*/ 1153859 h 1348549"/>
                <a:gd name="connsiteX988" fmla="*/ 667703 w 860393"/>
                <a:gd name="connsiteY988" fmla="*/ 1149096 h 1348549"/>
                <a:gd name="connsiteX989" fmla="*/ 658749 w 860393"/>
                <a:gd name="connsiteY989" fmla="*/ 1142238 h 1348549"/>
                <a:gd name="connsiteX990" fmla="*/ 659892 w 860393"/>
                <a:gd name="connsiteY990" fmla="*/ 1138809 h 1348549"/>
                <a:gd name="connsiteX991" fmla="*/ 656368 w 860393"/>
                <a:gd name="connsiteY991" fmla="*/ 1136047 h 1348549"/>
                <a:gd name="connsiteX992" fmla="*/ 659130 w 860393"/>
                <a:gd name="connsiteY992" fmla="*/ 1132523 h 1348549"/>
                <a:gd name="connsiteX993" fmla="*/ 662845 w 860393"/>
                <a:gd name="connsiteY993" fmla="*/ 1136904 h 1348549"/>
                <a:gd name="connsiteX994" fmla="*/ 664083 w 860393"/>
                <a:gd name="connsiteY994" fmla="*/ 1133475 h 1348549"/>
                <a:gd name="connsiteX995" fmla="*/ 668846 w 860393"/>
                <a:gd name="connsiteY995" fmla="*/ 1132904 h 1348549"/>
                <a:gd name="connsiteX996" fmla="*/ 669036 w 860393"/>
                <a:gd name="connsiteY996" fmla="*/ 1134523 h 1348549"/>
                <a:gd name="connsiteX997" fmla="*/ 676465 w 860393"/>
                <a:gd name="connsiteY997" fmla="*/ 1130332 h 1348549"/>
                <a:gd name="connsiteX998" fmla="*/ 682847 w 860393"/>
                <a:gd name="connsiteY998" fmla="*/ 1142333 h 1348549"/>
                <a:gd name="connsiteX999" fmla="*/ 687800 w 860393"/>
                <a:gd name="connsiteY999" fmla="*/ 1143286 h 1348549"/>
                <a:gd name="connsiteX1000" fmla="*/ 692087 w 860393"/>
                <a:gd name="connsiteY1000" fmla="*/ 1139571 h 1348549"/>
                <a:gd name="connsiteX1001" fmla="*/ 689515 w 860393"/>
                <a:gd name="connsiteY1001" fmla="*/ 1131856 h 1348549"/>
                <a:gd name="connsiteX1002" fmla="*/ 690944 w 860393"/>
                <a:gd name="connsiteY1002" fmla="*/ 1130046 h 1348549"/>
                <a:gd name="connsiteX1003" fmla="*/ 690277 w 860393"/>
                <a:gd name="connsiteY1003" fmla="*/ 1125379 h 1348549"/>
                <a:gd name="connsiteX1004" fmla="*/ 693230 w 860393"/>
                <a:gd name="connsiteY1004" fmla="*/ 1123379 h 1348549"/>
                <a:gd name="connsiteX1005" fmla="*/ 692658 w 860393"/>
                <a:gd name="connsiteY1005" fmla="*/ 1118616 h 1348549"/>
                <a:gd name="connsiteX1006" fmla="*/ 697135 w 860393"/>
                <a:gd name="connsiteY1006" fmla="*/ 1116425 h 1348549"/>
                <a:gd name="connsiteX1007" fmla="*/ 702564 w 860393"/>
                <a:gd name="connsiteY1007" fmla="*/ 1120616 h 1348549"/>
                <a:gd name="connsiteX1008" fmla="*/ 706660 w 860393"/>
                <a:gd name="connsiteY1008" fmla="*/ 1115282 h 1348549"/>
                <a:gd name="connsiteX1009" fmla="*/ 709231 w 860393"/>
                <a:gd name="connsiteY1009" fmla="*/ 1122902 h 1348549"/>
                <a:gd name="connsiteX1010" fmla="*/ 716185 w 860393"/>
                <a:gd name="connsiteY1010" fmla="*/ 1126903 h 1348549"/>
                <a:gd name="connsiteX1011" fmla="*/ 718280 w 860393"/>
                <a:gd name="connsiteY1011" fmla="*/ 1131380 h 1348549"/>
                <a:gd name="connsiteX1012" fmla="*/ 721519 w 860393"/>
                <a:gd name="connsiteY1012" fmla="*/ 1130998 h 1348549"/>
                <a:gd name="connsiteX1013" fmla="*/ 718947 w 860393"/>
                <a:gd name="connsiteY1013" fmla="*/ 1136142 h 1348549"/>
                <a:gd name="connsiteX1014" fmla="*/ 719138 w 860393"/>
                <a:gd name="connsiteY1014" fmla="*/ 1137761 h 1348549"/>
                <a:gd name="connsiteX1015" fmla="*/ 726091 w 860393"/>
                <a:gd name="connsiteY1015" fmla="*/ 1141667 h 1348549"/>
                <a:gd name="connsiteX1016" fmla="*/ 724662 w 860393"/>
                <a:gd name="connsiteY1016" fmla="*/ 1143476 h 1348549"/>
                <a:gd name="connsiteX1017" fmla="*/ 729424 w 860393"/>
                <a:gd name="connsiteY1017" fmla="*/ 1142810 h 1348549"/>
                <a:gd name="connsiteX1018" fmla="*/ 736473 w 860393"/>
                <a:gd name="connsiteY1018" fmla="*/ 1148334 h 1348549"/>
                <a:gd name="connsiteX1019" fmla="*/ 739712 w 860393"/>
                <a:gd name="connsiteY1019" fmla="*/ 1147953 h 1348549"/>
                <a:gd name="connsiteX1020" fmla="*/ 741045 w 860393"/>
                <a:gd name="connsiteY1020" fmla="*/ 1146143 h 1348549"/>
                <a:gd name="connsiteX1021" fmla="*/ 754856 w 860393"/>
                <a:gd name="connsiteY1021" fmla="*/ 1141190 h 1348549"/>
                <a:gd name="connsiteX1022" fmla="*/ 757999 w 860393"/>
                <a:gd name="connsiteY1022" fmla="*/ 1140809 h 1348549"/>
                <a:gd name="connsiteX1023" fmla="*/ 758190 w 860393"/>
                <a:gd name="connsiteY1023" fmla="*/ 1142333 h 1348549"/>
                <a:gd name="connsiteX1024" fmla="*/ 761333 w 860393"/>
                <a:gd name="connsiteY1024" fmla="*/ 1141952 h 1348549"/>
                <a:gd name="connsiteX1025" fmla="*/ 763143 w 860393"/>
                <a:gd name="connsiteY1025" fmla="*/ 1143381 h 1348549"/>
                <a:gd name="connsiteX1026" fmla="*/ 766286 w 860393"/>
                <a:gd name="connsiteY1026" fmla="*/ 1142905 h 1348549"/>
                <a:gd name="connsiteX1027" fmla="*/ 765905 w 860393"/>
                <a:gd name="connsiteY1027" fmla="*/ 1139762 h 1348549"/>
                <a:gd name="connsiteX1028" fmla="*/ 767524 w 860393"/>
                <a:gd name="connsiteY1028" fmla="*/ 1139571 h 1348549"/>
                <a:gd name="connsiteX1029" fmla="*/ 767048 w 860393"/>
                <a:gd name="connsiteY1029" fmla="*/ 1136428 h 1348549"/>
                <a:gd name="connsiteX1030" fmla="*/ 766477 w 860393"/>
                <a:gd name="connsiteY1030" fmla="*/ 1131665 h 1348549"/>
                <a:gd name="connsiteX1031" fmla="*/ 770382 w 860393"/>
                <a:gd name="connsiteY1031" fmla="*/ 1124807 h 1348549"/>
                <a:gd name="connsiteX1032" fmla="*/ 766667 w 860393"/>
                <a:gd name="connsiteY1032" fmla="*/ 1120426 h 1348549"/>
                <a:gd name="connsiteX1033" fmla="*/ 766477 w 860393"/>
                <a:gd name="connsiteY1033" fmla="*/ 1118902 h 1348549"/>
                <a:gd name="connsiteX1034" fmla="*/ 773906 w 860393"/>
                <a:gd name="connsiteY1034" fmla="*/ 1114711 h 1348549"/>
                <a:gd name="connsiteX1035" fmla="*/ 775145 w 860393"/>
                <a:gd name="connsiteY1035" fmla="*/ 1111377 h 1348549"/>
                <a:gd name="connsiteX1036" fmla="*/ 778097 w 860393"/>
                <a:gd name="connsiteY1036" fmla="*/ 1109377 h 1348549"/>
                <a:gd name="connsiteX1037" fmla="*/ 776288 w 860393"/>
                <a:gd name="connsiteY1037" fmla="*/ 1107948 h 1348549"/>
                <a:gd name="connsiteX1038" fmla="*/ 780574 w 860393"/>
                <a:gd name="connsiteY1038" fmla="*/ 1104233 h 1348549"/>
                <a:gd name="connsiteX1039" fmla="*/ 778002 w 860393"/>
                <a:gd name="connsiteY1039" fmla="*/ 1096518 h 1348549"/>
                <a:gd name="connsiteX1040" fmla="*/ 772097 w 860393"/>
                <a:gd name="connsiteY1040" fmla="*/ 1087660 h 1348549"/>
                <a:gd name="connsiteX1041" fmla="*/ 771715 w 860393"/>
                <a:gd name="connsiteY1041" fmla="*/ 1084517 h 1348549"/>
                <a:gd name="connsiteX1042" fmla="*/ 775240 w 860393"/>
                <a:gd name="connsiteY1042" fmla="*/ 1087279 h 1348549"/>
                <a:gd name="connsiteX1043" fmla="*/ 778192 w 860393"/>
                <a:gd name="connsiteY1043" fmla="*/ 1085279 h 1348549"/>
                <a:gd name="connsiteX1044" fmla="*/ 787241 w 860393"/>
                <a:gd name="connsiteY1044" fmla="*/ 1080897 h 1348549"/>
                <a:gd name="connsiteX1045" fmla="*/ 788480 w 860393"/>
                <a:gd name="connsiteY1045" fmla="*/ 1077563 h 1348549"/>
                <a:gd name="connsiteX1046" fmla="*/ 787813 w 860393"/>
                <a:gd name="connsiteY1046" fmla="*/ 1072801 h 1348549"/>
                <a:gd name="connsiteX1047" fmla="*/ 790384 w 860393"/>
                <a:gd name="connsiteY1047" fmla="*/ 1067657 h 1348549"/>
                <a:gd name="connsiteX1048" fmla="*/ 794004 w 860393"/>
                <a:gd name="connsiteY1048" fmla="*/ 1070419 h 1348549"/>
                <a:gd name="connsiteX1049" fmla="*/ 807720 w 860393"/>
                <a:gd name="connsiteY1049" fmla="*/ 1065467 h 1348549"/>
                <a:gd name="connsiteX1050" fmla="*/ 806958 w 860393"/>
                <a:gd name="connsiteY1050" fmla="*/ 1059180 h 1348549"/>
                <a:gd name="connsiteX1051" fmla="*/ 808577 w 860393"/>
                <a:gd name="connsiteY1051" fmla="*/ 1058989 h 1348549"/>
                <a:gd name="connsiteX1052" fmla="*/ 808101 w 860393"/>
                <a:gd name="connsiteY1052" fmla="*/ 1055846 h 1348549"/>
                <a:gd name="connsiteX1053" fmla="*/ 809149 w 860393"/>
                <a:gd name="connsiteY1053" fmla="*/ 1050893 h 1348549"/>
                <a:gd name="connsiteX1054" fmla="*/ 808672 w 860393"/>
                <a:gd name="connsiteY1054" fmla="*/ 1047750 h 1348549"/>
                <a:gd name="connsiteX1055" fmla="*/ 806767 w 860393"/>
                <a:gd name="connsiteY1055" fmla="*/ 1044797 h 1348549"/>
                <a:gd name="connsiteX1056" fmla="*/ 809911 w 860393"/>
                <a:gd name="connsiteY1056" fmla="*/ 1044321 h 1348549"/>
                <a:gd name="connsiteX1057" fmla="*/ 813435 w 860393"/>
                <a:gd name="connsiteY1057" fmla="*/ 1047083 h 1348549"/>
                <a:gd name="connsiteX1058" fmla="*/ 815435 w 860393"/>
                <a:gd name="connsiteY1058" fmla="*/ 1050036 h 1348549"/>
                <a:gd name="connsiteX1059" fmla="*/ 823341 w 860393"/>
                <a:gd name="connsiteY1059" fmla="*/ 1049084 h 1348549"/>
                <a:gd name="connsiteX1060" fmla="*/ 825532 w 860393"/>
                <a:gd name="connsiteY1060" fmla="*/ 1053560 h 1348549"/>
                <a:gd name="connsiteX1061" fmla="*/ 828675 w 860393"/>
                <a:gd name="connsiteY1061" fmla="*/ 1053179 h 1348549"/>
                <a:gd name="connsiteX1062" fmla="*/ 830580 w 860393"/>
                <a:gd name="connsiteY1062" fmla="*/ 1056132 h 1348549"/>
                <a:gd name="connsiteX1063" fmla="*/ 835152 w 860393"/>
                <a:gd name="connsiteY1063" fmla="*/ 1053941 h 1348549"/>
                <a:gd name="connsiteX1064" fmla="*/ 840676 w 860393"/>
                <a:gd name="connsiteY1064" fmla="*/ 1059656 h 1348549"/>
                <a:gd name="connsiteX1065" fmla="*/ 850011 w 860393"/>
                <a:gd name="connsiteY1065" fmla="*/ 1056894 h 1348549"/>
                <a:gd name="connsiteX1066" fmla="*/ 849535 w 860393"/>
                <a:gd name="connsiteY1066" fmla="*/ 1053751 h 1348549"/>
                <a:gd name="connsiteX1067" fmla="*/ 849154 w 860393"/>
                <a:gd name="connsiteY1067" fmla="*/ 1050608 h 1348549"/>
                <a:gd name="connsiteX1068" fmla="*/ 857440 w 860393"/>
                <a:gd name="connsiteY1068" fmla="*/ 1039939 h 1348549"/>
                <a:gd name="connsiteX1069" fmla="*/ 860393 w 860393"/>
                <a:gd name="connsiteY1069" fmla="*/ 1025080 h 1348549"/>
                <a:gd name="connsiteX1070" fmla="*/ 859917 w 860393"/>
                <a:gd name="connsiteY1070" fmla="*/ 1021937 h 1348549"/>
                <a:gd name="connsiteX1071" fmla="*/ 855250 w 860393"/>
                <a:gd name="connsiteY1071" fmla="*/ 1022509 h 1348549"/>
                <a:gd name="connsiteX1072" fmla="*/ 855250 w 860393"/>
                <a:gd name="connsiteY1072" fmla="*/ 1022509 h 1348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</a:cxnLst>
              <a:rect l="l" t="t" r="r" b="b"/>
              <a:pathLst>
                <a:path w="860393" h="1348549">
                  <a:moveTo>
                    <a:pt x="855250" y="1022509"/>
                  </a:moveTo>
                  <a:lnTo>
                    <a:pt x="856012" y="1016032"/>
                  </a:lnTo>
                  <a:lnTo>
                    <a:pt x="854202" y="1014698"/>
                  </a:lnTo>
                  <a:lnTo>
                    <a:pt x="853821" y="1011555"/>
                  </a:lnTo>
                  <a:lnTo>
                    <a:pt x="852202" y="1011746"/>
                  </a:lnTo>
                  <a:lnTo>
                    <a:pt x="854583" y="1004983"/>
                  </a:lnTo>
                  <a:lnTo>
                    <a:pt x="847439" y="999458"/>
                  </a:lnTo>
                  <a:lnTo>
                    <a:pt x="850011" y="994315"/>
                  </a:lnTo>
                  <a:lnTo>
                    <a:pt x="849821" y="992791"/>
                  </a:lnTo>
                  <a:lnTo>
                    <a:pt x="846677" y="993172"/>
                  </a:lnTo>
                  <a:lnTo>
                    <a:pt x="845725" y="998125"/>
                  </a:lnTo>
                  <a:lnTo>
                    <a:pt x="835438" y="992981"/>
                  </a:lnTo>
                  <a:lnTo>
                    <a:pt x="832675" y="996601"/>
                  </a:lnTo>
                  <a:lnTo>
                    <a:pt x="833247" y="1001268"/>
                  </a:lnTo>
                  <a:lnTo>
                    <a:pt x="828484" y="1001935"/>
                  </a:lnTo>
                  <a:lnTo>
                    <a:pt x="827151" y="1003649"/>
                  </a:lnTo>
                  <a:lnTo>
                    <a:pt x="822484" y="1017080"/>
                  </a:lnTo>
                  <a:lnTo>
                    <a:pt x="815340" y="1011555"/>
                  </a:lnTo>
                  <a:lnTo>
                    <a:pt x="814483" y="1005268"/>
                  </a:lnTo>
                  <a:lnTo>
                    <a:pt x="810578" y="999363"/>
                  </a:lnTo>
                  <a:lnTo>
                    <a:pt x="807434" y="999744"/>
                  </a:lnTo>
                  <a:lnTo>
                    <a:pt x="806958" y="996601"/>
                  </a:lnTo>
                  <a:lnTo>
                    <a:pt x="814102" y="989267"/>
                  </a:lnTo>
                  <a:lnTo>
                    <a:pt x="819055" y="990314"/>
                  </a:lnTo>
                  <a:lnTo>
                    <a:pt x="822960" y="983361"/>
                  </a:lnTo>
                  <a:lnTo>
                    <a:pt x="819626" y="982218"/>
                  </a:lnTo>
                  <a:lnTo>
                    <a:pt x="820769" y="978789"/>
                  </a:lnTo>
                  <a:lnTo>
                    <a:pt x="819150" y="979075"/>
                  </a:lnTo>
                  <a:lnTo>
                    <a:pt x="822103" y="977075"/>
                  </a:lnTo>
                  <a:lnTo>
                    <a:pt x="818959" y="977455"/>
                  </a:lnTo>
                  <a:lnTo>
                    <a:pt x="813816" y="974884"/>
                  </a:lnTo>
                  <a:lnTo>
                    <a:pt x="814673" y="968407"/>
                  </a:lnTo>
                  <a:lnTo>
                    <a:pt x="812863" y="966978"/>
                  </a:lnTo>
                  <a:lnTo>
                    <a:pt x="809911" y="968978"/>
                  </a:lnTo>
                  <a:lnTo>
                    <a:pt x="807720" y="964501"/>
                  </a:lnTo>
                  <a:lnTo>
                    <a:pt x="809054" y="962692"/>
                  </a:lnTo>
                  <a:lnTo>
                    <a:pt x="807530" y="962882"/>
                  </a:lnTo>
                  <a:lnTo>
                    <a:pt x="806863" y="958120"/>
                  </a:lnTo>
                  <a:lnTo>
                    <a:pt x="803720" y="958501"/>
                  </a:lnTo>
                  <a:lnTo>
                    <a:pt x="801338" y="952405"/>
                  </a:lnTo>
                  <a:lnTo>
                    <a:pt x="799433" y="949452"/>
                  </a:lnTo>
                  <a:lnTo>
                    <a:pt x="795814" y="946690"/>
                  </a:lnTo>
                  <a:lnTo>
                    <a:pt x="790289" y="940975"/>
                  </a:lnTo>
                  <a:lnTo>
                    <a:pt x="785717" y="930402"/>
                  </a:lnTo>
                  <a:lnTo>
                    <a:pt x="779240" y="929640"/>
                  </a:lnTo>
                  <a:lnTo>
                    <a:pt x="770572" y="924306"/>
                  </a:lnTo>
                  <a:lnTo>
                    <a:pt x="764762" y="916972"/>
                  </a:lnTo>
                  <a:lnTo>
                    <a:pt x="761619" y="917448"/>
                  </a:lnTo>
                  <a:lnTo>
                    <a:pt x="758857" y="920972"/>
                  </a:lnTo>
                  <a:lnTo>
                    <a:pt x="757047" y="919543"/>
                  </a:lnTo>
                  <a:lnTo>
                    <a:pt x="755904" y="910114"/>
                  </a:lnTo>
                  <a:lnTo>
                    <a:pt x="750570" y="906018"/>
                  </a:lnTo>
                  <a:lnTo>
                    <a:pt x="754285" y="897541"/>
                  </a:lnTo>
                  <a:lnTo>
                    <a:pt x="743617" y="889254"/>
                  </a:lnTo>
                  <a:lnTo>
                    <a:pt x="735044" y="872680"/>
                  </a:lnTo>
                  <a:lnTo>
                    <a:pt x="727996" y="867156"/>
                  </a:lnTo>
                  <a:lnTo>
                    <a:pt x="727996" y="867156"/>
                  </a:lnTo>
                  <a:lnTo>
                    <a:pt x="725424" y="872300"/>
                  </a:lnTo>
                  <a:lnTo>
                    <a:pt x="725043" y="882015"/>
                  </a:lnTo>
                  <a:lnTo>
                    <a:pt x="723424" y="882205"/>
                  </a:lnTo>
                  <a:lnTo>
                    <a:pt x="722090" y="883920"/>
                  </a:lnTo>
                  <a:lnTo>
                    <a:pt x="720280" y="882587"/>
                  </a:lnTo>
                  <a:lnTo>
                    <a:pt x="717709" y="887730"/>
                  </a:lnTo>
                  <a:lnTo>
                    <a:pt x="715994" y="886301"/>
                  </a:lnTo>
                  <a:lnTo>
                    <a:pt x="715613" y="883158"/>
                  </a:lnTo>
                  <a:lnTo>
                    <a:pt x="694849" y="871347"/>
                  </a:lnTo>
                  <a:lnTo>
                    <a:pt x="692467" y="865251"/>
                  </a:lnTo>
                  <a:lnTo>
                    <a:pt x="690848" y="852678"/>
                  </a:lnTo>
                  <a:lnTo>
                    <a:pt x="687610" y="840200"/>
                  </a:lnTo>
                  <a:lnTo>
                    <a:pt x="688657" y="835247"/>
                  </a:lnTo>
                  <a:lnTo>
                    <a:pt x="694849" y="821626"/>
                  </a:lnTo>
                  <a:lnTo>
                    <a:pt x="696468" y="821436"/>
                  </a:lnTo>
                  <a:lnTo>
                    <a:pt x="697421" y="816483"/>
                  </a:lnTo>
                  <a:lnTo>
                    <a:pt x="699040" y="816293"/>
                  </a:lnTo>
                  <a:lnTo>
                    <a:pt x="697039" y="813340"/>
                  </a:lnTo>
                  <a:lnTo>
                    <a:pt x="697611" y="805243"/>
                  </a:lnTo>
                  <a:lnTo>
                    <a:pt x="696087" y="805529"/>
                  </a:lnTo>
                  <a:lnTo>
                    <a:pt x="693706" y="812197"/>
                  </a:lnTo>
                  <a:lnTo>
                    <a:pt x="690563" y="812578"/>
                  </a:lnTo>
                  <a:lnTo>
                    <a:pt x="686943" y="809815"/>
                  </a:lnTo>
                  <a:lnTo>
                    <a:pt x="685229" y="808482"/>
                  </a:lnTo>
                  <a:lnTo>
                    <a:pt x="681799" y="807339"/>
                  </a:lnTo>
                  <a:lnTo>
                    <a:pt x="684371" y="802196"/>
                  </a:lnTo>
                  <a:lnTo>
                    <a:pt x="680847" y="799433"/>
                  </a:lnTo>
                  <a:lnTo>
                    <a:pt x="677513" y="798195"/>
                  </a:lnTo>
                  <a:lnTo>
                    <a:pt x="671322" y="800576"/>
                  </a:lnTo>
                  <a:lnTo>
                    <a:pt x="665416" y="791718"/>
                  </a:lnTo>
                  <a:lnTo>
                    <a:pt x="660654" y="792385"/>
                  </a:lnTo>
                  <a:lnTo>
                    <a:pt x="651986" y="787051"/>
                  </a:lnTo>
                  <a:lnTo>
                    <a:pt x="649605" y="793718"/>
                  </a:lnTo>
                  <a:lnTo>
                    <a:pt x="646271" y="792575"/>
                  </a:lnTo>
                  <a:lnTo>
                    <a:pt x="642175" y="797909"/>
                  </a:lnTo>
                  <a:lnTo>
                    <a:pt x="636080" y="800290"/>
                  </a:lnTo>
                  <a:lnTo>
                    <a:pt x="635317" y="806768"/>
                  </a:lnTo>
                  <a:lnTo>
                    <a:pt x="622649" y="808387"/>
                  </a:lnTo>
                  <a:lnTo>
                    <a:pt x="615887" y="806101"/>
                  </a:lnTo>
                  <a:lnTo>
                    <a:pt x="604075" y="788289"/>
                  </a:lnTo>
                  <a:lnTo>
                    <a:pt x="595598" y="784574"/>
                  </a:lnTo>
                  <a:lnTo>
                    <a:pt x="587312" y="782479"/>
                  </a:lnTo>
                  <a:lnTo>
                    <a:pt x="585311" y="779526"/>
                  </a:lnTo>
                  <a:lnTo>
                    <a:pt x="581978" y="778288"/>
                  </a:lnTo>
                  <a:lnTo>
                    <a:pt x="579406" y="783431"/>
                  </a:lnTo>
                  <a:lnTo>
                    <a:pt x="578167" y="786860"/>
                  </a:lnTo>
                  <a:lnTo>
                    <a:pt x="579977" y="788194"/>
                  </a:lnTo>
                  <a:lnTo>
                    <a:pt x="572072" y="802005"/>
                  </a:lnTo>
                  <a:lnTo>
                    <a:pt x="558927" y="798862"/>
                  </a:lnTo>
                  <a:lnTo>
                    <a:pt x="555498" y="797719"/>
                  </a:lnTo>
                  <a:lnTo>
                    <a:pt x="547211" y="782764"/>
                  </a:lnTo>
                  <a:lnTo>
                    <a:pt x="543878" y="781526"/>
                  </a:lnTo>
                  <a:lnTo>
                    <a:pt x="541115" y="785146"/>
                  </a:lnTo>
                  <a:lnTo>
                    <a:pt x="535972" y="782574"/>
                  </a:lnTo>
                  <a:lnTo>
                    <a:pt x="520922" y="778097"/>
                  </a:lnTo>
                  <a:lnTo>
                    <a:pt x="513493" y="782193"/>
                  </a:lnTo>
                  <a:lnTo>
                    <a:pt x="509111" y="786003"/>
                  </a:lnTo>
                  <a:lnTo>
                    <a:pt x="504444" y="786575"/>
                  </a:lnTo>
                  <a:lnTo>
                    <a:pt x="504825" y="789718"/>
                  </a:lnTo>
                  <a:lnTo>
                    <a:pt x="502634" y="785241"/>
                  </a:lnTo>
                  <a:lnTo>
                    <a:pt x="495490" y="779717"/>
                  </a:lnTo>
                  <a:lnTo>
                    <a:pt x="501587" y="777335"/>
                  </a:lnTo>
                  <a:lnTo>
                    <a:pt x="499681" y="774383"/>
                  </a:lnTo>
                  <a:lnTo>
                    <a:pt x="492538" y="768858"/>
                  </a:lnTo>
                  <a:lnTo>
                    <a:pt x="492157" y="765715"/>
                  </a:lnTo>
                  <a:lnTo>
                    <a:pt x="495109" y="763714"/>
                  </a:lnTo>
                  <a:lnTo>
                    <a:pt x="492728" y="757618"/>
                  </a:lnTo>
                  <a:lnTo>
                    <a:pt x="485775" y="753713"/>
                  </a:lnTo>
                  <a:lnTo>
                    <a:pt x="483584" y="749141"/>
                  </a:lnTo>
                  <a:lnTo>
                    <a:pt x="480441" y="749522"/>
                  </a:lnTo>
                  <a:lnTo>
                    <a:pt x="478441" y="746569"/>
                  </a:lnTo>
                  <a:lnTo>
                    <a:pt x="467011" y="731996"/>
                  </a:lnTo>
                  <a:lnTo>
                    <a:pt x="465011" y="729043"/>
                  </a:lnTo>
                  <a:lnTo>
                    <a:pt x="463582" y="730853"/>
                  </a:lnTo>
                  <a:lnTo>
                    <a:pt x="456152" y="722185"/>
                  </a:lnTo>
                  <a:lnTo>
                    <a:pt x="448818" y="727901"/>
                  </a:lnTo>
                  <a:lnTo>
                    <a:pt x="439388" y="729139"/>
                  </a:lnTo>
                  <a:lnTo>
                    <a:pt x="436626" y="732663"/>
                  </a:lnTo>
                  <a:lnTo>
                    <a:pt x="434054" y="737806"/>
                  </a:lnTo>
                  <a:lnTo>
                    <a:pt x="432054" y="734854"/>
                  </a:lnTo>
                  <a:lnTo>
                    <a:pt x="433006" y="729901"/>
                  </a:lnTo>
                  <a:lnTo>
                    <a:pt x="421386" y="726567"/>
                  </a:lnTo>
                  <a:lnTo>
                    <a:pt x="415290" y="729043"/>
                  </a:lnTo>
                  <a:lnTo>
                    <a:pt x="410337" y="727996"/>
                  </a:lnTo>
                  <a:lnTo>
                    <a:pt x="410146" y="726472"/>
                  </a:lnTo>
                  <a:lnTo>
                    <a:pt x="409956" y="724852"/>
                  </a:lnTo>
                  <a:lnTo>
                    <a:pt x="404622" y="720757"/>
                  </a:lnTo>
                  <a:lnTo>
                    <a:pt x="403003" y="720947"/>
                  </a:lnTo>
                  <a:lnTo>
                    <a:pt x="401860" y="724281"/>
                  </a:lnTo>
                  <a:lnTo>
                    <a:pt x="401288" y="719518"/>
                  </a:lnTo>
                  <a:lnTo>
                    <a:pt x="399288" y="716566"/>
                  </a:lnTo>
                  <a:lnTo>
                    <a:pt x="394716" y="718756"/>
                  </a:lnTo>
                  <a:lnTo>
                    <a:pt x="391192" y="715994"/>
                  </a:lnTo>
                  <a:lnTo>
                    <a:pt x="384620" y="715232"/>
                  </a:lnTo>
                  <a:lnTo>
                    <a:pt x="382238" y="709136"/>
                  </a:lnTo>
                  <a:lnTo>
                    <a:pt x="379286" y="711137"/>
                  </a:lnTo>
                  <a:lnTo>
                    <a:pt x="375761" y="708374"/>
                  </a:lnTo>
                  <a:lnTo>
                    <a:pt x="371189" y="710565"/>
                  </a:lnTo>
                  <a:lnTo>
                    <a:pt x="369284" y="707612"/>
                  </a:lnTo>
                  <a:lnTo>
                    <a:pt x="368046" y="710946"/>
                  </a:lnTo>
                  <a:lnTo>
                    <a:pt x="364903" y="711327"/>
                  </a:lnTo>
                  <a:lnTo>
                    <a:pt x="365284" y="714470"/>
                  </a:lnTo>
                  <a:lnTo>
                    <a:pt x="363760" y="714756"/>
                  </a:lnTo>
                  <a:lnTo>
                    <a:pt x="361950" y="713327"/>
                  </a:lnTo>
                  <a:lnTo>
                    <a:pt x="358997" y="715327"/>
                  </a:lnTo>
                  <a:lnTo>
                    <a:pt x="357664" y="717137"/>
                  </a:lnTo>
                  <a:lnTo>
                    <a:pt x="357188" y="713899"/>
                  </a:lnTo>
                  <a:lnTo>
                    <a:pt x="355473" y="712565"/>
                  </a:lnTo>
                  <a:lnTo>
                    <a:pt x="354997" y="709422"/>
                  </a:lnTo>
                  <a:lnTo>
                    <a:pt x="351854" y="709803"/>
                  </a:lnTo>
                  <a:lnTo>
                    <a:pt x="354235" y="703135"/>
                  </a:lnTo>
                  <a:lnTo>
                    <a:pt x="360331" y="687896"/>
                  </a:lnTo>
                  <a:lnTo>
                    <a:pt x="362807" y="669893"/>
                  </a:lnTo>
                  <a:lnTo>
                    <a:pt x="359664" y="670369"/>
                  </a:lnTo>
                  <a:lnTo>
                    <a:pt x="355949" y="678847"/>
                  </a:lnTo>
                  <a:lnTo>
                    <a:pt x="350806" y="676275"/>
                  </a:lnTo>
                  <a:lnTo>
                    <a:pt x="349472" y="678085"/>
                  </a:lnTo>
                  <a:lnTo>
                    <a:pt x="350044" y="682752"/>
                  </a:lnTo>
                  <a:lnTo>
                    <a:pt x="345091" y="681800"/>
                  </a:lnTo>
                  <a:lnTo>
                    <a:pt x="341947" y="682180"/>
                  </a:lnTo>
                  <a:lnTo>
                    <a:pt x="334899" y="689515"/>
                  </a:lnTo>
                  <a:lnTo>
                    <a:pt x="332708" y="685038"/>
                  </a:lnTo>
                  <a:lnTo>
                    <a:pt x="329374" y="683800"/>
                  </a:lnTo>
                  <a:lnTo>
                    <a:pt x="324803" y="673132"/>
                  </a:lnTo>
                  <a:lnTo>
                    <a:pt x="323945" y="666845"/>
                  </a:lnTo>
                  <a:lnTo>
                    <a:pt x="321945" y="663893"/>
                  </a:lnTo>
                  <a:lnTo>
                    <a:pt x="318611" y="662750"/>
                  </a:lnTo>
                  <a:lnTo>
                    <a:pt x="316039" y="667893"/>
                  </a:lnTo>
                  <a:lnTo>
                    <a:pt x="316611" y="659797"/>
                  </a:lnTo>
                  <a:lnTo>
                    <a:pt x="314230" y="653701"/>
                  </a:lnTo>
                  <a:lnTo>
                    <a:pt x="305753" y="649891"/>
                  </a:lnTo>
                  <a:lnTo>
                    <a:pt x="306705" y="645033"/>
                  </a:lnTo>
                  <a:lnTo>
                    <a:pt x="309944" y="644557"/>
                  </a:lnTo>
                  <a:lnTo>
                    <a:pt x="307467" y="638461"/>
                  </a:lnTo>
                  <a:lnTo>
                    <a:pt x="312230" y="637889"/>
                  </a:lnTo>
                  <a:lnTo>
                    <a:pt x="313468" y="634555"/>
                  </a:lnTo>
                  <a:lnTo>
                    <a:pt x="319183" y="629031"/>
                  </a:lnTo>
                  <a:lnTo>
                    <a:pt x="318897" y="627412"/>
                  </a:lnTo>
                  <a:lnTo>
                    <a:pt x="319945" y="622459"/>
                  </a:lnTo>
                  <a:lnTo>
                    <a:pt x="321659" y="623888"/>
                  </a:lnTo>
                  <a:lnTo>
                    <a:pt x="323088" y="622078"/>
                  </a:lnTo>
                  <a:lnTo>
                    <a:pt x="322707" y="618934"/>
                  </a:lnTo>
                  <a:lnTo>
                    <a:pt x="324993" y="612172"/>
                  </a:lnTo>
                  <a:lnTo>
                    <a:pt x="316706" y="610076"/>
                  </a:lnTo>
                  <a:lnTo>
                    <a:pt x="317849" y="606647"/>
                  </a:lnTo>
                  <a:lnTo>
                    <a:pt x="315563" y="600551"/>
                  </a:lnTo>
                  <a:lnTo>
                    <a:pt x="323183" y="597980"/>
                  </a:lnTo>
                  <a:lnTo>
                    <a:pt x="322802" y="594836"/>
                  </a:lnTo>
                  <a:lnTo>
                    <a:pt x="327374" y="592646"/>
                  </a:lnTo>
                  <a:lnTo>
                    <a:pt x="328327" y="587693"/>
                  </a:lnTo>
                  <a:lnTo>
                    <a:pt x="334613" y="586930"/>
                  </a:lnTo>
                  <a:lnTo>
                    <a:pt x="336804" y="578644"/>
                  </a:lnTo>
                  <a:lnTo>
                    <a:pt x="338519" y="579977"/>
                  </a:lnTo>
                  <a:lnTo>
                    <a:pt x="341090" y="574834"/>
                  </a:lnTo>
                  <a:lnTo>
                    <a:pt x="339090" y="571881"/>
                  </a:lnTo>
                  <a:lnTo>
                    <a:pt x="341852" y="568357"/>
                  </a:lnTo>
                  <a:lnTo>
                    <a:pt x="339471" y="562261"/>
                  </a:lnTo>
                  <a:lnTo>
                    <a:pt x="339280" y="560642"/>
                  </a:lnTo>
                  <a:lnTo>
                    <a:pt x="335185" y="553212"/>
                  </a:lnTo>
                  <a:lnTo>
                    <a:pt x="320516" y="539020"/>
                  </a:lnTo>
                  <a:lnTo>
                    <a:pt x="312039" y="535305"/>
                  </a:lnTo>
                  <a:lnTo>
                    <a:pt x="309658" y="529114"/>
                  </a:lnTo>
                  <a:lnTo>
                    <a:pt x="311182" y="528923"/>
                  </a:lnTo>
                  <a:lnTo>
                    <a:pt x="320040" y="523018"/>
                  </a:lnTo>
                  <a:lnTo>
                    <a:pt x="320802" y="516541"/>
                  </a:lnTo>
                  <a:lnTo>
                    <a:pt x="318421" y="510349"/>
                  </a:lnTo>
                  <a:lnTo>
                    <a:pt x="316801" y="497776"/>
                  </a:lnTo>
                  <a:lnTo>
                    <a:pt x="325279" y="488632"/>
                  </a:lnTo>
                  <a:lnTo>
                    <a:pt x="329851" y="473678"/>
                  </a:lnTo>
                  <a:lnTo>
                    <a:pt x="337471" y="471107"/>
                  </a:lnTo>
                  <a:lnTo>
                    <a:pt x="342995" y="463963"/>
                  </a:lnTo>
                  <a:lnTo>
                    <a:pt x="345567" y="458819"/>
                  </a:lnTo>
                  <a:lnTo>
                    <a:pt x="353282" y="456247"/>
                  </a:lnTo>
                  <a:lnTo>
                    <a:pt x="360521" y="437674"/>
                  </a:lnTo>
                  <a:lnTo>
                    <a:pt x="359473" y="429768"/>
                  </a:lnTo>
                  <a:lnTo>
                    <a:pt x="357092" y="423672"/>
                  </a:lnTo>
                  <a:lnTo>
                    <a:pt x="357473" y="414052"/>
                  </a:lnTo>
                  <a:lnTo>
                    <a:pt x="349948" y="392525"/>
                  </a:lnTo>
                  <a:lnTo>
                    <a:pt x="365665" y="377666"/>
                  </a:lnTo>
                  <a:lnTo>
                    <a:pt x="369665" y="370808"/>
                  </a:lnTo>
                  <a:lnTo>
                    <a:pt x="365665" y="364903"/>
                  </a:lnTo>
                  <a:lnTo>
                    <a:pt x="364236" y="353854"/>
                  </a:lnTo>
                  <a:lnTo>
                    <a:pt x="361664" y="346138"/>
                  </a:lnTo>
                  <a:lnTo>
                    <a:pt x="371951" y="338423"/>
                  </a:lnTo>
                  <a:lnTo>
                    <a:pt x="375095" y="338042"/>
                  </a:lnTo>
                  <a:lnTo>
                    <a:pt x="383096" y="325755"/>
                  </a:lnTo>
                  <a:lnTo>
                    <a:pt x="387287" y="320421"/>
                  </a:lnTo>
                  <a:lnTo>
                    <a:pt x="392335" y="310134"/>
                  </a:lnTo>
                  <a:lnTo>
                    <a:pt x="397669" y="314230"/>
                  </a:lnTo>
                  <a:lnTo>
                    <a:pt x="400717" y="312325"/>
                  </a:lnTo>
                  <a:lnTo>
                    <a:pt x="405003" y="308515"/>
                  </a:lnTo>
                  <a:lnTo>
                    <a:pt x="404241" y="302228"/>
                  </a:lnTo>
                  <a:lnTo>
                    <a:pt x="408146" y="295275"/>
                  </a:lnTo>
                  <a:lnTo>
                    <a:pt x="414052" y="291370"/>
                  </a:lnTo>
                  <a:lnTo>
                    <a:pt x="427672" y="297656"/>
                  </a:lnTo>
                  <a:lnTo>
                    <a:pt x="434912" y="291846"/>
                  </a:lnTo>
                  <a:lnTo>
                    <a:pt x="442246" y="273272"/>
                  </a:lnTo>
                  <a:lnTo>
                    <a:pt x="450723" y="264223"/>
                  </a:lnTo>
                  <a:lnTo>
                    <a:pt x="453962" y="252603"/>
                  </a:lnTo>
                  <a:lnTo>
                    <a:pt x="455771" y="253936"/>
                  </a:lnTo>
                  <a:lnTo>
                    <a:pt x="463487" y="264223"/>
                  </a:lnTo>
                  <a:lnTo>
                    <a:pt x="468821" y="268319"/>
                  </a:lnTo>
                  <a:lnTo>
                    <a:pt x="471773" y="266319"/>
                  </a:lnTo>
                  <a:lnTo>
                    <a:pt x="480060" y="268510"/>
                  </a:lnTo>
                  <a:lnTo>
                    <a:pt x="485965" y="264509"/>
                  </a:lnTo>
                  <a:lnTo>
                    <a:pt x="485394" y="259842"/>
                  </a:lnTo>
                  <a:lnTo>
                    <a:pt x="488156" y="256222"/>
                  </a:lnTo>
                  <a:lnTo>
                    <a:pt x="487299" y="249936"/>
                  </a:lnTo>
                  <a:lnTo>
                    <a:pt x="488156" y="243459"/>
                  </a:lnTo>
                  <a:lnTo>
                    <a:pt x="485299" y="234124"/>
                  </a:lnTo>
                  <a:lnTo>
                    <a:pt x="487680" y="227457"/>
                  </a:lnTo>
                  <a:lnTo>
                    <a:pt x="489204" y="214408"/>
                  </a:lnTo>
                  <a:lnTo>
                    <a:pt x="487013" y="209836"/>
                  </a:lnTo>
                  <a:lnTo>
                    <a:pt x="489775" y="206311"/>
                  </a:lnTo>
                  <a:lnTo>
                    <a:pt x="481108" y="188214"/>
                  </a:lnTo>
                  <a:lnTo>
                    <a:pt x="472249" y="194119"/>
                  </a:lnTo>
                  <a:lnTo>
                    <a:pt x="469582" y="186404"/>
                  </a:lnTo>
                  <a:lnTo>
                    <a:pt x="459581" y="182880"/>
                  </a:lnTo>
                  <a:lnTo>
                    <a:pt x="445389" y="184690"/>
                  </a:lnTo>
                  <a:lnTo>
                    <a:pt x="442436" y="186690"/>
                  </a:lnTo>
                  <a:lnTo>
                    <a:pt x="441484" y="204406"/>
                  </a:lnTo>
                  <a:lnTo>
                    <a:pt x="435102" y="205264"/>
                  </a:lnTo>
                  <a:lnTo>
                    <a:pt x="431578" y="202501"/>
                  </a:lnTo>
                  <a:lnTo>
                    <a:pt x="428149" y="188500"/>
                  </a:lnTo>
                  <a:lnTo>
                    <a:pt x="424244" y="182594"/>
                  </a:lnTo>
                  <a:lnTo>
                    <a:pt x="431959" y="180022"/>
                  </a:lnTo>
                  <a:lnTo>
                    <a:pt x="429768" y="175450"/>
                  </a:lnTo>
                  <a:lnTo>
                    <a:pt x="430339" y="167354"/>
                  </a:lnTo>
                  <a:lnTo>
                    <a:pt x="435197" y="155543"/>
                  </a:lnTo>
                  <a:lnTo>
                    <a:pt x="429673" y="149828"/>
                  </a:lnTo>
                  <a:lnTo>
                    <a:pt x="426530" y="150209"/>
                  </a:lnTo>
                  <a:lnTo>
                    <a:pt x="423196" y="149066"/>
                  </a:lnTo>
                  <a:lnTo>
                    <a:pt x="425101" y="139160"/>
                  </a:lnTo>
                  <a:lnTo>
                    <a:pt x="430054" y="140113"/>
                  </a:lnTo>
                  <a:lnTo>
                    <a:pt x="432625" y="135064"/>
                  </a:lnTo>
                  <a:lnTo>
                    <a:pt x="430435" y="130492"/>
                  </a:lnTo>
                  <a:lnTo>
                    <a:pt x="414814" y="134112"/>
                  </a:lnTo>
                  <a:lnTo>
                    <a:pt x="406146" y="141637"/>
                  </a:lnTo>
                  <a:lnTo>
                    <a:pt x="398336" y="142589"/>
                  </a:lnTo>
                  <a:lnTo>
                    <a:pt x="389001" y="145351"/>
                  </a:lnTo>
                  <a:lnTo>
                    <a:pt x="378714" y="140303"/>
                  </a:lnTo>
                  <a:lnTo>
                    <a:pt x="371665" y="134779"/>
                  </a:lnTo>
                  <a:lnTo>
                    <a:pt x="359759" y="129826"/>
                  </a:lnTo>
                  <a:lnTo>
                    <a:pt x="357378" y="123730"/>
                  </a:lnTo>
                  <a:lnTo>
                    <a:pt x="350330" y="118205"/>
                  </a:lnTo>
                  <a:lnTo>
                    <a:pt x="343376" y="114300"/>
                  </a:lnTo>
                  <a:lnTo>
                    <a:pt x="335471" y="102489"/>
                  </a:lnTo>
                  <a:lnTo>
                    <a:pt x="326136" y="92488"/>
                  </a:lnTo>
                  <a:lnTo>
                    <a:pt x="324517" y="79819"/>
                  </a:lnTo>
                  <a:lnTo>
                    <a:pt x="328041" y="69723"/>
                  </a:lnTo>
                  <a:lnTo>
                    <a:pt x="321183" y="65818"/>
                  </a:lnTo>
                  <a:lnTo>
                    <a:pt x="314611" y="65056"/>
                  </a:lnTo>
                  <a:lnTo>
                    <a:pt x="310324" y="68770"/>
                  </a:lnTo>
                  <a:lnTo>
                    <a:pt x="299466" y="71818"/>
                  </a:lnTo>
                  <a:lnTo>
                    <a:pt x="295084" y="75533"/>
                  </a:lnTo>
                  <a:lnTo>
                    <a:pt x="293370" y="74200"/>
                  </a:lnTo>
                  <a:lnTo>
                    <a:pt x="285464" y="75152"/>
                  </a:lnTo>
                  <a:lnTo>
                    <a:pt x="272224" y="59245"/>
                  </a:lnTo>
                  <a:lnTo>
                    <a:pt x="264319" y="60198"/>
                  </a:lnTo>
                  <a:lnTo>
                    <a:pt x="262699" y="47625"/>
                  </a:lnTo>
                  <a:lnTo>
                    <a:pt x="257746" y="46672"/>
                  </a:lnTo>
                  <a:lnTo>
                    <a:pt x="245173" y="48292"/>
                  </a:lnTo>
                  <a:lnTo>
                    <a:pt x="243935" y="51625"/>
                  </a:lnTo>
                  <a:lnTo>
                    <a:pt x="222409" y="46291"/>
                  </a:lnTo>
                  <a:lnTo>
                    <a:pt x="211550" y="36481"/>
                  </a:lnTo>
                  <a:lnTo>
                    <a:pt x="206883" y="37052"/>
                  </a:lnTo>
                  <a:lnTo>
                    <a:pt x="202692" y="29623"/>
                  </a:lnTo>
                  <a:lnTo>
                    <a:pt x="199549" y="30004"/>
                  </a:lnTo>
                  <a:lnTo>
                    <a:pt x="195167" y="33814"/>
                  </a:lnTo>
                  <a:lnTo>
                    <a:pt x="189452" y="26479"/>
                  </a:lnTo>
                  <a:lnTo>
                    <a:pt x="184309" y="23908"/>
                  </a:lnTo>
                  <a:lnTo>
                    <a:pt x="175831" y="33052"/>
                  </a:lnTo>
                  <a:lnTo>
                    <a:pt x="167926" y="34004"/>
                  </a:lnTo>
                  <a:lnTo>
                    <a:pt x="165735" y="29527"/>
                  </a:lnTo>
                  <a:lnTo>
                    <a:pt x="151543" y="18478"/>
                  </a:lnTo>
                  <a:lnTo>
                    <a:pt x="134588" y="11049"/>
                  </a:lnTo>
                  <a:lnTo>
                    <a:pt x="120301" y="0"/>
                  </a:lnTo>
                  <a:lnTo>
                    <a:pt x="118967" y="1810"/>
                  </a:lnTo>
                  <a:lnTo>
                    <a:pt x="115538" y="571"/>
                  </a:lnTo>
                  <a:lnTo>
                    <a:pt x="111633" y="7525"/>
                  </a:lnTo>
                  <a:lnTo>
                    <a:pt x="106680" y="6572"/>
                  </a:lnTo>
                  <a:lnTo>
                    <a:pt x="103727" y="8572"/>
                  </a:lnTo>
                  <a:lnTo>
                    <a:pt x="102965" y="15049"/>
                  </a:lnTo>
                  <a:lnTo>
                    <a:pt x="98679" y="18764"/>
                  </a:lnTo>
                  <a:lnTo>
                    <a:pt x="99441" y="25146"/>
                  </a:lnTo>
                  <a:lnTo>
                    <a:pt x="95536" y="32004"/>
                  </a:lnTo>
                  <a:lnTo>
                    <a:pt x="96298" y="38290"/>
                  </a:lnTo>
                  <a:lnTo>
                    <a:pt x="90678" y="43910"/>
                  </a:lnTo>
                  <a:lnTo>
                    <a:pt x="89630" y="48768"/>
                  </a:lnTo>
                  <a:lnTo>
                    <a:pt x="92773" y="48387"/>
                  </a:lnTo>
                  <a:lnTo>
                    <a:pt x="100108" y="55531"/>
                  </a:lnTo>
                  <a:lnTo>
                    <a:pt x="107061" y="59436"/>
                  </a:lnTo>
                  <a:lnTo>
                    <a:pt x="112204" y="62008"/>
                  </a:lnTo>
                  <a:lnTo>
                    <a:pt x="116300" y="69437"/>
                  </a:lnTo>
                  <a:lnTo>
                    <a:pt x="122491" y="67056"/>
                  </a:lnTo>
                  <a:lnTo>
                    <a:pt x="124396" y="70009"/>
                  </a:lnTo>
                  <a:lnTo>
                    <a:pt x="124873" y="73152"/>
                  </a:lnTo>
                  <a:lnTo>
                    <a:pt x="127063" y="77724"/>
                  </a:lnTo>
                  <a:lnTo>
                    <a:pt x="130397" y="91726"/>
                  </a:lnTo>
                  <a:lnTo>
                    <a:pt x="128016" y="98488"/>
                  </a:lnTo>
                  <a:lnTo>
                    <a:pt x="136588" y="114967"/>
                  </a:lnTo>
                  <a:lnTo>
                    <a:pt x="143923" y="122111"/>
                  </a:lnTo>
                  <a:lnTo>
                    <a:pt x="145256" y="133159"/>
                  </a:lnTo>
                  <a:lnTo>
                    <a:pt x="142589" y="136684"/>
                  </a:lnTo>
                  <a:lnTo>
                    <a:pt x="147066" y="147352"/>
                  </a:lnTo>
                  <a:lnTo>
                    <a:pt x="156210" y="155829"/>
                  </a:lnTo>
                  <a:lnTo>
                    <a:pt x="161163" y="156781"/>
                  </a:lnTo>
                  <a:lnTo>
                    <a:pt x="164116" y="154781"/>
                  </a:lnTo>
                  <a:lnTo>
                    <a:pt x="167259" y="154400"/>
                  </a:lnTo>
                  <a:lnTo>
                    <a:pt x="169640" y="160496"/>
                  </a:lnTo>
                  <a:lnTo>
                    <a:pt x="186595" y="167926"/>
                  </a:lnTo>
                  <a:lnTo>
                    <a:pt x="189547" y="166021"/>
                  </a:lnTo>
                  <a:lnTo>
                    <a:pt x="191357" y="167354"/>
                  </a:lnTo>
                  <a:lnTo>
                    <a:pt x="192214" y="173641"/>
                  </a:lnTo>
                  <a:lnTo>
                    <a:pt x="195739" y="176403"/>
                  </a:lnTo>
                  <a:lnTo>
                    <a:pt x="204406" y="194596"/>
                  </a:lnTo>
                  <a:lnTo>
                    <a:pt x="202882" y="207550"/>
                  </a:lnTo>
                  <a:lnTo>
                    <a:pt x="198977" y="214503"/>
                  </a:lnTo>
                  <a:lnTo>
                    <a:pt x="193072" y="218503"/>
                  </a:lnTo>
                  <a:lnTo>
                    <a:pt x="191929" y="221837"/>
                  </a:lnTo>
                  <a:lnTo>
                    <a:pt x="199168" y="228886"/>
                  </a:lnTo>
                  <a:lnTo>
                    <a:pt x="198596" y="236982"/>
                  </a:lnTo>
                  <a:lnTo>
                    <a:pt x="211455" y="249745"/>
                  </a:lnTo>
                  <a:lnTo>
                    <a:pt x="207169" y="253555"/>
                  </a:lnTo>
                  <a:lnTo>
                    <a:pt x="203454" y="262033"/>
                  </a:lnTo>
                  <a:lnTo>
                    <a:pt x="192596" y="265081"/>
                  </a:lnTo>
                  <a:lnTo>
                    <a:pt x="190976" y="265271"/>
                  </a:lnTo>
                  <a:lnTo>
                    <a:pt x="186214" y="252984"/>
                  </a:lnTo>
                  <a:lnTo>
                    <a:pt x="180499" y="245745"/>
                  </a:lnTo>
                  <a:lnTo>
                    <a:pt x="179261" y="236220"/>
                  </a:lnTo>
                  <a:lnTo>
                    <a:pt x="174117" y="233743"/>
                  </a:lnTo>
                  <a:lnTo>
                    <a:pt x="165449" y="241173"/>
                  </a:lnTo>
                  <a:lnTo>
                    <a:pt x="166116" y="245936"/>
                  </a:lnTo>
                  <a:lnTo>
                    <a:pt x="168116" y="248888"/>
                  </a:lnTo>
                  <a:lnTo>
                    <a:pt x="163925" y="254222"/>
                  </a:lnTo>
                  <a:lnTo>
                    <a:pt x="162782" y="257556"/>
                  </a:lnTo>
                  <a:lnTo>
                    <a:pt x="158210" y="259747"/>
                  </a:lnTo>
                  <a:lnTo>
                    <a:pt x="154686" y="256984"/>
                  </a:lnTo>
                  <a:lnTo>
                    <a:pt x="142018" y="258604"/>
                  </a:lnTo>
                  <a:lnTo>
                    <a:pt x="140113" y="255651"/>
                  </a:lnTo>
                  <a:lnTo>
                    <a:pt x="135160" y="254698"/>
                  </a:lnTo>
                  <a:lnTo>
                    <a:pt x="122872" y="259461"/>
                  </a:lnTo>
                  <a:lnTo>
                    <a:pt x="121920" y="264414"/>
                  </a:lnTo>
                  <a:lnTo>
                    <a:pt x="115824" y="266795"/>
                  </a:lnTo>
                  <a:lnTo>
                    <a:pt x="111728" y="272129"/>
                  </a:lnTo>
                  <a:lnTo>
                    <a:pt x="112871" y="281559"/>
                  </a:lnTo>
                  <a:lnTo>
                    <a:pt x="111919" y="286512"/>
                  </a:lnTo>
                  <a:lnTo>
                    <a:pt x="105823" y="288893"/>
                  </a:lnTo>
                  <a:lnTo>
                    <a:pt x="99250" y="288131"/>
                  </a:lnTo>
                  <a:lnTo>
                    <a:pt x="98488" y="294608"/>
                  </a:lnTo>
                  <a:lnTo>
                    <a:pt x="100679" y="299180"/>
                  </a:lnTo>
                  <a:lnTo>
                    <a:pt x="99727" y="304133"/>
                  </a:lnTo>
                  <a:lnTo>
                    <a:pt x="100774" y="312039"/>
                  </a:lnTo>
                  <a:lnTo>
                    <a:pt x="98203" y="317182"/>
                  </a:lnTo>
                  <a:lnTo>
                    <a:pt x="90869" y="322897"/>
                  </a:lnTo>
                  <a:lnTo>
                    <a:pt x="90106" y="329374"/>
                  </a:lnTo>
                  <a:lnTo>
                    <a:pt x="86392" y="337947"/>
                  </a:lnTo>
                  <a:lnTo>
                    <a:pt x="85820" y="345948"/>
                  </a:lnTo>
                  <a:lnTo>
                    <a:pt x="83058" y="349567"/>
                  </a:lnTo>
                  <a:lnTo>
                    <a:pt x="81153" y="359378"/>
                  </a:lnTo>
                  <a:lnTo>
                    <a:pt x="81915" y="365760"/>
                  </a:lnTo>
                  <a:lnTo>
                    <a:pt x="79534" y="372428"/>
                  </a:lnTo>
                  <a:lnTo>
                    <a:pt x="78010" y="372618"/>
                  </a:lnTo>
                  <a:lnTo>
                    <a:pt x="77343" y="367951"/>
                  </a:lnTo>
                  <a:lnTo>
                    <a:pt x="74200" y="368332"/>
                  </a:lnTo>
                  <a:lnTo>
                    <a:pt x="76009" y="382524"/>
                  </a:lnTo>
                  <a:lnTo>
                    <a:pt x="70295" y="388048"/>
                  </a:lnTo>
                  <a:lnTo>
                    <a:pt x="62484" y="389096"/>
                  </a:lnTo>
                  <a:lnTo>
                    <a:pt x="61055" y="390811"/>
                  </a:lnTo>
                  <a:lnTo>
                    <a:pt x="63055" y="393763"/>
                  </a:lnTo>
                  <a:lnTo>
                    <a:pt x="69628" y="407384"/>
                  </a:lnTo>
                  <a:lnTo>
                    <a:pt x="70390" y="413671"/>
                  </a:lnTo>
                  <a:lnTo>
                    <a:pt x="74200" y="418052"/>
                  </a:lnTo>
                  <a:lnTo>
                    <a:pt x="66865" y="423767"/>
                  </a:lnTo>
                  <a:lnTo>
                    <a:pt x="60007" y="432625"/>
                  </a:lnTo>
                  <a:lnTo>
                    <a:pt x="57436" y="437769"/>
                  </a:lnTo>
                  <a:lnTo>
                    <a:pt x="68294" y="447675"/>
                  </a:lnTo>
                  <a:lnTo>
                    <a:pt x="64389" y="454533"/>
                  </a:lnTo>
                  <a:lnTo>
                    <a:pt x="72104" y="464820"/>
                  </a:lnTo>
                  <a:lnTo>
                    <a:pt x="66199" y="468725"/>
                  </a:lnTo>
                  <a:lnTo>
                    <a:pt x="65246" y="473678"/>
                  </a:lnTo>
                  <a:lnTo>
                    <a:pt x="65627" y="476821"/>
                  </a:lnTo>
                  <a:lnTo>
                    <a:pt x="64389" y="480250"/>
                  </a:lnTo>
                  <a:lnTo>
                    <a:pt x="56579" y="481203"/>
                  </a:lnTo>
                  <a:lnTo>
                    <a:pt x="55340" y="484537"/>
                  </a:lnTo>
                  <a:lnTo>
                    <a:pt x="46291" y="488918"/>
                  </a:lnTo>
                  <a:lnTo>
                    <a:pt x="43910" y="495681"/>
                  </a:lnTo>
                  <a:lnTo>
                    <a:pt x="39053" y="494728"/>
                  </a:lnTo>
                  <a:lnTo>
                    <a:pt x="37814" y="498062"/>
                  </a:lnTo>
                  <a:lnTo>
                    <a:pt x="38671" y="504349"/>
                  </a:lnTo>
                  <a:lnTo>
                    <a:pt x="37433" y="507682"/>
                  </a:lnTo>
                  <a:lnTo>
                    <a:pt x="33147" y="511492"/>
                  </a:lnTo>
                  <a:lnTo>
                    <a:pt x="29242" y="518350"/>
                  </a:lnTo>
                  <a:lnTo>
                    <a:pt x="29432" y="519970"/>
                  </a:lnTo>
                  <a:lnTo>
                    <a:pt x="24860" y="522160"/>
                  </a:lnTo>
                  <a:lnTo>
                    <a:pt x="19145" y="514826"/>
                  </a:lnTo>
                  <a:lnTo>
                    <a:pt x="6096" y="513302"/>
                  </a:lnTo>
                  <a:lnTo>
                    <a:pt x="0" y="515684"/>
                  </a:lnTo>
                  <a:lnTo>
                    <a:pt x="3810" y="532829"/>
                  </a:lnTo>
                  <a:lnTo>
                    <a:pt x="9144" y="537019"/>
                  </a:lnTo>
                  <a:lnTo>
                    <a:pt x="13049" y="542925"/>
                  </a:lnTo>
                  <a:lnTo>
                    <a:pt x="12097" y="547783"/>
                  </a:lnTo>
                  <a:lnTo>
                    <a:pt x="17621" y="553498"/>
                  </a:lnTo>
                  <a:lnTo>
                    <a:pt x="15526" y="561784"/>
                  </a:lnTo>
                  <a:lnTo>
                    <a:pt x="15145" y="571500"/>
                  </a:lnTo>
                  <a:lnTo>
                    <a:pt x="15716" y="576263"/>
                  </a:lnTo>
                  <a:lnTo>
                    <a:pt x="20860" y="578834"/>
                  </a:lnTo>
                  <a:lnTo>
                    <a:pt x="22288" y="589788"/>
                  </a:lnTo>
                  <a:lnTo>
                    <a:pt x="29146" y="593788"/>
                  </a:lnTo>
                  <a:lnTo>
                    <a:pt x="25432" y="602266"/>
                  </a:lnTo>
                  <a:lnTo>
                    <a:pt x="33909" y="605980"/>
                  </a:lnTo>
                  <a:lnTo>
                    <a:pt x="31432" y="611124"/>
                  </a:lnTo>
                  <a:lnTo>
                    <a:pt x="33623" y="615696"/>
                  </a:lnTo>
                  <a:lnTo>
                    <a:pt x="31051" y="620744"/>
                  </a:lnTo>
                  <a:lnTo>
                    <a:pt x="31813" y="627126"/>
                  </a:lnTo>
                  <a:lnTo>
                    <a:pt x="33814" y="630079"/>
                  </a:lnTo>
                  <a:lnTo>
                    <a:pt x="29908" y="636937"/>
                  </a:lnTo>
                  <a:lnTo>
                    <a:pt x="36195" y="649034"/>
                  </a:lnTo>
                  <a:lnTo>
                    <a:pt x="37243" y="656844"/>
                  </a:lnTo>
                  <a:lnTo>
                    <a:pt x="43910" y="659225"/>
                  </a:lnTo>
                  <a:lnTo>
                    <a:pt x="40957" y="661226"/>
                  </a:lnTo>
                  <a:lnTo>
                    <a:pt x="42767" y="662559"/>
                  </a:lnTo>
                  <a:lnTo>
                    <a:pt x="33909" y="668560"/>
                  </a:lnTo>
                  <a:lnTo>
                    <a:pt x="30766" y="668941"/>
                  </a:lnTo>
                  <a:lnTo>
                    <a:pt x="24860" y="672941"/>
                  </a:lnTo>
                  <a:lnTo>
                    <a:pt x="22098" y="676465"/>
                  </a:lnTo>
                  <a:lnTo>
                    <a:pt x="22098" y="689324"/>
                  </a:lnTo>
                  <a:lnTo>
                    <a:pt x="21336" y="695801"/>
                  </a:lnTo>
                  <a:lnTo>
                    <a:pt x="24860" y="698563"/>
                  </a:lnTo>
                  <a:lnTo>
                    <a:pt x="20955" y="705422"/>
                  </a:lnTo>
                  <a:lnTo>
                    <a:pt x="23527" y="713137"/>
                  </a:lnTo>
                  <a:lnTo>
                    <a:pt x="28480" y="714089"/>
                  </a:lnTo>
                  <a:lnTo>
                    <a:pt x="28670" y="715709"/>
                  </a:lnTo>
                  <a:lnTo>
                    <a:pt x="32290" y="718471"/>
                  </a:lnTo>
                  <a:lnTo>
                    <a:pt x="34195" y="721423"/>
                  </a:lnTo>
                  <a:lnTo>
                    <a:pt x="39338" y="723995"/>
                  </a:lnTo>
                  <a:lnTo>
                    <a:pt x="36576" y="727519"/>
                  </a:lnTo>
                  <a:lnTo>
                    <a:pt x="38957" y="733615"/>
                  </a:lnTo>
                  <a:lnTo>
                    <a:pt x="36671" y="740378"/>
                  </a:lnTo>
                  <a:lnTo>
                    <a:pt x="44767" y="753713"/>
                  </a:lnTo>
                  <a:lnTo>
                    <a:pt x="56483" y="769906"/>
                  </a:lnTo>
                  <a:lnTo>
                    <a:pt x="61817" y="774001"/>
                  </a:lnTo>
                  <a:lnTo>
                    <a:pt x="66675" y="775049"/>
                  </a:lnTo>
                  <a:lnTo>
                    <a:pt x="70675" y="780955"/>
                  </a:lnTo>
                  <a:lnTo>
                    <a:pt x="67723" y="782860"/>
                  </a:lnTo>
                  <a:lnTo>
                    <a:pt x="68104" y="786098"/>
                  </a:lnTo>
                  <a:lnTo>
                    <a:pt x="68294" y="787622"/>
                  </a:lnTo>
                  <a:lnTo>
                    <a:pt x="63817" y="789813"/>
                  </a:lnTo>
                  <a:lnTo>
                    <a:pt x="64008" y="791432"/>
                  </a:lnTo>
                  <a:lnTo>
                    <a:pt x="73247" y="801434"/>
                  </a:lnTo>
                  <a:lnTo>
                    <a:pt x="78391" y="804005"/>
                  </a:lnTo>
                  <a:lnTo>
                    <a:pt x="74676" y="812483"/>
                  </a:lnTo>
                  <a:lnTo>
                    <a:pt x="71533" y="812863"/>
                  </a:lnTo>
                  <a:lnTo>
                    <a:pt x="67628" y="819817"/>
                  </a:lnTo>
                  <a:lnTo>
                    <a:pt x="63246" y="823531"/>
                  </a:lnTo>
                  <a:lnTo>
                    <a:pt x="65437" y="828104"/>
                  </a:lnTo>
                  <a:lnTo>
                    <a:pt x="68580" y="827722"/>
                  </a:lnTo>
                  <a:lnTo>
                    <a:pt x="73342" y="827056"/>
                  </a:lnTo>
                  <a:lnTo>
                    <a:pt x="74295" y="822198"/>
                  </a:lnTo>
                  <a:lnTo>
                    <a:pt x="79057" y="821531"/>
                  </a:lnTo>
                  <a:lnTo>
                    <a:pt x="79629" y="826294"/>
                  </a:lnTo>
                  <a:lnTo>
                    <a:pt x="81439" y="827627"/>
                  </a:lnTo>
                  <a:lnTo>
                    <a:pt x="86011" y="825437"/>
                  </a:lnTo>
                  <a:lnTo>
                    <a:pt x="92297" y="824675"/>
                  </a:lnTo>
                  <a:lnTo>
                    <a:pt x="96203" y="830580"/>
                  </a:lnTo>
                  <a:lnTo>
                    <a:pt x="103156" y="834485"/>
                  </a:lnTo>
                  <a:lnTo>
                    <a:pt x="102394" y="841058"/>
                  </a:lnTo>
                  <a:lnTo>
                    <a:pt x="98679" y="849535"/>
                  </a:lnTo>
                  <a:lnTo>
                    <a:pt x="100394" y="850868"/>
                  </a:lnTo>
                  <a:lnTo>
                    <a:pt x="100870" y="854012"/>
                  </a:lnTo>
                  <a:lnTo>
                    <a:pt x="103822" y="852106"/>
                  </a:lnTo>
                  <a:lnTo>
                    <a:pt x="104394" y="856774"/>
                  </a:lnTo>
                  <a:lnTo>
                    <a:pt x="101917" y="874776"/>
                  </a:lnTo>
                  <a:lnTo>
                    <a:pt x="104299" y="880872"/>
                  </a:lnTo>
                  <a:lnTo>
                    <a:pt x="98774" y="888016"/>
                  </a:lnTo>
                  <a:lnTo>
                    <a:pt x="95631" y="888397"/>
                  </a:lnTo>
                  <a:lnTo>
                    <a:pt x="89440" y="890778"/>
                  </a:lnTo>
                  <a:lnTo>
                    <a:pt x="91630" y="895350"/>
                  </a:lnTo>
                  <a:lnTo>
                    <a:pt x="90297" y="897064"/>
                  </a:lnTo>
                  <a:lnTo>
                    <a:pt x="88868" y="898874"/>
                  </a:lnTo>
                  <a:lnTo>
                    <a:pt x="82391" y="898112"/>
                  </a:lnTo>
                  <a:lnTo>
                    <a:pt x="78296" y="903446"/>
                  </a:lnTo>
                  <a:lnTo>
                    <a:pt x="78867" y="908209"/>
                  </a:lnTo>
                  <a:lnTo>
                    <a:pt x="74104" y="908780"/>
                  </a:lnTo>
                  <a:lnTo>
                    <a:pt x="75724" y="921448"/>
                  </a:lnTo>
                  <a:lnTo>
                    <a:pt x="74390" y="923163"/>
                  </a:lnTo>
                  <a:lnTo>
                    <a:pt x="75152" y="929545"/>
                  </a:lnTo>
                  <a:lnTo>
                    <a:pt x="81153" y="938403"/>
                  </a:lnTo>
                  <a:lnTo>
                    <a:pt x="88392" y="945451"/>
                  </a:lnTo>
                  <a:lnTo>
                    <a:pt x="87058" y="947261"/>
                  </a:lnTo>
                  <a:lnTo>
                    <a:pt x="83534" y="944499"/>
                  </a:lnTo>
                  <a:lnTo>
                    <a:pt x="83058" y="941356"/>
                  </a:lnTo>
                  <a:lnTo>
                    <a:pt x="81344" y="939927"/>
                  </a:lnTo>
                  <a:lnTo>
                    <a:pt x="81724" y="943070"/>
                  </a:lnTo>
                  <a:lnTo>
                    <a:pt x="80486" y="946499"/>
                  </a:lnTo>
                  <a:lnTo>
                    <a:pt x="78962" y="946690"/>
                  </a:lnTo>
                  <a:lnTo>
                    <a:pt x="78391" y="954786"/>
                  </a:lnTo>
                  <a:lnTo>
                    <a:pt x="74104" y="958501"/>
                  </a:lnTo>
                  <a:lnTo>
                    <a:pt x="77819" y="962787"/>
                  </a:lnTo>
                  <a:lnTo>
                    <a:pt x="76676" y="966216"/>
                  </a:lnTo>
                  <a:lnTo>
                    <a:pt x="73723" y="968216"/>
                  </a:lnTo>
                  <a:lnTo>
                    <a:pt x="76105" y="974312"/>
                  </a:lnTo>
                  <a:lnTo>
                    <a:pt x="77819" y="975646"/>
                  </a:lnTo>
                  <a:lnTo>
                    <a:pt x="71723" y="978027"/>
                  </a:lnTo>
                  <a:lnTo>
                    <a:pt x="72104" y="981170"/>
                  </a:lnTo>
                  <a:lnTo>
                    <a:pt x="67628" y="983361"/>
                  </a:lnTo>
                  <a:lnTo>
                    <a:pt x="65818" y="982027"/>
                  </a:lnTo>
                  <a:lnTo>
                    <a:pt x="65056" y="988505"/>
                  </a:lnTo>
                  <a:lnTo>
                    <a:pt x="70009" y="989457"/>
                  </a:lnTo>
                  <a:lnTo>
                    <a:pt x="72390" y="995648"/>
                  </a:lnTo>
                  <a:lnTo>
                    <a:pt x="75724" y="996791"/>
                  </a:lnTo>
                  <a:lnTo>
                    <a:pt x="74581" y="1000125"/>
                  </a:lnTo>
                  <a:lnTo>
                    <a:pt x="70009" y="1002316"/>
                  </a:lnTo>
                  <a:lnTo>
                    <a:pt x="62294" y="1004888"/>
                  </a:lnTo>
                  <a:lnTo>
                    <a:pt x="60579" y="1003554"/>
                  </a:lnTo>
                  <a:lnTo>
                    <a:pt x="58388" y="998982"/>
                  </a:lnTo>
                  <a:lnTo>
                    <a:pt x="54769" y="996220"/>
                  </a:lnTo>
                  <a:lnTo>
                    <a:pt x="51816" y="998220"/>
                  </a:lnTo>
                  <a:lnTo>
                    <a:pt x="49625" y="993648"/>
                  </a:lnTo>
                  <a:lnTo>
                    <a:pt x="48673" y="998601"/>
                  </a:lnTo>
                  <a:lnTo>
                    <a:pt x="46672" y="995648"/>
                  </a:lnTo>
                  <a:lnTo>
                    <a:pt x="40005" y="993362"/>
                  </a:lnTo>
                  <a:lnTo>
                    <a:pt x="34480" y="987647"/>
                  </a:lnTo>
                  <a:lnTo>
                    <a:pt x="38386" y="993553"/>
                  </a:lnTo>
                  <a:lnTo>
                    <a:pt x="35242" y="993934"/>
                  </a:lnTo>
                  <a:lnTo>
                    <a:pt x="37433" y="998410"/>
                  </a:lnTo>
                  <a:lnTo>
                    <a:pt x="34480" y="1000411"/>
                  </a:lnTo>
                  <a:lnTo>
                    <a:pt x="34671" y="1002030"/>
                  </a:lnTo>
                  <a:lnTo>
                    <a:pt x="37052" y="1008126"/>
                  </a:lnTo>
                  <a:lnTo>
                    <a:pt x="36290" y="1014603"/>
                  </a:lnTo>
                  <a:lnTo>
                    <a:pt x="38100" y="1016032"/>
                  </a:lnTo>
                  <a:lnTo>
                    <a:pt x="41243" y="1015651"/>
                  </a:lnTo>
                  <a:lnTo>
                    <a:pt x="41434" y="1017175"/>
                  </a:lnTo>
                  <a:lnTo>
                    <a:pt x="41624" y="1018794"/>
                  </a:lnTo>
                  <a:lnTo>
                    <a:pt x="38862" y="1022318"/>
                  </a:lnTo>
                  <a:lnTo>
                    <a:pt x="36766" y="1030605"/>
                  </a:lnTo>
                  <a:lnTo>
                    <a:pt x="33814" y="1032605"/>
                  </a:lnTo>
                  <a:lnTo>
                    <a:pt x="31432" y="1039273"/>
                  </a:lnTo>
                  <a:lnTo>
                    <a:pt x="37909" y="1040035"/>
                  </a:lnTo>
                  <a:lnTo>
                    <a:pt x="44101" y="1037654"/>
                  </a:lnTo>
                  <a:lnTo>
                    <a:pt x="47434" y="1038892"/>
                  </a:lnTo>
                  <a:lnTo>
                    <a:pt x="52388" y="1039844"/>
                  </a:lnTo>
                  <a:lnTo>
                    <a:pt x="55340" y="1037844"/>
                  </a:lnTo>
                  <a:lnTo>
                    <a:pt x="62008" y="1040225"/>
                  </a:lnTo>
                  <a:lnTo>
                    <a:pt x="64008" y="1043178"/>
                  </a:lnTo>
                  <a:lnTo>
                    <a:pt x="72676" y="1048512"/>
                  </a:lnTo>
                  <a:lnTo>
                    <a:pt x="80772" y="1049084"/>
                  </a:lnTo>
                  <a:lnTo>
                    <a:pt x="85154" y="1045273"/>
                  </a:lnTo>
                  <a:lnTo>
                    <a:pt x="83725" y="1047083"/>
                  </a:lnTo>
                  <a:lnTo>
                    <a:pt x="84106" y="1050227"/>
                  </a:lnTo>
                  <a:lnTo>
                    <a:pt x="85344" y="1046893"/>
                  </a:lnTo>
                  <a:lnTo>
                    <a:pt x="87058" y="1048226"/>
                  </a:lnTo>
                  <a:lnTo>
                    <a:pt x="92012" y="1049274"/>
                  </a:lnTo>
                  <a:lnTo>
                    <a:pt x="92202" y="1050798"/>
                  </a:lnTo>
                  <a:lnTo>
                    <a:pt x="95155" y="1048798"/>
                  </a:lnTo>
                  <a:lnTo>
                    <a:pt x="96964" y="1050227"/>
                  </a:lnTo>
                  <a:lnTo>
                    <a:pt x="98584" y="1050036"/>
                  </a:lnTo>
                  <a:lnTo>
                    <a:pt x="97155" y="1051751"/>
                  </a:lnTo>
                  <a:lnTo>
                    <a:pt x="90869" y="1052608"/>
                  </a:lnTo>
                  <a:lnTo>
                    <a:pt x="85725" y="1050036"/>
                  </a:lnTo>
                  <a:lnTo>
                    <a:pt x="81153" y="1052227"/>
                  </a:lnTo>
                  <a:lnTo>
                    <a:pt x="77248" y="1059085"/>
                  </a:lnTo>
                  <a:lnTo>
                    <a:pt x="79248" y="1062133"/>
                  </a:lnTo>
                  <a:lnTo>
                    <a:pt x="80200" y="1069943"/>
                  </a:lnTo>
                  <a:lnTo>
                    <a:pt x="78867" y="1071753"/>
                  </a:lnTo>
                  <a:lnTo>
                    <a:pt x="75914" y="1073753"/>
                  </a:lnTo>
                  <a:lnTo>
                    <a:pt x="72580" y="1072515"/>
                  </a:lnTo>
                  <a:lnTo>
                    <a:pt x="66865" y="1078135"/>
                  </a:lnTo>
                  <a:lnTo>
                    <a:pt x="68866" y="1081088"/>
                  </a:lnTo>
                  <a:lnTo>
                    <a:pt x="65532" y="1092708"/>
                  </a:lnTo>
                  <a:lnTo>
                    <a:pt x="69247" y="1096994"/>
                  </a:lnTo>
                  <a:lnTo>
                    <a:pt x="70104" y="1103376"/>
                  </a:lnTo>
                  <a:lnTo>
                    <a:pt x="72009" y="1106329"/>
                  </a:lnTo>
                  <a:lnTo>
                    <a:pt x="72676" y="1110996"/>
                  </a:lnTo>
                  <a:lnTo>
                    <a:pt x="76581" y="1116902"/>
                  </a:lnTo>
                  <a:lnTo>
                    <a:pt x="76771" y="1118521"/>
                  </a:lnTo>
                  <a:lnTo>
                    <a:pt x="73628" y="1118902"/>
                  </a:lnTo>
                  <a:lnTo>
                    <a:pt x="76962" y="1120140"/>
                  </a:lnTo>
                  <a:lnTo>
                    <a:pt x="76105" y="1137856"/>
                  </a:lnTo>
                  <a:lnTo>
                    <a:pt x="80963" y="1138809"/>
                  </a:lnTo>
                  <a:lnTo>
                    <a:pt x="82963" y="1141762"/>
                  </a:lnTo>
                  <a:lnTo>
                    <a:pt x="89249" y="1141000"/>
                  </a:lnTo>
                  <a:lnTo>
                    <a:pt x="91059" y="1142333"/>
                  </a:lnTo>
                  <a:lnTo>
                    <a:pt x="88963" y="1150620"/>
                  </a:lnTo>
                  <a:lnTo>
                    <a:pt x="92107" y="1150239"/>
                  </a:lnTo>
                  <a:lnTo>
                    <a:pt x="94297" y="1154811"/>
                  </a:lnTo>
                  <a:lnTo>
                    <a:pt x="92869" y="1156526"/>
                  </a:lnTo>
                  <a:lnTo>
                    <a:pt x="97822" y="1157573"/>
                  </a:lnTo>
                  <a:lnTo>
                    <a:pt x="98203" y="1160717"/>
                  </a:lnTo>
                  <a:lnTo>
                    <a:pt x="97250" y="1165669"/>
                  </a:lnTo>
                  <a:lnTo>
                    <a:pt x="95440" y="1164241"/>
                  </a:lnTo>
                  <a:lnTo>
                    <a:pt x="94107" y="1166051"/>
                  </a:lnTo>
                  <a:lnTo>
                    <a:pt x="87821" y="1166813"/>
                  </a:lnTo>
                  <a:lnTo>
                    <a:pt x="86392" y="1168622"/>
                  </a:lnTo>
                  <a:lnTo>
                    <a:pt x="79915" y="1167860"/>
                  </a:lnTo>
                  <a:lnTo>
                    <a:pt x="77343" y="1173004"/>
                  </a:lnTo>
                  <a:lnTo>
                    <a:pt x="77724" y="1176147"/>
                  </a:lnTo>
                  <a:lnTo>
                    <a:pt x="75343" y="1182814"/>
                  </a:lnTo>
                  <a:lnTo>
                    <a:pt x="76200" y="1189196"/>
                  </a:lnTo>
                  <a:lnTo>
                    <a:pt x="79534" y="1190339"/>
                  </a:lnTo>
                  <a:lnTo>
                    <a:pt x="80677" y="1187006"/>
                  </a:lnTo>
                  <a:lnTo>
                    <a:pt x="85630" y="1187958"/>
                  </a:lnTo>
                  <a:lnTo>
                    <a:pt x="83344" y="1194721"/>
                  </a:lnTo>
                  <a:lnTo>
                    <a:pt x="100489" y="1203674"/>
                  </a:lnTo>
                  <a:lnTo>
                    <a:pt x="108013" y="1212342"/>
                  </a:lnTo>
                  <a:lnTo>
                    <a:pt x="118110" y="1215866"/>
                  </a:lnTo>
                  <a:lnTo>
                    <a:pt x="122015" y="1221772"/>
                  </a:lnTo>
                  <a:lnTo>
                    <a:pt x="124968" y="1219867"/>
                  </a:lnTo>
                  <a:lnTo>
                    <a:pt x="124587" y="1216723"/>
                  </a:lnTo>
                  <a:lnTo>
                    <a:pt x="129730" y="1206437"/>
                  </a:lnTo>
                  <a:lnTo>
                    <a:pt x="135636" y="1202436"/>
                  </a:lnTo>
                  <a:lnTo>
                    <a:pt x="140303" y="1201864"/>
                  </a:lnTo>
                  <a:lnTo>
                    <a:pt x="144685" y="1198055"/>
                  </a:lnTo>
                  <a:lnTo>
                    <a:pt x="148019" y="1199293"/>
                  </a:lnTo>
                  <a:lnTo>
                    <a:pt x="144304" y="1194911"/>
                  </a:lnTo>
                  <a:lnTo>
                    <a:pt x="145066" y="1188434"/>
                  </a:lnTo>
                  <a:lnTo>
                    <a:pt x="144875" y="1186815"/>
                  </a:lnTo>
                  <a:lnTo>
                    <a:pt x="144208" y="1182052"/>
                  </a:lnTo>
                  <a:lnTo>
                    <a:pt x="145828" y="1181862"/>
                  </a:lnTo>
                  <a:lnTo>
                    <a:pt x="148971" y="1168718"/>
                  </a:lnTo>
                  <a:lnTo>
                    <a:pt x="152876" y="1174623"/>
                  </a:lnTo>
                  <a:lnTo>
                    <a:pt x="155829" y="1172623"/>
                  </a:lnTo>
                  <a:lnTo>
                    <a:pt x="161544" y="1167098"/>
                  </a:lnTo>
                  <a:lnTo>
                    <a:pt x="154210" y="1159955"/>
                  </a:lnTo>
                  <a:lnTo>
                    <a:pt x="155067" y="1153477"/>
                  </a:lnTo>
                  <a:lnTo>
                    <a:pt x="153257" y="1152049"/>
                  </a:lnTo>
                  <a:lnTo>
                    <a:pt x="144971" y="1149953"/>
                  </a:lnTo>
                  <a:lnTo>
                    <a:pt x="142970" y="1147001"/>
                  </a:lnTo>
                  <a:lnTo>
                    <a:pt x="144113" y="1143572"/>
                  </a:lnTo>
                  <a:lnTo>
                    <a:pt x="148685" y="1141476"/>
                  </a:lnTo>
                  <a:lnTo>
                    <a:pt x="148495" y="1139857"/>
                  </a:lnTo>
                  <a:lnTo>
                    <a:pt x="149638" y="1136523"/>
                  </a:lnTo>
                  <a:lnTo>
                    <a:pt x="146304" y="1135285"/>
                  </a:lnTo>
                  <a:lnTo>
                    <a:pt x="145923" y="1132142"/>
                  </a:lnTo>
                  <a:lnTo>
                    <a:pt x="141161" y="1132808"/>
                  </a:lnTo>
                  <a:lnTo>
                    <a:pt x="139827" y="1134523"/>
                  </a:lnTo>
                  <a:lnTo>
                    <a:pt x="139160" y="1129856"/>
                  </a:lnTo>
                  <a:lnTo>
                    <a:pt x="137636" y="1130046"/>
                  </a:lnTo>
                  <a:lnTo>
                    <a:pt x="135255" y="1123950"/>
                  </a:lnTo>
                  <a:lnTo>
                    <a:pt x="133445" y="1122521"/>
                  </a:lnTo>
                  <a:lnTo>
                    <a:pt x="133255" y="1120997"/>
                  </a:lnTo>
                  <a:lnTo>
                    <a:pt x="130302" y="1122902"/>
                  </a:lnTo>
                  <a:lnTo>
                    <a:pt x="126968" y="1121759"/>
                  </a:lnTo>
                  <a:lnTo>
                    <a:pt x="125349" y="1121950"/>
                  </a:lnTo>
                  <a:lnTo>
                    <a:pt x="127730" y="1115282"/>
                  </a:lnTo>
                  <a:lnTo>
                    <a:pt x="123920" y="1110901"/>
                  </a:lnTo>
                  <a:lnTo>
                    <a:pt x="117634" y="1111758"/>
                  </a:lnTo>
                  <a:lnTo>
                    <a:pt x="121920" y="1107948"/>
                  </a:lnTo>
                  <a:lnTo>
                    <a:pt x="127063" y="1110520"/>
                  </a:lnTo>
                  <a:lnTo>
                    <a:pt x="130016" y="1108519"/>
                  </a:lnTo>
                  <a:lnTo>
                    <a:pt x="131064" y="1103567"/>
                  </a:lnTo>
                  <a:lnTo>
                    <a:pt x="134207" y="1103185"/>
                  </a:lnTo>
                  <a:lnTo>
                    <a:pt x="132397" y="1101852"/>
                  </a:lnTo>
                  <a:lnTo>
                    <a:pt x="130873" y="1102043"/>
                  </a:lnTo>
                  <a:lnTo>
                    <a:pt x="129064" y="1100614"/>
                  </a:lnTo>
                  <a:lnTo>
                    <a:pt x="132016" y="1098709"/>
                  </a:lnTo>
                  <a:lnTo>
                    <a:pt x="136779" y="1098042"/>
                  </a:lnTo>
                  <a:lnTo>
                    <a:pt x="151543" y="1088136"/>
                  </a:lnTo>
                  <a:lnTo>
                    <a:pt x="154876" y="1089374"/>
                  </a:lnTo>
                  <a:lnTo>
                    <a:pt x="157639" y="1085755"/>
                  </a:lnTo>
                  <a:lnTo>
                    <a:pt x="159448" y="1087184"/>
                  </a:lnTo>
                  <a:lnTo>
                    <a:pt x="170497" y="1098614"/>
                  </a:lnTo>
                  <a:lnTo>
                    <a:pt x="174403" y="1091660"/>
                  </a:lnTo>
                  <a:lnTo>
                    <a:pt x="177737" y="1092803"/>
                  </a:lnTo>
                  <a:lnTo>
                    <a:pt x="177927" y="1094423"/>
                  </a:lnTo>
                  <a:lnTo>
                    <a:pt x="181356" y="1095565"/>
                  </a:lnTo>
                  <a:lnTo>
                    <a:pt x="179927" y="1097375"/>
                  </a:lnTo>
                  <a:lnTo>
                    <a:pt x="181928" y="1100328"/>
                  </a:lnTo>
                  <a:lnTo>
                    <a:pt x="188881" y="1104233"/>
                  </a:lnTo>
                  <a:lnTo>
                    <a:pt x="190024" y="1113758"/>
                  </a:lnTo>
                  <a:lnTo>
                    <a:pt x="183737" y="1114520"/>
                  </a:lnTo>
                  <a:lnTo>
                    <a:pt x="185738" y="1117473"/>
                  </a:lnTo>
                  <a:lnTo>
                    <a:pt x="188881" y="1117092"/>
                  </a:lnTo>
                  <a:lnTo>
                    <a:pt x="189452" y="1121759"/>
                  </a:lnTo>
                  <a:lnTo>
                    <a:pt x="200978" y="1123569"/>
                  </a:lnTo>
                  <a:lnTo>
                    <a:pt x="202882" y="1126522"/>
                  </a:lnTo>
                  <a:lnTo>
                    <a:pt x="201549" y="1128331"/>
                  </a:lnTo>
                  <a:lnTo>
                    <a:pt x="196787" y="1128903"/>
                  </a:lnTo>
                  <a:lnTo>
                    <a:pt x="197167" y="1132046"/>
                  </a:lnTo>
                  <a:lnTo>
                    <a:pt x="198787" y="1131856"/>
                  </a:lnTo>
                  <a:lnTo>
                    <a:pt x="202311" y="1134618"/>
                  </a:lnTo>
                  <a:lnTo>
                    <a:pt x="205264" y="1132618"/>
                  </a:lnTo>
                  <a:lnTo>
                    <a:pt x="207264" y="1135571"/>
                  </a:lnTo>
                  <a:lnTo>
                    <a:pt x="209074" y="1136999"/>
                  </a:lnTo>
                  <a:lnTo>
                    <a:pt x="210026" y="1144810"/>
                  </a:lnTo>
                  <a:lnTo>
                    <a:pt x="208502" y="1145096"/>
                  </a:lnTo>
                  <a:lnTo>
                    <a:pt x="208693" y="1146619"/>
                  </a:lnTo>
                  <a:lnTo>
                    <a:pt x="213265" y="1157288"/>
                  </a:lnTo>
                  <a:lnTo>
                    <a:pt x="213836" y="1162050"/>
                  </a:lnTo>
                  <a:lnTo>
                    <a:pt x="213074" y="1168527"/>
                  </a:lnTo>
                  <a:lnTo>
                    <a:pt x="211264" y="1167098"/>
                  </a:lnTo>
                  <a:lnTo>
                    <a:pt x="210121" y="1170527"/>
                  </a:lnTo>
                  <a:lnTo>
                    <a:pt x="217265" y="1175956"/>
                  </a:lnTo>
                  <a:lnTo>
                    <a:pt x="222123" y="1177004"/>
                  </a:lnTo>
                  <a:lnTo>
                    <a:pt x="226695" y="1174814"/>
                  </a:lnTo>
                  <a:lnTo>
                    <a:pt x="227076" y="1177957"/>
                  </a:lnTo>
                  <a:lnTo>
                    <a:pt x="231838" y="1177385"/>
                  </a:lnTo>
                  <a:lnTo>
                    <a:pt x="232220" y="1180529"/>
                  </a:lnTo>
                  <a:lnTo>
                    <a:pt x="229838" y="1187196"/>
                  </a:lnTo>
                  <a:lnTo>
                    <a:pt x="231457" y="1187006"/>
                  </a:lnTo>
                  <a:lnTo>
                    <a:pt x="232029" y="1191768"/>
                  </a:lnTo>
                  <a:lnTo>
                    <a:pt x="228695" y="1190530"/>
                  </a:lnTo>
                  <a:lnTo>
                    <a:pt x="229362" y="1195292"/>
                  </a:lnTo>
                  <a:lnTo>
                    <a:pt x="238792" y="1194149"/>
                  </a:lnTo>
                  <a:lnTo>
                    <a:pt x="236220" y="1199293"/>
                  </a:lnTo>
                  <a:lnTo>
                    <a:pt x="237839" y="1199007"/>
                  </a:lnTo>
                  <a:lnTo>
                    <a:pt x="240221" y="1205198"/>
                  </a:lnTo>
                  <a:lnTo>
                    <a:pt x="243364" y="1204722"/>
                  </a:lnTo>
                  <a:lnTo>
                    <a:pt x="242221" y="1208151"/>
                  </a:lnTo>
                  <a:lnTo>
                    <a:pt x="242792" y="1212818"/>
                  </a:lnTo>
                  <a:lnTo>
                    <a:pt x="245936" y="1212437"/>
                  </a:lnTo>
                  <a:lnTo>
                    <a:pt x="245745" y="1210913"/>
                  </a:lnTo>
                  <a:lnTo>
                    <a:pt x="247269" y="1210627"/>
                  </a:lnTo>
                  <a:lnTo>
                    <a:pt x="252222" y="1211675"/>
                  </a:lnTo>
                  <a:lnTo>
                    <a:pt x="252031" y="1210056"/>
                  </a:lnTo>
                  <a:lnTo>
                    <a:pt x="252031" y="1210056"/>
                  </a:lnTo>
                  <a:lnTo>
                    <a:pt x="254794" y="1206532"/>
                  </a:lnTo>
                  <a:lnTo>
                    <a:pt x="253460" y="1208246"/>
                  </a:lnTo>
                  <a:lnTo>
                    <a:pt x="252984" y="1205103"/>
                  </a:lnTo>
                  <a:lnTo>
                    <a:pt x="251460" y="1205293"/>
                  </a:lnTo>
                  <a:lnTo>
                    <a:pt x="252413" y="1200436"/>
                  </a:lnTo>
                  <a:lnTo>
                    <a:pt x="249079" y="1199198"/>
                  </a:lnTo>
                  <a:lnTo>
                    <a:pt x="253841" y="1198626"/>
                  </a:lnTo>
                  <a:lnTo>
                    <a:pt x="253365" y="1195483"/>
                  </a:lnTo>
                  <a:lnTo>
                    <a:pt x="256127" y="1191863"/>
                  </a:lnTo>
                  <a:lnTo>
                    <a:pt x="253937" y="1187387"/>
                  </a:lnTo>
                  <a:lnTo>
                    <a:pt x="255556" y="1187196"/>
                  </a:lnTo>
                  <a:lnTo>
                    <a:pt x="257746" y="1191673"/>
                  </a:lnTo>
                  <a:lnTo>
                    <a:pt x="260128" y="1197769"/>
                  </a:lnTo>
                  <a:lnTo>
                    <a:pt x="263842" y="1202150"/>
                  </a:lnTo>
                  <a:lnTo>
                    <a:pt x="264700" y="1208437"/>
                  </a:lnTo>
                  <a:lnTo>
                    <a:pt x="260509" y="1213771"/>
                  </a:lnTo>
                  <a:lnTo>
                    <a:pt x="259556" y="1218724"/>
                  </a:lnTo>
                  <a:lnTo>
                    <a:pt x="261556" y="1221677"/>
                  </a:lnTo>
                  <a:lnTo>
                    <a:pt x="258794" y="1225201"/>
                  </a:lnTo>
                  <a:lnTo>
                    <a:pt x="253460" y="1233964"/>
                  </a:lnTo>
                  <a:lnTo>
                    <a:pt x="255461" y="1236917"/>
                  </a:lnTo>
                  <a:lnTo>
                    <a:pt x="255461" y="1236917"/>
                  </a:lnTo>
                  <a:lnTo>
                    <a:pt x="257270" y="1238250"/>
                  </a:lnTo>
                  <a:lnTo>
                    <a:pt x="256222" y="1243203"/>
                  </a:lnTo>
                  <a:lnTo>
                    <a:pt x="251746" y="1245394"/>
                  </a:lnTo>
                  <a:lnTo>
                    <a:pt x="255651" y="1251299"/>
                  </a:lnTo>
                  <a:lnTo>
                    <a:pt x="257080" y="1249489"/>
                  </a:lnTo>
                  <a:lnTo>
                    <a:pt x="267176" y="1253014"/>
                  </a:lnTo>
                  <a:lnTo>
                    <a:pt x="265747" y="1254823"/>
                  </a:lnTo>
                  <a:lnTo>
                    <a:pt x="267748" y="1257776"/>
                  </a:lnTo>
                  <a:lnTo>
                    <a:pt x="274511" y="1260158"/>
                  </a:lnTo>
                  <a:lnTo>
                    <a:pt x="274701" y="1261681"/>
                  </a:lnTo>
                  <a:lnTo>
                    <a:pt x="276225" y="1261491"/>
                  </a:lnTo>
                  <a:lnTo>
                    <a:pt x="279368" y="1261110"/>
                  </a:lnTo>
                  <a:lnTo>
                    <a:pt x="288131" y="1266444"/>
                  </a:lnTo>
                  <a:lnTo>
                    <a:pt x="289465" y="1264634"/>
                  </a:lnTo>
                  <a:lnTo>
                    <a:pt x="292608" y="1264253"/>
                  </a:lnTo>
                  <a:lnTo>
                    <a:pt x="301085" y="1267968"/>
                  </a:lnTo>
                  <a:lnTo>
                    <a:pt x="306038" y="1268921"/>
                  </a:lnTo>
                  <a:lnTo>
                    <a:pt x="304705" y="1270730"/>
                  </a:lnTo>
                  <a:lnTo>
                    <a:pt x="308420" y="1275017"/>
                  </a:lnTo>
                  <a:lnTo>
                    <a:pt x="314420" y="1283875"/>
                  </a:lnTo>
                  <a:lnTo>
                    <a:pt x="322040" y="1281303"/>
                  </a:lnTo>
                  <a:lnTo>
                    <a:pt x="322897" y="1287589"/>
                  </a:lnTo>
                  <a:lnTo>
                    <a:pt x="321659" y="1291018"/>
                  </a:lnTo>
                  <a:lnTo>
                    <a:pt x="321850" y="1292543"/>
                  </a:lnTo>
                  <a:lnTo>
                    <a:pt x="318897" y="1294543"/>
                  </a:lnTo>
                  <a:lnTo>
                    <a:pt x="322897" y="1300448"/>
                  </a:lnTo>
                  <a:lnTo>
                    <a:pt x="325469" y="1308164"/>
                  </a:lnTo>
                  <a:lnTo>
                    <a:pt x="326326" y="1314450"/>
                  </a:lnTo>
                  <a:lnTo>
                    <a:pt x="328517" y="1319022"/>
                  </a:lnTo>
                  <a:lnTo>
                    <a:pt x="329851" y="1317212"/>
                  </a:lnTo>
                  <a:lnTo>
                    <a:pt x="331661" y="1318641"/>
                  </a:lnTo>
                  <a:lnTo>
                    <a:pt x="332232" y="1323308"/>
                  </a:lnTo>
                  <a:lnTo>
                    <a:pt x="334994" y="1332643"/>
                  </a:lnTo>
                  <a:lnTo>
                    <a:pt x="336804" y="1333976"/>
                  </a:lnTo>
                  <a:lnTo>
                    <a:pt x="335661" y="1337310"/>
                  </a:lnTo>
                  <a:lnTo>
                    <a:pt x="338614" y="1335310"/>
                  </a:lnTo>
                  <a:lnTo>
                    <a:pt x="338804" y="1336929"/>
                  </a:lnTo>
                  <a:lnTo>
                    <a:pt x="339185" y="1340072"/>
                  </a:lnTo>
                  <a:lnTo>
                    <a:pt x="337566" y="1340263"/>
                  </a:lnTo>
                  <a:lnTo>
                    <a:pt x="340995" y="1341501"/>
                  </a:lnTo>
                  <a:lnTo>
                    <a:pt x="342900" y="1344454"/>
                  </a:lnTo>
                  <a:lnTo>
                    <a:pt x="346329" y="1345597"/>
                  </a:lnTo>
                  <a:lnTo>
                    <a:pt x="348234" y="1348550"/>
                  </a:lnTo>
                  <a:lnTo>
                    <a:pt x="348044" y="1346930"/>
                  </a:lnTo>
                  <a:lnTo>
                    <a:pt x="349663" y="1346740"/>
                  </a:lnTo>
                  <a:lnTo>
                    <a:pt x="349853" y="1348359"/>
                  </a:lnTo>
                  <a:lnTo>
                    <a:pt x="352425" y="1343215"/>
                  </a:lnTo>
                  <a:lnTo>
                    <a:pt x="352996" y="1335119"/>
                  </a:lnTo>
                  <a:lnTo>
                    <a:pt x="351377" y="1335310"/>
                  </a:lnTo>
                  <a:lnTo>
                    <a:pt x="350615" y="1329023"/>
                  </a:lnTo>
                  <a:lnTo>
                    <a:pt x="354901" y="1325213"/>
                  </a:lnTo>
                  <a:lnTo>
                    <a:pt x="359664" y="1324642"/>
                  </a:lnTo>
                  <a:lnTo>
                    <a:pt x="364236" y="1322451"/>
                  </a:lnTo>
                  <a:lnTo>
                    <a:pt x="358616" y="1316736"/>
                  </a:lnTo>
                  <a:lnTo>
                    <a:pt x="361569" y="1314736"/>
                  </a:lnTo>
                  <a:lnTo>
                    <a:pt x="364807" y="1314355"/>
                  </a:lnTo>
                  <a:lnTo>
                    <a:pt x="367189" y="1320451"/>
                  </a:lnTo>
                  <a:lnTo>
                    <a:pt x="374047" y="1324451"/>
                  </a:lnTo>
                  <a:lnTo>
                    <a:pt x="375475" y="1322642"/>
                  </a:lnTo>
                  <a:lnTo>
                    <a:pt x="376428" y="1317689"/>
                  </a:lnTo>
                  <a:lnTo>
                    <a:pt x="381190" y="1317117"/>
                  </a:lnTo>
                  <a:lnTo>
                    <a:pt x="385667" y="1314926"/>
                  </a:lnTo>
                  <a:lnTo>
                    <a:pt x="387096" y="1313117"/>
                  </a:lnTo>
                  <a:lnTo>
                    <a:pt x="395573" y="1316831"/>
                  </a:lnTo>
                  <a:lnTo>
                    <a:pt x="398526" y="1314926"/>
                  </a:lnTo>
                  <a:lnTo>
                    <a:pt x="403003" y="1312735"/>
                  </a:lnTo>
                  <a:lnTo>
                    <a:pt x="404050" y="1307783"/>
                  </a:lnTo>
                  <a:lnTo>
                    <a:pt x="406241" y="1312259"/>
                  </a:lnTo>
                  <a:lnTo>
                    <a:pt x="407575" y="1310545"/>
                  </a:lnTo>
                  <a:lnTo>
                    <a:pt x="416433" y="1317403"/>
                  </a:lnTo>
                  <a:lnTo>
                    <a:pt x="417671" y="1314069"/>
                  </a:lnTo>
                  <a:lnTo>
                    <a:pt x="421005" y="1315212"/>
                  </a:lnTo>
                  <a:lnTo>
                    <a:pt x="429863" y="1309306"/>
                  </a:lnTo>
                  <a:lnTo>
                    <a:pt x="431292" y="1307497"/>
                  </a:lnTo>
                  <a:lnTo>
                    <a:pt x="429482" y="1306163"/>
                  </a:lnTo>
                  <a:lnTo>
                    <a:pt x="430625" y="1302734"/>
                  </a:lnTo>
                  <a:lnTo>
                    <a:pt x="435007" y="1299019"/>
                  </a:lnTo>
                  <a:lnTo>
                    <a:pt x="436150" y="1295686"/>
                  </a:lnTo>
                  <a:lnTo>
                    <a:pt x="439293" y="1295210"/>
                  </a:lnTo>
                  <a:lnTo>
                    <a:pt x="437293" y="1292257"/>
                  </a:lnTo>
                  <a:lnTo>
                    <a:pt x="440531" y="1291876"/>
                  </a:lnTo>
                  <a:lnTo>
                    <a:pt x="441674" y="1288542"/>
                  </a:lnTo>
                  <a:lnTo>
                    <a:pt x="443198" y="1288352"/>
                  </a:lnTo>
                  <a:lnTo>
                    <a:pt x="445961" y="1271968"/>
                  </a:lnTo>
                  <a:lnTo>
                    <a:pt x="447961" y="1274921"/>
                  </a:lnTo>
                  <a:lnTo>
                    <a:pt x="454057" y="1272540"/>
                  </a:lnTo>
                  <a:lnTo>
                    <a:pt x="453676" y="1269397"/>
                  </a:lnTo>
                  <a:lnTo>
                    <a:pt x="458629" y="1270349"/>
                  </a:lnTo>
                  <a:lnTo>
                    <a:pt x="462344" y="1261872"/>
                  </a:lnTo>
                  <a:lnTo>
                    <a:pt x="465487" y="1261491"/>
                  </a:lnTo>
                  <a:lnTo>
                    <a:pt x="467011" y="1261205"/>
                  </a:lnTo>
                  <a:lnTo>
                    <a:pt x="473392" y="1260443"/>
                  </a:lnTo>
                  <a:lnTo>
                    <a:pt x="470821" y="1252728"/>
                  </a:lnTo>
                  <a:lnTo>
                    <a:pt x="472345" y="1252538"/>
                  </a:lnTo>
                  <a:lnTo>
                    <a:pt x="469773" y="1244822"/>
                  </a:lnTo>
                  <a:lnTo>
                    <a:pt x="469582" y="1243298"/>
                  </a:lnTo>
                  <a:lnTo>
                    <a:pt x="462820" y="1240917"/>
                  </a:lnTo>
                  <a:lnTo>
                    <a:pt x="463867" y="1235964"/>
                  </a:lnTo>
                  <a:lnTo>
                    <a:pt x="459867" y="1230059"/>
                  </a:lnTo>
                  <a:lnTo>
                    <a:pt x="457295" y="1222439"/>
                  </a:lnTo>
                  <a:lnTo>
                    <a:pt x="456724" y="1217676"/>
                  </a:lnTo>
                  <a:lnTo>
                    <a:pt x="456057" y="1212914"/>
                  </a:lnTo>
                  <a:lnTo>
                    <a:pt x="457867" y="1214342"/>
                  </a:lnTo>
                  <a:lnTo>
                    <a:pt x="456819" y="1206437"/>
                  </a:lnTo>
                  <a:lnTo>
                    <a:pt x="461581" y="1205770"/>
                  </a:lnTo>
                  <a:lnTo>
                    <a:pt x="462724" y="1202436"/>
                  </a:lnTo>
                  <a:lnTo>
                    <a:pt x="462534" y="1200912"/>
                  </a:lnTo>
                  <a:lnTo>
                    <a:pt x="465296" y="1197293"/>
                  </a:lnTo>
                  <a:lnTo>
                    <a:pt x="467106" y="1198721"/>
                  </a:lnTo>
                  <a:lnTo>
                    <a:pt x="468249" y="1195292"/>
                  </a:lnTo>
                  <a:lnTo>
                    <a:pt x="466725" y="1195578"/>
                  </a:lnTo>
                  <a:lnTo>
                    <a:pt x="469678" y="1193578"/>
                  </a:lnTo>
                  <a:lnTo>
                    <a:pt x="470249" y="1185481"/>
                  </a:lnTo>
                  <a:lnTo>
                    <a:pt x="476536" y="1184624"/>
                  </a:lnTo>
                  <a:lnTo>
                    <a:pt x="476345" y="1183100"/>
                  </a:lnTo>
                  <a:lnTo>
                    <a:pt x="481108" y="1182529"/>
                  </a:lnTo>
                  <a:lnTo>
                    <a:pt x="480631" y="1179290"/>
                  </a:lnTo>
                  <a:lnTo>
                    <a:pt x="480631" y="1179290"/>
                  </a:lnTo>
                  <a:lnTo>
                    <a:pt x="488156" y="1187958"/>
                  </a:lnTo>
                  <a:lnTo>
                    <a:pt x="491299" y="1187577"/>
                  </a:lnTo>
                  <a:lnTo>
                    <a:pt x="491585" y="1189196"/>
                  </a:lnTo>
                  <a:lnTo>
                    <a:pt x="485870" y="1194721"/>
                  </a:lnTo>
                  <a:lnTo>
                    <a:pt x="485680" y="1205960"/>
                  </a:lnTo>
                  <a:lnTo>
                    <a:pt x="484918" y="1212437"/>
                  </a:lnTo>
                  <a:lnTo>
                    <a:pt x="485299" y="1215581"/>
                  </a:lnTo>
                  <a:lnTo>
                    <a:pt x="493205" y="1214628"/>
                  </a:lnTo>
                  <a:lnTo>
                    <a:pt x="496538" y="1215771"/>
                  </a:lnTo>
                  <a:lnTo>
                    <a:pt x="495300" y="1206341"/>
                  </a:lnTo>
                  <a:lnTo>
                    <a:pt x="507206" y="1211199"/>
                  </a:lnTo>
                  <a:lnTo>
                    <a:pt x="510159" y="1209294"/>
                  </a:lnTo>
                  <a:lnTo>
                    <a:pt x="513874" y="1213580"/>
                  </a:lnTo>
                  <a:lnTo>
                    <a:pt x="512921" y="1218533"/>
                  </a:lnTo>
                  <a:lnTo>
                    <a:pt x="522351" y="1217295"/>
                  </a:lnTo>
                  <a:lnTo>
                    <a:pt x="524542" y="1221867"/>
                  </a:lnTo>
                  <a:lnTo>
                    <a:pt x="525971" y="1220057"/>
                  </a:lnTo>
                  <a:lnTo>
                    <a:pt x="523780" y="1215581"/>
                  </a:lnTo>
                  <a:lnTo>
                    <a:pt x="528733" y="1216533"/>
                  </a:lnTo>
                  <a:lnTo>
                    <a:pt x="528542" y="1214914"/>
                  </a:lnTo>
                  <a:lnTo>
                    <a:pt x="531876" y="1216152"/>
                  </a:lnTo>
                  <a:lnTo>
                    <a:pt x="538163" y="1215295"/>
                  </a:lnTo>
                  <a:lnTo>
                    <a:pt x="537020" y="1218629"/>
                  </a:lnTo>
                  <a:lnTo>
                    <a:pt x="543497" y="1219390"/>
                  </a:lnTo>
                  <a:lnTo>
                    <a:pt x="549212" y="1226725"/>
                  </a:lnTo>
                  <a:lnTo>
                    <a:pt x="549212" y="1226725"/>
                  </a:lnTo>
                  <a:lnTo>
                    <a:pt x="554831" y="1232440"/>
                  </a:lnTo>
                  <a:lnTo>
                    <a:pt x="555974" y="1241869"/>
                  </a:lnTo>
                  <a:lnTo>
                    <a:pt x="556165" y="1243489"/>
                  </a:lnTo>
                  <a:lnTo>
                    <a:pt x="571500" y="1225487"/>
                  </a:lnTo>
                  <a:lnTo>
                    <a:pt x="576834" y="1216819"/>
                  </a:lnTo>
                  <a:lnTo>
                    <a:pt x="579787" y="1214818"/>
                  </a:lnTo>
                  <a:lnTo>
                    <a:pt x="581597" y="1216152"/>
                  </a:lnTo>
                  <a:lnTo>
                    <a:pt x="584359" y="1212628"/>
                  </a:lnTo>
                  <a:lnTo>
                    <a:pt x="584549" y="1201388"/>
                  </a:lnTo>
                  <a:lnTo>
                    <a:pt x="582549" y="1198435"/>
                  </a:lnTo>
                  <a:lnTo>
                    <a:pt x="579406" y="1198817"/>
                  </a:lnTo>
                  <a:lnTo>
                    <a:pt x="583501" y="1193483"/>
                  </a:lnTo>
                  <a:lnTo>
                    <a:pt x="576548" y="1189577"/>
                  </a:lnTo>
                  <a:lnTo>
                    <a:pt x="584930" y="1191673"/>
                  </a:lnTo>
                  <a:lnTo>
                    <a:pt x="584645" y="1190149"/>
                  </a:lnTo>
                  <a:lnTo>
                    <a:pt x="587597" y="1188148"/>
                  </a:lnTo>
                  <a:lnTo>
                    <a:pt x="589788" y="1192721"/>
                  </a:lnTo>
                  <a:lnTo>
                    <a:pt x="589979" y="1194244"/>
                  </a:lnTo>
                  <a:lnTo>
                    <a:pt x="593407" y="1195388"/>
                  </a:lnTo>
                  <a:lnTo>
                    <a:pt x="597313" y="1188530"/>
                  </a:lnTo>
                  <a:lnTo>
                    <a:pt x="600456" y="1188148"/>
                  </a:lnTo>
                  <a:lnTo>
                    <a:pt x="604838" y="1184339"/>
                  </a:lnTo>
                  <a:lnTo>
                    <a:pt x="606742" y="1187291"/>
                  </a:lnTo>
                  <a:lnTo>
                    <a:pt x="620554" y="1182338"/>
                  </a:lnTo>
                  <a:lnTo>
                    <a:pt x="622363" y="1183767"/>
                  </a:lnTo>
                  <a:lnTo>
                    <a:pt x="627126" y="1183100"/>
                  </a:lnTo>
                  <a:lnTo>
                    <a:pt x="630079" y="1181100"/>
                  </a:lnTo>
                  <a:lnTo>
                    <a:pt x="633413" y="1182338"/>
                  </a:lnTo>
                  <a:lnTo>
                    <a:pt x="638747" y="1186434"/>
                  </a:lnTo>
                  <a:lnTo>
                    <a:pt x="639128" y="1189577"/>
                  </a:lnTo>
                  <a:lnTo>
                    <a:pt x="637984" y="1193006"/>
                  </a:lnTo>
                  <a:lnTo>
                    <a:pt x="642271" y="1189196"/>
                  </a:lnTo>
                  <a:lnTo>
                    <a:pt x="644080" y="1190530"/>
                  </a:lnTo>
                  <a:lnTo>
                    <a:pt x="644271" y="1192149"/>
                  </a:lnTo>
                  <a:lnTo>
                    <a:pt x="645890" y="1191959"/>
                  </a:lnTo>
                  <a:lnTo>
                    <a:pt x="650748" y="1192911"/>
                  </a:lnTo>
                  <a:lnTo>
                    <a:pt x="651986" y="1189577"/>
                  </a:lnTo>
                  <a:lnTo>
                    <a:pt x="652367" y="1192721"/>
                  </a:lnTo>
                  <a:lnTo>
                    <a:pt x="653796" y="1190911"/>
                  </a:lnTo>
                  <a:lnTo>
                    <a:pt x="658654" y="1191959"/>
                  </a:lnTo>
                  <a:lnTo>
                    <a:pt x="666179" y="1187768"/>
                  </a:lnTo>
                  <a:lnTo>
                    <a:pt x="666940" y="1181290"/>
                  </a:lnTo>
                  <a:lnTo>
                    <a:pt x="671703" y="1180624"/>
                  </a:lnTo>
                  <a:lnTo>
                    <a:pt x="678561" y="1171765"/>
                  </a:lnTo>
                  <a:lnTo>
                    <a:pt x="674561" y="1165860"/>
                  </a:lnTo>
                  <a:lnTo>
                    <a:pt x="677513" y="1163860"/>
                  </a:lnTo>
                  <a:lnTo>
                    <a:pt x="672179" y="1159764"/>
                  </a:lnTo>
                  <a:lnTo>
                    <a:pt x="668464" y="1155383"/>
                  </a:lnTo>
                  <a:lnTo>
                    <a:pt x="668274" y="1153859"/>
                  </a:lnTo>
                  <a:lnTo>
                    <a:pt x="667703" y="1149096"/>
                  </a:lnTo>
                  <a:lnTo>
                    <a:pt x="658749" y="1142238"/>
                  </a:lnTo>
                  <a:lnTo>
                    <a:pt x="659892" y="1138809"/>
                  </a:lnTo>
                  <a:lnTo>
                    <a:pt x="656368" y="1136047"/>
                  </a:lnTo>
                  <a:lnTo>
                    <a:pt x="659130" y="1132523"/>
                  </a:lnTo>
                  <a:lnTo>
                    <a:pt x="662845" y="1136904"/>
                  </a:lnTo>
                  <a:lnTo>
                    <a:pt x="664083" y="1133475"/>
                  </a:lnTo>
                  <a:lnTo>
                    <a:pt x="668846" y="1132904"/>
                  </a:lnTo>
                  <a:lnTo>
                    <a:pt x="669036" y="1134523"/>
                  </a:lnTo>
                  <a:lnTo>
                    <a:pt x="676465" y="1130332"/>
                  </a:lnTo>
                  <a:lnTo>
                    <a:pt x="682847" y="1142333"/>
                  </a:lnTo>
                  <a:lnTo>
                    <a:pt x="687800" y="1143286"/>
                  </a:lnTo>
                  <a:lnTo>
                    <a:pt x="692087" y="1139571"/>
                  </a:lnTo>
                  <a:lnTo>
                    <a:pt x="689515" y="1131856"/>
                  </a:lnTo>
                  <a:lnTo>
                    <a:pt x="690944" y="1130046"/>
                  </a:lnTo>
                  <a:lnTo>
                    <a:pt x="690277" y="1125379"/>
                  </a:lnTo>
                  <a:lnTo>
                    <a:pt x="693230" y="1123379"/>
                  </a:lnTo>
                  <a:lnTo>
                    <a:pt x="692658" y="1118616"/>
                  </a:lnTo>
                  <a:lnTo>
                    <a:pt x="697135" y="1116425"/>
                  </a:lnTo>
                  <a:lnTo>
                    <a:pt x="702564" y="1120616"/>
                  </a:lnTo>
                  <a:lnTo>
                    <a:pt x="706660" y="1115282"/>
                  </a:lnTo>
                  <a:lnTo>
                    <a:pt x="709231" y="1122902"/>
                  </a:lnTo>
                  <a:lnTo>
                    <a:pt x="716185" y="1126903"/>
                  </a:lnTo>
                  <a:lnTo>
                    <a:pt x="718280" y="1131380"/>
                  </a:lnTo>
                  <a:lnTo>
                    <a:pt x="721519" y="1130998"/>
                  </a:lnTo>
                  <a:lnTo>
                    <a:pt x="718947" y="1136142"/>
                  </a:lnTo>
                  <a:lnTo>
                    <a:pt x="719138" y="1137761"/>
                  </a:lnTo>
                  <a:lnTo>
                    <a:pt x="726091" y="1141667"/>
                  </a:lnTo>
                  <a:lnTo>
                    <a:pt x="724662" y="1143476"/>
                  </a:lnTo>
                  <a:lnTo>
                    <a:pt x="729424" y="1142810"/>
                  </a:lnTo>
                  <a:lnTo>
                    <a:pt x="736473" y="1148334"/>
                  </a:lnTo>
                  <a:lnTo>
                    <a:pt x="739712" y="1147953"/>
                  </a:lnTo>
                  <a:lnTo>
                    <a:pt x="741045" y="1146143"/>
                  </a:lnTo>
                  <a:lnTo>
                    <a:pt x="754856" y="1141190"/>
                  </a:lnTo>
                  <a:lnTo>
                    <a:pt x="757999" y="1140809"/>
                  </a:lnTo>
                  <a:lnTo>
                    <a:pt x="758190" y="1142333"/>
                  </a:lnTo>
                  <a:lnTo>
                    <a:pt x="761333" y="1141952"/>
                  </a:lnTo>
                  <a:lnTo>
                    <a:pt x="763143" y="1143381"/>
                  </a:lnTo>
                  <a:lnTo>
                    <a:pt x="766286" y="1142905"/>
                  </a:lnTo>
                  <a:lnTo>
                    <a:pt x="765905" y="1139762"/>
                  </a:lnTo>
                  <a:lnTo>
                    <a:pt x="767524" y="1139571"/>
                  </a:lnTo>
                  <a:lnTo>
                    <a:pt x="767048" y="1136428"/>
                  </a:lnTo>
                  <a:lnTo>
                    <a:pt x="766477" y="1131665"/>
                  </a:lnTo>
                  <a:lnTo>
                    <a:pt x="770382" y="1124807"/>
                  </a:lnTo>
                  <a:lnTo>
                    <a:pt x="766667" y="1120426"/>
                  </a:lnTo>
                  <a:lnTo>
                    <a:pt x="766477" y="1118902"/>
                  </a:lnTo>
                  <a:lnTo>
                    <a:pt x="773906" y="1114711"/>
                  </a:lnTo>
                  <a:lnTo>
                    <a:pt x="775145" y="1111377"/>
                  </a:lnTo>
                  <a:lnTo>
                    <a:pt x="778097" y="1109377"/>
                  </a:lnTo>
                  <a:lnTo>
                    <a:pt x="776288" y="1107948"/>
                  </a:lnTo>
                  <a:lnTo>
                    <a:pt x="780574" y="1104233"/>
                  </a:lnTo>
                  <a:lnTo>
                    <a:pt x="778002" y="1096518"/>
                  </a:lnTo>
                  <a:lnTo>
                    <a:pt x="772097" y="1087660"/>
                  </a:lnTo>
                  <a:lnTo>
                    <a:pt x="771715" y="1084517"/>
                  </a:lnTo>
                  <a:lnTo>
                    <a:pt x="775240" y="1087279"/>
                  </a:lnTo>
                  <a:lnTo>
                    <a:pt x="778192" y="1085279"/>
                  </a:lnTo>
                  <a:lnTo>
                    <a:pt x="787241" y="1080897"/>
                  </a:lnTo>
                  <a:lnTo>
                    <a:pt x="788480" y="1077563"/>
                  </a:lnTo>
                  <a:lnTo>
                    <a:pt x="787813" y="1072801"/>
                  </a:lnTo>
                  <a:lnTo>
                    <a:pt x="790384" y="1067657"/>
                  </a:lnTo>
                  <a:lnTo>
                    <a:pt x="794004" y="1070419"/>
                  </a:lnTo>
                  <a:lnTo>
                    <a:pt x="807720" y="1065467"/>
                  </a:lnTo>
                  <a:lnTo>
                    <a:pt x="806958" y="1059180"/>
                  </a:lnTo>
                  <a:lnTo>
                    <a:pt x="808577" y="1058989"/>
                  </a:lnTo>
                  <a:lnTo>
                    <a:pt x="808101" y="1055846"/>
                  </a:lnTo>
                  <a:lnTo>
                    <a:pt x="809149" y="1050893"/>
                  </a:lnTo>
                  <a:lnTo>
                    <a:pt x="808672" y="1047750"/>
                  </a:lnTo>
                  <a:lnTo>
                    <a:pt x="806767" y="1044797"/>
                  </a:lnTo>
                  <a:lnTo>
                    <a:pt x="809911" y="1044321"/>
                  </a:lnTo>
                  <a:lnTo>
                    <a:pt x="813435" y="1047083"/>
                  </a:lnTo>
                  <a:lnTo>
                    <a:pt x="815435" y="1050036"/>
                  </a:lnTo>
                  <a:lnTo>
                    <a:pt x="823341" y="1049084"/>
                  </a:lnTo>
                  <a:lnTo>
                    <a:pt x="825532" y="1053560"/>
                  </a:lnTo>
                  <a:lnTo>
                    <a:pt x="828675" y="1053179"/>
                  </a:lnTo>
                  <a:lnTo>
                    <a:pt x="830580" y="1056132"/>
                  </a:lnTo>
                  <a:lnTo>
                    <a:pt x="835152" y="1053941"/>
                  </a:lnTo>
                  <a:lnTo>
                    <a:pt x="840676" y="1059656"/>
                  </a:lnTo>
                  <a:lnTo>
                    <a:pt x="850011" y="1056894"/>
                  </a:lnTo>
                  <a:lnTo>
                    <a:pt x="849535" y="1053751"/>
                  </a:lnTo>
                  <a:lnTo>
                    <a:pt x="849154" y="1050608"/>
                  </a:lnTo>
                  <a:lnTo>
                    <a:pt x="857440" y="1039939"/>
                  </a:lnTo>
                  <a:lnTo>
                    <a:pt x="860393" y="1025080"/>
                  </a:lnTo>
                  <a:lnTo>
                    <a:pt x="859917" y="1021937"/>
                  </a:lnTo>
                  <a:lnTo>
                    <a:pt x="855250" y="1022509"/>
                  </a:lnTo>
                  <a:lnTo>
                    <a:pt x="855250" y="102250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7" name="Volný tvar: obrazec 36">
              <a:extLst>
                <a:ext uri="{FF2B5EF4-FFF2-40B4-BE49-F238E27FC236}">
                  <a16:creationId xmlns:a16="http://schemas.microsoft.com/office/drawing/2014/main" id="{ADA345F2-5BD4-16AA-2008-E2B460F15939}"/>
                </a:ext>
              </a:extLst>
            </p:cNvPr>
            <p:cNvSpPr>
              <a:spLocks noChangeAspect="1"/>
            </p:cNvSpPr>
            <p:nvPr userDrawn="1">
              <p:custDataLst>
                <p:tags r:id="rId8"/>
              </p:custDataLst>
            </p:nvPr>
          </p:nvSpPr>
          <p:spPr>
            <a:xfrm>
              <a:off x="3727418" y="2648330"/>
              <a:ext cx="835437" cy="647509"/>
            </a:xfrm>
            <a:custGeom>
              <a:avLst/>
              <a:gdLst>
                <a:gd name="connsiteX0" fmla="*/ 833057 w 835437"/>
                <a:gd name="connsiteY0" fmla="*/ 420719 h 647509"/>
                <a:gd name="connsiteX1" fmla="*/ 831437 w 835437"/>
                <a:gd name="connsiteY1" fmla="*/ 408146 h 647509"/>
                <a:gd name="connsiteX2" fmla="*/ 829628 w 835437"/>
                <a:gd name="connsiteY2" fmla="*/ 406717 h 647509"/>
                <a:gd name="connsiteX3" fmla="*/ 821722 w 835437"/>
                <a:gd name="connsiteY3" fmla="*/ 407765 h 647509"/>
                <a:gd name="connsiteX4" fmla="*/ 823151 w 835437"/>
                <a:gd name="connsiteY4" fmla="*/ 405956 h 647509"/>
                <a:gd name="connsiteX5" fmla="*/ 827627 w 835437"/>
                <a:gd name="connsiteY5" fmla="*/ 403765 h 647509"/>
                <a:gd name="connsiteX6" fmla="*/ 820769 w 835437"/>
                <a:gd name="connsiteY6" fmla="*/ 399859 h 647509"/>
                <a:gd name="connsiteX7" fmla="*/ 820579 w 835437"/>
                <a:gd name="connsiteY7" fmla="*/ 398240 h 647509"/>
                <a:gd name="connsiteX8" fmla="*/ 818198 w 835437"/>
                <a:gd name="connsiteY8" fmla="*/ 392144 h 647509"/>
                <a:gd name="connsiteX9" fmla="*/ 813245 w 835437"/>
                <a:gd name="connsiteY9" fmla="*/ 391192 h 647509"/>
                <a:gd name="connsiteX10" fmla="*/ 805529 w 835437"/>
                <a:gd name="connsiteY10" fmla="*/ 393763 h 647509"/>
                <a:gd name="connsiteX11" fmla="*/ 800195 w 835437"/>
                <a:gd name="connsiteY11" fmla="*/ 389668 h 647509"/>
                <a:gd name="connsiteX12" fmla="*/ 797624 w 835437"/>
                <a:gd name="connsiteY12" fmla="*/ 394716 h 647509"/>
                <a:gd name="connsiteX13" fmla="*/ 791909 w 835437"/>
                <a:gd name="connsiteY13" fmla="*/ 387477 h 647509"/>
                <a:gd name="connsiteX14" fmla="*/ 788765 w 835437"/>
                <a:gd name="connsiteY14" fmla="*/ 387858 h 647509"/>
                <a:gd name="connsiteX15" fmla="*/ 785146 w 835437"/>
                <a:gd name="connsiteY15" fmla="*/ 385096 h 647509"/>
                <a:gd name="connsiteX16" fmla="*/ 793051 w 835437"/>
                <a:gd name="connsiteY16" fmla="*/ 384143 h 647509"/>
                <a:gd name="connsiteX17" fmla="*/ 794290 w 835437"/>
                <a:gd name="connsiteY17" fmla="*/ 380714 h 647509"/>
                <a:gd name="connsiteX18" fmla="*/ 790861 w 835437"/>
                <a:gd name="connsiteY18" fmla="*/ 379571 h 647509"/>
                <a:gd name="connsiteX19" fmla="*/ 792099 w 835437"/>
                <a:gd name="connsiteY19" fmla="*/ 376238 h 647509"/>
                <a:gd name="connsiteX20" fmla="*/ 799814 w 835437"/>
                <a:gd name="connsiteY20" fmla="*/ 373666 h 647509"/>
                <a:gd name="connsiteX21" fmla="*/ 800005 w 835437"/>
                <a:gd name="connsiteY21" fmla="*/ 375190 h 647509"/>
                <a:gd name="connsiteX22" fmla="*/ 801148 w 835437"/>
                <a:gd name="connsiteY22" fmla="*/ 371856 h 647509"/>
                <a:gd name="connsiteX23" fmla="*/ 809625 w 835437"/>
                <a:gd name="connsiteY23" fmla="*/ 375571 h 647509"/>
                <a:gd name="connsiteX24" fmla="*/ 809435 w 835437"/>
                <a:gd name="connsiteY24" fmla="*/ 374047 h 647509"/>
                <a:gd name="connsiteX25" fmla="*/ 811244 w 835437"/>
                <a:gd name="connsiteY25" fmla="*/ 375380 h 647509"/>
                <a:gd name="connsiteX26" fmla="*/ 812578 w 835437"/>
                <a:gd name="connsiteY26" fmla="*/ 373571 h 647509"/>
                <a:gd name="connsiteX27" fmla="*/ 815912 w 835437"/>
                <a:gd name="connsiteY27" fmla="*/ 374809 h 647509"/>
                <a:gd name="connsiteX28" fmla="*/ 812959 w 835437"/>
                <a:gd name="connsiteY28" fmla="*/ 376809 h 647509"/>
                <a:gd name="connsiteX29" fmla="*/ 821722 w 835437"/>
                <a:gd name="connsiteY29" fmla="*/ 382048 h 647509"/>
                <a:gd name="connsiteX30" fmla="*/ 824865 w 835437"/>
                <a:gd name="connsiteY30" fmla="*/ 381667 h 647509"/>
                <a:gd name="connsiteX31" fmla="*/ 822484 w 835437"/>
                <a:gd name="connsiteY31" fmla="*/ 375571 h 647509"/>
                <a:gd name="connsiteX32" fmla="*/ 825437 w 835437"/>
                <a:gd name="connsiteY32" fmla="*/ 373571 h 647509"/>
                <a:gd name="connsiteX33" fmla="*/ 820293 w 835437"/>
                <a:gd name="connsiteY33" fmla="*/ 370999 h 647509"/>
                <a:gd name="connsiteX34" fmla="*/ 821817 w 835437"/>
                <a:gd name="connsiteY34" fmla="*/ 370808 h 647509"/>
                <a:gd name="connsiteX35" fmla="*/ 821436 w 835437"/>
                <a:gd name="connsiteY35" fmla="*/ 367665 h 647509"/>
                <a:gd name="connsiteX36" fmla="*/ 812959 w 835437"/>
                <a:gd name="connsiteY36" fmla="*/ 363950 h 647509"/>
                <a:gd name="connsiteX37" fmla="*/ 813911 w 835437"/>
                <a:gd name="connsiteY37" fmla="*/ 358997 h 647509"/>
                <a:gd name="connsiteX38" fmla="*/ 812387 w 835437"/>
                <a:gd name="connsiteY38" fmla="*/ 359188 h 647509"/>
                <a:gd name="connsiteX39" fmla="*/ 815340 w 835437"/>
                <a:gd name="connsiteY39" fmla="*/ 357188 h 647509"/>
                <a:gd name="connsiteX40" fmla="*/ 825151 w 835437"/>
                <a:gd name="connsiteY40" fmla="*/ 359188 h 647509"/>
                <a:gd name="connsiteX41" fmla="*/ 828294 w 835437"/>
                <a:gd name="connsiteY41" fmla="*/ 345948 h 647509"/>
                <a:gd name="connsiteX42" fmla="*/ 818674 w 835437"/>
                <a:gd name="connsiteY42" fmla="*/ 345567 h 647509"/>
                <a:gd name="connsiteX43" fmla="*/ 821436 w 835437"/>
                <a:gd name="connsiteY43" fmla="*/ 342043 h 647509"/>
                <a:gd name="connsiteX44" fmla="*/ 822198 w 835437"/>
                <a:gd name="connsiteY44" fmla="*/ 335471 h 647509"/>
                <a:gd name="connsiteX45" fmla="*/ 820388 w 835437"/>
                <a:gd name="connsiteY45" fmla="*/ 334137 h 647509"/>
                <a:gd name="connsiteX46" fmla="*/ 819436 w 835437"/>
                <a:gd name="connsiteY46" fmla="*/ 326231 h 647509"/>
                <a:gd name="connsiteX47" fmla="*/ 813816 w 835437"/>
                <a:gd name="connsiteY47" fmla="*/ 320516 h 647509"/>
                <a:gd name="connsiteX48" fmla="*/ 813816 w 835437"/>
                <a:gd name="connsiteY48" fmla="*/ 320516 h 647509"/>
                <a:gd name="connsiteX49" fmla="*/ 816388 w 835437"/>
                <a:gd name="connsiteY49" fmla="*/ 315373 h 647509"/>
                <a:gd name="connsiteX50" fmla="*/ 809244 w 835437"/>
                <a:gd name="connsiteY50" fmla="*/ 309848 h 647509"/>
                <a:gd name="connsiteX51" fmla="*/ 807720 w 835437"/>
                <a:gd name="connsiteY51" fmla="*/ 310134 h 647509"/>
                <a:gd name="connsiteX52" fmla="*/ 804386 w 835437"/>
                <a:gd name="connsiteY52" fmla="*/ 308896 h 647509"/>
                <a:gd name="connsiteX53" fmla="*/ 808482 w 835437"/>
                <a:gd name="connsiteY53" fmla="*/ 303562 h 647509"/>
                <a:gd name="connsiteX54" fmla="*/ 808292 w 835437"/>
                <a:gd name="connsiteY54" fmla="*/ 302038 h 647509"/>
                <a:gd name="connsiteX55" fmla="*/ 805148 w 835437"/>
                <a:gd name="connsiteY55" fmla="*/ 302419 h 647509"/>
                <a:gd name="connsiteX56" fmla="*/ 796862 w 835437"/>
                <a:gd name="connsiteY56" fmla="*/ 300228 h 647509"/>
                <a:gd name="connsiteX57" fmla="*/ 796004 w 835437"/>
                <a:gd name="connsiteY57" fmla="*/ 293942 h 647509"/>
                <a:gd name="connsiteX58" fmla="*/ 802386 w 835437"/>
                <a:gd name="connsiteY58" fmla="*/ 293180 h 647509"/>
                <a:gd name="connsiteX59" fmla="*/ 801529 w 835437"/>
                <a:gd name="connsiteY59" fmla="*/ 286798 h 647509"/>
                <a:gd name="connsiteX60" fmla="*/ 802958 w 835437"/>
                <a:gd name="connsiteY60" fmla="*/ 284988 h 647509"/>
                <a:gd name="connsiteX61" fmla="*/ 804291 w 835437"/>
                <a:gd name="connsiteY61" fmla="*/ 283273 h 647509"/>
                <a:gd name="connsiteX62" fmla="*/ 802291 w 835437"/>
                <a:gd name="connsiteY62" fmla="*/ 280321 h 647509"/>
                <a:gd name="connsiteX63" fmla="*/ 805244 w 835437"/>
                <a:gd name="connsiteY63" fmla="*/ 278321 h 647509"/>
                <a:gd name="connsiteX64" fmla="*/ 806672 w 835437"/>
                <a:gd name="connsiteY64" fmla="*/ 276511 h 647509"/>
                <a:gd name="connsiteX65" fmla="*/ 799910 w 835437"/>
                <a:gd name="connsiteY65" fmla="*/ 274225 h 647509"/>
                <a:gd name="connsiteX66" fmla="*/ 799528 w 835437"/>
                <a:gd name="connsiteY66" fmla="*/ 270986 h 647509"/>
                <a:gd name="connsiteX67" fmla="*/ 797909 w 835437"/>
                <a:gd name="connsiteY67" fmla="*/ 271272 h 647509"/>
                <a:gd name="connsiteX68" fmla="*/ 791813 w 835437"/>
                <a:gd name="connsiteY68" fmla="*/ 273653 h 647509"/>
                <a:gd name="connsiteX69" fmla="*/ 788480 w 835437"/>
                <a:gd name="connsiteY69" fmla="*/ 272415 h 647509"/>
                <a:gd name="connsiteX70" fmla="*/ 784098 w 835437"/>
                <a:gd name="connsiteY70" fmla="*/ 263366 h 647509"/>
                <a:gd name="connsiteX71" fmla="*/ 785527 w 835437"/>
                <a:gd name="connsiteY71" fmla="*/ 261556 h 647509"/>
                <a:gd name="connsiteX72" fmla="*/ 783717 w 835437"/>
                <a:gd name="connsiteY72" fmla="*/ 260223 h 647509"/>
                <a:gd name="connsiteX73" fmla="*/ 786479 w 835437"/>
                <a:gd name="connsiteY73" fmla="*/ 256699 h 647509"/>
                <a:gd name="connsiteX74" fmla="*/ 791242 w 835437"/>
                <a:gd name="connsiteY74" fmla="*/ 256032 h 647509"/>
                <a:gd name="connsiteX75" fmla="*/ 794195 w 835437"/>
                <a:gd name="connsiteY75" fmla="*/ 254032 h 647509"/>
                <a:gd name="connsiteX76" fmla="*/ 793147 w 835437"/>
                <a:gd name="connsiteY76" fmla="*/ 246221 h 647509"/>
                <a:gd name="connsiteX77" fmla="*/ 791909 w 835437"/>
                <a:gd name="connsiteY77" fmla="*/ 236696 h 647509"/>
                <a:gd name="connsiteX78" fmla="*/ 788575 w 835437"/>
                <a:gd name="connsiteY78" fmla="*/ 235553 h 647509"/>
                <a:gd name="connsiteX79" fmla="*/ 789527 w 835437"/>
                <a:gd name="connsiteY79" fmla="*/ 230600 h 647509"/>
                <a:gd name="connsiteX80" fmla="*/ 792099 w 835437"/>
                <a:gd name="connsiteY80" fmla="*/ 225457 h 647509"/>
                <a:gd name="connsiteX81" fmla="*/ 782288 w 835437"/>
                <a:gd name="connsiteY81" fmla="*/ 223552 h 647509"/>
                <a:gd name="connsiteX82" fmla="*/ 779050 w 835437"/>
                <a:gd name="connsiteY82" fmla="*/ 223933 h 647509"/>
                <a:gd name="connsiteX83" fmla="*/ 778859 w 835437"/>
                <a:gd name="connsiteY83" fmla="*/ 222313 h 647509"/>
                <a:gd name="connsiteX84" fmla="*/ 782003 w 835437"/>
                <a:gd name="connsiteY84" fmla="*/ 221932 h 647509"/>
                <a:gd name="connsiteX85" fmla="*/ 784003 w 835437"/>
                <a:gd name="connsiteY85" fmla="*/ 212027 h 647509"/>
                <a:gd name="connsiteX86" fmla="*/ 782193 w 835437"/>
                <a:gd name="connsiteY86" fmla="*/ 210693 h 647509"/>
                <a:gd name="connsiteX87" fmla="*/ 785336 w 835437"/>
                <a:gd name="connsiteY87" fmla="*/ 210312 h 647509"/>
                <a:gd name="connsiteX88" fmla="*/ 787908 w 835437"/>
                <a:gd name="connsiteY88" fmla="*/ 205169 h 647509"/>
                <a:gd name="connsiteX89" fmla="*/ 786384 w 835437"/>
                <a:gd name="connsiteY89" fmla="*/ 205359 h 647509"/>
                <a:gd name="connsiteX90" fmla="*/ 785717 w 835437"/>
                <a:gd name="connsiteY90" fmla="*/ 200596 h 647509"/>
                <a:gd name="connsiteX91" fmla="*/ 790289 w 835437"/>
                <a:gd name="connsiteY91" fmla="*/ 198406 h 647509"/>
                <a:gd name="connsiteX92" fmla="*/ 791813 w 835437"/>
                <a:gd name="connsiteY92" fmla="*/ 198215 h 647509"/>
                <a:gd name="connsiteX93" fmla="*/ 792671 w 835437"/>
                <a:gd name="connsiteY93" fmla="*/ 191738 h 647509"/>
                <a:gd name="connsiteX94" fmla="*/ 787718 w 835437"/>
                <a:gd name="connsiteY94" fmla="*/ 190786 h 647509"/>
                <a:gd name="connsiteX95" fmla="*/ 788670 w 835437"/>
                <a:gd name="connsiteY95" fmla="*/ 185833 h 647509"/>
                <a:gd name="connsiteX96" fmla="*/ 785527 w 835437"/>
                <a:gd name="connsiteY96" fmla="*/ 186214 h 647509"/>
                <a:gd name="connsiteX97" fmla="*/ 786670 w 835437"/>
                <a:gd name="connsiteY97" fmla="*/ 182880 h 647509"/>
                <a:gd name="connsiteX98" fmla="*/ 784670 w 835437"/>
                <a:gd name="connsiteY98" fmla="*/ 179927 h 647509"/>
                <a:gd name="connsiteX99" fmla="*/ 784289 w 835437"/>
                <a:gd name="connsiteY99" fmla="*/ 176784 h 647509"/>
                <a:gd name="connsiteX100" fmla="*/ 787051 w 835437"/>
                <a:gd name="connsiteY100" fmla="*/ 173165 h 647509"/>
                <a:gd name="connsiteX101" fmla="*/ 787051 w 835437"/>
                <a:gd name="connsiteY101" fmla="*/ 173165 h 647509"/>
                <a:gd name="connsiteX102" fmla="*/ 790003 w 835437"/>
                <a:gd name="connsiteY102" fmla="*/ 171164 h 647509"/>
                <a:gd name="connsiteX103" fmla="*/ 794576 w 835437"/>
                <a:gd name="connsiteY103" fmla="*/ 169069 h 647509"/>
                <a:gd name="connsiteX104" fmla="*/ 794099 w 835437"/>
                <a:gd name="connsiteY104" fmla="*/ 165830 h 647509"/>
                <a:gd name="connsiteX105" fmla="*/ 795528 w 835437"/>
                <a:gd name="connsiteY105" fmla="*/ 164116 h 647509"/>
                <a:gd name="connsiteX106" fmla="*/ 792956 w 835437"/>
                <a:gd name="connsiteY106" fmla="*/ 156400 h 647509"/>
                <a:gd name="connsiteX107" fmla="*/ 795719 w 835437"/>
                <a:gd name="connsiteY107" fmla="*/ 152876 h 647509"/>
                <a:gd name="connsiteX108" fmla="*/ 788765 w 835437"/>
                <a:gd name="connsiteY108" fmla="*/ 148876 h 647509"/>
                <a:gd name="connsiteX109" fmla="*/ 785622 w 835437"/>
                <a:gd name="connsiteY109" fmla="*/ 136493 h 647509"/>
                <a:gd name="connsiteX110" fmla="*/ 775335 w 835437"/>
                <a:gd name="connsiteY110" fmla="*/ 131350 h 647509"/>
                <a:gd name="connsiteX111" fmla="*/ 777907 w 835437"/>
                <a:gd name="connsiteY111" fmla="*/ 126302 h 647509"/>
                <a:gd name="connsiteX112" fmla="*/ 777716 w 835437"/>
                <a:gd name="connsiteY112" fmla="*/ 124682 h 647509"/>
                <a:gd name="connsiteX113" fmla="*/ 771525 w 835437"/>
                <a:gd name="connsiteY113" fmla="*/ 127063 h 647509"/>
                <a:gd name="connsiteX114" fmla="*/ 767429 w 835437"/>
                <a:gd name="connsiteY114" fmla="*/ 132398 h 647509"/>
                <a:gd name="connsiteX115" fmla="*/ 762476 w 835437"/>
                <a:gd name="connsiteY115" fmla="*/ 131445 h 647509"/>
                <a:gd name="connsiteX116" fmla="*/ 759905 w 835437"/>
                <a:gd name="connsiteY116" fmla="*/ 136588 h 647509"/>
                <a:gd name="connsiteX117" fmla="*/ 759333 w 835437"/>
                <a:gd name="connsiteY117" fmla="*/ 131826 h 647509"/>
                <a:gd name="connsiteX118" fmla="*/ 749903 w 835437"/>
                <a:gd name="connsiteY118" fmla="*/ 133064 h 647509"/>
                <a:gd name="connsiteX119" fmla="*/ 746474 w 835437"/>
                <a:gd name="connsiteY119" fmla="*/ 131826 h 647509"/>
                <a:gd name="connsiteX120" fmla="*/ 741807 w 835437"/>
                <a:gd name="connsiteY120" fmla="*/ 132493 h 647509"/>
                <a:gd name="connsiteX121" fmla="*/ 739997 w 835437"/>
                <a:gd name="connsiteY121" fmla="*/ 131064 h 647509"/>
                <a:gd name="connsiteX122" fmla="*/ 738378 w 835437"/>
                <a:gd name="connsiteY122" fmla="*/ 131254 h 647509"/>
                <a:gd name="connsiteX123" fmla="*/ 736283 w 835437"/>
                <a:gd name="connsiteY123" fmla="*/ 126778 h 647509"/>
                <a:gd name="connsiteX124" fmla="*/ 728186 w 835437"/>
                <a:gd name="connsiteY124" fmla="*/ 126206 h 647509"/>
                <a:gd name="connsiteX125" fmla="*/ 723233 w 835437"/>
                <a:gd name="connsiteY125" fmla="*/ 125158 h 647509"/>
                <a:gd name="connsiteX126" fmla="*/ 717328 w 835437"/>
                <a:gd name="connsiteY126" fmla="*/ 129159 h 647509"/>
                <a:gd name="connsiteX127" fmla="*/ 715709 w 835437"/>
                <a:gd name="connsiteY127" fmla="*/ 129350 h 647509"/>
                <a:gd name="connsiteX128" fmla="*/ 717899 w 835437"/>
                <a:gd name="connsiteY128" fmla="*/ 133921 h 647509"/>
                <a:gd name="connsiteX129" fmla="*/ 714756 w 835437"/>
                <a:gd name="connsiteY129" fmla="*/ 134302 h 647509"/>
                <a:gd name="connsiteX130" fmla="*/ 713327 w 835437"/>
                <a:gd name="connsiteY130" fmla="*/ 136112 h 647509"/>
                <a:gd name="connsiteX131" fmla="*/ 708279 w 835437"/>
                <a:gd name="connsiteY131" fmla="*/ 133540 h 647509"/>
                <a:gd name="connsiteX132" fmla="*/ 709613 w 835437"/>
                <a:gd name="connsiteY132" fmla="*/ 131731 h 647509"/>
                <a:gd name="connsiteX133" fmla="*/ 707803 w 835437"/>
                <a:gd name="connsiteY133" fmla="*/ 130397 h 647509"/>
                <a:gd name="connsiteX134" fmla="*/ 703136 w 835437"/>
                <a:gd name="connsiteY134" fmla="*/ 130969 h 647509"/>
                <a:gd name="connsiteX135" fmla="*/ 699326 w 835437"/>
                <a:gd name="connsiteY135" fmla="*/ 126587 h 647509"/>
                <a:gd name="connsiteX136" fmla="*/ 696373 w 835437"/>
                <a:gd name="connsiteY136" fmla="*/ 128588 h 647509"/>
                <a:gd name="connsiteX137" fmla="*/ 696373 w 835437"/>
                <a:gd name="connsiteY137" fmla="*/ 128588 h 647509"/>
                <a:gd name="connsiteX138" fmla="*/ 695801 w 835437"/>
                <a:gd name="connsiteY138" fmla="*/ 123920 h 647509"/>
                <a:gd name="connsiteX139" fmla="*/ 700278 w 835437"/>
                <a:gd name="connsiteY139" fmla="*/ 121729 h 647509"/>
                <a:gd name="connsiteX140" fmla="*/ 702278 w 835437"/>
                <a:gd name="connsiteY140" fmla="*/ 111823 h 647509"/>
                <a:gd name="connsiteX141" fmla="*/ 708565 w 835437"/>
                <a:gd name="connsiteY141" fmla="*/ 111061 h 647509"/>
                <a:gd name="connsiteX142" fmla="*/ 708374 w 835437"/>
                <a:gd name="connsiteY142" fmla="*/ 109442 h 647509"/>
                <a:gd name="connsiteX143" fmla="*/ 700469 w 835437"/>
                <a:gd name="connsiteY143" fmla="*/ 97631 h 647509"/>
                <a:gd name="connsiteX144" fmla="*/ 698659 w 835437"/>
                <a:gd name="connsiteY144" fmla="*/ 96298 h 647509"/>
                <a:gd name="connsiteX145" fmla="*/ 695706 w 835437"/>
                <a:gd name="connsiteY145" fmla="*/ 98203 h 647509"/>
                <a:gd name="connsiteX146" fmla="*/ 689229 w 835437"/>
                <a:gd name="connsiteY146" fmla="*/ 97441 h 647509"/>
                <a:gd name="connsiteX147" fmla="*/ 679895 w 835437"/>
                <a:gd name="connsiteY147" fmla="*/ 87440 h 647509"/>
                <a:gd name="connsiteX148" fmla="*/ 680276 w 835437"/>
                <a:gd name="connsiteY148" fmla="*/ 90583 h 647509"/>
                <a:gd name="connsiteX149" fmla="*/ 665702 w 835437"/>
                <a:gd name="connsiteY149" fmla="*/ 89249 h 647509"/>
                <a:gd name="connsiteX150" fmla="*/ 664750 w 835437"/>
                <a:gd name="connsiteY150" fmla="*/ 94202 h 647509"/>
                <a:gd name="connsiteX151" fmla="*/ 650939 w 835437"/>
                <a:gd name="connsiteY151" fmla="*/ 86296 h 647509"/>
                <a:gd name="connsiteX152" fmla="*/ 648272 w 835437"/>
                <a:gd name="connsiteY152" fmla="*/ 78581 h 647509"/>
                <a:gd name="connsiteX153" fmla="*/ 640651 w 835437"/>
                <a:gd name="connsiteY153" fmla="*/ 81153 h 647509"/>
                <a:gd name="connsiteX154" fmla="*/ 631793 w 835437"/>
                <a:gd name="connsiteY154" fmla="*/ 87154 h 647509"/>
                <a:gd name="connsiteX155" fmla="*/ 629984 w 835437"/>
                <a:gd name="connsiteY155" fmla="*/ 85725 h 647509"/>
                <a:gd name="connsiteX156" fmla="*/ 631126 w 835437"/>
                <a:gd name="connsiteY156" fmla="*/ 82391 h 647509"/>
                <a:gd name="connsiteX157" fmla="*/ 628174 w 835437"/>
                <a:gd name="connsiteY157" fmla="*/ 84392 h 647509"/>
                <a:gd name="connsiteX158" fmla="*/ 626174 w 835437"/>
                <a:gd name="connsiteY158" fmla="*/ 81439 h 647509"/>
                <a:gd name="connsiteX159" fmla="*/ 615410 w 835437"/>
                <a:gd name="connsiteY159" fmla="*/ 84392 h 647509"/>
                <a:gd name="connsiteX160" fmla="*/ 613029 w 835437"/>
                <a:gd name="connsiteY160" fmla="*/ 78296 h 647509"/>
                <a:gd name="connsiteX161" fmla="*/ 609028 w 835437"/>
                <a:gd name="connsiteY161" fmla="*/ 72390 h 647509"/>
                <a:gd name="connsiteX162" fmla="*/ 597218 w 835437"/>
                <a:gd name="connsiteY162" fmla="*/ 67437 h 647509"/>
                <a:gd name="connsiteX163" fmla="*/ 590455 w 835437"/>
                <a:gd name="connsiteY163" fmla="*/ 65151 h 647509"/>
                <a:gd name="connsiteX164" fmla="*/ 589693 w 835437"/>
                <a:gd name="connsiteY164" fmla="*/ 58865 h 647509"/>
                <a:gd name="connsiteX165" fmla="*/ 575215 w 835437"/>
                <a:gd name="connsiteY165" fmla="*/ 46196 h 647509"/>
                <a:gd name="connsiteX166" fmla="*/ 571881 w 835437"/>
                <a:gd name="connsiteY166" fmla="*/ 45053 h 647509"/>
                <a:gd name="connsiteX167" fmla="*/ 568738 w 835437"/>
                <a:gd name="connsiteY167" fmla="*/ 45434 h 647509"/>
                <a:gd name="connsiteX168" fmla="*/ 561404 w 835437"/>
                <a:gd name="connsiteY168" fmla="*/ 38386 h 647509"/>
                <a:gd name="connsiteX169" fmla="*/ 531305 w 835437"/>
                <a:gd name="connsiteY169" fmla="*/ 16573 h 647509"/>
                <a:gd name="connsiteX170" fmla="*/ 524066 w 835437"/>
                <a:gd name="connsiteY170" fmla="*/ 9430 h 647509"/>
                <a:gd name="connsiteX171" fmla="*/ 509969 w 835437"/>
                <a:gd name="connsiteY171" fmla="*/ 0 h 647509"/>
                <a:gd name="connsiteX172" fmla="*/ 508254 w 835437"/>
                <a:gd name="connsiteY172" fmla="*/ 11430 h 647509"/>
                <a:gd name="connsiteX173" fmla="*/ 501206 w 835437"/>
                <a:gd name="connsiteY173" fmla="*/ 18764 h 647509"/>
                <a:gd name="connsiteX174" fmla="*/ 501777 w 835437"/>
                <a:gd name="connsiteY174" fmla="*/ 23527 h 647509"/>
                <a:gd name="connsiteX175" fmla="*/ 503968 w 835437"/>
                <a:gd name="connsiteY175" fmla="*/ 28004 h 647509"/>
                <a:gd name="connsiteX176" fmla="*/ 503015 w 835437"/>
                <a:gd name="connsiteY176" fmla="*/ 32956 h 647509"/>
                <a:gd name="connsiteX177" fmla="*/ 498634 w 835437"/>
                <a:gd name="connsiteY177" fmla="*/ 23908 h 647509"/>
                <a:gd name="connsiteX178" fmla="*/ 493871 w 835437"/>
                <a:gd name="connsiteY178" fmla="*/ 11716 h 647509"/>
                <a:gd name="connsiteX179" fmla="*/ 451295 w 835437"/>
                <a:gd name="connsiteY179" fmla="*/ 29908 h 647509"/>
                <a:gd name="connsiteX180" fmla="*/ 446342 w 835437"/>
                <a:gd name="connsiteY180" fmla="*/ 41815 h 647509"/>
                <a:gd name="connsiteX181" fmla="*/ 440436 w 835437"/>
                <a:gd name="connsiteY181" fmla="*/ 45720 h 647509"/>
                <a:gd name="connsiteX182" fmla="*/ 432149 w 835437"/>
                <a:gd name="connsiteY182" fmla="*/ 56388 h 647509"/>
                <a:gd name="connsiteX183" fmla="*/ 429673 w 835437"/>
                <a:gd name="connsiteY183" fmla="*/ 61531 h 647509"/>
                <a:gd name="connsiteX184" fmla="*/ 431578 w 835437"/>
                <a:gd name="connsiteY184" fmla="*/ 64484 h 647509"/>
                <a:gd name="connsiteX185" fmla="*/ 430625 w 835437"/>
                <a:gd name="connsiteY185" fmla="*/ 69437 h 647509"/>
                <a:gd name="connsiteX186" fmla="*/ 423482 w 835437"/>
                <a:gd name="connsiteY186" fmla="*/ 63913 h 647509"/>
                <a:gd name="connsiteX187" fmla="*/ 421577 w 835437"/>
                <a:gd name="connsiteY187" fmla="*/ 60960 h 647509"/>
                <a:gd name="connsiteX188" fmla="*/ 414242 w 835437"/>
                <a:gd name="connsiteY188" fmla="*/ 53911 h 647509"/>
                <a:gd name="connsiteX189" fmla="*/ 408337 w 835437"/>
                <a:gd name="connsiteY189" fmla="*/ 45053 h 647509"/>
                <a:gd name="connsiteX190" fmla="*/ 396240 w 835437"/>
                <a:gd name="connsiteY190" fmla="*/ 51340 h 647509"/>
                <a:gd name="connsiteX191" fmla="*/ 388334 w 835437"/>
                <a:gd name="connsiteY191" fmla="*/ 52388 h 647509"/>
                <a:gd name="connsiteX192" fmla="*/ 384810 w 835437"/>
                <a:gd name="connsiteY192" fmla="*/ 49625 h 647509"/>
                <a:gd name="connsiteX193" fmla="*/ 376142 w 835437"/>
                <a:gd name="connsiteY193" fmla="*/ 44291 h 647509"/>
                <a:gd name="connsiteX194" fmla="*/ 368237 w 835437"/>
                <a:gd name="connsiteY194" fmla="*/ 45339 h 647509"/>
                <a:gd name="connsiteX195" fmla="*/ 368427 w 835437"/>
                <a:gd name="connsiteY195" fmla="*/ 46958 h 647509"/>
                <a:gd name="connsiteX196" fmla="*/ 358426 w 835437"/>
                <a:gd name="connsiteY196" fmla="*/ 56198 h 647509"/>
                <a:gd name="connsiteX197" fmla="*/ 355283 w 835437"/>
                <a:gd name="connsiteY197" fmla="*/ 56579 h 647509"/>
                <a:gd name="connsiteX198" fmla="*/ 353282 w 835437"/>
                <a:gd name="connsiteY198" fmla="*/ 53626 h 647509"/>
                <a:gd name="connsiteX199" fmla="*/ 348520 w 835437"/>
                <a:gd name="connsiteY199" fmla="*/ 54292 h 647509"/>
                <a:gd name="connsiteX200" fmla="*/ 343567 w 835437"/>
                <a:gd name="connsiteY200" fmla="*/ 53245 h 647509"/>
                <a:gd name="connsiteX201" fmla="*/ 339471 w 835437"/>
                <a:gd name="connsiteY201" fmla="*/ 58579 h 647509"/>
                <a:gd name="connsiteX202" fmla="*/ 326993 w 835437"/>
                <a:gd name="connsiteY202" fmla="*/ 61817 h 647509"/>
                <a:gd name="connsiteX203" fmla="*/ 323850 w 835437"/>
                <a:gd name="connsiteY203" fmla="*/ 62198 h 647509"/>
                <a:gd name="connsiteX204" fmla="*/ 320516 w 835437"/>
                <a:gd name="connsiteY204" fmla="*/ 61055 h 647509"/>
                <a:gd name="connsiteX205" fmla="*/ 317563 w 835437"/>
                <a:gd name="connsiteY205" fmla="*/ 63056 h 647509"/>
                <a:gd name="connsiteX206" fmla="*/ 310896 w 835437"/>
                <a:gd name="connsiteY206" fmla="*/ 60674 h 647509"/>
                <a:gd name="connsiteX207" fmla="*/ 306514 w 835437"/>
                <a:gd name="connsiteY207" fmla="*/ 64389 h 647509"/>
                <a:gd name="connsiteX208" fmla="*/ 298418 w 835437"/>
                <a:gd name="connsiteY208" fmla="*/ 63817 h 647509"/>
                <a:gd name="connsiteX209" fmla="*/ 295085 w 835437"/>
                <a:gd name="connsiteY209" fmla="*/ 62675 h 647509"/>
                <a:gd name="connsiteX210" fmla="*/ 294513 w 835437"/>
                <a:gd name="connsiteY210" fmla="*/ 70771 h 647509"/>
                <a:gd name="connsiteX211" fmla="*/ 288608 w 835437"/>
                <a:gd name="connsiteY211" fmla="*/ 74771 h 647509"/>
                <a:gd name="connsiteX212" fmla="*/ 284893 w 835437"/>
                <a:gd name="connsiteY212" fmla="*/ 83248 h 647509"/>
                <a:gd name="connsiteX213" fmla="*/ 279178 w 835437"/>
                <a:gd name="connsiteY213" fmla="*/ 88773 h 647509"/>
                <a:gd name="connsiteX214" fmla="*/ 278130 w 835437"/>
                <a:gd name="connsiteY214" fmla="*/ 93726 h 647509"/>
                <a:gd name="connsiteX215" fmla="*/ 281750 w 835437"/>
                <a:gd name="connsiteY215" fmla="*/ 109252 h 647509"/>
                <a:gd name="connsiteX216" fmla="*/ 279368 w 835437"/>
                <a:gd name="connsiteY216" fmla="*/ 116015 h 647509"/>
                <a:gd name="connsiteX217" fmla="*/ 275082 w 835437"/>
                <a:gd name="connsiteY217" fmla="*/ 119729 h 647509"/>
                <a:gd name="connsiteX218" fmla="*/ 264224 w 835437"/>
                <a:gd name="connsiteY218" fmla="*/ 109919 h 647509"/>
                <a:gd name="connsiteX219" fmla="*/ 258318 w 835437"/>
                <a:gd name="connsiteY219" fmla="*/ 113824 h 647509"/>
                <a:gd name="connsiteX220" fmla="*/ 257080 w 835437"/>
                <a:gd name="connsiteY220" fmla="*/ 117253 h 647509"/>
                <a:gd name="connsiteX221" fmla="*/ 249650 w 835437"/>
                <a:gd name="connsiteY221" fmla="*/ 121348 h 647509"/>
                <a:gd name="connsiteX222" fmla="*/ 245269 w 835437"/>
                <a:gd name="connsiteY222" fmla="*/ 125158 h 647509"/>
                <a:gd name="connsiteX223" fmla="*/ 244316 w 835437"/>
                <a:gd name="connsiteY223" fmla="*/ 130111 h 647509"/>
                <a:gd name="connsiteX224" fmla="*/ 240030 w 835437"/>
                <a:gd name="connsiteY224" fmla="*/ 133826 h 647509"/>
                <a:gd name="connsiteX225" fmla="*/ 242126 w 835437"/>
                <a:gd name="connsiteY225" fmla="*/ 138398 h 647509"/>
                <a:gd name="connsiteX226" fmla="*/ 238220 w 835437"/>
                <a:gd name="connsiteY226" fmla="*/ 145256 h 647509"/>
                <a:gd name="connsiteX227" fmla="*/ 234887 w 835437"/>
                <a:gd name="connsiteY227" fmla="*/ 144113 h 647509"/>
                <a:gd name="connsiteX228" fmla="*/ 231934 w 835437"/>
                <a:gd name="connsiteY228" fmla="*/ 146113 h 647509"/>
                <a:gd name="connsiteX229" fmla="*/ 228410 w 835437"/>
                <a:gd name="connsiteY229" fmla="*/ 143351 h 647509"/>
                <a:gd name="connsiteX230" fmla="*/ 218885 w 835437"/>
                <a:gd name="connsiteY230" fmla="*/ 144590 h 647509"/>
                <a:gd name="connsiteX231" fmla="*/ 214408 w 835437"/>
                <a:gd name="connsiteY231" fmla="*/ 146780 h 647509"/>
                <a:gd name="connsiteX232" fmla="*/ 216503 w 835437"/>
                <a:gd name="connsiteY232" fmla="*/ 151257 h 647509"/>
                <a:gd name="connsiteX233" fmla="*/ 214598 w 835437"/>
                <a:gd name="connsiteY233" fmla="*/ 161163 h 647509"/>
                <a:gd name="connsiteX234" fmla="*/ 216980 w 835437"/>
                <a:gd name="connsiteY234" fmla="*/ 167259 h 647509"/>
                <a:gd name="connsiteX235" fmla="*/ 215075 w 835437"/>
                <a:gd name="connsiteY235" fmla="*/ 177070 h 647509"/>
                <a:gd name="connsiteX236" fmla="*/ 210884 w 835437"/>
                <a:gd name="connsiteY236" fmla="*/ 182499 h 647509"/>
                <a:gd name="connsiteX237" fmla="*/ 202978 w 835437"/>
                <a:gd name="connsiteY237" fmla="*/ 183452 h 647509"/>
                <a:gd name="connsiteX238" fmla="*/ 193739 w 835437"/>
                <a:gd name="connsiteY238" fmla="*/ 186214 h 647509"/>
                <a:gd name="connsiteX239" fmla="*/ 194119 w 835437"/>
                <a:gd name="connsiteY239" fmla="*/ 189357 h 647509"/>
                <a:gd name="connsiteX240" fmla="*/ 191357 w 835437"/>
                <a:gd name="connsiteY240" fmla="*/ 192977 h 647509"/>
                <a:gd name="connsiteX241" fmla="*/ 187071 w 835437"/>
                <a:gd name="connsiteY241" fmla="*/ 196691 h 647509"/>
                <a:gd name="connsiteX242" fmla="*/ 188024 w 835437"/>
                <a:gd name="connsiteY242" fmla="*/ 204597 h 647509"/>
                <a:gd name="connsiteX243" fmla="*/ 180975 w 835437"/>
                <a:gd name="connsiteY243" fmla="*/ 211931 h 647509"/>
                <a:gd name="connsiteX244" fmla="*/ 179261 w 835437"/>
                <a:gd name="connsiteY244" fmla="*/ 223361 h 647509"/>
                <a:gd name="connsiteX245" fmla="*/ 183356 w 835437"/>
                <a:gd name="connsiteY245" fmla="*/ 230886 h 647509"/>
                <a:gd name="connsiteX246" fmla="*/ 185547 w 835437"/>
                <a:gd name="connsiteY246" fmla="*/ 235363 h 647509"/>
                <a:gd name="connsiteX247" fmla="*/ 179451 w 835437"/>
                <a:gd name="connsiteY247" fmla="*/ 237744 h 647509"/>
                <a:gd name="connsiteX248" fmla="*/ 182975 w 835437"/>
                <a:gd name="connsiteY248" fmla="*/ 240506 h 647509"/>
                <a:gd name="connsiteX249" fmla="*/ 178308 w 835437"/>
                <a:gd name="connsiteY249" fmla="*/ 241173 h 647509"/>
                <a:gd name="connsiteX250" fmla="*/ 178499 w 835437"/>
                <a:gd name="connsiteY250" fmla="*/ 242697 h 647509"/>
                <a:gd name="connsiteX251" fmla="*/ 172784 w 835437"/>
                <a:gd name="connsiteY251" fmla="*/ 235458 h 647509"/>
                <a:gd name="connsiteX252" fmla="*/ 166021 w 835437"/>
                <a:gd name="connsiteY252" fmla="*/ 233077 h 647509"/>
                <a:gd name="connsiteX253" fmla="*/ 166592 w 835437"/>
                <a:gd name="connsiteY253" fmla="*/ 237839 h 647509"/>
                <a:gd name="connsiteX254" fmla="*/ 164116 w 835437"/>
                <a:gd name="connsiteY254" fmla="*/ 242983 h 647509"/>
                <a:gd name="connsiteX255" fmla="*/ 165830 w 835437"/>
                <a:gd name="connsiteY255" fmla="*/ 244316 h 647509"/>
                <a:gd name="connsiteX256" fmla="*/ 165449 w 835437"/>
                <a:gd name="connsiteY256" fmla="*/ 254032 h 647509"/>
                <a:gd name="connsiteX257" fmla="*/ 167640 w 835437"/>
                <a:gd name="connsiteY257" fmla="*/ 258509 h 647509"/>
                <a:gd name="connsiteX258" fmla="*/ 168307 w 835437"/>
                <a:gd name="connsiteY258" fmla="*/ 263271 h 647509"/>
                <a:gd name="connsiteX259" fmla="*/ 161544 w 835437"/>
                <a:gd name="connsiteY259" fmla="*/ 260890 h 647509"/>
                <a:gd name="connsiteX260" fmla="*/ 162782 w 835437"/>
                <a:gd name="connsiteY260" fmla="*/ 270415 h 647509"/>
                <a:gd name="connsiteX261" fmla="*/ 160211 w 835437"/>
                <a:gd name="connsiteY261" fmla="*/ 275558 h 647509"/>
                <a:gd name="connsiteX262" fmla="*/ 162592 w 835437"/>
                <a:gd name="connsiteY262" fmla="*/ 281654 h 647509"/>
                <a:gd name="connsiteX263" fmla="*/ 165926 w 835437"/>
                <a:gd name="connsiteY263" fmla="*/ 282797 h 647509"/>
                <a:gd name="connsiteX264" fmla="*/ 164973 w 835437"/>
                <a:gd name="connsiteY264" fmla="*/ 287750 h 647509"/>
                <a:gd name="connsiteX265" fmla="*/ 168497 w 835437"/>
                <a:gd name="connsiteY265" fmla="*/ 290513 h 647509"/>
                <a:gd name="connsiteX266" fmla="*/ 168688 w 835437"/>
                <a:gd name="connsiteY266" fmla="*/ 292036 h 647509"/>
                <a:gd name="connsiteX267" fmla="*/ 167545 w 835437"/>
                <a:gd name="connsiteY267" fmla="*/ 295465 h 647509"/>
                <a:gd name="connsiteX268" fmla="*/ 163068 w 835437"/>
                <a:gd name="connsiteY268" fmla="*/ 297561 h 647509"/>
                <a:gd name="connsiteX269" fmla="*/ 162020 w 835437"/>
                <a:gd name="connsiteY269" fmla="*/ 302514 h 647509"/>
                <a:gd name="connsiteX270" fmla="*/ 158877 w 835437"/>
                <a:gd name="connsiteY270" fmla="*/ 302895 h 647509"/>
                <a:gd name="connsiteX271" fmla="*/ 160877 w 835437"/>
                <a:gd name="connsiteY271" fmla="*/ 305943 h 647509"/>
                <a:gd name="connsiteX272" fmla="*/ 161449 w 835437"/>
                <a:gd name="connsiteY272" fmla="*/ 310610 h 647509"/>
                <a:gd name="connsiteX273" fmla="*/ 168212 w 835437"/>
                <a:gd name="connsiteY273" fmla="*/ 312992 h 647509"/>
                <a:gd name="connsiteX274" fmla="*/ 165259 w 835437"/>
                <a:gd name="connsiteY274" fmla="*/ 314992 h 647509"/>
                <a:gd name="connsiteX275" fmla="*/ 152210 w 835437"/>
                <a:gd name="connsiteY275" fmla="*/ 313373 h 647509"/>
                <a:gd name="connsiteX276" fmla="*/ 143732 w 835437"/>
                <a:gd name="connsiteY276" fmla="*/ 309658 h 647509"/>
                <a:gd name="connsiteX277" fmla="*/ 138970 w 835437"/>
                <a:gd name="connsiteY277" fmla="*/ 310325 h 647509"/>
                <a:gd name="connsiteX278" fmla="*/ 135446 w 835437"/>
                <a:gd name="connsiteY278" fmla="*/ 307562 h 647509"/>
                <a:gd name="connsiteX279" fmla="*/ 137732 w 835437"/>
                <a:gd name="connsiteY279" fmla="*/ 300800 h 647509"/>
                <a:gd name="connsiteX280" fmla="*/ 135636 w 835437"/>
                <a:gd name="connsiteY280" fmla="*/ 296323 h 647509"/>
                <a:gd name="connsiteX281" fmla="*/ 132683 w 835437"/>
                <a:gd name="connsiteY281" fmla="*/ 298228 h 647509"/>
                <a:gd name="connsiteX282" fmla="*/ 131826 w 835437"/>
                <a:gd name="connsiteY282" fmla="*/ 291941 h 647509"/>
                <a:gd name="connsiteX283" fmla="*/ 128873 w 835437"/>
                <a:gd name="connsiteY283" fmla="*/ 293942 h 647509"/>
                <a:gd name="connsiteX284" fmla="*/ 126683 w 835437"/>
                <a:gd name="connsiteY284" fmla="*/ 289369 h 647509"/>
                <a:gd name="connsiteX285" fmla="*/ 126111 w 835437"/>
                <a:gd name="connsiteY285" fmla="*/ 284702 h 647509"/>
                <a:gd name="connsiteX286" fmla="*/ 127254 w 835437"/>
                <a:gd name="connsiteY286" fmla="*/ 281273 h 647509"/>
                <a:gd name="connsiteX287" fmla="*/ 134969 w 835437"/>
                <a:gd name="connsiteY287" fmla="*/ 278702 h 647509"/>
                <a:gd name="connsiteX288" fmla="*/ 136112 w 835437"/>
                <a:gd name="connsiteY288" fmla="*/ 275368 h 647509"/>
                <a:gd name="connsiteX289" fmla="*/ 132779 w 835437"/>
                <a:gd name="connsiteY289" fmla="*/ 274225 h 647509"/>
                <a:gd name="connsiteX290" fmla="*/ 135541 w 835437"/>
                <a:gd name="connsiteY290" fmla="*/ 270605 h 647509"/>
                <a:gd name="connsiteX291" fmla="*/ 130969 w 835437"/>
                <a:gd name="connsiteY291" fmla="*/ 272796 h 647509"/>
                <a:gd name="connsiteX292" fmla="*/ 131731 w 835437"/>
                <a:gd name="connsiteY292" fmla="*/ 266319 h 647509"/>
                <a:gd name="connsiteX293" fmla="*/ 138875 w 835437"/>
                <a:gd name="connsiteY293" fmla="*/ 258985 h 647509"/>
                <a:gd name="connsiteX294" fmla="*/ 133541 w 835437"/>
                <a:gd name="connsiteY294" fmla="*/ 254889 h 647509"/>
                <a:gd name="connsiteX295" fmla="*/ 128778 w 835437"/>
                <a:gd name="connsiteY295" fmla="*/ 255461 h 647509"/>
                <a:gd name="connsiteX296" fmla="*/ 131731 w 835437"/>
                <a:gd name="connsiteY296" fmla="*/ 253460 h 647509"/>
                <a:gd name="connsiteX297" fmla="*/ 130207 w 835437"/>
                <a:gd name="connsiteY297" fmla="*/ 253651 h 647509"/>
                <a:gd name="connsiteX298" fmla="*/ 134874 w 835437"/>
                <a:gd name="connsiteY298" fmla="*/ 253079 h 647509"/>
                <a:gd name="connsiteX299" fmla="*/ 127159 w 835437"/>
                <a:gd name="connsiteY299" fmla="*/ 242792 h 647509"/>
                <a:gd name="connsiteX300" fmla="*/ 121063 w 835437"/>
                <a:gd name="connsiteY300" fmla="*/ 245173 h 647509"/>
                <a:gd name="connsiteX301" fmla="*/ 118872 w 835437"/>
                <a:gd name="connsiteY301" fmla="*/ 240697 h 647509"/>
                <a:gd name="connsiteX302" fmla="*/ 112014 w 835437"/>
                <a:gd name="connsiteY302" fmla="*/ 236792 h 647509"/>
                <a:gd name="connsiteX303" fmla="*/ 111347 w 835437"/>
                <a:gd name="connsiteY303" fmla="*/ 232029 h 647509"/>
                <a:gd name="connsiteX304" fmla="*/ 102680 w 835437"/>
                <a:gd name="connsiteY304" fmla="*/ 226695 h 647509"/>
                <a:gd name="connsiteX305" fmla="*/ 105442 w 835437"/>
                <a:gd name="connsiteY305" fmla="*/ 223171 h 647509"/>
                <a:gd name="connsiteX306" fmla="*/ 109538 w 835437"/>
                <a:gd name="connsiteY306" fmla="*/ 217837 h 647509"/>
                <a:gd name="connsiteX307" fmla="*/ 107347 w 835437"/>
                <a:gd name="connsiteY307" fmla="*/ 213265 h 647509"/>
                <a:gd name="connsiteX308" fmla="*/ 111157 w 835437"/>
                <a:gd name="connsiteY308" fmla="*/ 217646 h 647509"/>
                <a:gd name="connsiteX309" fmla="*/ 114872 w 835437"/>
                <a:gd name="connsiteY309" fmla="*/ 221932 h 647509"/>
                <a:gd name="connsiteX310" fmla="*/ 116491 w 835437"/>
                <a:gd name="connsiteY310" fmla="*/ 221742 h 647509"/>
                <a:gd name="connsiteX311" fmla="*/ 121634 w 835437"/>
                <a:gd name="connsiteY311" fmla="*/ 224314 h 647509"/>
                <a:gd name="connsiteX312" fmla="*/ 119444 w 835437"/>
                <a:gd name="connsiteY312" fmla="*/ 219742 h 647509"/>
                <a:gd name="connsiteX313" fmla="*/ 120206 w 835437"/>
                <a:gd name="connsiteY313" fmla="*/ 213265 h 647509"/>
                <a:gd name="connsiteX314" fmla="*/ 118205 w 835437"/>
                <a:gd name="connsiteY314" fmla="*/ 210312 h 647509"/>
                <a:gd name="connsiteX315" fmla="*/ 113633 w 835437"/>
                <a:gd name="connsiteY315" fmla="*/ 199644 h 647509"/>
                <a:gd name="connsiteX316" fmla="*/ 109157 w 835437"/>
                <a:gd name="connsiteY316" fmla="*/ 201835 h 647509"/>
                <a:gd name="connsiteX317" fmla="*/ 101060 w 835437"/>
                <a:gd name="connsiteY317" fmla="*/ 201263 h 647509"/>
                <a:gd name="connsiteX318" fmla="*/ 97441 w 835437"/>
                <a:gd name="connsiteY318" fmla="*/ 198501 h 647509"/>
                <a:gd name="connsiteX319" fmla="*/ 86392 w 835437"/>
                <a:gd name="connsiteY319" fmla="*/ 199930 h 647509"/>
                <a:gd name="connsiteX320" fmla="*/ 77724 w 835437"/>
                <a:gd name="connsiteY320" fmla="*/ 194596 h 647509"/>
                <a:gd name="connsiteX321" fmla="*/ 78867 w 835437"/>
                <a:gd name="connsiteY321" fmla="*/ 191262 h 647509"/>
                <a:gd name="connsiteX322" fmla="*/ 78677 w 835437"/>
                <a:gd name="connsiteY322" fmla="*/ 176879 h 647509"/>
                <a:gd name="connsiteX323" fmla="*/ 74962 w 835437"/>
                <a:gd name="connsiteY323" fmla="*/ 172498 h 647509"/>
                <a:gd name="connsiteX324" fmla="*/ 78867 w 835437"/>
                <a:gd name="connsiteY324" fmla="*/ 152781 h 647509"/>
                <a:gd name="connsiteX325" fmla="*/ 76105 w 835437"/>
                <a:gd name="connsiteY325" fmla="*/ 156305 h 647509"/>
                <a:gd name="connsiteX326" fmla="*/ 73914 w 835437"/>
                <a:gd name="connsiteY326" fmla="*/ 151829 h 647509"/>
                <a:gd name="connsiteX327" fmla="*/ 68771 w 835437"/>
                <a:gd name="connsiteY327" fmla="*/ 149257 h 647509"/>
                <a:gd name="connsiteX328" fmla="*/ 66580 w 835437"/>
                <a:gd name="connsiteY328" fmla="*/ 144685 h 647509"/>
                <a:gd name="connsiteX329" fmla="*/ 67342 w 835437"/>
                <a:gd name="connsiteY329" fmla="*/ 138208 h 647509"/>
                <a:gd name="connsiteX330" fmla="*/ 52959 w 835437"/>
                <a:gd name="connsiteY330" fmla="*/ 138398 h 647509"/>
                <a:gd name="connsiteX331" fmla="*/ 41529 w 835437"/>
                <a:gd name="connsiteY331" fmla="*/ 136684 h 647509"/>
                <a:gd name="connsiteX332" fmla="*/ 29051 w 835437"/>
                <a:gd name="connsiteY332" fmla="*/ 139827 h 647509"/>
                <a:gd name="connsiteX333" fmla="*/ 26289 w 835437"/>
                <a:gd name="connsiteY333" fmla="*/ 143446 h 647509"/>
                <a:gd name="connsiteX334" fmla="*/ 18193 w 835437"/>
                <a:gd name="connsiteY334" fmla="*/ 142875 h 647509"/>
                <a:gd name="connsiteX335" fmla="*/ 19240 w 835437"/>
                <a:gd name="connsiteY335" fmla="*/ 137922 h 647509"/>
                <a:gd name="connsiteX336" fmla="*/ 16002 w 835437"/>
                <a:gd name="connsiteY336" fmla="*/ 138303 h 647509"/>
                <a:gd name="connsiteX337" fmla="*/ 14097 w 835437"/>
                <a:gd name="connsiteY337" fmla="*/ 135350 h 647509"/>
                <a:gd name="connsiteX338" fmla="*/ 8382 w 835437"/>
                <a:gd name="connsiteY338" fmla="*/ 140875 h 647509"/>
                <a:gd name="connsiteX339" fmla="*/ 12097 w 835437"/>
                <a:gd name="connsiteY339" fmla="*/ 145256 h 647509"/>
                <a:gd name="connsiteX340" fmla="*/ 18669 w 835437"/>
                <a:gd name="connsiteY340" fmla="*/ 146018 h 647509"/>
                <a:gd name="connsiteX341" fmla="*/ 25908 w 835437"/>
                <a:gd name="connsiteY341" fmla="*/ 153067 h 647509"/>
                <a:gd name="connsiteX342" fmla="*/ 26384 w 835437"/>
                <a:gd name="connsiteY342" fmla="*/ 156305 h 647509"/>
                <a:gd name="connsiteX343" fmla="*/ 22193 w 835437"/>
                <a:gd name="connsiteY343" fmla="*/ 161639 h 647509"/>
                <a:gd name="connsiteX344" fmla="*/ 23432 w 835437"/>
                <a:gd name="connsiteY344" fmla="*/ 171069 h 647509"/>
                <a:gd name="connsiteX345" fmla="*/ 32671 w 835437"/>
                <a:gd name="connsiteY345" fmla="*/ 181070 h 647509"/>
                <a:gd name="connsiteX346" fmla="*/ 33147 w 835437"/>
                <a:gd name="connsiteY346" fmla="*/ 184213 h 647509"/>
                <a:gd name="connsiteX347" fmla="*/ 35052 w 835437"/>
                <a:gd name="connsiteY347" fmla="*/ 187166 h 647509"/>
                <a:gd name="connsiteX348" fmla="*/ 33909 w 835437"/>
                <a:gd name="connsiteY348" fmla="*/ 190595 h 647509"/>
                <a:gd name="connsiteX349" fmla="*/ 25051 w 835437"/>
                <a:gd name="connsiteY349" fmla="*/ 196501 h 647509"/>
                <a:gd name="connsiteX350" fmla="*/ 21908 w 835437"/>
                <a:gd name="connsiteY350" fmla="*/ 196882 h 647509"/>
                <a:gd name="connsiteX351" fmla="*/ 20479 w 835437"/>
                <a:gd name="connsiteY351" fmla="*/ 198692 h 647509"/>
                <a:gd name="connsiteX352" fmla="*/ 15621 w 835437"/>
                <a:gd name="connsiteY352" fmla="*/ 197739 h 647509"/>
                <a:gd name="connsiteX353" fmla="*/ 11240 w 835437"/>
                <a:gd name="connsiteY353" fmla="*/ 201454 h 647509"/>
                <a:gd name="connsiteX354" fmla="*/ 5144 w 835437"/>
                <a:gd name="connsiteY354" fmla="*/ 203835 h 647509"/>
                <a:gd name="connsiteX355" fmla="*/ 8858 w 835437"/>
                <a:gd name="connsiteY355" fmla="*/ 208217 h 647509"/>
                <a:gd name="connsiteX356" fmla="*/ 7715 w 835437"/>
                <a:gd name="connsiteY356" fmla="*/ 211550 h 647509"/>
                <a:gd name="connsiteX357" fmla="*/ 6382 w 835437"/>
                <a:gd name="connsiteY357" fmla="*/ 213360 h 647509"/>
                <a:gd name="connsiteX358" fmla="*/ 0 w 835437"/>
                <a:gd name="connsiteY358" fmla="*/ 214122 h 647509"/>
                <a:gd name="connsiteX359" fmla="*/ 476 w 835437"/>
                <a:gd name="connsiteY359" fmla="*/ 217265 h 647509"/>
                <a:gd name="connsiteX360" fmla="*/ 6001 w 835437"/>
                <a:gd name="connsiteY360" fmla="*/ 222980 h 647509"/>
                <a:gd name="connsiteX361" fmla="*/ 10668 w 835437"/>
                <a:gd name="connsiteY361" fmla="*/ 222409 h 647509"/>
                <a:gd name="connsiteX362" fmla="*/ 11906 w 835437"/>
                <a:gd name="connsiteY362" fmla="*/ 231838 h 647509"/>
                <a:gd name="connsiteX363" fmla="*/ 24003 w 835437"/>
                <a:gd name="connsiteY363" fmla="*/ 238315 h 647509"/>
                <a:gd name="connsiteX364" fmla="*/ 34004 w 835437"/>
                <a:gd name="connsiteY364" fmla="*/ 241840 h 647509"/>
                <a:gd name="connsiteX365" fmla="*/ 35243 w 835437"/>
                <a:gd name="connsiteY365" fmla="*/ 238506 h 647509"/>
                <a:gd name="connsiteX366" fmla="*/ 41339 w 835437"/>
                <a:gd name="connsiteY366" fmla="*/ 236125 h 647509"/>
                <a:gd name="connsiteX367" fmla="*/ 41529 w 835437"/>
                <a:gd name="connsiteY367" fmla="*/ 237744 h 647509"/>
                <a:gd name="connsiteX368" fmla="*/ 35624 w 835437"/>
                <a:gd name="connsiteY368" fmla="*/ 241649 h 647509"/>
                <a:gd name="connsiteX369" fmla="*/ 42291 w 835437"/>
                <a:gd name="connsiteY369" fmla="*/ 244031 h 647509"/>
                <a:gd name="connsiteX370" fmla="*/ 45911 w 835437"/>
                <a:gd name="connsiteY370" fmla="*/ 246793 h 647509"/>
                <a:gd name="connsiteX371" fmla="*/ 45911 w 835437"/>
                <a:gd name="connsiteY371" fmla="*/ 246793 h 647509"/>
                <a:gd name="connsiteX372" fmla="*/ 44672 w 835437"/>
                <a:gd name="connsiteY372" fmla="*/ 250127 h 647509"/>
                <a:gd name="connsiteX373" fmla="*/ 47911 w 835437"/>
                <a:gd name="connsiteY373" fmla="*/ 249746 h 647509"/>
                <a:gd name="connsiteX374" fmla="*/ 46863 w 835437"/>
                <a:gd name="connsiteY374" fmla="*/ 254698 h 647509"/>
                <a:gd name="connsiteX375" fmla="*/ 48673 w 835437"/>
                <a:gd name="connsiteY375" fmla="*/ 256032 h 647509"/>
                <a:gd name="connsiteX376" fmla="*/ 44577 w 835437"/>
                <a:gd name="connsiteY376" fmla="*/ 261366 h 647509"/>
                <a:gd name="connsiteX377" fmla="*/ 46482 w 835437"/>
                <a:gd name="connsiteY377" fmla="*/ 264319 h 647509"/>
                <a:gd name="connsiteX378" fmla="*/ 49435 w 835437"/>
                <a:gd name="connsiteY378" fmla="*/ 262319 h 647509"/>
                <a:gd name="connsiteX379" fmla="*/ 57531 w 835437"/>
                <a:gd name="connsiteY379" fmla="*/ 262890 h 647509"/>
                <a:gd name="connsiteX380" fmla="*/ 58769 w 835437"/>
                <a:gd name="connsiteY380" fmla="*/ 272415 h 647509"/>
                <a:gd name="connsiteX381" fmla="*/ 61913 w 835437"/>
                <a:gd name="connsiteY381" fmla="*/ 272034 h 647509"/>
                <a:gd name="connsiteX382" fmla="*/ 62103 w 835437"/>
                <a:gd name="connsiteY382" fmla="*/ 273558 h 647509"/>
                <a:gd name="connsiteX383" fmla="*/ 63913 w 835437"/>
                <a:gd name="connsiteY383" fmla="*/ 274987 h 647509"/>
                <a:gd name="connsiteX384" fmla="*/ 60960 w 835437"/>
                <a:gd name="connsiteY384" fmla="*/ 276892 h 647509"/>
                <a:gd name="connsiteX385" fmla="*/ 61151 w 835437"/>
                <a:gd name="connsiteY385" fmla="*/ 278511 h 647509"/>
                <a:gd name="connsiteX386" fmla="*/ 65913 w 835437"/>
                <a:gd name="connsiteY386" fmla="*/ 277940 h 647509"/>
                <a:gd name="connsiteX387" fmla="*/ 67913 w 835437"/>
                <a:gd name="connsiteY387" fmla="*/ 280892 h 647509"/>
                <a:gd name="connsiteX388" fmla="*/ 71057 w 835437"/>
                <a:gd name="connsiteY388" fmla="*/ 280511 h 647509"/>
                <a:gd name="connsiteX389" fmla="*/ 66294 w 835437"/>
                <a:gd name="connsiteY389" fmla="*/ 281083 h 647509"/>
                <a:gd name="connsiteX390" fmla="*/ 65151 w 835437"/>
                <a:gd name="connsiteY390" fmla="*/ 284417 h 647509"/>
                <a:gd name="connsiteX391" fmla="*/ 74200 w 835437"/>
                <a:gd name="connsiteY391" fmla="*/ 292894 h 647509"/>
                <a:gd name="connsiteX392" fmla="*/ 75438 w 835437"/>
                <a:gd name="connsiteY392" fmla="*/ 302323 h 647509"/>
                <a:gd name="connsiteX393" fmla="*/ 77819 w 835437"/>
                <a:gd name="connsiteY393" fmla="*/ 308419 h 647509"/>
                <a:gd name="connsiteX394" fmla="*/ 78200 w 835437"/>
                <a:gd name="connsiteY394" fmla="*/ 311658 h 647509"/>
                <a:gd name="connsiteX395" fmla="*/ 76867 w 835437"/>
                <a:gd name="connsiteY395" fmla="*/ 313373 h 647509"/>
                <a:gd name="connsiteX396" fmla="*/ 83534 w 835437"/>
                <a:gd name="connsiteY396" fmla="*/ 315754 h 647509"/>
                <a:gd name="connsiteX397" fmla="*/ 79820 w 835437"/>
                <a:gd name="connsiteY397" fmla="*/ 324231 h 647509"/>
                <a:gd name="connsiteX398" fmla="*/ 71342 w 835437"/>
                <a:gd name="connsiteY398" fmla="*/ 333375 h 647509"/>
                <a:gd name="connsiteX399" fmla="*/ 73152 w 835437"/>
                <a:gd name="connsiteY399" fmla="*/ 334709 h 647509"/>
                <a:gd name="connsiteX400" fmla="*/ 73724 w 835437"/>
                <a:gd name="connsiteY400" fmla="*/ 339471 h 647509"/>
                <a:gd name="connsiteX401" fmla="*/ 67628 w 835437"/>
                <a:gd name="connsiteY401" fmla="*/ 341852 h 647509"/>
                <a:gd name="connsiteX402" fmla="*/ 66675 w 835437"/>
                <a:gd name="connsiteY402" fmla="*/ 346805 h 647509"/>
                <a:gd name="connsiteX403" fmla="*/ 68866 w 835437"/>
                <a:gd name="connsiteY403" fmla="*/ 351282 h 647509"/>
                <a:gd name="connsiteX404" fmla="*/ 69247 w 835437"/>
                <a:gd name="connsiteY404" fmla="*/ 367284 h 647509"/>
                <a:gd name="connsiteX405" fmla="*/ 71819 w 835437"/>
                <a:gd name="connsiteY405" fmla="*/ 374999 h 647509"/>
                <a:gd name="connsiteX406" fmla="*/ 70866 w 835437"/>
                <a:gd name="connsiteY406" fmla="*/ 379952 h 647509"/>
                <a:gd name="connsiteX407" fmla="*/ 74866 w 835437"/>
                <a:gd name="connsiteY407" fmla="*/ 385858 h 647509"/>
                <a:gd name="connsiteX408" fmla="*/ 77248 w 835437"/>
                <a:gd name="connsiteY408" fmla="*/ 391954 h 647509"/>
                <a:gd name="connsiteX409" fmla="*/ 85154 w 835437"/>
                <a:gd name="connsiteY409" fmla="*/ 390906 h 647509"/>
                <a:gd name="connsiteX410" fmla="*/ 90011 w 835437"/>
                <a:gd name="connsiteY410" fmla="*/ 391954 h 647509"/>
                <a:gd name="connsiteX411" fmla="*/ 87535 w 835437"/>
                <a:gd name="connsiteY411" fmla="*/ 397002 h 647509"/>
                <a:gd name="connsiteX412" fmla="*/ 91250 w 835437"/>
                <a:gd name="connsiteY412" fmla="*/ 401384 h 647509"/>
                <a:gd name="connsiteX413" fmla="*/ 97346 w 835437"/>
                <a:gd name="connsiteY413" fmla="*/ 399002 h 647509"/>
                <a:gd name="connsiteX414" fmla="*/ 100489 w 835437"/>
                <a:gd name="connsiteY414" fmla="*/ 398621 h 647509"/>
                <a:gd name="connsiteX415" fmla="*/ 100965 w 835437"/>
                <a:gd name="connsiteY415" fmla="*/ 401765 h 647509"/>
                <a:gd name="connsiteX416" fmla="*/ 101346 w 835437"/>
                <a:gd name="connsiteY416" fmla="*/ 404908 h 647509"/>
                <a:gd name="connsiteX417" fmla="*/ 106299 w 835437"/>
                <a:gd name="connsiteY417" fmla="*/ 405860 h 647509"/>
                <a:gd name="connsiteX418" fmla="*/ 106871 w 835437"/>
                <a:gd name="connsiteY418" fmla="*/ 410623 h 647509"/>
                <a:gd name="connsiteX419" fmla="*/ 110395 w 835437"/>
                <a:gd name="connsiteY419" fmla="*/ 413385 h 647509"/>
                <a:gd name="connsiteX420" fmla="*/ 114395 w 835437"/>
                <a:gd name="connsiteY420" fmla="*/ 419290 h 647509"/>
                <a:gd name="connsiteX421" fmla="*/ 121253 w 835437"/>
                <a:gd name="connsiteY421" fmla="*/ 423196 h 647509"/>
                <a:gd name="connsiteX422" fmla="*/ 110300 w 835437"/>
                <a:gd name="connsiteY422" fmla="*/ 437388 h 647509"/>
                <a:gd name="connsiteX423" fmla="*/ 111062 w 835437"/>
                <a:gd name="connsiteY423" fmla="*/ 443770 h 647509"/>
                <a:gd name="connsiteX424" fmla="*/ 116967 w 835437"/>
                <a:gd name="connsiteY424" fmla="*/ 439769 h 647509"/>
                <a:gd name="connsiteX425" fmla="*/ 122777 w 835437"/>
                <a:gd name="connsiteY425" fmla="*/ 447104 h 647509"/>
                <a:gd name="connsiteX426" fmla="*/ 136779 w 835437"/>
                <a:gd name="connsiteY426" fmla="*/ 443675 h 647509"/>
                <a:gd name="connsiteX427" fmla="*/ 146780 w 835437"/>
                <a:gd name="connsiteY427" fmla="*/ 447199 h 647509"/>
                <a:gd name="connsiteX428" fmla="*/ 148971 w 835437"/>
                <a:gd name="connsiteY428" fmla="*/ 451771 h 647509"/>
                <a:gd name="connsiteX429" fmla="*/ 150590 w 835437"/>
                <a:gd name="connsiteY429" fmla="*/ 451580 h 647509"/>
                <a:gd name="connsiteX430" fmla="*/ 150971 w 835437"/>
                <a:gd name="connsiteY430" fmla="*/ 454723 h 647509"/>
                <a:gd name="connsiteX431" fmla="*/ 149828 w 835437"/>
                <a:gd name="connsiteY431" fmla="*/ 458057 h 647509"/>
                <a:gd name="connsiteX432" fmla="*/ 154115 w 835437"/>
                <a:gd name="connsiteY432" fmla="*/ 467106 h 647509"/>
                <a:gd name="connsiteX433" fmla="*/ 154972 w 835437"/>
                <a:gd name="connsiteY433" fmla="*/ 473392 h 647509"/>
                <a:gd name="connsiteX434" fmla="*/ 158306 w 835437"/>
                <a:gd name="connsiteY434" fmla="*/ 474631 h 647509"/>
                <a:gd name="connsiteX435" fmla="*/ 163830 w 835437"/>
                <a:gd name="connsiteY435" fmla="*/ 467487 h 647509"/>
                <a:gd name="connsiteX436" fmla="*/ 168783 w 835437"/>
                <a:gd name="connsiteY436" fmla="*/ 468440 h 647509"/>
                <a:gd name="connsiteX437" fmla="*/ 170783 w 835437"/>
                <a:gd name="connsiteY437" fmla="*/ 471392 h 647509"/>
                <a:gd name="connsiteX438" fmla="*/ 171355 w 835437"/>
                <a:gd name="connsiteY438" fmla="*/ 476155 h 647509"/>
                <a:gd name="connsiteX439" fmla="*/ 182404 w 835437"/>
                <a:gd name="connsiteY439" fmla="*/ 487585 h 647509"/>
                <a:gd name="connsiteX440" fmla="*/ 184785 w 835437"/>
                <a:gd name="connsiteY440" fmla="*/ 493681 h 647509"/>
                <a:gd name="connsiteX441" fmla="*/ 190881 w 835437"/>
                <a:gd name="connsiteY441" fmla="*/ 491300 h 647509"/>
                <a:gd name="connsiteX442" fmla="*/ 191548 w 835437"/>
                <a:gd name="connsiteY442" fmla="*/ 496062 h 647509"/>
                <a:gd name="connsiteX443" fmla="*/ 196691 w 835437"/>
                <a:gd name="connsiteY443" fmla="*/ 498634 h 647509"/>
                <a:gd name="connsiteX444" fmla="*/ 207740 w 835437"/>
                <a:gd name="connsiteY444" fmla="*/ 497205 h 647509"/>
                <a:gd name="connsiteX445" fmla="*/ 207931 w 835437"/>
                <a:gd name="connsiteY445" fmla="*/ 498729 h 647509"/>
                <a:gd name="connsiteX446" fmla="*/ 203740 w 835437"/>
                <a:gd name="connsiteY446" fmla="*/ 504063 h 647509"/>
                <a:gd name="connsiteX447" fmla="*/ 208693 w 835437"/>
                <a:gd name="connsiteY447" fmla="*/ 505111 h 647509"/>
                <a:gd name="connsiteX448" fmla="*/ 207550 w 835437"/>
                <a:gd name="connsiteY448" fmla="*/ 508444 h 647509"/>
                <a:gd name="connsiteX449" fmla="*/ 218789 w 835437"/>
                <a:gd name="connsiteY449" fmla="*/ 508635 h 647509"/>
                <a:gd name="connsiteX450" fmla="*/ 222504 w 835437"/>
                <a:gd name="connsiteY450" fmla="*/ 512921 h 647509"/>
                <a:gd name="connsiteX451" fmla="*/ 227267 w 835437"/>
                <a:gd name="connsiteY451" fmla="*/ 512350 h 647509"/>
                <a:gd name="connsiteX452" fmla="*/ 231077 w 835437"/>
                <a:gd name="connsiteY452" fmla="*/ 516636 h 647509"/>
                <a:gd name="connsiteX453" fmla="*/ 230029 w 835437"/>
                <a:gd name="connsiteY453" fmla="*/ 521589 h 647509"/>
                <a:gd name="connsiteX454" fmla="*/ 224123 w 835437"/>
                <a:gd name="connsiteY454" fmla="*/ 525590 h 647509"/>
                <a:gd name="connsiteX455" fmla="*/ 227743 w 835437"/>
                <a:gd name="connsiteY455" fmla="*/ 528352 h 647509"/>
                <a:gd name="connsiteX456" fmla="*/ 226695 w 835437"/>
                <a:gd name="connsiteY456" fmla="*/ 533209 h 647509"/>
                <a:gd name="connsiteX457" fmla="*/ 234410 w 835437"/>
                <a:gd name="connsiteY457" fmla="*/ 530638 h 647509"/>
                <a:gd name="connsiteX458" fmla="*/ 237173 w 835437"/>
                <a:gd name="connsiteY458" fmla="*/ 527113 h 647509"/>
                <a:gd name="connsiteX459" fmla="*/ 243269 w 835437"/>
                <a:gd name="connsiteY459" fmla="*/ 524732 h 647509"/>
                <a:gd name="connsiteX460" fmla="*/ 244697 w 835437"/>
                <a:gd name="connsiteY460" fmla="*/ 522923 h 647509"/>
                <a:gd name="connsiteX461" fmla="*/ 247841 w 835437"/>
                <a:gd name="connsiteY461" fmla="*/ 522542 h 647509"/>
                <a:gd name="connsiteX462" fmla="*/ 254699 w 835437"/>
                <a:gd name="connsiteY462" fmla="*/ 526447 h 647509"/>
                <a:gd name="connsiteX463" fmla="*/ 253556 w 835437"/>
                <a:gd name="connsiteY463" fmla="*/ 529876 h 647509"/>
                <a:gd name="connsiteX464" fmla="*/ 259271 w 835437"/>
                <a:gd name="connsiteY464" fmla="*/ 537115 h 647509"/>
                <a:gd name="connsiteX465" fmla="*/ 267557 w 835437"/>
                <a:gd name="connsiteY465" fmla="*/ 539306 h 647509"/>
                <a:gd name="connsiteX466" fmla="*/ 273558 w 835437"/>
                <a:gd name="connsiteY466" fmla="*/ 548164 h 647509"/>
                <a:gd name="connsiteX467" fmla="*/ 270796 w 835437"/>
                <a:gd name="connsiteY467" fmla="*/ 551688 h 647509"/>
                <a:gd name="connsiteX468" fmla="*/ 267462 w 835437"/>
                <a:gd name="connsiteY468" fmla="*/ 563309 h 647509"/>
                <a:gd name="connsiteX469" fmla="*/ 261176 w 835437"/>
                <a:gd name="connsiteY469" fmla="*/ 564166 h 647509"/>
                <a:gd name="connsiteX470" fmla="*/ 259747 w 835437"/>
                <a:gd name="connsiteY470" fmla="*/ 565976 h 647509"/>
                <a:gd name="connsiteX471" fmla="*/ 252889 w 835437"/>
                <a:gd name="connsiteY471" fmla="*/ 574834 h 647509"/>
                <a:gd name="connsiteX472" fmla="*/ 253460 w 835437"/>
                <a:gd name="connsiteY472" fmla="*/ 579596 h 647509"/>
                <a:gd name="connsiteX473" fmla="*/ 258032 w 835437"/>
                <a:gd name="connsiteY473" fmla="*/ 590169 h 647509"/>
                <a:gd name="connsiteX474" fmla="*/ 269272 w 835437"/>
                <a:gd name="connsiteY474" fmla="*/ 590360 h 647509"/>
                <a:gd name="connsiteX475" fmla="*/ 268129 w 835437"/>
                <a:gd name="connsiteY475" fmla="*/ 593693 h 647509"/>
                <a:gd name="connsiteX476" fmla="*/ 271272 w 835437"/>
                <a:gd name="connsiteY476" fmla="*/ 593312 h 647509"/>
                <a:gd name="connsiteX477" fmla="*/ 274987 w 835437"/>
                <a:gd name="connsiteY477" fmla="*/ 597694 h 647509"/>
                <a:gd name="connsiteX478" fmla="*/ 281940 w 835437"/>
                <a:gd name="connsiteY478" fmla="*/ 601599 h 647509"/>
                <a:gd name="connsiteX479" fmla="*/ 289846 w 835437"/>
                <a:gd name="connsiteY479" fmla="*/ 600551 h 647509"/>
                <a:gd name="connsiteX480" fmla="*/ 296704 w 835437"/>
                <a:gd name="connsiteY480" fmla="*/ 604552 h 647509"/>
                <a:gd name="connsiteX481" fmla="*/ 303467 w 835437"/>
                <a:gd name="connsiteY481" fmla="*/ 606838 h 647509"/>
                <a:gd name="connsiteX482" fmla="*/ 305467 w 835437"/>
                <a:gd name="connsiteY482" fmla="*/ 609790 h 647509"/>
                <a:gd name="connsiteX483" fmla="*/ 307658 w 835437"/>
                <a:gd name="connsiteY483" fmla="*/ 627221 h 647509"/>
                <a:gd name="connsiteX484" fmla="*/ 317754 w 835437"/>
                <a:gd name="connsiteY484" fmla="*/ 630745 h 647509"/>
                <a:gd name="connsiteX485" fmla="*/ 328803 w 835437"/>
                <a:gd name="connsiteY485" fmla="*/ 629317 h 647509"/>
                <a:gd name="connsiteX486" fmla="*/ 335852 w 835437"/>
                <a:gd name="connsiteY486" fmla="*/ 634841 h 647509"/>
                <a:gd name="connsiteX487" fmla="*/ 338519 w 835437"/>
                <a:gd name="connsiteY487" fmla="*/ 642461 h 647509"/>
                <a:gd name="connsiteX488" fmla="*/ 342424 w 835437"/>
                <a:gd name="connsiteY488" fmla="*/ 635603 h 647509"/>
                <a:gd name="connsiteX489" fmla="*/ 349091 w 835437"/>
                <a:gd name="connsiteY489" fmla="*/ 637889 h 647509"/>
                <a:gd name="connsiteX490" fmla="*/ 349282 w 835437"/>
                <a:gd name="connsiteY490" fmla="*/ 626650 h 647509"/>
                <a:gd name="connsiteX491" fmla="*/ 352235 w 835437"/>
                <a:gd name="connsiteY491" fmla="*/ 624745 h 647509"/>
                <a:gd name="connsiteX492" fmla="*/ 356997 w 835437"/>
                <a:gd name="connsiteY492" fmla="*/ 624078 h 647509"/>
                <a:gd name="connsiteX493" fmla="*/ 356616 w 835437"/>
                <a:gd name="connsiteY493" fmla="*/ 620935 h 647509"/>
                <a:gd name="connsiteX494" fmla="*/ 359950 w 835437"/>
                <a:gd name="connsiteY494" fmla="*/ 622173 h 647509"/>
                <a:gd name="connsiteX495" fmla="*/ 359569 w 835437"/>
                <a:gd name="connsiteY495" fmla="*/ 618935 h 647509"/>
                <a:gd name="connsiteX496" fmla="*/ 373761 w 835437"/>
                <a:gd name="connsiteY496" fmla="*/ 617125 h 647509"/>
                <a:gd name="connsiteX497" fmla="*/ 383762 w 835437"/>
                <a:gd name="connsiteY497" fmla="*/ 620649 h 647509"/>
                <a:gd name="connsiteX498" fmla="*/ 389382 w 835437"/>
                <a:gd name="connsiteY498" fmla="*/ 626364 h 647509"/>
                <a:gd name="connsiteX499" fmla="*/ 391192 w 835437"/>
                <a:gd name="connsiteY499" fmla="*/ 640652 h 647509"/>
                <a:gd name="connsiteX500" fmla="*/ 393097 w 835437"/>
                <a:gd name="connsiteY500" fmla="*/ 643604 h 647509"/>
                <a:gd name="connsiteX501" fmla="*/ 391763 w 835437"/>
                <a:gd name="connsiteY501" fmla="*/ 645319 h 647509"/>
                <a:gd name="connsiteX502" fmla="*/ 400050 w 835437"/>
                <a:gd name="connsiteY502" fmla="*/ 647510 h 647509"/>
                <a:gd name="connsiteX503" fmla="*/ 399479 w 835437"/>
                <a:gd name="connsiteY503" fmla="*/ 642747 h 647509"/>
                <a:gd name="connsiteX504" fmla="*/ 398050 w 835437"/>
                <a:gd name="connsiteY504" fmla="*/ 631698 h 647509"/>
                <a:gd name="connsiteX505" fmla="*/ 394526 w 835437"/>
                <a:gd name="connsiteY505" fmla="*/ 628936 h 647509"/>
                <a:gd name="connsiteX506" fmla="*/ 394240 w 835437"/>
                <a:gd name="connsiteY506" fmla="*/ 627412 h 647509"/>
                <a:gd name="connsiteX507" fmla="*/ 406718 w 835437"/>
                <a:gd name="connsiteY507" fmla="*/ 624173 h 647509"/>
                <a:gd name="connsiteX508" fmla="*/ 421100 w 835437"/>
                <a:gd name="connsiteY508" fmla="*/ 623983 h 647509"/>
                <a:gd name="connsiteX509" fmla="*/ 419862 w 835437"/>
                <a:gd name="connsiteY509" fmla="*/ 614458 h 647509"/>
                <a:gd name="connsiteX510" fmla="*/ 414338 w 835437"/>
                <a:gd name="connsiteY510" fmla="*/ 608743 h 647509"/>
                <a:gd name="connsiteX511" fmla="*/ 415766 w 835437"/>
                <a:gd name="connsiteY511" fmla="*/ 607028 h 647509"/>
                <a:gd name="connsiteX512" fmla="*/ 422434 w 835437"/>
                <a:gd name="connsiteY512" fmla="*/ 609314 h 647509"/>
                <a:gd name="connsiteX513" fmla="*/ 429387 w 835437"/>
                <a:gd name="connsiteY513" fmla="*/ 613315 h 647509"/>
                <a:gd name="connsiteX514" fmla="*/ 434150 w 835437"/>
                <a:gd name="connsiteY514" fmla="*/ 612648 h 647509"/>
                <a:gd name="connsiteX515" fmla="*/ 442532 w 835437"/>
                <a:gd name="connsiteY515" fmla="*/ 603599 h 647509"/>
                <a:gd name="connsiteX516" fmla="*/ 443770 w 835437"/>
                <a:gd name="connsiteY516" fmla="*/ 600265 h 647509"/>
                <a:gd name="connsiteX517" fmla="*/ 449104 w 835437"/>
                <a:gd name="connsiteY517" fmla="*/ 604361 h 647509"/>
                <a:gd name="connsiteX518" fmla="*/ 455200 w 835437"/>
                <a:gd name="connsiteY518" fmla="*/ 601980 h 647509"/>
                <a:gd name="connsiteX519" fmla="*/ 456533 w 835437"/>
                <a:gd name="connsiteY519" fmla="*/ 600170 h 647509"/>
                <a:gd name="connsiteX520" fmla="*/ 457962 w 835437"/>
                <a:gd name="connsiteY520" fmla="*/ 598456 h 647509"/>
                <a:gd name="connsiteX521" fmla="*/ 459962 w 835437"/>
                <a:gd name="connsiteY521" fmla="*/ 601408 h 647509"/>
                <a:gd name="connsiteX522" fmla="*/ 463677 w 835437"/>
                <a:gd name="connsiteY522" fmla="*/ 605695 h 647509"/>
                <a:gd name="connsiteX523" fmla="*/ 469392 w 835437"/>
                <a:gd name="connsiteY523" fmla="*/ 600170 h 647509"/>
                <a:gd name="connsiteX524" fmla="*/ 473964 w 835437"/>
                <a:gd name="connsiteY524" fmla="*/ 597980 h 647509"/>
                <a:gd name="connsiteX525" fmla="*/ 474917 w 835437"/>
                <a:gd name="connsiteY525" fmla="*/ 593027 h 647509"/>
                <a:gd name="connsiteX526" fmla="*/ 479870 w 835437"/>
                <a:gd name="connsiteY526" fmla="*/ 593979 h 647509"/>
                <a:gd name="connsiteX527" fmla="*/ 483394 w 835437"/>
                <a:gd name="connsiteY527" fmla="*/ 596741 h 647509"/>
                <a:gd name="connsiteX528" fmla="*/ 489680 w 835437"/>
                <a:gd name="connsiteY528" fmla="*/ 595979 h 647509"/>
                <a:gd name="connsiteX529" fmla="*/ 493109 w 835437"/>
                <a:gd name="connsiteY529" fmla="*/ 597122 h 647509"/>
                <a:gd name="connsiteX530" fmla="*/ 492062 w 835437"/>
                <a:gd name="connsiteY530" fmla="*/ 602075 h 647509"/>
                <a:gd name="connsiteX531" fmla="*/ 495014 w 835437"/>
                <a:gd name="connsiteY531" fmla="*/ 600075 h 647509"/>
                <a:gd name="connsiteX532" fmla="*/ 493871 w 835437"/>
                <a:gd name="connsiteY532" fmla="*/ 603504 h 647509"/>
                <a:gd name="connsiteX533" fmla="*/ 495872 w 835437"/>
                <a:gd name="connsiteY533" fmla="*/ 606457 h 647509"/>
                <a:gd name="connsiteX534" fmla="*/ 499015 w 835437"/>
                <a:gd name="connsiteY534" fmla="*/ 605981 h 647509"/>
                <a:gd name="connsiteX535" fmla="*/ 498634 w 835437"/>
                <a:gd name="connsiteY535" fmla="*/ 602837 h 647509"/>
                <a:gd name="connsiteX536" fmla="*/ 503777 w 835437"/>
                <a:gd name="connsiteY536" fmla="*/ 605409 h 647509"/>
                <a:gd name="connsiteX537" fmla="*/ 509683 w 835437"/>
                <a:gd name="connsiteY537" fmla="*/ 601408 h 647509"/>
                <a:gd name="connsiteX538" fmla="*/ 516731 w 835437"/>
                <a:gd name="connsiteY538" fmla="*/ 606933 h 647509"/>
                <a:gd name="connsiteX539" fmla="*/ 517779 w 835437"/>
                <a:gd name="connsiteY539" fmla="*/ 614839 h 647509"/>
                <a:gd name="connsiteX540" fmla="*/ 520732 w 835437"/>
                <a:gd name="connsiteY540" fmla="*/ 612839 h 647509"/>
                <a:gd name="connsiteX541" fmla="*/ 527018 w 835437"/>
                <a:gd name="connsiteY541" fmla="*/ 612077 h 647509"/>
                <a:gd name="connsiteX542" fmla="*/ 536924 w 835437"/>
                <a:gd name="connsiteY542" fmla="*/ 613982 h 647509"/>
                <a:gd name="connsiteX543" fmla="*/ 543592 w 835437"/>
                <a:gd name="connsiteY543" fmla="*/ 603504 h 647509"/>
                <a:gd name="connsiteX544" fmla="*/ 550069 w 835437"/>
                <a:gd name="connsiteY544" fmla="*/ 604266 h 647509"/>
                <a:gd name="connsiteX545" fmla="*/ 555212 w 835437"/>
                <a:gd name="connsiteY545" fmla="*/ 606838 h 647509"/>
                <a:gd name="connsiteX546" fmla="*/ 555689 w 835437"/>
                <a:gd name="connsiteY546" fmla="*/ 609981 h 647509"/>
                <a:gd name="connsiteX547" fmla="*/ 559403 w 835437"/>
                <a:gd name="connsiteY547" fmla="*/ 614362 h 647509"/>
                <a:gd name="connsiteX548" fmla="*/ 568071 w 835437"/>
                <a:gd name="connsiteY548" fmla="*/ 619697 h 647509"/>
                <a:gd name="connsiteX549" fmla="*/ 571500 w 835437"/>
                <a:gd name="connsiteY549" fmla="*/ 620840 h 647509"/>
                <a:gd name="connsiteX550" fmla="*/ 571310 w 835437"/>
                <a:gd name="connsiteY550" fmla="*/ 619220 h 647509"/>
                <a:gd name="connsiteX551" fmla="*/ 570452 w 835437"/>
                <a:gd name="connsiteY551" fmla="*/ 612934 h 647509"/>
                <a:gd name="connsiteX552" fmla="*/ 577215 w 835437"/>
                <a:gd name="connsiteY552" fmla="*/ 615315 h 647509"/>
                <a:gd name="connsiteX553" fmla="*/ 576929 w 835437"/>
                <a:gd name="connsiteY553" fmla="*/ 613696 h 647509"/>
                <a:gd name="connsiteX554" fmla="*/ 576739 w 835437"/>
                <a:gd name="connsiteY554" fmla="*/ 612172 h 647509"/>
                <a:gd name="connsiteX555" fmla="*/ 579882 w 835437"/>
                <a:gd name="connsiteY555" fmla="*/ 611791 h 647509"/>
                <a:gd name="connsiteX556" fmla="*/ 584073 w 835437"/>
                <a:gd name="connsiteY556" fmla="*/ 606361 h 647509"/>
                <a:gd name="connsiteX557" fmla="*/ 587026 w 835437"/>
                <a:gd name="connsiteY557" fmla="*/ 604457 h 647509"/>
                <a:gd name="connsiteX558" fmla="*/ 589788 w 835437"/>
                <a:gd name="connsiteY558" fmla="*/ 600837 h 647509"/>
                <a:gd name="connsiteX559" fmla="*/ 593122 w 835437"/>
                <a:gd name="connsiteY559" fmla="*/ 602075 h 647509"/>
                <a:gd name="connsiteX560" fmla="*/ 594455 w 835437"/>
                <a:gd name="connsiteY560" fmla="*/ 600265 h 647509"/>
                <a:gd name="connsiteX561" fmla="*/ 598646 w 835437"/>
                <a:gd name="connsiteY561" fmla="*/ 594932 h 647509"/>
                <a:gd name="connsiteX562" fmla="*/ 598075 w 835437"/>
                <a:gd name="connsiteY562" fmla="*/ 590169 h 647509"/>
                <a:gd name="connsiteX563" fmla="*/ 592931 w 835437"/>
                <a:gd name="connsiteY563" fmla="*/ 587597 h 647509"/>
                <a:gd name="connsiteX564" fmla="*/ 597408 w 835437"/>
                <a:gd name="connsiteY564" fmla="*/ 585407 h 647509"/>
                <a:gd name="connsiteX565" fmla="*/ 594074 w 835437"/>
                <a:gd name="connsiteY565" fmla="*/ 584264 h 647509"/>
                <a:gd name="connsiteX566" fmla="*/ 597027 w 835437"/>
                <a:gd name="connsiteY566" fmla="*/ 582263 h 647509"/>
                <a:gd name="connsiteX567" fmla="*/ 600361 w 835437"/>
                <a:gd name="connsiteY567" fmla="*/ 583502 h 647509"/>
                <a:gd name="connsiteX568" fmla="*/ 599980 w 835437"/>
                <a:gd name="connsiteY568" fmla="*/ 580358 h 647509"/>
                <a:gd name="connsiteX569" fmla="*/ 599980 w 835437"/>
                <a:gd name="connsiteY569" fmla="*/ 580358 h 647509"/>
                <a:gd name="connsiteX570" fmla="*/ 592074 w 835437"/>
                <a:gd name="connsiteY570" fmla="*/ 568452 h 647509"/>
                <a:gd name="connsiteX571" fmla="*/ 592646 w 835437"/>
                <a:gd name="connsiteY571" fmla="*/ 560451 h 647509"/>
                <a:gd name="connsiteX572" fmla="*/ 596932 w 835437"/>
                <a:gd name="connsiteY572" fmla="*/ 556641 h 647509"/>
                <a:gd name="connsiteX573" fmla="*/ 604838 w 835437"/>
                <a:gd name="connsiteY573" fmla="*/ 555688 h 647509"/>
                <a:gd name="connsiteX574" fmla="*/ 614934 w 835437"/>
                <a:gd name="connsiteY574" fmla="*/ 559213 h 647509"/>
                <a:gd name="connsiteX575" fmla="*/ 617315 w 835437"/>
                <a:gd name="connsiteY575" fmla="*/ 552450 h 647509"/>
                <a:gd name="connsiteX576" fmla="*/ 622459 w 835437"/>
                <a:gd name="connsiteY576" fmla="*/ 555022 h 647509"/>
                <a:gd name="connsiteX577" fmla="*/ 621030 w 835437"/>
                <a:gd name="connsiteY577" fmla="*/ 556832 h 647509"/>
                <a:gd name="connsiteX578" fmla="*/ 624173 w 835437"/>
                <a:gd name="connsiteY578" fmla="*/ 556355 h 647509"/>
                <a:gd name="connsiteX579" fmla="*/ 622554 w 835437"/>
                <a:gd name="connsiteY579" fmla="*/ 543782 h 647509"/>
                <a:gd name="connsiteX580" fmla="*/ 632079 w 835437"/>
                <a:gd name="connsiteY580" fmla="*/ 542544 h 647509"/>
                <a:gd name="connsiteX581" fmla="*/ 635794 w 835437"/>
                <a:gd name="connsiteY581" fmla="*/ 546926 h 647509"/>
                <a:gd name="connsiteX582" fmla="*/ 638556 w 835437"/>
                <a:gd name="connsiteY582" fmla="*/ 543306 h 647509"/>
                <a:gd name="connsiteX583" fmla="*/ 638175 w 835437"/>
                <a:gd name="connsiteY583" fmla="*/ 540163 h 647509"/>
                <a:gd name="connsiteX584" fmla="*/ 642652 w 835437"/>
                <a:gd name="connsiteY584" fmla="*/ 537972 h 647509"/>
                <a:gd name="connsiteX585" fmla="*/ 642461 w 835437"/>
                <a:gd name="connsiteY585" fmla="*/ 536448 h 647509"/>
                <a:gd name="connsiteX586" fmla="*/ 647414 w 835437"/>
                <a:gd name="connsiteY586" fmla="*/ 537401 h 647509"/>
                <a:gd name="connsiteX587" fmla="*/ 650176 w 835437"/>
                <a:gd name="connsiteY587" fmla="*/ 533781 h 647509"/>
                <a:gd name="connsiteX588" fmla="*/ 649605 w 835437"/>
                <a:gd name="connsiteY588" fmla="*/ 529114 h 647509"/>
                <a:gd name="connsiteX589" fmla="*/ 656082 w 835437"/>
                <a:gd name="connsiteY589" fmla="*/ 529876 h 647509"/>
                <a:gd name="connsiteX590" fmla="*/ 659035 w 835437"/>
                <a:gd name="connsiteY590" fmla="*/ 527876 h 647509"/>
                <a:gd name="connsiteX591" fmla="*/ 659987 w 835437"/>
                <a:gd name="connsiteY591" fmla="*/ 522923 h 647509"/>
                <a:gd name="connsiteX592" fmla="*/ 662940 w 835437"/>
                <a:gd name="connsiteY592" fmla="*/ 521017 h 647509"/>
                <a:gd name="connsiteX593" fmla="*/ 671227 w 835437"/>
                <a:gd name="connsiteY593" fmla="*/ 523113 h 647509"/>
                <a:gd name="connsiteX594" fmla="*/ 675418 w 835437"/>
                <a:gd name="connsiteY594" fmla="*/ 517779 h 647509"/>
                <a:gd name="connsiteX595" fmla="*/ 675227 w 835437"/>
                <a:gd name="connsiteY595" fmla="*/ 516160 h 647509"/>
                <a:gd name="connsiteX596" fmla="*/ 672084 w 835437"/>
                <a:gd name="connsiteY596" fmla="*/ 516636 h 647509"/>
                <a:gd name="connsiteX597" fmla="*/ 670274 w 835437"/>
                <a:gd name="connsiteY597" fmla="*/ 515207 h 647509"/>
                <a:gd name="connsiteX598" fmla="*/ 672846 w 835437"/>
                <a:gd name="connsiteY598" fmla="*/ 510064 h 647509"/>
                <a:gd name="connsiteX599" fmla="*/ 677990 w 835437"/>
                <a:gd name="connsiteY599" fmla="*/ 512636 h 647509"/>
                <a:gd name="connsiteX600" fmla="*/ 682657 w 835437"/>
                <a:gd name="connsiteY600" fmla="*/ 512064 h 647509"/>
                <a:gd name="connsiteX601" fmla="*/ 681514 w 835437"/>
                <a:gd name="connsiteY601" fmla="*/ 502539 h 647509"/>
                <a:gd name="connsiteX602" fmla="*/ 682847 w 835437"/>
                <a:gd name="connsiteY602" fmla="*/ 500825 h 647509"/>
                <a:gd name="connsiteX603" fmla="*/ 683038 w 835437"/>
                <a:gd name="connsiteY603" fmla="*/ 502348 h 647509"/>
                <a:gd name="connsiteX604" fmla="*/ 685991 w 835437"/>
                <a:gd name="connsiteY604" fmla="*/ 500444 h 647509"/>
                <a:gd name="connsiteX605" fmla="*/ 687419 w 835437"/>
                <a:gd name="connsiteY605" fmla="*/ 498634 h 647509"/>
                <a:gd name="connsiteX606" fmla="*/ 693134 w 835437"/>
                <a:gd name="connsiteY606" fmla="*/ 493109 h 647509"/>
                <a:gd name="connsiteX607" fmla="*/ 693896 w 835437"/>
                <a:gd name="connsiteY607" fmla="*/ 499396 h 647509"/>
                <a:gd name="connsiteX608" fmla="*/ 695325 w 835437"/>
                <a:gd name="connsiteY608" fmla="*/ 497586 h 647509"/>
                <a:gd name="connsiteX609" fmla="*/ 696087 w 835437"/>
                <a:gd name="connsiteY609" fmla="*/ 503968 h 647509"/>
                <a:gd name="connsiteX610" fmla="*/ 699611 w 835437"/>
                <a:gd name="connsiteY610" fmla="*/ 506635 h 647509"/>
                <a:gd name="connsiteX611" fmla="*/ 702374 w 835437"/>
                <a:gd name="connsiteY611" fmla="*/ 503111 h 647509"/>
                <a:gd name="connsiteX612" fmla="*/ 707898 w 835437"/>
                <a:gd name="connsiteY612" fmla="*/ 508825 h 647509"/>
                <a:gd name="connsiteX613" fmla="*/ 712089 w 835437"/>
                <a:gd name="connsiteY613" fmla="*/ 503492 h 647509"/>
                <a:gd name="connsiteX614" fmla="*/ 715804 w 835437"/>
                <a:gd name="connsiteY614" fmla="*/ 507778 h 647509"/>
                <a:gd name="connsiteX615" fmla="*/ 715613 w 835437"/>
                <a:gd name="connsiteY615" fmla="*/ 506254 h 647509"/>
                <a:gd name="connsiteX616" fmla="*/ 720566 w 835437"/>
                <a:gd name="connsiteY616" fmla="*/ 507206 h 647509"/>
                <a:gd name="connsiteX617" fmla="*/ 728091 w 835437"/>
                <a:gd name="connsiteY617" fmla="*/ 503015 h 647509"/>
                <a:gd name="connsiteX618" fmla="*/ 728472 w 835437"/>
                <a:gd name="connsiteY618" fmla="*/ 506254 h 647509"/>
                <a:gd name="connsiteX619" fmla="*/ 726853 w 835437"/>
                <a:gd name="connsiteY619" fmla="*/ 506444 h 647509"/>
                <a:gd name="connsiteX620" fmla="*/ 733616 w 835437"/>
                <a:gd name="connsiteY620" fmla="*/ 508730 h 647509"/>
                <a:gd name="connsiteX621" fmla="*/ 734949 w 835437"/>
                <a:gd name="connsiteY621" fmla="*/ 507016 h 647509"/>
                <a:gd name="connsiteX622" fmla="*/ 736568 w 835437"/>
                <a:gd name="connsiteY622" fmla="*/ 506825 h 647509"/>
                <a:gd name="connsiteX623" fmla="*/ 737330 w 835437"/>
                <a:gd name="connsiteY623" fmla="*/ 513112 h 647509"/>
                <a:gd name="connsiteX624" fmla="*/ 738950 w 835437"/>
                <a:gd name="connsiteY624" fmla="*/ 512921 h 647509"/>
                <a:gd name="connsiteX625" fmla="*/ 738759 w 835437"/>
                <a:gd name="connsiteY625" fmla="*/ 511302 h 647509"/>
                <a:gd name="connsiteX626" fmla="*/ 742283 w 835437"/>
                <a:gd name="connsiteY626" fmla="*/ 514064 h 647509"/>
                <a:gd name="connsiteX627" fmla="*/ 743903 w 835437"/>
                <a:gd name="connsiteY627" fmla="*/ 513874 h 647509"/>
                <a:gd name="connsiteX628" fmla="*/ 745808 w 835437"/>
                <a:gd name="connsiteY628" fmla="*/ 516827 h 647509"/>
                <a:gd name="connsiteX629" fmla="*/ 747427 w 835437"/>
                <a:gd name="connsiteY629" fmla="*/ 516636 h 647509"/>
                <a:gd name="connsiteX630" fmla="*/ 749237 w 835437"/>
                <a:gd name="connsiteY630" fmla="*/ 517969 h 647509"/>
                <a:gd name="connsiteX631" fmla="*/ 749999 w 835437"/>
                <a:gd name="connsiteY631" fmla="*/ 524351 h 647509"/>
                <a:gd name="connsiteX632" fmla="*/ 751808 w 835437"/>
                <a:gd name="connsiteY632" fmla="*/ 525685 h 647509"/>
                <a:gd name="connsiteX633" fmla="*/ 752189 w 835437"/>
                <a:gd name="connsiteY633" fmla="*/ 516065 h 647509"/>
                <a:gd name="connsiteX634" fmla="*/ 753713 w 835437"/>
                <a:gd name="connsiteY634" fmla="*/ 515779 h 647509"/>
                <a:gd name="connsiteX635" fmla="*/ 752761 w 835437"/>
                <a:gd name="connsiteY635" fmla="*/ 520732 h 647509"/>
                <a:gd name="connsiteX636" fmla="*/ 754761 w 835437"/>
                <a:gd name="connsiteY636" fmla="*/ 523684 h 647509"/>
                <a:gd name="connsiteX637" fmla="*/ 760095 w 835437"/>
                <a:gd name="connsiteY637" fmla="*/ 527876 h 647509"/>
                <a:gd name="connsiteX638" fmla="*/ 769334 w 835437"/>
                <a:gd name="connsiteY638" fmla="*/ 537877 h 647509"/>
                <a:gd name="connsiteX639" fmla="*/ 781241 w 835437"/>
                <a:gd name="connsiteY639" fmla="*/ 542830 h 647509"/>
                <a:gd name="connsiteX640" fmla="*/ 785717 w 835437"/>
                <a:gd name="connsiteY640" fmla="*/ 540639 h 647509"/>
                <a:gd name="connsiteX641" fmla="*/ 788765 w 835437"/>
                <a:gd name="connsiteY641" fmla="*/ 538639 h 647509"/>
                <a:gd name="connsiteX642" fmla="*/ 784574 w 835437"/>
                <a:gd name="connsiteY642" fmla="*/ 531114 h 647509"/>
                <a:gd name="connsiteX643" fmla="*/ 783336 w 835437"/>
                <a:gd name="connsiteY643" fmla="*/ 521684 h 647509"/>
                <a:gd name="connsiteX644" fmla="*/ 788480 w 835437"/>
                <a:gd name="connsiteY644" fmla="*/ 511397 h 647509"/>
                <a:gd name="connsiteX645" fmla="*/ 793147 w 835437"/>
                <a:gd name="connsiteY645" fmla="*/ 510826 h 647509"/>
                <a:gd name="connsiteX646" fmla="*/ 792766 w 835437"/>
                <a:gd name="connsiteY646" fmla="*/ 507682 h 647509"/>
                <a:gd name="connsiteX647" fmla="*/ 787813 w 835437"/>
                <a:gd name="connsiteY647" fmla="*/ 493871 h 647509"/>
                <a:gd name="connsiteX648" fmla="*/ 790956 w 835437"/>
                <a:gd name="connsiteY648" fmla="*/ 493395 h 647509"/>
                <a:gd name="connsiteX649" fmla="*/ 787432 w 835437"/>
                <a:gd name="connsiteY649" fmla="*/ 490728 h 647509"/>
                <a:gd name="connsiteX650" fmla="*/ 784098 w 835437"/>
                <a:gd name="connsiteY650" fmla="*/ 489490 h 647509"/>
                <a:gd name="connsiteX651" fmla="*/ 785241 w 835437"/>
                <a:gd name="connsiteY651" fmla="*/ 486156 h 647509"/>
                <a:gd name="connsiteX652" fmla="*/ 788194 w 835437"/>
                <a:gd name="connsiteY652" fmla="*/ 484156 h 647509"/>
                <a:gd name="connsiteX653" fmla="*/ 784670 w 835437"/>
                <a:gd name="connsiteY653" fmla="*/ 481394 h 647509"/>
                <a:gd name="connsiteX654" fmla="*/ 790956 w 835437"/>
                <a:gd name="connsiteY654" fmla="*/ 480632 h 647509"/>
                <a:gd name="connsiteX655" fmla="*/ 792956 w 835437"/>
                <a:gd name="connsiteY655" fmla="*/ 483584 h 647509"/>
                <a:gd name="connsiteX656" fmla="*/ 796290 w 835437"/>
                <a:gd name="connsiteY656" fmla="*/ 484727 h 647509"/>
                <a:gd name="connsiteX657" fmla="*/ 797243 w 835437"/>
                <a:gd name="connsiteY657" fmla="*/ 479774 h 647509"/>
                <a:gd name="connsiteX658" fmla="*/ 798100 w 835437"/>
                <a:gd name="connsiteY658" fmla="*/ 486156 h 647509"/>
                <a:gd name="connsiteX659" fmla="*/ 802767 w 835437"/>
                <a:gd name="connsiteY659" fmla="*/ 485489 h 647509"/>
                <a:gd name="connsiteX660" fmla="*/ 802005 w 835437"/>
                <a:gd name="connsiteY660" fmla="*/ 479203 h 647509"/>
                <a:gd name="connsiteX661" fmla="*/ 803529 w 835437"/>
                <a:gd name="connsiteY661" fmla="*/ 479012 h 647509"/>
                <a:gd name="connsiteX662" fmla="*/ 810101 w 835437"/>
                <a:gd name="connsiteY662" fmla="*/ 479774 h 647509"/>
                <a:gd name="connsiteX663" fmla="*/ 814578 w 835437"/>
                <a:gd name="connsiteY663" fmla="*/ 477584 h 647509"/>
                <a:gd name="connsiteX664" fmla="*/ 819531 w 835437"/>
                <a:gd name="connsiteY664" fmla="*/ 478536 h 647509"/>
                <a:gd name="connsiteX665" fmla="*/ 820960 w 835437"/>
                <a:gd name="connsiteY665" fmla="*/ 476821 h 647509"/>
                <a:gd name="connsiteX666" fmla="*/ 816578 w 835437"/>
                <a:gd name="connsiteY666" fmla="*/ 467773 h 647509"/>
                <a:gd name="connsiteX667" fmla="*/ 818388 w 835437"/>
                <a:gd name="connsiteY667" fmla="*/ 469106 h 647509"/>
                <a:gd name="connsiteX668" fmla="*/ 822103 w 835437"/>
                <a:gd name="connsiteY668" fmla="*/ 473392 h 647509"/>
                <a:gd name="connsiteX669" fmla="*/ 823436 w 835437"/>
                <a:gd name="connsiteY669" fmla="*/ 471678 h 647509"/>
                <a:gd name="connsiteX670" fmla="*/ 829628 w 835437"/>
                <a:gd name="connsiteY670" fmla="*/ 469297 h 647509"/>
                <a:gd name="connsiteX671" fmla="*/ 830390 w 835437"/>
                <a:gd name="connsiteY671" fmla="*/ 462725 h 647509"/>
                <a:gd name="connsiteX672" fmla="*/ 833152 w 835437"/>
                <a:gd name="connsiteY672" fmla="*/ 459200 h 647509"/>
                <a:gd name="connsiteX673" fmla="*/ 832485 w 835437"/>
                <a:gd name="connsiteY673" fmla="*/ 454438 h 647509"/>
                <a:gd name="connsiteX674" fmla="*/ 830771 w 835437"/>
                <a:gd name="connsiteY674" fmla="*/ 453104 h 647509"/>
                <a:gd name="connsiteX675" fmla="*/ 830294 w 835437"/>
                <a:gd name="connsiteY675" fmla="*/ 449961 h 647509"/>
                <a:gd name="connsiteX676" fmla="*/ 822674 w 835437"/>
                <a:gd name="connsiteY676" fmla="*/ 452533 h 647509"/>
                <a:gd name="connsiteX677" fmla="*/ 819055 w 835437"/>
                <a:gd name="connsiteY677" fmla="*/ 449771 h 647509"/>
                <a:gd name="connsiteX678" fmla="*/ 827913 w 835437"/>
                <a:gd name="connsiteY678" fmla="*/ 431006 h 647509"/>
                <a:gd name="connsiteX679" fmla="*/ 825913 w 835437"/>
                <a:gd name="connsiteY679" fmla="*/ 428054 h 647509"/>
                <a:gd name="connsiteX680" fmla="*/ 822579 w 835437"/>
                <a:gd name="connsiteY680" fmla="*/ 426911 h 647509"/>
                <a:gd name="connsiteX681" fmla="*/ 822389 w 835437"/>
                <a:gd name="connsiteY681" fmla="*/ 425291 h 647509"/>
                <a:gd name="connsiteX682" fmla="*/ 827151 w 835437"/>
                <a:gd name="connsiteY682" fmla="*/ 424720 h 647509"/>
                <a:gd name="connsiteX683" fmla="*/ 829056 w 835437"/>
                <a:gd name="connsiteY683" fmla="*/ 427673 h 647509"/>
                <a:gd name="connsiteX684" fmla="*/ 832485 w 835437"/>
                <a:gd name="connsiteY684" fmla="*/ 428815 h 647509"/>
                <a:gd name="connsiteX685" fmla="*/ 835438 w 835437"/>
                <a:gd name="connsiteY685" fmla="*/ 426815 h 647509"/>
                <a:gd name="connsiteX686" fmla="*/ 835247 w 835437"/>
                <a:gd name="connsiteY686" fmla="*/ 425291 h 647509"/>
                <a:gd name="connsiteX687" fmla="*/ 831818 w 835437"/>
                <a:gd name="connsiteY687" fmla="*/ 424053 h 647509"/>
                <a:gd name="connsiteX688" fmla="*/ 833057 w 835437"/>
                <a:gd name="connsiteY688" fmla="*/ 420719 h 647509"/>
                <a:gd name="connsiteX689" fmla="*/ 833057 w 835437"/>
                <a:gd name="connsiteY689" fmla="*/ 420719 h 6475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</a:cxnLst>
              <a:rect l="l" t="t" r="r" b="b"/>
              <a:pathLst>
                <a:path w="835437" h="647509">
                  <a:moveTo>
                    <a:pt x="833057" y="420719"/>
                  </a:moveTo>
                  <a:lnTo>
                    <a:pt x="831437" y="408146"/>
                  </a:lnTo>
                  <a:lnTo>
                    <a:pt x="829628" y="406717"/>
                  </a:lnTo>
                  <a:lnTo>
                    <a:pt x="821722" y="407765"/>
                  </a:lnTo>
                  <a:lnTo>
                    <a:pt x="823151" y="405956"/>
                  </a:lnTo>
                  <a:lnTo>
                    <a:pt x="827627" y="403765"/>
                  </a:lnTo>
                  <a:lnTo>
                    <a:pt x="820769" y="399859"/>
                  </a:lnTo>
                  <a:lnTo>
                    <a:pt x="820579" y="398240"/>
                  </a:lnTo>
                  <a:lnTo>
                    <a:pt x="818198" y="392144"/>
                  </a:lnTo>
                  <a:lnTo>
                    <a:pt x="813245" y="391192"/>
                  </a:lnTo>
                  <a:lnTo>
                    <a:pt x="805529" y="393763"/>
                  </a:lnTo>
                  <a:lnTo>
                    <a:pt x="800195" y="389668"/>
                  </a:lnTo>
                  <a:lnTo>
                    <a:pt x="797624" y="394716"/>
                  </a:lnTo>
                  <a:lnTo>
                    <a:pt x="791909" y="387477"/>
                  </a:lnTo>
                  <a:lnTo>
                    <a:pt x="788765" y="387858"/>
                  </a:lnTo>
                  <a:lnTo>
                    <a:pt x="785146" y="385096"/>
                  </a:lnTo>
                  <a:lnTo>
                    <a:pt x="793051" y="384143"/>
                  </a:lnTo>
                  <a:lnTo>
                    <a:pt x="794290" y="380714"/>
                  </a:lnTo>
                  <a:lnTo>
                    <a:pt x="790861" y="379571"/>
                  </a:lnTo>
                  <a:lnTo>
                    <a:pt x="792099" y="376238"/>
                  </a:lnTo>
                  <a:lnTo>
                    <a:pt x="799814" y="373666"/>
                  </a:lnTo>
                  <a:lnTo>
                    <a:pt x="800005" y="375190"/>
                  </a:lnTo>
                  <a:lnTo>
                    <a:pt x="801148" y="371856"/>
                  </a:lnTo>
                  <a:lnTo>
                    <a:pt x="809625" y="375571"/>
                  </a:lnTo>
                  <a:lnTo>
                    <a:pt x="809435" y="374047"/>
                  </a:lnTo>
                  <a:lnTo>
                    <a:pt x="811244" y="375380"/>
                  </a:lnTo>
                  <a:lnTo>
                    <a:pt x="812578" y="373571"/>
                  </a:lnTo>
                  <a:lnTo>
                    <a:pt x="815912" y="374809"/>
                  </a:lnTo>
                  <a:lnTo>
                    <a:pt x="812959" y="376809"/>
                  </a:lnTo>
                  <a:lnTo>
                    <a:pt x="821722" y="382048"/>
                  </a:lnTo>
                  <a:lnTo>
                    <a:pt x="824865" y="381667"/>
                  </a:lnTo>
                  <a:lnTo>
                    <a:pt x="822484" y="375571"/>
                  </a:lnTo>
                  <a:lnTo>
                    <a:pt x="825437" y="373571"/>
                  </a:lnTo>
                  <a:lnTo>
                    <a:pt x="820293" y="370999"/>
                  </a:lnTo>
                  <a:lnTo>
                    <a:pt x="821817" y="370808"/>
                  </a:lnTo>
                  <a:lnTo>
                    <a:pt x="821436" y="367665"/>
                  </a:lnTo>
                  <a:lnTo>
                    <a:pt x="812959" y="363950"/>
                  </a:lnTo>
                  <a:lnTo>
                    <a:pt x="813911" y="358997"/>
                  </a:lnTo>
                  <a:lnTo>
                    <a:pt x="812387" y="359188"/>
                  </a:lnTo>
                  <a:lnTo>
                    <a:pt x="815340" y="357188"/>
                  </a:lnTo>
                  <a:lnTo>
                    <a:pt x="825151" y="359188"/>
                  </a:lnTo>
                  <a:lnTo>
                    <a:pt x="828294" y="345948"/>
                  </a:lnTo>
                  <a:lnTo>
                    <a:pt x="818674" y="345567"/>
                  </a:lnTo>
                  <a:lnTo>
                    <a:pt x="821436" y="342043"/>
                  </a:lnTo>
                  <a:lnTo>
                    <a:pt x="822198" y="335471"/>
                  </a:lnTo>
                  <a:lnTo>
                    <a:pt x="820388" y="334137"/>
                  </a:lnTo>
                  <a:lnTo>
                    <a:pt x="819436" y="326231"/>
                  </a:lnTo>
                  <a:lnTo>
                    <a:pt x="813816" y="320516"/>
                  </a:lnTo>
                  <a:lnTo>
                    <a:pt x="813816" y="320516"/>
                  </a:lnTo>
                  <a:lnTo>
                    <a:pt x="816388" y="315373"/>
                  </a:lnTo>
                  <a:lnTo>
                    <a:pt x="809244" y="309848"/>
                  </a:lnTo>
                  <a:lnTo>
                    <a:pt x="807720" y="310134"/>
                  </a:lnTo>
                  <a:lnTo>
                    <a:pt x="804386" y="308896"/>
                  </a:lnTo>
                  <a:lnTo>
                    <a:pt x="808482" y="303562"/>
                  </a:lnTo>
                  <a:lnTo>
                    <a:pt x="808292" y="302038"/>
                  </a:lnTo>
                  <a:lnTo>
                    <a:pt x="805148" y="302419"/>
                  </a:lnTo>
                  <a:lnTo>
                    <a:pt x="796862" y="300228"/>
                  </a:lnTo>
                  <a:lnTo>
                    <a:pt x="796004" y="293942"/>
                  </a:lnTo>
                  <a:lnTo>
                    <a:pt x="802386" y="293180"/>
                  </a:lnTo>
                  <a:lnTo>
                    <a:pt x="801529" y="286798"/>
                  </a:lnTo>
                  <a:lnTo>
                    <a:pt x="802958" y="284988"/>
                  </a:lnTo>
                  <a:lnTo>
                    <a:pt x="804291" y="283273"/>
                  </a:lnTo>
                  <a:lnTo>
                    <a:pt x="802291" y="280321"/>
                  </a:lnTo>
                  <a:lnTo>
                    <a:pt x="805244" y="278321"/>
                  </a:lnTo>
                  <a:lnTo>
                    <a:pt x="806672" y="276511"/>
                  </a:lnTo>
                  <a:lnTo>
                    <a:pt x="799910" y="274225"/>
                  </a:lnTo>
                  <a:lnTo>
                    <a:pt x="799528" y="270986"/>
                  </a:lnTo>
                  <a:lnTo>
                    <a:pt x="797909" y="271272"/>
                  </a:lnTo>
                  <a:lnTo>
                    <a:pt x="791813" y="273653"/>
                  </a:lnTo>
                  <a:lnTo>
                    <a:pt x="788480" y="272415"/>
                  </a:lnTo>
                  <a:lnTo>
                    <a:pt x="784098" y="263366"/>
                  </a:lnTo>
                  <a:lnTo>
                    <a:pt x="785527" y="261556"/>
                  </a:lnTo>
                  <a:lnTo>
                    <a:pt x="783717" y="260223"/>
                  </a:lnTo>
                  <a:lnTo>
                    <a:pt x="786479" y="256699"/>
                  </a:lnTo>
                  <a:lnTo>
                    <a:pt x="791242" y="256032"/>
                  </a:lnTo>
                  <a:lnTo>
                    <a:pt x="794195" y="254032"/>
                  </a:lnTo>
                  <a:lnTo>
                    <a:pt x="793147" y="246221"/>
                  </a:lnTo>
                  <a:lnTo>
                    <a:pt x="791909" y="236696"/>
                  </a:lnTo>
                  <a:lnTo>
                    <a:pt x="788575" y="235553"/>
                  </a:lnTo>
                  <a:lnTo>
                    <a:pt x="789527" y="230600"/>
                  </a:lnTo>
                  <a:lnTo>
                    <a:pt x="792099" y="225457"/>
                  </a:lnTo>
                  <a:lnTo>
                    <a:pt x="782288" y="223552"/>
                  </a:lnTo>
                  <a:lnTo>
                    <a:pt x="779050" y="223933"/>
                  </a:lnTo>
                  <a:lnTo>
                    <a:pt x="778859" y="222313"/>
                  </a:lnTo>
                  <a:lnTo>
                    <a:pt x="782003" y="221932"/>
                  </a:lnTo>
                  <a:lnTo>
                    <a:pt x="784003" y="212027"/>
                  </a:lnTo>
                  <a:lnTo>
                    <a:pt x="782193" y="210693"/>
                  </a:lnTo>
                  <a:lnTo>
                    <a:pt x="785336" y="210312"/>
                  </a:lnTo>
                  <a:lnTo>
                    <a:pt x="787908" y="205169"/>
                  </a:lnTo>
                  <a:lnTo>
                    <a:pt x="786384" y="205359"/>
                  </a:lnTo>
                  <a:lnTo>
                    <a:pt x="785717" y="200596"/>
                  </a:lnTo>
                  <a:lnTo>
                    <a:pt x="790289" y="198406"/>
                  </a:lnTo>
                  <a:lnTo>
                    <a:pt x="791813" y="198215"/>
                  </a:lnTo>
                  <a:lnTo>
                    <a:pt x="792671" y="191738"/>
                  </a:lnTo>
                  <a:lnTo>
                    <a:pt x="787718" y="190786"/>
                  </a:lnTo>
                  <a:lnTo>
                    <a:pt x="788670" y="185833"/>
                  </a:lnTo>
                  <a:lnTo>
                    <a:pt x="785527" y="186214"/>
                  </a:lnTo>
                  <a:lnTo>
                    <a:pt x="786670" y="182880"/>
                  </a:lnTo>
                  <a:lnTo>
                    <a:pt x="784670" y="179927"/>
                  </a:lnTo>
                  <a:lnTo>
                    <a:pt x="784289" y="176784"/>
                  </a:lnTo>
                  <a:lnTo>
                    <a:pt x="787051" y="173165"/>
                  </a:lnTo>
                  <a:lnTo>
                    <a:pt x="787051" y="173165"/>
                  </a:lnTo>
                  <a:lnTo>
                    <a:pt x="790003" y="171164"/>
                  </a:lnTo>
                  <a:lnTo>
                    <a:pt x="794576" y="169069"/>
                  </a:lnTo>
                  <a:lnTo>
                    <a:pt x="794099" y="165830"/>
                  </a:lnTo>
                  <a:lnTo>
                    <a:pt x="795528" y="164116"/>
                  </a:lnTo>
                  <a:lnTo>
                    <a:pt x="792956" y="156400"/>
                  </a:lnTo>
                  <a:lnTo>
                    <a:pt x="795719" y="152876"/>
                  </a:lnTo>
                  <a:lnTo>
                    <a:pt x="788765" y="148876"/>
                  </a:lnTo>
                  <a:lnTo>
                    <a:pt x="785622" y="136493"/>
                  </a:lnTo>
                  <a:lnTo>
                    <a:pt x="775335" y="131350"/>
                  </a:lnTo>
                  <a:lnTo>
                    <a:pt x="777907" y="126302"/>
                  </a:lnTo>
                  <a:lnTo>
                    <a:pt x="777716" y="124682"/>
                  </a:lnTo>
                  <a:lnTo>
                    <a:pt x="771525" y="127063"/>
                  </a:lnTo>
                  <a:lnTo>
                    <a:pt x="767429" y="132398"/>
                  </a:lnTo>
                  <a:lnTo>
                    <a:pt x="762476" y="131445"/>
                  </a:lnTo>
                  <a:lnTo>
                    <a:pt x="759905" y="136588"/>
                  </a:lnTo>
                  <a:lnTo>
                    <a:pt x="759333" y="131826"/>
                  </a:lnTo>
                  <a:lnTo>
                    <a:pt x="749903" y="133064"/>
                  </a:lnTo>
                  <a:lnTo>
                    <a:pt x="746474" y="131826"/>
                  </a:lnTo>
                  <a:lnTo>
                    <a:pt x="741807" y="132493"/>
                  </a:lnTo>
                  <a:lnTo>
                    <a:pt x="739997" y="131064"/>
                  </a:lnTo>
                  <a:lnTo>
                    <a:pt x="738378" y="131254"/>
                  </a:lnTo>
                  <a:lnTo>
                    <a:pt x="736283" y="126778"/>
                  </a:lnTo>
                  <a:lnTo>
                    <a:pt x="728186" y="126206"/>
                  </a:lnTo>
                  <a:lnTo>
                    <a:pt x="723233" y="125158"/>
                  </a:lnTo>
                  <a:lnTo>
                    <a:pt x="717328" y="129159"/>
                  </a:lnTo>
                  <a:lnTo>
                    <a:pt x="715709" y="129350"/>
                  </a:lnTo>
                  <a:lnTo>
                    <a:pt x="717899" y="133921"/>
                  </a:lnTo>
                  <a:lnTo>
                    <a:pt x="714756" y="134302"/>
                  </a:lnTo>
                  <a:lnTo>
                    <a:pt x="713327" y="136112"/>
                  </a:lnTo>
                  <a:lnTo>
                    <a:pt x="708279" y="133540"/>
                  </a:lnTo>
                  <a:lnTo>
                    <a:pt x="709613" y="131731"/>
                  </a:lnTo>
                  <a:lnTo>
                    <a:pt x="707803" y="130397"/>
                  </a:lnTo>
                  <a:lnTo>
                    <a:pt x="703136" y="130969"/>
                  </a:lnTo>
                  <a:lnTo>
                    <a:pt x="699326" y="126587"/>
                  </a:lnTo>
                  <a:lnTo>
                    <a:pt x="696373" y="128588"/>
                  </a:lnTo>
                  <a:lnTo>
                    <a:pt x="696373" y="128588"/>
                  </a:lnTo>
                  <a:lnTo>
                    <a:pt x="695801" y="123920"/>
                  </a:lnTo>
                  <a:lnTo>
                    <a:pt x="700278" y="121729"/>
                  </a:lnTo>
                  <a:lnTo>
                    <a:pt x="702278" y="111823"/>
                  </a:lnTo>
                  <a:lnTo>
                    <a:pt x="708565" y="111061"/>
                  </a:lnTo>
                  <a:lnTo>
                    <a:pt x="708374" y="109442"/>
                  </a:lnTo>
                  <a:lnTo>
                    <a:pt x="700469" y="97631"/>
                  </a:lnTo>
                  <a:lnTo>
                    <a:pt x="698659" y="96298"/>
                  </a:lnTo>
                  <a:lnTo>
                    <a:pt x="695706" y="98203"/>
                  </a:lnTo>
                  <a:lnTo>
                    <a:pt x="689229" y="97441"/>
                  </a:lnTo>
                  <a:lnTo>
                    <a:pt x="679895" y="87440"/>
                  </a:lnTo>
                  <a:lnTo>
                    <a:pt x="680276" y="90583"/>
                  </a:lnTo>
                  <a:lnTo>
                    <a:pt x="665702" y="89249"/>
                  </a:lnTo>
                  <a:lnTo>
                    <a:pt x="664750" y="94202"/>
                  </a:lnTo>
                  <a:lnTo>
                    <a:pt x="650939" y="86296"/>
                  </a:lnTo>
                  <a:lnTo>
                    <a:pt x="648272" y="78581"/>
                  </a:lnTo>
                  <a:lnTo>
                    <a:pt x="640651" y="81153"/>
                  </a:lnTo>
                  <a:lnTo>
                    <a:pt x="631793" y="87154"/>
                  </a:lnTo>
                  <a:lnTo>
                    <a:pt x="629984" y="85725"/>
                  </a:lnTo>
                  <a:lnTo>
                    <a:pt x="631126" y="82391"/>
                  </a:lnTo>
                  <a:lnTo>
                    <a:pt x="628174" y="84392"/>
                  </a:lnTo>
                  <a:lnTo>
                    <a:pt x="626174" y="81439"/>
                  </a:lnTo>
                  <a:lnTo>
                    <a:pt x="615410" y="84392"/>
                  </a:lnTo>
                  <a:lnTo>
                    <a:pt x="613029" y="78296"/>
                  </a:lnTo>
                  <a:lnTo>
                    <a:pt x="609028" y="72390"/>
                  </a:lnTo>
                  <a:lnTo>
                    <a:pt x="597218" y="67437"/>
                  </a:lnTo>
                  <a:lnTo>
                    <a:pt x="590455" y="65151"/>
                  </a:lnTo>
                  <a:lnTo>
                    <a:pt x="589693" y="58865"/>
                  </a:lnTo>
                  <a:lnTo>
                    <a:pt x="575215" y="46196"/>
                  </a:lnTo>
                  <a:lnTo>
                    <a:pt x="571881" y="45053"/>
                  </a:lnTo>
                  <a:lnTo>
                    <a:pt x="568738" y="45434"/>
                  </a:lnTo>
                  <a:lnTo>
                    <a:pt x="561404" y="38386"/>
                  </a:lnTo>
                  <a:lnTo>
                    <a:pt x="531305" y="16573"/>
                  </a:lnTo>
                  <a:lnTo>
                    <a:pt x="524066" y="9430"/>
                  </a:lnTo>
                  <a:lnTo>
                    <a:pt x="509969" y="0"/>
                  </a:lnTo>
                  <a:lnTo>
                    <a:pt x="508254" y="11430"/>
                  </a:lnTo>
                  <a:lnTo>
                    <a:pt x="501206" y="18764"/>
                  </a:lnTo>
                  <a:lnTo>
                    <a:pt x="501777" y="23527"/>
                  </a:lnTo>
                  <a:lnTo>
                    <a:pt x="503968" y="28004"/>
                  </a:lnTo>
                  <a:lnTo>
                    <a:pt x="503015" y="32956"/>
                  </a:lnTo>
                  <a:lnTo>
                    <a:pt x="498634" y="23908"/>
                  </a:lnTo>
                  <a:lnTo>
                    <a:pt x="493871" y="11716"/>
                  </a:lnTo>
                  <a:lnTo>
                    <a:pt x="451295" y="29908"/>
                  </a:lnTo>
                  <a:lnTo>
                    <a:pt x="446342" y="41815"/>
                  </a:lnTo>
                  <a:lnTo>
                    <a:pt x="440436" y="45720"/>
                  </a:lnTo>
                  <a:lnTo>
                    <a:pt x="432149" y="56388"/>
                  </a:lnTo>
                  <a:lnTo>
                    <a:pt x="429673" y="61531"/>
                  </a:lnTo>
                  <a:lnTo>
                    <a:pt x="431578" y="64484"/>
                  </a:lnTo>
                  <a:lnTo>
                    <a:pt x="430625" y="69437"/>
                  </a:lnTo>
                  <a:lnTo>
                    <a:pt x="423482" y="63913"/>
                  </a:lnTo>
                  <a:lnTo>
                    <a:pt x="421577" y="60960"/>
                  </a:lnTo>
                  <a:lnTo>
                    <a:pt x="414242" y="53911"/>
                  </a:lnTo>
                  <a:lnTo>
                    <a:pt x="408337" y="45053"/>
                  </a:lnTo>
                  <a:lnTo>
                    <a:pt x="396240" y="51340"/>
                  </a:lnTo>
                  <a:lnTo>
                    <a:pt x="388334" y="52388"/>
                  </a:lnTo>
                  <a:lnTo>
                    <a:pt x="384810" y="49625"/>
                  </a:lnTo>
                  <a:lnTo>
                    <a:pt x="376142" y="44291"/>
                  </a:lnTo>
                  <a:lnTo>
                    <a:pt x="368237" y="45339"/>
                  </a:lnTo>
                  <a:lnTo>
                    <a:pt x="368427" y="46958"/>
                  </a:lnTo>
                  <a:lnTo>
                    <a:pt x="358426" y="56198"/>
                  </a:lnTo>
                  <a:lnTo>
                    <a:pt x="355283" y="56579"/>
                  </a:lnTo>
                  <a:lnTo>
                    <a:pt x="353282" y="53626"/>
                  </a:lnTo>
                  <a:lnTo>
                    <a:pt x="348520" y="54292"/>
                  </a:lnTo>
                  <a:lnTo>
                    <a:pt x="343567" y="53245"/>
                  </a:lnTo>
                  <a:lnTo>
                    <a:pt x="339471" y="58579"/>
                  </a:lnTo>
                  <a:lnTo>
                    <a:pt x="326993" y="61817"/>
                  </a:lnTo>
                  <a:lnTo>
                    <a:pt x="323850" y="62198"/>
                  </a:lnTo>
                  <a:lnTo>
                    <a:pt x="320516" y="61055"/>
                  </a:lnTo>
                  <a:lnTo>
                    <a:pt x="317563" y="63056"/>
                  </a:lnTo>
                  <a:lnTo>
                    <a:pt x="310896" y="60674"/>
                  </a:lnTo>
                  <a:lnTo>
                    <a:pt x="306514" y="64389"/>
                  </a:lnTo>
                  <a:lnTo>
                    <a:pt x="298418" y="63817"/>
                  </a:lnTo>
                  <a:lnTo>
                    <a:pt x="295085" y="62675"/>
                  </a:lnTo>
                  <a:lnTo>
                    <a:pt x="294513" y="70771"/>
                  </a:lnTo>
                  <a:lnTo>
                    <a:pt x="288608" y="74771"/>
                  </a:lnTo>
                  <a:lnTo>
                    <a:pt x="284893" y="83248"/>
                  </a:lnTo>
                  <a:lnTo>
                    <a:pt x="279178" y="88773"/>
                  </a:lnTo>
                  <a:lnTo>
                    <a:pt x="278130" y="93726"/>
                  </a:lnTo>
                  <a:lnTo>
                    <a:pt x="281750" y="109252"/>
                  </a:lnTo>
                  <a:lnTo>
                    <a:pt x="279368" y="116015"/>
                  </a:lnTo>
                  <a:lnTo>
                    <a:pt x="275082" y="119729"/>
                  </a:lnTo>
                  <a:lnTo>
                    <a:pt x="264224" y="109919"/>
                  </a:lnTo>
                  <a:lnTo>
                    <a:pt x="258318" y="113824"/>
                  </a:lnTo>
                  <a:lnTo>
                    <a:pt x="257080" y="117253"/>
                  </a:lnTo>
                  <a:lnTo>
                    <a:pt x="249650" y="121348"/>
                  </a:lnTo>
                  <a:lnTo>
                    <a:pt x="245269" y="125158"/>
                  </a:lnTo>
                  <a:lnTo>
                    <a:pt x="244316" y="130111"/>
                  </a:lnTo>
                  <a:lnTo>
                    <a:pt x="240030" y="133826"/>
                  </a:lnTo>
                  <a:lnTo>
                    <a:pt x="242126" y="138398"/>
                  </a:lnTo>
                  <a:lnTo>
                    <a:pt x="238220" y="145256"/>
                  </a:lnTo>
                  <a:lnTo>
                    <a:pt x="234887" y="144113"/>
                  </a:lnTo>
                  <a:lnTo>
                    <a:pt x="231934" y="146113"/>
                  </a:lnTo>
                  <a:lnTo>
                    <a:pt x="228410" y="143351"/>
                  </a:lnTo>
                  <a:lnTo>
                    <a:pt x="218885" y="144590"/>
                  </a:lnTo>
                  <a:lnTo>
                    <a:pt x="214408" y="146780"/>
                  </a:lnTo>
                  <a:lnTo>
                    <a:pt x="216503" y="151257"/>
                  </a:lnTo>
                  <a:lnTo>
                    <a:pt x="214598" y="161163"/>
                  </a:lnTo>
                  <a:lnTo>
                    <a:pt x="216980" y="167259"/>
                  </a:lnTo>
                  <a:lnTo>
                    <a:pt x="215075" y="177070"/>
                  </a:lnTo>
                  <a:lnTo>
                    <a:pt x="210884" y="182499"/>
                  </a:lnTo>
                  <a:lnTo>
                    <a:pt x="202978" y="183452"/>
                  </a:lnTo>
                  <a:lnTo>
                    <a:pt x="193739" y="186214"/>
                  </a:lnTo>
                  <a:lnTo>
                    <a:pt x="194119" y="189357"/>
                  </a:lnTo>
                  <a:lnTo>
                    <a:pt x="191357" y="192977"/>
                  </a:lnTo>
                  <a:lnTo>
                    <a:pt x="187071" y="196691"/>
                  </a:lnTo>
                  <a:lnTo>
                    <a:pt x="188024" y="204597"/>
                  </a:lnTo>
                  <a:lnTo>
                    <a:pt x="180975" y="211931"/>
                  </a:lnTo>
                  <a:lnTo>
                    <a:pt x="179261" y="223361"/>
                  </a:lnTo>
                  <a:lnTo>
                    <a:pt x="183356" y="230886"/>
                  </a:lnTo>
                  <a:lnTo>
                    <a:pt x="185547" y="235363"/>
                  </a:lnTo>
                  <a:lnTo>
                    <a:pt x="179451" y="237744"/>
                  </a:lnTo>
                  <a:lnTo>
                    <a:pt x="182975" y="240506"/>
                  </a:lnTo>
                  <a:lnTo>
                    <a:pt x="178308" y="241173"/>
                  </a:lnTo>
                  <a:lnTo>
                    <a:pt x="178499" y="242697"/>
                  </a:lnTo>
                  <a:lnTo>
                    <a:pt x="172784" y="235458"/>
                  </a:lnTo>
                  <a:lnTo>
                    <a:pt x="166021" y="233077"/>
                  </a:lnTo>
                  <a:lnTo>
                    <a:pt x="166592" y="237839"/>
                  </a:lnTo>
                  <a:lnTo>
                    <a:pt x="164116" y="242983"/>
                  </a:lnTo>
                  <a:lnTo>
                    <a:pt x="165830" y="244316"/>
                  </a:lnTo>
                  <a:lnTo>
                    <a:pt x="165449" y="254032"/>
                  </a:lnTo>
                  <a:lnTo>
                    <a:pt x="167640" y="258509"/>
                  </a:lnTo>
                  <a:lnTo>
                    <a:pt x="168307" y="263271"/>
                  </a:lnTo>
                  <a:lnTo>
                    <a:pt x="161544" y="260890"/>
                  </a:lnTo>
                  <a:lnTo>
                    <a:pt x="162782" y="270415"/>
                  </a:lnTo>
                  <a:lnTo>
                    <a:pt x="160211" y="275558"/>
                  </a:lnTo>
                  <a:lnTo>
                    <a:pt x="162592" y="281654"/>
                  </a:lnTo>
                  <a:lnTo>
                    <a:pt x="165926" y="282797"/>
                  </a:lnTo>
                  <a:lnTo>
                    <a:pt x="164973" y="287750"/>
                  </a:lnTo>
                  <a:lnTo>
                    <a:pt x="168497" y="290513"/>
                  </a:lnTo>
                  <a:lnTo>
                    <a:pt x="168688" y="292036"/>
                  </a:lnTo>
                  <a:lnTo>
                    <a:pt x="167545" y="295465"/>
                  </a:lnTo>
                  <a:lnTo>
                    <a:pt x="163068" y="297561"/>
                  </a:lnTo>
                  <a:lnTo>
                    <a:pt x="162020" y="302514"/>
                  </a:lnTo>
                  <a:lnTo>
                    <a:pt x="158877" y="302895"/>
                  </a:lnTo>
                  <a:lnTo>
                    <a:pt x="160877" y="305943"/>
                  </a:lnTo>
                  <a:lnTo>
                    <a:pt x="161449" y="310610"/>
                  </a:lnTo>
                  <a:lnTo>
                    <a:pt x="168212" y="312992"/>
                  </a:lnTo>
                  <a:lnTo>
                    <a:pt x="165259" y="314992"/>
                  </a:lnTo>
                  <a:lnTo>
                    <a:pt x="152210" y="313373"/>
                  </a:lnTo>
                  <a:lnTo>
                    <a:pt x="143732" y="309658"/>
                  </a:lnTo>
                  <a:lnTo>
                    <a:pt x="138970" y="310325"/>
                  </a:lnTo>
                  <a:lnTo>
                    <a:pt x="135446" y="307562"/>
                  </a:lnTo>
                  <a:lnTo>
                    <a:pt x="137732" y="300800"/>
                  </a:lnTo>
                  <a:lnTo>
                    <a:pt x="135636" y="296323"/>
                  </a:lnTo>
                  <a:lnTo>
                    <a:pt x="132683" y="298228"/>
                  </a:lnTo>
                  <a:lnTo>
                    <a:pt x="131826" y="291941"/>
                  </a:lnTo>
                  <a:lnTo>
                    <a:pt x="128873" y="293942"/>
                  </a:lnTo>
                  <a:lnTo>
                    <a:pt x="126683" y="289369"/>
                  </a:lnTo>
                  <a:lnTo>
                    <a:pt x="126111" y="284702"/>
                  </a:lnTo>
                  <a:lnTo>
                    <a:pt x="127254" y="281273"/>
                  </a:lnTo>
                  <a:lnTo>
                    <a:pt x="134969" y="278702"/>
                  </a:lnTo>
                  <a:lnTo>
                    <a:pt x="136112" y="275368"/>
                  </a:lnTo>
                  <a:lnTo>
                    <a:pt x="132779" y="274225"/>
                  </a:lnTo>
                  <a:lnTo>
                    <a:pt x="135541" y="270605"/>
                  </a:lnTo>
                  <a:lnTo>
                    <a:pt x="130969" y="272796"/>
                  </a:lnTo>
                  <a:lnTo>
                    <a:pt x="131731" y="266319"/>
                  </a:lnTo>
                  <a:lnTo>
                    <a:pt x="138875" y="258985"/>
                  </a:lnTo>
                  <a:lnTo>
                    <a:pt x="133541" y="254889"/>
                  </a:lnTo>
                  <a:lnTo>
                    <a:pt x="128778" y="255461"/>
                  </a:lnTo>
                  <a:lnTo>
                    <a:pt x="131731" y="253460"/>
                  </a:lnTo>
                  <a:lnTo>
                    <a:pt x="130207" y="253651"/>
                  </a:lnTo>
                  <a:lnTo>
                    <a:pt x="134874" y="253079"/>
                  </a:lnTo>
                  <a:lnTo>
                    <a:pt x="127159" y="242792"/>
                  </a:lnTo>
                  <a:lnTo>
                    <a:pt x="121063" y="245173"/>
                  </a:lnTo>
                  <a:lnTo>
                    <a:pt x="118872" y="240697"/>
                  </a:lnTo>
                  <a:lnTo>
                    <a:pt x="112014" y="236792"/>
                  </a:lnTo>
                  <a:lnTo>
                    <a:pt x="111347" y="232029"/>
                  </a:lnTo>
                  <a:lnTo>
                    <a:pt x="102680" y="226695"/>
                  </a:lnTo>
                  <a:lnTo>
                    <a:pt x="105442" y="223171"/>
                  </a:lnTo>
                  <a:lnTo>
                    <a:pt x="109538" y="217837"/>
                  </a:lnTo>
                  <a:lnTo>
                    <a:pt x="107347" y="213265"/>
                  </a:lnTo>
                  <a:lnTo>
                    <a:pt x="111157" y="217646"/>
                  </a:lnTo>
                  <a:lnTo>
                    <a:pt x="114872" y="221932"/>
                  </a:lnTo>
                  <a:lnTo>
                    <a:pt x="116491" y="221742"/>
                  </a:lnTo>
                  <a:lnTo>
                    <a:pt x="121634" y="224314"/>
                  </a:lnTo>
                  <a:lnTo>
                    <a:pt x="119444" y="219742"/>
                  </a:lnTo>
                  <a:lnTo>
                    <a:pt x="120206" y="213265"/>
                  </a:lnTo>
                  <a:lnTo>
                    <a:pt x="118205" y="210312"/>
                  </a:lnTo>
                  <a:lnTo>
                    <a:pt x="113633" y="199644"/>
                  </a:lnTo>
                  <a:lnTo>
                    <a:pt x="109157" y="201835"/>
                  </a:lnTo>
                  <a:lnTo>
                    <a:pt x="101060" y="201263"/>
                  </a:lnTo>
                  <a:lnTo>
                    <a:pt x="97441" y="198501"/>
                  </a:lnTo>
                  <a:lnTo>
                    <a:pt x="86392" y="199930"/>
                  </a:lnTo>
                  <a:lnTo>
                    <a:pt x="77724" y="194596"/>
                  </a:lnTo>
                  <a:lnTo>
                    <a:pt x="78867" y="191262"/>
                  </a:lnTo>
                  <a:lnTo>
                    <a:pt x="78677" y="176879"/>
                  </a:lnTo>
                  <a:lnTo>
                    <a:pt x="74962" y="172498"/>
                  </a:lnTo>
                  <a:lnTo>
                    <a:pt x="78867" y="152781"/>
                  </a:lnTo>
                  <a:lnTo>
                    <a:pt x="76105" y="156305"/>
                  </a:lnTo>
                  <a:lnTo>
                    <a:pt x="73914" y="151829"/>
                  </a:lnTo>
                  <a:lnTo>
                    <a:pt x="68771" y="149257"/>
                  </a:lnTo>
                  <a:lnTo>
                    <a:pt x="66580" y="144685"/>
                  </a:lnTo>
                  <a:lnTo>
                    <a:pt x="67342" y="138208"/>
                  </a:lnTo>
                  <a:lnTo>
                    <a:pt x="52959" y="138398"/>
                  </a:lnTo>
                  <a:lnTo>
                    <a:pt x="41529" y="136684"/>
                  </a:lnTo>
                  <a:lnTo>
                    <a:pt x="29051" y="139827"/>
                  </a:lnTo>
                  <a:lnTo>
                    <a:pt x="26289" y="143446"/>
                  </a:lnTo>
                  <a:lnTo>
                    <a:pt x="18193" y="142875"/>
                  </a:lnTo>
                  <a:lnTo>
                    <a:pt x="19240" y="137922"/>
                  </a:lnTo>
                  <a:lnTo>
                    <a:pt x="16002" y="138303"/>
                  </a:lnTo>
                  <a:lnTo>
                    <a:pt x="14097" y="135350"/>
                  </a:lnTo>
                  <a:lnTo>
                    <a:pt x="8382" y="140875"/>
                  </a:lnTo>
                  <a:lnTo>
                    <a:pt x="12097" y="145256"/>
                  </a:lnTo>
                  <a:lnTo>
                    <a:pt x="18669" y="146018"/>
                  </a:lnTo>
                  <a:lnTo>
                    <a:pt x="25908" y="153067"/>
                  </a:lnTo>
                  <a:lnTo>
                    <a:pt x="26384" y="156305"/>
                  </a:lnTo>
                  <a:lnTo>
                    <a:pt x="22193" y="161639"/>
                  </a:lnTo>
                  <a:lnTo>
                    <a:pt x="23432" y="171069"/>
                  </a:lnTo>
                  <a:lnTo>
                    <a:pt x="32671" y="181070"/>
                  </a:lnTo>
                  <a:lnTo>
                    <a:pt x="33147" y="184213"/>
                  </a:lnTo>
                  <a:lnTo>
                    <a:pt x="35052" y="187166"/>
                  </a:lnTo>
                  <a:lnTo>
                    <a:pt x="33909" y="190595"/>
                  </a:lnTo>
                  <a:lnTo>
                    <a:pt x="25051" y="196501"/>
                  </a:lnTo>
                  <a:lnTo>
                    <a:pt x="21908" y="196882"/>
                  </a:lnTo>
                  <a:lnTo>
                    <a:pt x="20479" y="198692"/>
                  </a:lnTo>
                  <a:lnTo>
                    <a:pt x="15621" y="197739"/>
                  </a:lnTo>
                  <a:lnTo>
                    <a:pt x="11240" y="201454"/>
                  </a:lnTo>
                  <a:lnTo>
                    <a:pt x="5144" y="203835"/>
                  </a:lnTo>
                  <a:lnTo>
                    <a:pt x="8858" y="208217"/>
                  </a:lnTo>
                  <a:lnTo>
                    <a:pt x="7715" y="211550"/>
                  </a:lnTo>
                  <a:lnTo>
                    <a:pt x="6382" y="213360"/>
                  </a:lnTo>
                  <a:lnTo>
                    <a:pt x="0" y="214122"/>
                  </a:lnTo>
                  <a:lnTo>
                    <a:pt x="476" y="217265"/>
                  </a:lnTo>
                  <a:lnTo>
                    <a:pt x="6001" y="222980"/>
                  </a:lnTo>
                  <a:lnTo>
                    <a:pt x="10668" y="222409"/>
                  </a:lnTo>
                  <a:lnTo>
                    <a:pt x="11906" y="231838"/>
                  </a:lnTo>
                  <a:lnTo>
                    <a:pt x="24003" y="238315"/>
                  </a:lnTo>
                  <a:lnTo>
                    <a:pt x="34004" y="241840"/>
                  </a:lnTo>
                  <a:lnTo>
                    <a:pt x="35243" y="238506"/>
                  </a:lnTo>
                  <a:lnTo>
                    <a:pt x="41339" y="236125"/>
                  </a:lnTo>
                  <a:lnTo>
                    <a:pt x="41529" y="237744"/>
                  </a:lnTo>
                  <a:lnTo>
                    <a:pt x="35624" y="241649"/>
                  </a:lnTo>
                  <a:lnTo>
                    <a:pt x="42291" y="244031"/>
                  </a:lnTo>
                  <a:lnTo>
                    <a:pt x="45911" y="246793"/>
                  </a:lnTo>
                  <a:lnTo>
                    <a:pt x="45911" y="246793"/>
                  </a:lnTo>
                  <a:lnTo>
                    <a:pt x="44672" y="250127"/>
                  </a:lnTo>
                  <a:lnTo>
                    <a:pt x="47911" y="249746"/>
                  </a:lnTo>
                  <a:lnTo>
                    <a:pt x="46863" y="254698"/>
                  </a:lnTo>
                  <a:lnTo>
                    <a:pt x="48673" y="256032"/>
                  </a:lnTo>
                  <a:lnTo>
                    <a:pt x="44577" y="261366"/>
                  </a:lnTo>
                  <a:lnTo>
                    <a:pt x="46482" y="264319"/>
                  </a:lnTo>
                  <a:lnTo>
                    <a:pt x="49435" y="262319"/>
                  </a:lnTo>
                  <a:lnTo>
                    <a:pt x="57531" y="262890"/>
                  </a:lnTo>
                  <a:lnTo>
                    <a:pt x="58769" y="272415"/>
                  </a:lnTo>
                  <a:lnTo>
                    <a:pt x="61913" y="272034"/>
                  </a:lnTo>
                  <a:lnTo>
                    <a:pt x="62103" y="273558"/>
                  </a:lnTo>
                  <a:lnTo>
                    <a:pt x="63913" y="274987"/>
                  </a:lnTo>
                  <a:lnTo>
                    <a:pt x="60960" y="276892"/>
                  </a:lnTo>
                  <a:lnTo>
                    <a:pt x="61151" y="278511"/>
                  </a:lnTo>
                  <a:lnTo>
                    <a:pt x="65913" y="277940"/>
                  </a:lnTo>
                  <a:lnTo>
                    <a:pt x="67913" y="280892"/>
                  </a:lnTo>
                  <a:lnTo>
                    <a:pt x="71057" y="280511"/>
                  </a:lnTo>
                  <a:lnTo>
                    <a:pt x="66294" y="281083"/>
                  </a:lnTo>
                  <a:lnTo>
                    <a:pt x="65151" y="284417"/>
                  </a:lnTo>
                  <a:lnTo>
                    <a:pt x="74200" y="292894"/>
                  </a:lnTo>
                  <a:lnTo>
                    <a:pt x="75438" y="302323"/>
                  </a:lnTo>
                  <a:lnTo>
                    <a:pt x="77819" y="308419"/>
                  </a:lnTo>
                  <a:lnTo>
                    <a:pt x="78200" y="311658"/>
                  </a:lnTo>
                  <a:lnTo>
                    <a:pt x="76867" y="313373"/>
                  </a:lnTo>
                  <a:lnTo>
                    <a:pt x="83534" y="315754"/>
                  </a:lnTo>
                  <a:lnTo>
                    <a:pt x="79820" y="324231"/>
                  </a:lnTo>
                  <a:lnTo>
                    <a:pt x="71342" y="333375"/>
                  </a:lnTo>
                  <a:lnTo>
                    <a:pt x="73152" y="334709"/>
                  </a:lnTo>
                  <a:lnTo>
                    <a:pt x="73724" y="339471"/>
                  </a:lnTo>
                  <a:lnTo>
                    <a:pt x="67628" y="341852"/>
                  </a:lnTo>
                  <a:lnTo>
                    <a:pt x="66675" y="346805"/>
                  </a:lnTo>
                  <a:lnTo>
                    <a:pt x="68866" y="351282"/>
                  </a:lnTo>
                  <a:lnTo>
                    <a:pt x="69247" y="367284"/>
                  </a:lnTo>
                  <a:lnTo>
                    <a:pt x="71819" y="374999"/>
                  </a:lnTo>
                  <a:lnTo>
                    <a:pt x="70866" y="379952"/>
                  </a:lnTo>
                  <a:lnTo>
                    <a:pt x="74866" y="385858"/>
                  </a:lnTo>
                  <a:lnTo>
                    <a:pt x="77248" y="391954"/>
                  </a:lnTo>
                  <a:lnTo>
                    <a:pt x="85154" y="390906"/>
                  </a:lnTo>
                  <a:lnTo>
                    <a:pt x="90011" y="391954"/>
                  </a:lnTo>
                  <a:lnTo>
                    <a:pt x="87535" y="397002"/>
                  </a:lnTo>
                  <a:lnTo>
                    <a:pt x="91250" y="401384"/>
                  </a:lnTo>
                  <a:lnTo>
                    <a:pt x="97346" y="399002"/>
                  </a:lnTo>
                  <a:lnTo>
                    <a:pt x="100489" y="398621"/>
                  </a:lnTo>
                  <a:lnTo>
                    <a:pt x="100965" y="401765"/>
                  </a:lnTo>
                  <a:lnTo>
                    <a:pt x="101346" y="404908"/>
                  </a:lnTo>
                  <a:lnTo>
                    <a:pt x="106299" y="405860"/>
                  </a:lnTo>
                  <a:lnTo>
                    <a:pt x="106871" y="410623"/>
                  </a:lnTo>
                  <a:lnTo>
                    <a:pt x="110395" y="413385"/>
                  </a:lnTo>
                  <a:lnTo>
                    <a:pt x="114395" y="419290"/>
                  </a:lnTo>
                  <a:lnTo>
                    <a:pt x="121253" y="423196"/>
                  </a:lnTo>
                  <a:lnTo>
                    <a:pt x="110300" y="437388"/>
                  </a:lnTo>
                  <a:lnTo>
                    <a:pt x="111062" y="443770"/>
                  </a:lnTo>
                  <a:lnTo>
                    <a:pt x="116967" y="439769"/>
                  </a:lnTo>
                  <a:lnTo>
                    <a:pt x="122777" y="447104"/>
                  </a:lnTo>
                  <a:lnTo>
                    <a:pt x="136779" y="443675"/>
                  </a:lnTo>
                  <a:lnTo>
                    <a:pt x="146780" y="447199"/>
                  </a:lnTo>
                  <a:lnTo>
                    <a:pt x="148971" y="451771"/>
                  </a:lnTo>
                  <a:lnTo>
                    <a:pt x="150590" y="451580"/>
                  </a:lnTo>
                  <a:lnTo>
                    <a:pt x="150971" y="454723"/>
                  </a:lnTo>
                  <a:lnTo>
                    <a:pt x="149828" y="458057"/>
                  </a:lnTo>
                  <a:lnTo>
                    <a:pt x="154115" y="467106"/>
                  </a:lnTo>
                  <a:lnTo>
                    <a:pt x="154972" y="473392"/>
                  </a:lnTo>
                  <a:lnTo>
                    <a:pt x="158306" y="474631"/>
                  </a:lnTo>
                  <a:lnTo>
                    <a:pt x="163830" y="467487"/>
                  </a:lnTo>
                  <a:lnTo>
                    <a:pt x="168783" y="468440"/>
                  </a:lnTo>
                  <a:lnTo>
                    <a:pt x="170783" y="471392"/>
                  </a:lnTo>
                  <a:lnTo>
                    <a:pt x="171355" y="476155"/>
                  </a:lnTo>
                  <a:lnTo>
                    <a:pt x="182404" y="487585"/>
                  </a:lnTo>
                  <a:lnTo>
                    <a:pt x="184785" y="493681"/>
                  </a:lnTo>
                  <a:lnTo>
                    <a:pt x="190881" y="491300"/>
                  </a:lnTo>
                  <a:lnTo>
                    <a:pt x="191548" y="496062"/>
                  </a:lnTo>
                  <a:lnTo>
                    <a:pt x="196691" y="498634"/>
                  </a:lnTo>
                  <a:lnTo>
                    <a:pt x="207740" y="497205"/>
                  </a:lnTo>
                  <a:lnTo>
                    <a:pt x="207931" y="498729"/>
                  </a:lnTo>
                  <a:lnTo>
                    <a:pt x="203740" y="504063"/>
                  </a:lnTo>
                  <a:lnTo>
                    <a:pt x="208693" y="505111"/>
                  </a:lnTo>
                  <a:lnTo>
                    <a:pt x="207550" y="508444"/>
                  </a:lnTo>
                  <a:lnTo>
                    <a:pt x="218789" y="508635"/>
                  </a:lnTo>
                  <a:lnTo>
                    <a:pt x="222504" y="512921"/>
                  </a:lnTo>
                  <a:lnTo>
                    <a:pt x="227267" y="512350"/>
                  </a:lnTo>
                  <a:lnTo>
                    <a:pt x="231077" y="516636"/>
                  </a:lnTo>
                  <a:lnTo>
                    <a:pt x="230029" y="521589"/>
                  </a:lnTo>
                  <a:lnTo>
                    <a:pt x="224123" y="525590"/>
                  </a:lnTo>
                  <a:lnTo>
                    <a:pt x="227743" y="528352"/>
                  </a:lnTo>
                  <a:lnTo>
                    <a:pt x="226695" y="533209"/>
                  </a:lnTo>
                  <a:lnTo>
                    <a:pt x="234410" y="530638"/>
                  </a:lnTo>
                  <a:lnTo>
                    <a:pt x="237173" y="527113"/>
                  </a:lnTo>
                  <a:lnTo>
                    <a:pt x="243269" y="524732"/>
                  </a:lnTo>
                  <a:lnTo>
                    <a:pt x="244697" y="522923"/>
                  </a:lnTo>
                  <a:lnTo>
                    <a:pt x="247841" y="522542"/>
                  </a:lnTo>
                  <a:lnTo>
                    <a:pt x="254699" y="526447"/>
                  </a:lnTo>
                  <a:lnTo>
                    <a:pt x="253556" y="529876"/>
                  </a:lnTo>
                  <a:lnTo>
                    <a:pt x="259271" y="537115"/>
                  </a:lnTo>
                  <a:lnTo>
                    <a:pt x="267557" y="539306"/>
                  </a:lnTo>
                  <a:lnTo>
                    <a:pt x="273558" y="548164"/>
                  </a:lnTo>
                  <a:lnTo>
                    <a:pt x="270796" y="551688"/>
                  </a:lnTo>
                  <a:lnTo>
                    <a:pt x="267462" y="563309"/>
                  </a:lnTo>
                  <a:lnTo>
                    <a:pt x="261176" y="564166"/>
                  </a:lnTo>
                  <a:lnTo>
                    <a:pt x="259747" y="565976"/>
                  </a:lnTo>
                  <a:lnTo>
                    <a:pt x="252889" y="574834"/>
                  </a:lnTo>
                  <a:lnTo>
                    <a:pt x="253460" y="579596"/>
                  </a:lnTo>
                  <a:lnTo>
                    <a:pt x="258032" y="590169"/>
                  </a:lnTo>
                  <a:lnTo>
                    <a:pt x="269272" y="590360"/>
                  </a:lnTo>
                  <a:lnTo>
                    <a:pt x="268129" y="593693"/>
                  </a:lnTo>
                  <a:lnTo>
                    <a:pt x="271272" y="593312"/>
                  </a:lnTo>
                  <a:lnTo>
                    <a:pt x="274987" y="597694"/>
                  </a:lnTo>
                  <a:lnTo>
                    <a:pt x="281940" y="601599"/>
                  </a:lnTo>
                  <a:lnTo>
                    <a:pt x="289846" y="600551"/>
                  </a:lnTo>
                  <a:lnTo>
                    <a:pt x="296704" y="604552"/>
                  </a:lnTo>
                  <a:lnTo>
                    <a:pt x="303467" y="606838"/>
                  </a:lnTo>
                  <a:lnTo>
                    <a:pt x="305467" y="609790"/>
                  </a:lnTo>
                  <a:lnTo>
                    <a:pt x="307658" y="627221"/>
                  </a:lnTo>
                  <a:lnTo>
                    <a:pt x="317754" y="630745"/>
                  </a:lnTo>
                  <a:lnTo>
                    <a:pt x="328803" y="629317"/>
                  </a:lnTo>
                  <a:lnTo>
                    <a:pt x="335852" y="634841"/>
                  </a:lnTo>
                  <a:lnTo>
                    <a:pt x="338519" y="642461"/>
                  </a:lnTo>
                  <a:lnTo>
                    <a:pt x="342424" y="635603"/>
                  </a:lnTo>
                  <a:lnTo>
                    <a:pt x="349091" y="637889"/>
                  </a:lnTo>
                  <a:lnTo>
                    <a:pt x="349282" y="626650"/>
                  </a:lnTo>
                  <a:lnTo>
                    <a:pt x="352235" y="624745"/>
                  </a:lnTo>
                  <a:lnTo>
                    <a:pt x="356997" y="624078"/>
                  </a:lnTo>
                  <a:lnTo>
                    <a:pt x="356616" y="620935"/>
                  </a:lnTo>
                  <a:lnTo>
                    <a:pt x="359950" y="622173"/>
                  </a:lnTo>
                  <a:lnTo>
                    <a:pt x="359569" y="618935"/>
                  </a:lnTo>
                  <a:lnTo>
                    <a:pt x="373761" y="617125"/>
                  </a:lnTo>
                  <a:lnTo>
                    <a:pt x="383762" y="620649"/>
                  </a:lnTo>
                  <a:lnTo>
                    <a:pt x="389382" y="626364"/>
                  </a:lnTo>
                  <a:lnTo>
                    <a:pt x="391192" y="640652"/>
                  </a:lnTo>
                  <a:lnTo>
                    <a:pt x="393097" y="643604"/>
                  </a:lnTo>
                  <a:lnTo>
                    <a:pt x="391763" y="645319"/>
                  </a:lnTo>
                  <a:lnTo>
                    <a:pt x="400050" y="647510"/>
                  </a:lnTo>
                  <a:lnTo>
                    <a:pt x="399479" y="642747"/>
                  </a:lnTo>
                  <a:lnTo>
                    <a:pt x="398050" y="631698"/>
                  </a:lnTo>
                  <a:lnTo>
                    <a:pt x="394526" y="628936"/>
                  </a:lnTo>
                  <a:lnTo>
                    <a:pt x="394240" y="627412"/>
                  </a:lnTo>
                  <a:lnTo>
                    <a:pt x="406718" y="624173"/>
                  </a:lnTo>
                  <a:lnTo>
                    <a:pt x="421100" y="623983"/>
                  </a:lnTo>
                  <a:lnTo>
                    <a:pt x="419862" y="614458"/>
                  </a:lnTo>
                  <a:lnTo>
                    <a:pt x="414338" y="608743"/>
                  </a:lnTo>
                  <a:lnTo>
                    <a:pt x="415766" y="607028"/>
                  </a:lnTo>
                  <a:lnTo>
                    <a:pt x="422434" y="609314"/>
                  </a:lnTo>
                  <a:lnTo>
                    <a:pt x="429387" y="613315"/>
                  </a:lnTo>
                  <a:lnTo>
                    <a:pt x="434150" y="612648"/>
                  </a:lnTo>
                  <a:lnTo>
                    <a:pt x="442532" y="603599"/>
                  </a:lnTo>
                  <a:lnTo>
                    <a:pt x="443770" y="600265"/>
                  </a:lnTo>
                  <a:lnTo>
                    <a:pt x="449104" y="604361"/>
                  </a:lnTo>
                  <a:lnTo>
                    <a:pt x="455200" y="601980"/>
                  </a:lnTo>
                  <a:lnTo>
                    <a:pt x="456533" y="600170"/>
                  </a:lnTo>
                  <a:lnTo>
                    <a:pt x="457962" y="598456"/>
                  </a:lnTo>
                  <a:lnTo>
                    <a:pt x="459962" y="601408"/>
                  </a:lnTo>
                  <a:lnTo>
                    <a:pt x="463677" y="605695"/>
                  </a:lnTo>
                  <a:lnTo>
                    <a:pt x="469392" y="600170"/>
                  </a:lnTo>
                  <a:lnTo>
                    <a:pt x="473964" y="597980"/>
                  </a:lnTo>
                  <a:lnTo>
                    <a:pt x="474917" y="593027"/>
                  </a:lnTo>
                  <a:lnTo>
                    <a:pt x="479870" y="593979"/>
                  </a:lnTo>
                  <a:lnTo>
                    <a:pt x="483394" y="596741"/>
                  </a:lnTo>
                  <a:lnTo>
                    <a:pt x="489680" y="595979"/>
                  </a:lnTo>
                  <a:lnTo>
                    <a:pt x="493109" y="597122"/>
                  </a:lnTo>
                  <a:lnTo>
                    <a:pt x="492062" y="602075"/>
                  </a:lnTo>
                  <a:lnTo>
                    <a:pt x="495014" y="600075"/>
                  </a:lnTo>
                  <a:lnTo>
                    <a:pt x="493871" y="603504"/>
                  </a:lnTo>
                  <a:lnTo>
                    <a:pt x="495872" y="606457"/>
                  </a:lnTo>
                  <a:lnTo>
                    <a:pt x="499015" y="605981"/>
                  </a:lnTo>
                  <a:lnTo>
                    <a:pt x="498634" y="602837"/>
                  </a:lnTo>
                  <a:lnTo>
                    <a:pt x="503777" y="605409"/>
                  </a:lnTo>
                  <a:lnTo>
                    <a:pt x="509683" y="601408"/>
                  </a:lnTo>
                  <a:lnTo>
                    <a:pt x="516731" y="606933"/>
                  </a:lnTo>
                  <a:lnTo>
                    <a:pt x="517779" y="614839"/>
                  </a:lnTo>
                  <a:lnTo>
                    <a:pt x="520732" y="612839"/>
                  </a:lnTo>
                  <a:lnTo>
                    <a:pt x="527018" y="612077"/>
                  </a:lnTo>
                  <a:lnTo>
                    <a:pt x="536924" y="613982"/>
                  </a:lnTo>
                  <a:lnTo>
                    <a:pt x="543592" y="603504"/>
                  </a:lnTo>
                  <a:lnTo>
                    <a:pt x="550069" y="604266"/>
                  </a:lnTo>
                  <a:lnTo>
                    <a:pt x="555212" y="606838"/>
                  </a:lnTo>
                  <a:lnTo>
                    <a:pt x="555689" y="609981"/>
                  </a:lnTo>
                  <a:lnTo>
                    <a:pt x="559403" y="614362"/>
                  </a:lnTo>
                  <a:lnTo>
                    <a:pt x="568071" y="619697"/>
                  </a:lnTo>
                  <a:lnTo>
                    <a:pt x="571500" y="620840"/>
                  </a:lnTo>
                  <a:lnTo>
                    <a:pt x="571310" y="619220"/>
                  </a:lnTo>
                  <a:lnTo>
                    <a:pt x="570452" y="612934"/>
                  </a:lnTo>
                  <a:lnTo>
                    <a:pt x="577215" y="615315"/>
                  </a:lnTo>
                  <a:lnTo>
                    <a:pt x="576929" y="613696"/>
                  </a:lnTo>
                  <a:lnTo>
                    <a:pt x="576739" y="612172"/>
                  </a:lnTo>
                  <a:lnTo>
                    <a:pt x="579882" y="611791"/>
                  </a:lnTo>
                  <a:lnTo>
                    <a:pt x="584073" y="606361"/>
                  </a:lnTo>
                  <a:lnTo>
                    <a:pt x="587026" y="604457"/>
                  </a:lnTo>
                  <a:lnTo>
                    <a:pt x="589788" y="600837"/>
                  </a:lnTo>
                  <a:lnTo>
                    <a:pt x="593122" y="602075"/>
                  </a:lnTo>
                  <a:lnTo>
                    <a:pt x="594455" y="600265"/>
                  </a:lnTo>
                  <a:lnTo>
                    <a:pt x="598646" y="594932"/>
                  </a:lnTo>
                  <a:lnTo>
                    <a:pt x="598075" y="590169"/>
                  </a:lnTo>
                  <a:lnTo>
                    <a:pt x="592931" y="587597"/>
                  </a:lnTo>
                  <a:lnTo>
                    <a:pt x="597408" y="585407"/>
                  </a:lnTo>
                  <a:lnTo>
                    <a:pt x="594074" y="584264"/>
                  </a:lnTo>
                  <a:lnTo>
                    <a:pt x="597027" y="582263"/>
                  </a:lnTo>
                  <a:lnTo>
                    <a:pt x="600361" y="583502"/>
                  </a:lnTo>
                  <a:lnTo>
                    <a:pt x="599980" y="580358"/>
                  </a:lnTo>
                  <a:lnTo>
                    <a:pt x="599980" y="580358"/>
                  </a:lnTo>
                  <a:lnTo>
                    <a:pt x="592074" y="568452"/>
                  </a:lnTo>
                  <a:lnTo>
                    <a:pt x="592646" y="560451"/>
                  </a:lnTo>
                  <a:lnTo>
                    <a:pt x="596932" y="556641"/>
                  </a:lnTo>
                  <a:lnTo>
                    <a:pt x="604838" y="555688"/>
                  </a:lnTo>
                  <a:lnTo>
                    <a:pt x="614934" y="559213"/>
                  </a:lnTo>
                  <a:lnTo>
                    <a:pt x="617315" y="552450"/>
                  </a:lnTo>
                  <a:lnTo>
                    <a:pt x="622459" y="555022"/>
                  </a:lnTo>
                  <a:lnTo>
                    <a:pt x="621030" y="556832"/>
                  </a:lnTo>
                  <a:lnTo>
                    <a:pt x="624173" y="556355"/>
                  </a:lnTo>
                  <a:lnTo>
                    <a:pt x="622554" y="543782"/>
                  </a:lnTo>
                  <a:lnTo>
                    <a:pt x="632079" y="542544"/>
                  </a:lnTo>
                  <a:lnTo>
                    <a:pt x="635794" y="546926"/>
                  </a:lnTo>
                  <a:lnTo>
                    <a:pt x="638556" y="543306"/>
                  </a:lnTo>
                  <a:lnTo>
                    <a:pt x="638175" y="540163"/>
                  </a:lnTo>
                  <a:lnTo>
                    <a:pt x="642652" y="537972"/>
                  </a:lnTo>
                  <a:lnTo>
                    <a:pt x="642461" y="536448"/>
                  </a:lnTo>
                  <a:lnTo>
                    <a:pt x="647414" y="537401"/>
                  </a:lnTo>
                  <a:lnTo>
                    <a:pt x="650176" y="533781"/>
                  </a:lnTo>
                  <a:lnTo>
                    <a:pt x="649605" y="529114"/>
                  </a:lnTo>
                  <a:lnTo>
                    <a:pt x="656082" y="529876"/>
                  </a:lnTo>
                  <a:lnTo>
                    <a:pt x="659035" y="527876"/>
                  </a:lnTo>
                  <a:lnTo>
                    <a:pt x="659987" y="522923"/>
                  </a:lnTo>
                  <a:lnTo>
                    <a:pt x="662940" y="521017"/>
                  </a:lnTo>
                  <a:lnTo>
                    <a:pt x="671227" y="523113"/>
                  </a:lnTo>
                  <a:lnTo>
                    <a:pt x="675418" y="517779"/>
                  </a:lnTo>
                  <a:lnTo>
                    <a:pt x="675227" y="516160"/>
                  </a:lnTo>
                  <a:lnTo>
                    <a:pt x="672084" y="516636"/>
                  </a:lnTo>
                  <a:lnTo>
                    <a:pt x="670274" y="515207"/>
                  </a:lnTo>
                  <a:lnTo>
                    <a:pt x="672846" y="510064"/>
                  </a:lnTo>
                  <a:lnTo>
                    <a:pt x="677990" y="512636"/>
                  </a:lnTo>
                  <a:lnTo>
                    <a:pt x="682657" y="512064"/>
                  </a:lnTo>
                  <a:lnTo>
                    <a:pt x="681514" y="502539"/>
                  </a:lnTo>
                  <a:lnTo>
                    <a:pt x="682847" y="500825"/>
                  </a:lnTo>
                  <a:lnTo>
                    <a:pt x="683038" y="502348"/>
                  </a:lnTo>
                  <a:lnTo>
                    <a:pt x="685991" y="500444"/>
                  </a:lnTo>
                  <a:lnTo>
                    <a:pt x="687419" y="498634"/>
                  </a:lnTo>
                  <a:lnTo>
                    <a:pt x="693134" y="493109"/>
                  </a:lnTo>
                  <a:lnTo>
                    <a:pt x="693896" y="499396"/>
                  </a:lnTo>
                  <a:lnTo>
                    <a:pt x="695325" y="497586"/>
                  </a:lnTo>
                  <a:lnTo>
                    <a:pt x="696087" y="503968"/>
                  </a:lnTo>
                  <a:lnTo>
                    <a:pt x="699611" y="506635"/>
                  </a:lnTo>
                  <a:lnTo>
                    <a:pt x="702374" y="503111"/>
                  </a:lnTo>
                  <a:lnTo>
                    <a:pt x="707898" y="508825"/>
                  </a:lnTo>
                  <a:lnTo>
                    <a:pt x="712089" y="503492"/>
                  </a:lnTo>
                  <a:lnTo>
                    <a:pt x="715804" y="507778"/>
                  </a:lnTo>
                  <a:lnTo>
                    <a:pt x="715613" y="506254"/>
                  </a:lnTo>
                  <a:lnTo>
                    <a:pt x="720566" y="507206"/>
                  </a:lnTo>
                  <a:lnTo>
                    <a:pt x="728091" y="503015"/>
                  </a:lnTo>
                  <a:lnTo>
                    <a:pt x="728472" y="506254"/>
                  </a:lnTo>
                  <a:lnTo>
                    <a:pt x="726853" y="506444"/>
                  </a:lnTo>
                  <a:lnTo>
                    <a:pt x="733616" y="508730"/>
                  </a:lnTo>
                  <a:lnTo>
                    <a:pt x="734949" y="507016"/>
                  </a:lnTo>
                  <a:lnTo>
                    <a:pt x="736568" y="506825"/>
                  </a:lnTo>
                  <a:lnTo>
                    <a:pt x="737330" y="513112"/>
                  </a:lnTo>
                  <a:lnTo>
                    <a:pt x="738950" y="512921"/>
                  </a:lnTo>
                  <a:lnTo>
                    <a:pt x="738759" y="511302"/>
                  </a:lnTo>
                  <a:lnTo>
                    <a:pt x="742283" y="514064"/>
                  </a:lnTo>
                  <a:lnTo>
                    <a:pt x="743903" y="513874"/>
                  </a:lnTo>
                  <a:lnTo>
                    <a:pt x="745808" y="516827"/>
                  </a:lnTo>
                  <a:lnTo>
                    <a:pt x="747427" y="516636"/>
                  </a:lnTo>
                  <a:lnTo>
                    <a:pt x="749237" y="517969"/>
                  </a:lnTo>
                  <a:lnTo>
                    <a:pt x="749999" y="524351"/>
                  </a:lnTo>
                  <a:lnTo>
                    <a:pt x="751808" y="525685"/>
                  </a:lnTo>
                  <a:lnTo>
                    <a:pt x="752189" y="516065"/>
                  </a:lnTo>
                  <a:lnTo>
                    <a:pt x="753713" y="515779"/>
                  </a:lnTo>
                  <a:lnTo>
                    <a:pt x="752761" y="520732"/>
                  </a:lnTo>
                  <a:lnTo>
                    <a:pt x="754761" y="523684"/>
                  </a:lnTo>
                  <a:lnTo>
                    <a:pt x="760095" y="527876"/>
                  </a:lnTo>
                  <a:lnTo>
                    <a:pt x="769334" y="537877"/>
                  </a:lnTo>
                  <a:lnTo>
                    <a:pt x="781241" y="542830"/>
                  </a:lnTo>
                  <a:lnTo>
                    <a:pt x="785717" y="540639"/>
                  </a:lnTo>
                  <a:lnTo>
                    <a:pt x="788765" y="538639"/>
                  </a:lnTo>
                  <a:lnTo>
                    <a:pt x="784574" y="531114"/>
                  </a:lnTo>
                  <a:lnTo>
                    <a:pt x="783336" y="521684"/>
                  </a:lnTo>
                  <a:lnTo>
                    <a:pt x="788480" y="511397"/>
                  </a:lnTo>
                  <a:lnTo>
                    <a:pt x="793147" y="510826"/>
                  </a:lnTo>
                  <a:lnTo>
                    <a:pt x="792766" y="507682"/>
                  </a:lnTo>
                  <a:lnTo>
                    <a:pt x="787813" y="493871"/>
                  </a:lnTo>
                  <a:lnTo>
                    <a:pt x="790956" y="493395"/>
                  </a:lnTo>
                  <a:lnTo>
                    <a:pt x="787432" y="490728"/>
                  </a:lnTo>
                  <a:lnTo>
                    <a:pt x="784098" y="489490"/>
                  </a:lnTo>
                  <a:lnTo>
                    <a:pt x="785241" y="486156"/>
                  </a:lnTo>
                  <a:lnTo>
                    <a:pt x="788194" y="484156"/>
                  </a:lnTo>
                  <a:lnTo>
                    <a:pt x="784670" y="481394"/>
                  </a:lnTo>
                  <a:lnTo>
                    <a:pt x="790956" y="480632"/>
                  </a:lnTo>
                  <a:lnTo>
                    <a:pt x="792956" y="483584"/>
                  </a:lnTo>
                  <a:lnTo>
                    <a:pt x="796290" y="484727"/>
                  </a:lnTo>
                  <a:lnTo>
                    <a:pt x="797243" y="479774"/>
                  </a:lnTo>
                  <a:lnTo>
                    <a:pt x="798100" y="486156"/>
                  </a:lnTo>
                  <a:lnTo>
                    <a:pt x="802767" y="485489"/>
                  </a:lnTo>
                  <a:lnTo>
                    <a:pt x="802005" y="479203"/>
                  </a:lnTo>
                  <a:lnTo>
                    <a:pt x="803529" y="479012"/>
                  </a:lnTo>
                  <a:lnTo>
                    <a:pt x="810101" y="479774"/>
                  </a:lnTo>
                  <a:lnTo>
                    <a:pt x="814578" y="477584"/>
                  </a:lnTo>
                  <a:lnTo>
                    <a:pt x="819531" y="478536"/>
                  </a:lnTo>
                  <a:lnTo>
                    <a:pt x="820960" y="476821"/>
                  </a:lnTo>
                  <a:lnTo>
                    <a:pt x="816578" y="467773"/>
                  </a:lnTo>
                  <a:lnTo>
                    <a:pt x="818388" y="469106"/>
                  </a:lnTo>
                  <a:lnTo>
                    <a:pt x="822103" y="473392"/>
                  </a:lnTo>
                  <a:lnTo>
                    <a:pt x="823436" y="471678"/>
                  </a:lnTo>
                  <a:lnTo>
                    <a:pt x="829628" y="469297"/>
                  </a:lnTo>
                  <a:lnTo>
                    <a:pt x="830390" y="462725"/>
                  </a:lnTo>
                  <a:lnTo>
                    <a:pt x="833152" y="459200"/>
                  </a:lnTo>
                  <a:lnTo>
                    <a:pt x="832485" y="454438"/>
                  </a:lnTo>
                  <a:lnTo>
                    <a:pt x="830771" y="453104"/>
                  </a:lnTo>
                  <a:lnTo>
                    <a:pt x="830294" y="449961"/>
                  </a:lnTo>
                  <a:lnTo>
                    <a:pt x="822674" y="452533"/>
                  </a:lnTo>
                  <a:lnTo>
                    <a:pt x="819055" y="449771"/>
                  </a:lnTo>
                  <a:lnTo>
                    <a:pt x="827913" y="431006"/>
                  </a:lnTo>
                  <a:lnTo>
                    <a:pt x="825913" y="428054"/>
                  </a:lnTo>
                  <a:lnTo>
                    <a:pt x="822579" y="426911"/>
                  </a:lnTo>
                  <a:lnTo>
                    <a:pt x="822389" y="425291"/>
                  </a:lnTo>
                  <a:lnTo>
                    <a:pt x="827151" y="424720"/>
                  </a:lnTo>
                  <a:lnTo>
                    <a:pt x="829056" y="427673"/>
                  </a:lnTo>
                  <a:lnTo>
                    <a:pt x="832485" y="428815"/>
                  </a:lnTo>
                  <a:lnTo>
                    <a:pt x="835438" y="426815"/>
                  </a:lnTo>
                  <a:lnTo>
                    <a:pt x="835247" y="425291"/>
                  </a:lnTo>
                  <a:lnTo>
                    <a:pt x="831818" y="424053"/>
                  </a:lnTo>
                  <a:lnTo>
                    <a:pt x="833057" y="420719"/>
                  </a:lnTo>
                  <a:lnTo>
                    <a:pt x="833057" y="42071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38" name="Volný tvar: obrazec 37">
              <a:extLst>
                <a:ext uri="{FF2B5EF4-FFF2-40B4-BE49-F238E27FC236}">
                  <a16:creationId xmlns:a16="http://schemas.microsoft.com/office/drawing/2014/main" id="{64E3FBC1-587E-A908-F53B-CF2C01FC530A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05698" y="3006661"/>
              <a:ext cx="335184" cy="266604"/>
            </a:xfrm>
            <a:custGeom>
              <a:avLst/>
              <a:gdLst>
                <a:gd name="connsiteX0" fmla="*/ 306896 w 335184"/>
                <a:gd name="connsiteY0" fmla="*/ 184880 h 266604"/>
                <a:gd name="connsiteX1" fmla="*/ 307372 w 335184"/>
                <a:gd name="connsiteY1" fmla="*/ 188023 h 266604"/>
                <a:gd name="connsiteX2" fmla="*/ 302609 w 335184"/>
                <a:gd name="connsiteY2" fmla="*/ 188595 h 266604"/>
                <a:gd name="connsiteX3" fmla="*/ 303371 w 335184"/>
                <a:gd name="connsiteY3" fmla="*/ 194881 h 266604"/>
                <a:gd name="connsiteX4" fmla="*/ 300609 w 335184"/>
                <a:gd name="connsiteY4" fmla="*/ 198501 h 266604"/>
                <a:gd name="connsiteX5" fmla="*/ 295084 w 335184"/>
                <a:gd name="connsiteY5" fmla="*/ 192786 h 266604"/>
                <a:gd name="connsiteX6" fmla="*/ 293751 w 335184"/>
                <a:gd name="connsiteY6" fmla="*/ 194500 h 266604"/>
                <a:gd name="connsiteX7" fmla="*/ 292703 w 335184"/>
                <a:gd name="connsiteY7" fmla="*/ 199453 h 266604"/>
                <a:gd name="connsiteX8" fmla="*/ 290798 w 335184"/>
                <a:gd name="connsiteY8" fmla="*/ 196501 h 266604"/>
                <a:gd name="connsiteX9" fmla="*/ 289179 w 335184"/>
                <a:gd name="connsiteY9" fmla="*/ 196691 h 266604"/>
                <a:gd name="connsiteX10" fmla="*/ 293370 w 335184"/>
                <a:gd name="connsiteY10" fmla="*/ 204216 h 266604"/>
                <a:gd name="connsiteX11" fmla="*/ 289179 w 335184"/>
                <a:gd name="connsiteY11" fmla="*/ 209550 h 266604"/>
                <a:gd name="connsiteX12" fmla="*/ 284131 w 335184"/>
                <a:gd name="connsiteY12" fmla="*/ 206978 h 266604"/>
                <a:gd name="connsiteX13" fmla="*/ 279368 w 335184"/>
                <a:gd name="connsiteY13" fmla="*/ 207550 h 266604"/>
                <a:gd name="connsiteX14" fmla="*/ 274225 w 335184"/>
                <a:gd name="connsiteY14" fmla="*/ 205073 h 266604"/>
                <a:gd name="connsiteX15" fmla="*/ 274415 w 335184"/>
                <a:gd name="connsiteY15" fmla="*/ 206597 h 266604"/>
                <a:gd name="connsiteX16" fmla="*/ 272605 w 335184"/>
                <a:gd name="connsiteY16" fmla="*/ 205264 h 266604"/>
                <a:gd name="connsiteX17" fmla="*/ 271272 w 335184"/>
                <a:gd name="connsiteY17" fmla="*/ 206978 h 266604"/>
                <a:gd name="connsiteX18" fmla="*/ 269081 w 335184"/>
                <a:gd name="connsiteY18" fmla="*/ 202501 h 266604"/>
                <a:gd name="connsiteX19" fmla="*/ 269462 w 335184"/>
                <a:gd name="connsiteY19" fmla="*/ 205645 h 266604"/>
                <a:gd name="connsiteX20" fmla="*/ 265938 w 335184"/>
                <a:gd name="connsiteY20" fmla="*/ 202882 h 266604"/>
                <a:gd name="connsiteX21" fmla="*/ 265557 w 335184"/>
                <a:gd name="connsiteY21" fmla="*/ 199739 h 266604"/>
                <a:gd name="connsiteX22" fmla="*/ 264128 w 335184"/>
                <a:gd name="connsiteY22" fmla="*/ 201549 h 266604"/>
                <a:gd name="connsiteX23" fmla="*/ 261366 w 335184"/>
                <a:gd name="connsiteY23" fmla="*/ 192214 h 266604"/>
                <a:gd name="connsiteX24" fmla="*/ 256794 w 335184"/>
                <a:gd name="connsiteY24" fmla="*/ 194405 h 266604"/>
                <a:gd name="connsiteX25" fmla="*/ 256604 w 335184"/>
                <a:gd name="connsiteY25" fmla="*/ 192881 h 266604"/>
                <a:gd name="connsiteX26" fmla="*/ 254889 w 335184"/>
                <a:gd name="connsiteY26" fmla="*/ 191452 h 266604"/>
                <a:gd name="connsiteX27" fmla="*/ 251936 w 335184"/>
                <a:gd name="connsiteY27" fmla="*/ 193453 h 266604"/>
                <a:gd name="connsiteX28" fmla="*/ 251460 w 335184"/>
                <a:gd name="connsiteY28" fmla="*/ 190309 h 266604"/>
                <a:gd name="connsiteX29" fmla="*/ 251270 w 335184"/>
                <a:gd name="connsiteY29" fmla="*/ 188690 h 266604"/>
                <a:gd name="connsiteX30" fmla="*/ 248317 w 335184"/>
                <a:gd name="connsiteY30" fmla="*/ 190690 h 266604"/>
                <a:gd name="connsiteX31" fmla="*/ 249079 w 335184"/>
                <a:gd name="connsiteY31" fmla="*/ 184213 h 266604"/>
                <a:gd name="connsiteX32" fmla="*/ 244602 w 335184"/>
                <a:gd name="connsiteY32" fmla="*/ 186404 h 266604"/>
                <a:gd name="connsiteX33" fmla="*/ 243364 w 335184"/>
                <a:gd name="connsiteY33" fmla="*/ 189738 h 266604"/>
                <a:gd name="connsiteX34" fmla="*/ 243364 w 335184"/>
                <a:gd name="connsiteY34" fmla="*/ 189738 h 266604"/>
                <a:gd name="connsiteX35" fmla="*/ 240411 w 335184"/>
                <a:gd name="connsiteY35" fmla="*/ 191738 h 266604"/>
                <a:gd name="connsiteX36" fmla="*/ 237458 w 335184"/>
                <a:gd name="connsiteY36" fmla="*/ 193643 h 266604"/>
                <a:gd name="connsiteX37" fmla="*/ 238887 w 335184"/>
                <a:gd name="connsiteY37" fmla="*/ 191929 h 266604"/>
                <a:gd name="connsiteX38" fmla="*/ 235744 w 335184"/>
                <a:gd name="connsiteY38" fmla="*/ 192310 h 266604"/>
                <a:gd name="connsiteX39" fmla="*/ 235267 w 335184"/>
                <a:gd name="connsiteY39" fmla="*/ 189166 h 266604"/>
                <a:gd name="connsiteX40" fmla="*/ 233744 w 335184"/>
                <a:gd name="connsiteY40" fmla="*/ 189357 h 266604"/>
                <a:gd name="connsiteX41" fmla="*/ 228791 w 335184"/>
                <a:gd name="connsiteY41" fmla="*/ 188404 h 266604"/>
                <a:gd name="connsiteX42" fmla="*/ 228981 w 335184"/>
                <a:gd name="connsiteY42" fmla="*/ 189928 h 266604"/>
                <a:gd name="connsiteX43" fmla="*/ 226219 w 335184"/>
                <a:gd name="connsiteY43" fmla="*/ 193548 h 266604"/>
                <a:gd name="connsiteX44" fmla="*/ 221551 w 335184"/>
                <a:gd name="connsiteY44" fmla="*/ 194119 h 266604"/>
                <a:gd name="connsiteX45" fmla="*/ 214408 w 335184"/>
                <a:gd name="connsiteY45" fmla="*/ 188595 h 266604"/>
                <a:gd name="connsiteX46" fmla="*/ 211455 w 335184"/>
                <a:gd name="connsiteY46" fmla="*/ 190595 h 266604"/>
                <a:gd name="connsiteX47" fmla="*/ 205359 w 335184"/>
                <a:gd name="connsiteY47" fmla="*/ 192976 h 266604"/>
                <a:gd name="connsiteX48" fmla="*/ 211265 w 335184"/>
                <a:gd name="connsiteY48" fmla="*/ 201835 h 266604"/>
                <a:gd name="connsiteX49" fmla="*/ 203740 w 335184"/>
                <a:gd name="connsiteY49" fmla="*/ 206026 h 266604"/>
                <a:gd name="connsiteX50" fmla="*/ 204216 w 335184"/>
                <a:gd name="connsiteY50" fmla="*/ 209169 h 266604"/>
                <a:gd name="connsiteX51" fmla="*/ 202406 w 335184"/>
                <a:gd name="connsiteY51" fmla="*/ 207740 h 266604"/>
                <a:gd name="connsiteX52" fmla="*/ 200978 w 335184"/>
                <a:gd name="connsiteY52" fmla="*/ 209550 h 266604"/>
                <a:gd name="connsiteX53" fmla="*/ 199644 w 335184"/>
                <a:gd name="connsiteY53" fmla="*/ 211360 h 266604"/>
                <a:gd name="connsiteX54" fmla="*/ 196501 w 335184"/>
                <a:gd name="connsiteY54" fmla="*/ 211741 h 266604"/>
                <a:gd name="connsiteX55" fmla="*/ 195644 w 335184"/>
                <a:gd name="connsiteY55" fmla="*/ 205454 h 266604"/>
                <a:gd name="connsiteX56" fmla="*/ 180308 w 335184"/>
                <a:gd name="connsiteY56" fmla="*/ 210598 h 266604"/>
                <a:gd name="connsiteX57" fmla="*/ 181070 w 335184"/>
                <a:gd name="connsiteY57" fmla="*/ 216884 h 266604"/>
                <a:gd name="connsiteX58" fmla="*/ 182690 w 335184"/>
                <a:gd name="connsiteY58" fmla="*/ 216694 h 266604"/>
                <a:gd name="connsiteX59" fmla="*/ 182880 w 335184"/>
                <a:gd name="connsiteY59" fmla="*/ 218313 h 266604"/>
                <a:gd name="connsiteX60" fmla="*/ 171831 w 335184"/>
                <a:gd name="connsiteY60" fmla="*/ 219646 h 266604"/>
                <a:gd name="connsiteX61" fmla="*/ 172403 w 335184"/>
                <a:gd name="connsiteY61" fmla="*/ 224409 h 266604"/>
                <a:gd name="connsiteX62" fmla="*/ 167354 w 335184"/>
                <a:gd name="connsiteY62" fmla="*/ 221837 h 266604"/>
                <a:gd name="connsiteX63" fmla="*/ 166973 w 335184"/>
                <a:gd name="connsiteY63" fmla="*/ 231553 h 266604"/>
                <a:gd name="connsiteX64" fmla="*/ 164211 w 335184"/>
                <a:gd name="connsiteY64" fmla="*/ 235077 h 266604"/>
                <a:gd name="connsiteX65" fmla="*/ 159258 w 335184"/>
                <a:gd name="connsiteY65" fmla="*/ 234125 h 266604"/>
                <a:gd name="connsiteX66" fmla="*/ 155924 w 335184"/>
                <a:gd name="connsiteY66" fmla="*/ 232981 h 266604"/>
                <a:gd name="connsiteX67" fmla="*/ 152495 w 335184"/>
                <a:gd name="connsiteY67" fmla="*/ 231743 h 266604"/>
                <a:gd name="connsiteX68" fmla="*/ 148400 w 335184"/>
                <a:gd name="connsiteY68" fmla="*/ 237077 h 266604"/>
                <a:gd name="connsiteX69" fmla="*/ 137732 w 335184"/>
                <a:gd name="connsiteY69" fmla="*/ 241649 h 266604"/>
                <a:gd name="connsiteX70" fmla="*/ 133064 w 335184"/>
                <a:gd name="connsiteY70" fmla="*/ 242316 h 266604"/>
                <a:gd name="connsiteX71" fmla="*/ 122111 w 335184"/>
                <a:gd name="connsiteY71" fmla="*/ 232410 h 266604"/>
                <a:gd name="connsiteX72" fmla="*/ 120777 w 335184"/>
                <a:gd name="connsiteY72" fmla="*/ 234220 h 266604"/>
                <a:gd name="connsiteX73" fmla="*/ 116872 w 335184"/>
                <a:gd name="connsiteY73" fmla="*/ 253937 h 266604"/>
                <a:gd name="connsiteX74" fmla="*/ 117634 w 335184"/>
                <a:gd name="connsiteY74" fmla="*/ 260223 h 266604"/>
                <a:gd name="connsiteX75" fmla="*/ 118110 w 335184"/>
                <a:gd name="connsiteY75" fmla="*/ 263462 h 266604"/>
                <a:gd name="connsiteX76" fmla="*/ 118491 w 335184"/>
                <a:gd name="connsiteY76" fmla="*/ 266605 h 266604"/>
                <a:gd name="connsiteX77" fmla="*/ 115157 w 335184"/>
                <a:gd name="connsiteY77" fmla="*/ 265367 h 266604"/>
                <a:gd name="connsiteX78" fmla="*/ 112776 w 335184"/>
                <a:gd name="connsiteY78" fmla="*/ 259271 h 266604"/>
                <a:gd name="connsiteX79" fmla="*/ 107823 w 335184"/>
                <a:gd name="connsiteY79" fmla="*/ 258318 h 266604"/>
                <a:gd name="connsiteX80" fmla="*/ 101917 w 335184"/>
                <a:gd name="connsiteY80" fmla="*/ 262318 h 266604"/>
                <a:gd name="connsiteX81" fmla="*/ 101727 w 335184"/>
                <a:gd name="connsiteY81" fmla="*/ 260699 h 266604"/>
                <a:gd name="connsiteX82" fmla="*/ 101251 w 335184"/>
                <a:gd name="connsiteY82" fmla="*/ 257556 h 266604"/>
                <a:gd name="connsiteX83" fmla="*/ 97917 w 335184"/>
                <a:gd name="connsiteY83" fmla="*/ 256413 h 266604"/>
                <a:gd name="connsiteX84" fmla="*/ 92012 w 335184"/>
                <a:gd name="connsiteY84" fmla="*/ 260318 h 266604"/>
                <a:gd name="connsiteX85" fmla="*/ 91821 w 335184"/>
                <a:gd name="connsiteY85" fmla="*/ 258794 h 266604"/>
                <a:gd name="connsiteX86" fmla="*/ 77438 w 335184"/>
                <a:gd name="connsiteY86" fmla="*/ 258985 h 266604"/>
                <a:gd name="connsiteX87" fmla="*/ 75247 w 335184"/>
                <a:gd name="connsiteY87" fmla="*/ 254413 h 266604"/>
                <a:gd name="connsiteX88" fmla="*/ 69913 w 335184"/>
                <a:gd name="connsiteY88" fmla="*/ 250317 h 266604"/>
                <a:gd name="connsiteX89" fmla="*/ 67913 w 335184"/>
                <a:gd name="connsiteY89" fmla="*/ 247364 h 266604"/>
                <a:gd name="connsiteX90" fmla="*/ 71628 w 335184"/>
                <a:gd name="connsiteY90" fmla="*/ 238887 h 266604"/>
                <a:gd name="connsiteX91" fmla="*/ 74581 w 335184"/>
                <a:gd name="connsiteY91" fmla="*/ 236887 h 266604"/>
                <a:gd name="connsiteX92" fmla="*/ 79724 w 335184"/>
                <a:gd name="connsiteY92" fmla="*/ 239459 h 266604"/>
                <a:gd name="connsiteX93" fmla="*/ 83629 w 335184"/>
                <a:gd name="connsiteY93" fmla="*/ 232505 h 266604"/>
                <a:gd name="connsiteX94" fmla="*/ 83439 w 335184"/>
                <a:gd name="connsiteY94" fmla="*/ 230981 h 266604"/>
                <a:gd name="connsiteX95" fmla="*/ 81725 w 335184"/>
                <a:gd name="connsiteY95" fmla="*/ 229552 h 266604"/>
                <a:gd name="connsiteX96" fmla="*/ 72390 w 335184"/>
                <a:gd name="connsiteY96" fmla="*/ 232315 h 266604"/>
                <a:gd name="connsiteX97" fmla="*/ 70866 w 335184"/>
                <a:gd name="connsiteY97" fmla="*/ 232600 h 266604"/>
                <a:gd name="connsiteX98" fmla="*/ 70675 w 335184"/>
                <a:gd name="connsiteY98" fmla="*/ 230981 h 266604"/>
                <a:gd name="connsiteX99" fmla="*/ 79153 w 335184"/>
                <a:gd name="connsiteY99" fmla="*/ 221837 h 266604"/>
                <a:gd name="connsiteX100" fmla="*/ 78486 w 335184"/>
                <a:gd name="connsiteY100" fmla="*/ 217170 h 266604"/>
                <a:gd name="connsiteX101" fmla="*/ 74962 w 335184"/>
                <a:gd name="connsiteY101" fmla="*/ 214408 h 266604"/>
                <a:gd name="connsiteX102" fmla="*/ 81058 w 335184"/>
                <a:gd name="connsiteY102" fmla="*/ 212026 h 266604"/>
                <a:gd name="connsiteX103" fmla="*/ 75724 w 335184"/>
                <a:gd name="connsiteY103" fmla="*/ 207836 h 266604"/>
                <a:gd name="connsiteX104" fmla="*/ 74104 w 335184"/>
                <a:gd name="connsiteY104" fmla="*/ 208121 h 266604"/>
                <a:gd name="connsiteX105" fmla="*/ 63532 w 335184"/>
                <a:gd name="connsiteY105" fmla="*/ 212693 h 266604"/>
                <a:gd name="connsiteX106" fmla="*/ 61150 w 335184"/>
                <a:gd name="connsiteY106" fmla="*/ 206502 h 266604"/>
                <a:gd name="connsiteX107" fmla="*/ 57912 w 335184"/>
                <a:gd name="connsiteY107" fmla="*/ 206978 h 266604"/>
                <a:gd name="connsiteX108" fmla="*/ 56007 w 335184"/>
                <a:gd name="connsiteY108" fmla="*/ 204025 h 266604"/>
                <a:gd name="connsiteX109" fmla="*/ 52578 w 335184"/>
                <a:gd name="connsiteY109" fmla="*/ 202787 h 266604"/>
                <a:gd name="connsiteX110" fmla="*/ 52388 w 335184"/>
                <a:gd name="connsiteY110" fmla="*/ 201263 h 266604"/>
                <a:gd name="connsiteX111" fmla="*/ 48673 w 335184"/>
                <a:gd name="connsiteY111" fmla="*/ 196882 h 266604"/>
                <a:gd name="connsiteX112" fmla="*/ 51625 w 335184"/>
                <a:gd name="connsiteY112" fmla="*/ 194881 h 266604"/>
                <a:gd name="connsiteX113" fmla="*/ 52007 w 335184"/>
                <a:gd name="connsiteY113" fmla="*/ 185261 h 266604"/>
                <a:gd name="connsiteX114" fmla="*/ 59055 w 335184"/>
                <a:gd name="connsiteY114" fmla="*/ 190786 h 266604"/>
                <a:gd name="connsiteX115" fmla="*/ 63437 w 335184"/>
                <a:gd name="connsiteY115" fmla="*/ 174212 h 266604"/>
                <a:gd name="connsiteX116" fmla="*/ 63246 w 335184"/>
                <a:gd name="connsiteY116" fmla="*/ 172593 h 266604"/>
                <a:gd name="connsiteX117" fmla="*/ 50387 w 335184"/>
                <a:gd name="connsiteY117" fmla="*/ 172593 h 266604"/>
                <a:gd name="connsiteX118" fmla="*/ 43244 w 335184"/>
                <a:gd name="connsiteY118" fmla="*/ 167068 h 266604"/>
                <a:gd name="connsiteX119" fmla="*/ 39719 w 335184"/>
                <a:gd name="connsiteY119" fmla="*/ 164401 h 266604"/>
                <a:gd name="connsiteX120" fmla="*/ 30194 w 335184"/>
                <a:gd name="connsiteY120" fmla="*/ 152781 h 266604"/>
                <a:gd name="connsiteX121" fmla="*/ 30004 w 335184"/>
                <a:gd name="connsiteY121" fmla="*/ 151162 h 266604"/>
                <a:gd name="connsiteX122" fmla="*/ 30766 w 335184"/>
                <a:gd name="connsiteY122" fmla="*/ 144685 h 266604"/>
                <a:gd name="connsiteX123" fmla="*/ 29242 w 335184"/>
                <a:gd name="connsiteY123" fmla="*/ 144875 h 266604"/>
                <a:gd name="connsiteX124" fmla="*/ 31909 w 335184"/>
                <a:gd name="connsiteY124" fmla="*/ 141256 h 266604"/>
                <a:gd name="connsiteX125" fmla="*/ 31528 w 335184"/>
                <a:gd name="connsiteY125" fmla="*/ 138113 h 266604"/>
                <a:gd name="connsiteX126" fmla="*/ 26765 w 335184"/>
                <a:gd name="connsiteY126" fmla="*/ 138779 h 266604"/>
                <a:gd name="connsiteX127" fmla="*/ 26384 w 335184"/>
                <a:gd name="connsiteY127" fmla="*/ 135541 h 266604"/>
                <a:gd name="connsiteX128" fmla="*/ 23241 w 335184"/>
                <a:gd name="connsiteY128" fmla="*/ 136017 h 266604"/>
                <a:gd name="connsiteX129" fmla="*/ 21241 w 335184"/>
                <a:gd name="connsiteY129" fmla="*/ 133064 h 266604"/>
                <a:gd name="connsiteX130" fmla="*/ 16383 w 335184"/>
                <a:gd name="connsiteY130" fmla="*/ 132016 h 266604"/>
                <a:gd name="connsiteX131" fmla="*/ 15716 w 335184"/>
                <a:gd name="connsiteY131" fmla="*/ 127349 h 266604"/>
                <a:gd name="connsiteX132" fmla="*/ 18859 w 335184"/>
                <a:gd name="connsiteY132" fmla="*/ 126873 h 266604"/>
                <a:gd name="connsiteX133" fmla="*/ 23432 w 335184"/>
                <a:gd name="connsiteY133" fmla="*/ 124777 h 266604"/>
                <a:gd name="connsiteX134" fmla="*/ 22384 w 335184"/>
                <a:gd name="connsiteY134" fmla="*/ 116872 h 266604"/>
                <a:gd name="connsiteX135" fmla="*/ 33433 w 335184"/>
                <a:gd name="connsiteY135" fmla="*/ 115443 h 266604"/>
                <a:gd name="connsiteX136" fmla="*/ 37052 w 335184"/>
                <a:gd name="connsiteY136" fmla="*/ 118205 h 266604"/>
                <a:gd name="connsiteX137" fmla="*/ 38195 w 335184"/>
                <a:gd name="connsiteY137" fmla="*/ 114871 h 266604"/>
                <a:gd name="connsiteX138" fmla="*/ 44672 w 335184"/>
                <a:gd name="connsiteY138" fmla="*/ 115633 h 266604"/>
                <a:gd name="connsiteX139" fmla="*/ 44482 w 335184"/>
                <a:gd name="connsiteY139" fmla="*/ 114014 h 266604"/>
                <a:gd name="connsiteX140" fmla="*/ 44291 w 335184"/>
                <a:gd name="connsiteY140" fmla="*/ 112490 h 266604"/>
                <a:gd name="connsiteX141" fmla="*/ 44101 w 335184"/>
                <a:gd name="connsiteY141" fmla="*/ 110871 h 266604"/>
                <a:gd name="connsiteX142" fmla="*/ 40767 w 335184"/>
                <a:gd name="connsiteY142" fmla="*/ 109728 h 266604"/>
                <a:gd name="connsiteX143" fmla="*/ 41910 w 335184"/>
                <a:gd name="connsiteY143" fmla="*/ 106299 h 266604"/>
                <a:gd name="connsiteX144" fmla="*/ 34004 w 335184"/>
                <a:gd name="connsiteY144" fmla="*/ 107347 h 266604"/>
                <a:gd name="connsiteX145" fmla="*/ 33052 w 335184"/>
                <a:gd name="connsiteY145" fmla="*/ 99441 h 266604"/>
                <a:gd name="connsiteX146" fmla="*/ 30099 w 335184"/>
                <a:gd name="connsiteY146" fmla="*/ 101441 h 266604"/>
                <a:gd name="connsiteX147" fmla="*/ 24955 w 335184"/>
                <a:gd name="connsiteY147" fmla="*/ 98869 h 266604"/>
                <a:gd name="connsiteX148" fmla="*/ 23717 w 335184"/>
                <a:gd name="connsiteY148" fmla="*/ 89440 h 266604"/>
                <a:gd name="connsiteX149" fmla="*/ 20193 w 335184"/>
                <a:gd name="connsiteY149" fmla="*/ 86677 h 266604"/>
                <a:gd name="connsiteX150" fmla="*/ 23146 w 335184"/>
                <a:gd name="connsiteY150" fmla="*/ 84677 h 266604"/>
                <a:gd name="connsiteX151" fmla="*/ 19145 w 335184"/>
                <a:gd name="connsiteY151" fmla="*/ 78772 h 266604"/>
                <a:gd name="connsiteX152" fmla="*/ 13049 w 335184"/>
                <a:gd name="connsiteY152" fmla="*/ 81153 h 266604"/>
                <a:gd name="connsiteX153" fmla="*/ 8572 w 335184"/>
                <a:gd name="connsiteY153" fmla="*/ 83344 h 266604"/>
                <a:gd name="connsiteX154" fmla="*/ 4953 w 335184"/>
                <a:gd name="connsiteY154" fmla="*/ 80581 h 266604"/>
                <a:gd name="connsiteX155" fmla="*/ 667 w 335184"/>
                <a:gd name="connsiteY155" fmla="*/ 84296 h 266604"/>
                <a:gd name="connsiteX156" fmla="*/ 191 w 335184"/>
                <a:gd name="connsiteY156" fmla="*/ 81153 h 266604"/>
                <a:gd name="connsiteX157" fmla="*/ 0 w 335184"/>
                <a:gd name="connsiteY157" fmla="*/ 79629 h 266604"/>
                <a:gd name="connsiteX158" fmla="*/ 9334 w 335184"/>
                <a:gd name="connsiteY158" fmla="*/ 76771 h 266604"/>
                <a:gd name="connsiteX159" fmla="*/ 8668 w 335184"/>
                <a:gd name="connsiteY159" fmla="*/ 72104 h 266604"/>
                <a:gd name="connsiteX160" fmla="*/ 10096 w 335184"/>
                <a:gd name="connsiteY160" fmla="*/ 70294 h 266604"/>
                <a:gd name="connsiteX161" fmla="*/ 11811 w 335184"/>
                <a:gd name="connsiteY161" fmla="*/ 71723 h 266604"/>
                <a:gd name="connsiteX162" fmla="*/ 13621 w 335184"/>
                <a:gd name="connsiteY162" fmla="*/ 73057 h 266604"/>
                <a:gd name="connsiteX163" fmla="*/ 21336 w 335184"/>
                <a:gd name="connsiteY163" fmla="*/ 70485 h 266604"/>
                <a:gd name="connsiteX164" fmla="*/ 21146 w 335184"/>
                <a:gd name="connsiteY164" fmla="*/ 68866 h 266604"/>
                <a:gd name="connsiteX165" fmla="*/ 22479 w 335184"/>
                <a:gd name="connsiteY165" fmla="*/ 67151 h 266604"/>
                <a:gd name="connsiteX166" fmla="*/ 22670 w 335184"/>
                <a:gd name="connsiteY166" fmla="*/ 68675 h 266604"/>
                <a:gd name="connsiteX167" fmla="*/ 31813 w 335184"/>
                <a:gd name="connsiteY167" fmla="*/ 64294 h 266604"/>
                <a:gd name="connsiteX168" fmla="*/ 37909 w 335184"/>
                <a:gd name="connsiteY168" fmla="*/ 61913 h 266604"/>
                <a:gd name="connsiteX169" fmla="*/ 41815 w 335184"/>
                <a:gd name="connsiteY169" fmla="*/ 67818 h 266604"/>
                <a:gd name="connsiteX170" fmla="*/ 43244 w 335184"/>
                <a:gd name="connsiteY170" fmla="*/ 66103 h 266604"/>
                <a:gd name="connsiteX171" fmla="*/ 50483 w 335184"/>
                <a:gd name="connsiteY171" fmla="*/ 60388 h 266604"/>
                <a:gd name="connsiteX172" fmla="*/ 48292 w 335184"/>
                <a:gd name="connsiteY172" fmla="*/ 55816 h 266604"/>
                <a:gd name="connsiteX173" fmla="*/ 52864 w 335184"/>
                <a:gd name="connsiteY173" fmla="*/ 53626 h 266604"/>
                <a:gd name="connsiteX174" fmla="*/ 52483 w 335184"/>
                <a:gd name="connsiteY174" fmla="*/ 50482 h 266604"/>
                <a:gd name="connsiteX175" fmla="*/ 57436 w 335184"/>
                <a:gd name="connsiteY175" fmla="*/ 51435 h 266604"/>
                <a:gd name="connsiteX176" fmla="*/ 59150 w 335184"/>
                <a:gd name="connsiteY176" fmla="*/ 52864 h 266604"/>
                <a:gd name="connsiteX177" fmla="*/ 62294 w 335184"/>
                <a:gd name="connsiteY177" fmla="*/ 52388 h 266604"/>
                <a:gd name="connsiteX178" fmla="*/ 62960 w 335184"/>
                <a:gd name="connsiteY178" fmla="*/ 57150 h 266604"/>
                <a:gd name="connsiteX179" fmla="*/ 65342 w 335184"/>
                <a:gd name="connsiteY179" fmla="*/ 63246 h 266604"/>
                <a:gd name="connsiteX180" fmla="*/ 65913 w 335184"/>
                <a:gd name="connsiteY180" fmla="*/ 68008 h 266604"/>
                <a:gd name="connsiteX181" fmla="*/ 72009 w 335184"/>
                <a:gd name="connsiteY181" fmla="*/ 65627 h 266604"/>
                <a:gd name="connsiteX182" fmla="*/ 90011 w 335184"/>
                <a:gd name="connsiteY182" fmla="*/ 68104 h 266604"/>
                <a:gd name="connsiteX183" fmla="*/ 94679 w 335184"/>
                <a:gd name="connsiteY183" fmla="*/ 67532 h 266604"/>
                <a:gd name="connsiteX184" fmla="*/ 90392 w 335184"/>
                <a:gd name="connsiteY184" fmla="*/ 58483 h 266604"/>
                <a:gd name="connsiteX185" fmla="*/ 92678 w 335184"/>
                <a:gd name="connsiteY185" fmla="*/ 51721 h 266604"/>
                <a:gd name="connsiteX186" fmla="*/ 91154 w 335184"/>
                <a:gd name="connsiteY186" fmla="*/ 51911 h 266604"/>
                <a:gd name="connsiteX187" fmla="*/ 90964 w 335184"/>
                <a:gd name="connsiteY187" fmla="*/ 50387 h 266604"/>
                <a:gd name="connsiteX188" fmla="*/ 90107 w 335184"/>
                <a:gd name="connsiteY188" fmla="*/ 44101 h 266604"/>
                <a:gd name="connsiteX189" fmla="*/ 91535 w 335184"/>
                <a:gd name="connsiteY189" fmla="*/ 42291 h 266604"/>
                <a:gd name="connsiteX190" fmla="*/ 91059 w 335184"/>
                <a:gd name="connsiteY190" fmla="*/ 39148 h 266604"/>
                <a:gd name="connsiteX191" fmla="*/ 96393 w 335184"/>
                <a:gd name="connsiteY191" fmla="*/ 30480 h 266604"/>
                <a:gd name="connsiteX192" fmla="*/ 102965 w 335184"/>
                <a:gd name="connsiteY192" fmla="*/ 31242 h 266604"/>
                <a:gd name="connsiteX193" fmla="*/ 108013 w 335184"/>
                <a:gd name="connsiteY193" fmla="*/ 33814 h 266604"/>
                <a:gd name="connsiteX194" fmla="*/ 111252 w 335184"/>
                <a:gd name="connsiteY194" fmla="*/ 33338 h 266604"/>
                <a:gd name="connsiteX195" fmla="*/ 116776 w 335184"/>
                <a:gd name="connsiteY195" fmla="*/ 39052 h 266604"/>
                <a:gd name="connsiteX196" fmla="*/ 121253 w 335184"/>
                <a:gd name="connsiteY196" fmla="*/ 36862 h 266604"/>
                <a:gd name="connsiteX197" fmla="*/ 122301 w 335184"/>
                <a:gd name="connsiteY197" fmla="*/ 32004 h 266604"/>
                <a:gd name="connsiteX198" fmla="*/ 125635 w 335184"/>
                <a:gd name="connsiteY198" fmla="*/ 33147 h 266604"/>
                <a:gd name="connsiteX199" fmla="*/ 136493 w 335184"/>
                <a:gd name="connsiteY199" fmla="*/ 30194 h 266604"/>
                <a:gd name="connsiteX200" fmla="*/ 136493 w 335184"/>
                <a:gd name="connsiteY200" fmla="*/ 30194 h 266604"/>
                <a:gd name="connsiteX201" fmla="*/ 135826 w 335184"/>
                <a:gd name="connsiteY201" fmla="*/ 25432 h 266604"/>
                <a:gd name="connsiteX202" fmla="*/ 140779 w 335184"/>
                <a:gd name="connsiteY202" fmla="*/ 26384 h 266604"/>
                <a:gd name="connsiteX203" fmla="*/ 140017 w 335184"/>
                <a:gd name="connsiteY203" fmla="*/ 20098 h 266604"/>
                <a:gd name="connsiteX204" fmla="*/ 149828 w 335184"/>
                <a:gd name="connsiteY204" fmla="*/ 22003 h 266604"/>
                <a:gd name="connsiteX205" fmla="*/ 162496 w 335184"/>
                <a:gd name="connsiteY205" fmla="*/ 20383 h 266604"/>
                <a:gd name="connsiteX206" fmla="*/ 167259 w 335184"/>
                <a:gd name="connsiteY206" fmla="*/ 19812 h 266604"/>
                <a:gd name="connsiteX207" fmla="*/ 166402 w 335184"/>
                <a:gd name="connsiteY207" fmla="*/ 13525 h 266604"/>
                <a:gd name="connsiteX208" fmla="*/ 168021 w 335184"/>
                <a:gd name="connsiteY208" fmla="*/ 13335 h 266604"/>
                <a:gd name="connsiteX209" fmla="*/ 167354 w 335184"/>
                <a:gd name="connsiteY209" fmla="*/ 8572 h 266604"/>
                <a:gd name="connsiteX210" fmla="*/ 176879 w 335184"/>
                <a:gd name="connsiteY210" fmla="*/ 7334 h 266604"/>
                <a:gd name="connsiteX211" fmla="*/ 176498 w 335184"/>
                <a:gd name="connsiteY211" fmla="*/ 4191 h 266604"/>
                <a:gd name="connsiteX212" fmla="*/ 189452 w 335184"/>
                <a:gd name="connsiteY212" fmla="*/ 5715 h 266604"/>
                <a:gd name="connsiteX213" fmla="*/ 196025 w 335184"/>
                <a:gd name="connsiteY213" fmla="*/ 6572 h 266604"/>
                <a:gd name="connsiteX214" fmla="*/ 197167 w 335184"/>
                <a:gd name="connsiteY214" fmla="*/ 3143 h 266604"/>
                <a:gd name="connsiteX215" fmla="*/ 203645 w 335184"/>
                <a:gd name="connsiteY215" fmla="*/ 3905 h 266604"/>
                <a:gd name="connsiteX216" fmla="*/ 209645 w 335184"/>
                <a:gd name="connsiteY216" fmla="*/ 0 h 266604"/>
                <a:gd name="connsiteX217" fmla="*/ 214503 w 335184"/>
                <a:gd name="connsiteY217" fmla="*/ 952 h 266604"/>
                <a:gd name="connsiteX218" fmla="*/ 214408 w 335184"/>
                <a:gd name="connsiteY218" fmla="*/ 12192 h 266604"/>
                <a:gd name="connsiteX219" fmla="*/ 212788 w 335184"/>
                <a:gd name="connsiteY219" fmla="*/ 12382 h 266604"/>
                <a:gd name="connsiteX220" fmla="*/ 213550 w 335184"/>
                <a:gd name="connsiteY220" fmla="*/ 18764 h 266604"/>
                <a:gd name="connsiteX221" fmla="*/ 217932 w 335184"/>
                <a:gd name="connsiteY221" fmla="*/ 14954 h 266604"/>
                <a:gd name="connsiteX222" fmla="*/ 219932 w 335184"/>
                <a:gd name="connsiteY222" fmla="*/ 17907 h 266604"/>
                <a:gd name="connsiteX223" fmla="*/ 222885 w 335184"/>
                <a:gd name="connsiteY223" fmla="*/ 15907 h 266604"/>
                <a:gd name="connsiteX224" fmla="*/ 224028 w 335184"/>
                <a:gd name="connsiteY224" fmla="*/ 12573 h 266604"/>
                <a:gd name="connsiteX225" fmla="*/ 227838 w 335184"/>
                <a:gd name="connsiteY225" fmla="*/ 16954 h 266604"/>
                <a:gd name="connsiteX226" fmla="*/ 232696 w 335184"/>
                <a:gd name="connsiteY226" fmla="*/ 17907 h 266604"/>
                <a:gd name="connsiteX227" fmla="*/ 235077 w 335184"/>
                <a:gd name="connsiteY227" fmla="*/ 24003 h 266604"/>
                <a:gd name="connsiteX228" fmla="*/ 233744 w 335184"/>
                <a:gd name="connsiteY228" fmla="*/ 25813 h 266604"/>
                <a:gd name="connsiteX229" fmla="*/ 234505 w 335184"/>
                <a:gd name="connsiteY229" fmla="*/ 32099 h 266604"/>
                <a:gd name="connsiteX230" fmla="*/ 237458 w 335184"/>
                <a:gd name="connsiteY230" fmla="*/ 30099 h 266604"/>
                <a:gd name="connsiteX231" fmla="*/ 239268 w 335184"/>
                <a:gd name="connsiteY231" fmla="*/ 31432 h 266604"/>
                <a:gd name="connsiteX232" fmla="*/ 245745 w 335184"/>
                <a:gd name="connsiteY232" fmla="*/ 32290 h 266604"/>
                <a:gd name="connsiteX233" fmla="*/ 249936 w 335184"/>
                <a:gd name="connsiteY233" fmla="*/ 26956 h 266604"/>
                <a:gd name="connsiteX234" fmla="*/ 253079 w 335184"/>
                <a:gd name="connsiteY234" fmla="*/ 26479 h 266604"/>
                <a:gd name="connsiteX235" fmla="*/ 259556 w 335184"/>
                <a:gd name="connsiteY235" fmla="*/ 27241 h 266604"/>
                <a:gd name="connsiteX236" fmla="*/ 255651 w 335184"/>
                <a:gd name="connsiteY236" fmla="*/ 34195 h 266604"/>
                <a:gd name="connsiteX237" fmla="*/ 251079 w 335184"/>
                <a:gd name="connsiteY237" fmla="*/ 36385 h 266604"/>
                <a:gd name="connsiteX238" fmla="*/ 253270 w 335184"/>
                <a:gd name="connsiteY238" fmla="*/ 40957 h 266604"/>
                <a:gd name="connsiteX239" fmla="*/ 253460 w 335184"/>
                <a:gd name="connsiteY239" fmla="*/ 42481 h 266604"/>
                <a:gd name="connsiteX240" fmla="*/ 255937 w 335184"/>
                <a:gd name="connsiteY240" fmla="*/ 48577 h 266604"/>
                <a:gd name="connsiteX241" fmla="*/ 261461 w 335184"/>
                <a:gd name="connsiteY241" fmla="*/ 54292 h 266604"/>
                <a:gd name="connsiteX242" fmla="*/ 261461 w 335184"/>
                <a:gd name="connsiteY242" fmla="*/ 54292 h 266604"/>
                <a:gd name="connsiteX243" fmla="*/ 263366 w 335184"/>
                <a:gd name="connsiteY243" fmla="*/ 57245 h 266604"/>
                <a:gd name="connsiteX244" fmla="*/ 266795 w 335184"/>
                <a:gd name="connsiteY244" fmla="*/ 58483 h 266604"/>
                <a:gd name="connsiteX245" fmla="*/ 274415 w 335184"/>
                <a:gd name="connsiteY245" fmla="*/ 55912 h 266604"/>
                <a:gd name="connsiteX246" fmla="*/ 276225 w 335184"/>
                <a:gd name="connsiteY246" fmla="*/ 57245 h 266604"/>
                <a:gd name="connsiteX247" fmla="*/ 283940 w 335184"/>
                <a:gd name="connsiteY247" fmla="*/ 54673 h 266604"/>
                <a:gd name="connsiteX248" fmla="*/ 284702 w 335184"/>
                <a:gd name="connsiteY248" fmla="*/ 60960 h 266604"/>
                <a:gd name="connsiteX249" fmla="*/ 301085 w 335184"/>
                <a:gd name="connsiteY249" fmla="*/ 63722 h 266604"/>
                <a:gd name="connsiteX250" fmla="*/ 300133 w 335184"/>
                <a:gd name="connsiteY250" fmla="*/ 81439 h 266604"/>
                <a:gd name="connsiteX251" fmla="*/ 305467 w 335184"/>
                <a:gd name="connsiteY251" fmla="*/ 85630 h 266604"/>
                <a:gd name="connsiteX252" fmla="*/ 308420 w 335184"/>
                <a:gd name="connsiteY252" fmla="*/ 83629 h 266604"/>
                <a:gd name="connsiteX253" fmla="*/ 313563 w 335184"/>
                <a:gd name="connsiteY253" fmla="*/ 86201 h 266604"/>
                <a:gd name="connsiteX254" fmla="*/ 323659 w 335184"/>
                <a:gd name="connsiteY254" fmla="*/ 89725 h 266604"/>
                <a:gd name="connsiteX255" fmla="*/ 322326 w 335184"/>
                <a:gd name="connsiteY255" fmla="*/ 91440 h 266604"/>
                <a:gd name="connsiteX256" fmla="*/ 322707 w 335184"/>
                <a:gd name="connsiteY256" fmla="*/ 94583 h 266604"/>
                <a:gd name="connsiteX257" fmla="*/ 322707 w 335184"/>
                <a:gd name="connsiteY257" fmla="*/ 94583 h 266604"/>
                <a:gd name="connsiteX258" fmla="*/ 332804 w 335184"/>
                <a:gd name="connsiteY258" fmla="*/ 98203 h 266604"/>
                <a:gd name="connsiteX259" fmla="*/ 335185 w 335184"/>
                <a:gd name="connsiteY259" fmla="*/ 104299 h 266604"/>
                <a:gd name="connsiteX260" fmla="*/ 329279 w 335184"/>
                <a:gd name="connsiteY260" fmla="*/ 121063 h 266604"/>
                <a:gd name="connsiteX261" fmla="*/ 321374 w 335184"/>
                <a:gd name="connsiteY261" fmla="*/ 122015 h 266604"/>
                <a:gd name="connsiteX262" fmla="*/ 321564 w 335184"/>
                <a:gd name="connsiteY262" fmla="*/ 123634 h 266604"/>
                <a:gd name="connsiteX263" fmla="*/ 309563 w 335184"/>
                <a:gd name="connsiteY263" fmla="*/ 130016 h 266604"/>
                <a:gd name="connsiteX264" fmla="*/ 301657 w 335184"/>
                <a:gd name="connsiteY264" fmla="*/ 130969 h 266604"/>
                <a:gd name="connsiteX265" fmla="*/ 300323 w 335184"/>
                <a:gd name="connsiteY265" fmla="*/ 132778 h 266604"/>
                <a:gd name="connsiteX266" fmla="*/ 300323 w 335184"/>
                <a:gd name="connsiteY266" fmla="*/ 132778 h 266604"/>
                <a:gd name="connsiteX267" fmla="*/ 295561 w 335184"/>
                <a:gd name="connsiteY267" fmla="*/ 133350 h 266604"/>
                <a:gd name="connsiteX268" fmla="*/ 295751 w 335184"/>
                <a:gd name="connsiteY268" fmla="*/ 134969 h 266604"/>
                <a:gd name="connsiteX269" fmla="*/ 290798 w 335184"/>
                <a:gd name="connsiteY269" fmla="*/ 133921 h 266604"/>
                <a:gd name="connsiteX270" fmla="*/ 292799 w 335184"/>
                <a:gd name="connsiteY270" fmla="*/ 136874 h 266604"/>
                <a:gd name="connsiteX271" fmla="*/ 289846 w 335184"/>
                <a:gd name="connsiteY271" fmla="*/ 138874 h 266604"/>
                <a:gd name="connsiteX272" fmla="*/ 288226 w 335184"/>
                <a:gd name="connsiteY272" fmla="*/ 139065 h 266604"/>
                <a:gd name="connsiteX273" fmla="*/ 287655 w 335184"/>
                <a:gd name="connsiteY273" fmla="*/ 147161 h 266604"/>
                <a:gd name="connsiteX274" fmla="*/ 290513 w 335184"/>
                <a:gd name="connsiteY274" fmla="*/ 156496 h 266604"/>
                <a:gd name="connsiteX275" fmla="*/ 294989 w 335184"/>
                <a:gd name="connsiteY275" fmla="*/ 154305 h 266604"/>
                <a:gd name="connsiteX276" fmla="*/ 297371 w 335184"/>
                <a:gd name="connsiteY276" fmla="*/ 147542 h 266604"/>
                <a:gd name="connsiteX277" fmla="*/ 302705 w 335184"/>
                <a:gd name="connsiteY277" fmla="*/ 151733 h 266604"/>
                <a:gd name="connsiteX278" fmla="*/ 306896 w 335184"/>
                <a:gd name="connsiteY278" fmla="*/ 159163 h 266604"/>
                <a:gd name="connsiteX279" fmla="*/ 300514 w 335184"/>
                <a:gd name="connsiteY279" fmla="*/ 160020 h 266604"/>
                <a:gd name="connsiteX280" fmla="*/ 299752 w 335184"/>
                <a:gd name="connsiteY280" fmla="*/ 166497 h 266604"/>
                <a:gd name="connsiteX281" fmla="*/ 303943 w 335184"/>
                <a:gd name="connsiteY281" fmla="*/ 174022 h 266604"/>
                <a:gd name="connsiteX282" fmla="*/ 308134 w 335184"/>
                <a:gd name="connsiteY282" fmla="*/ 181451 h 266604"/>
                <a:gd name="connsiteX283" fmla="*/ 306896 w 335184"/>
                <a:gd name="connsiteY283" fmla="*/ 184880 h 266604"/>
                <a:gd name="connsiteX284" fmla="*/ 306896 w 335184"/>
                <a:gd name="connsiteY284" fmla="*/ 184880 h 266604"/>
                <a:gd name="connsiteX285" fmla="*/ 306896 w 335184"/>
                <a:gd name="connsiteY285" fmla="*/ 184880 h 26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</a:cxnLst>
              <a:rect l="l" t="t" r="r" b="b"/>
              <a:pathLst>
                <a:path w="335184" h="266604">
                  <a:moveTo>
                    <a:pt x="306896" y="184880"/>
                  </a:moveTo>
                  <a:lnTo>
                    <a:pt x="307372" y="188023"/>
                  </a:lnTo>
                  <a:lnTo>
                    <a:pt x="302609" y="188595"/>
                  </a:lnTo>
                  <a:lnTo>
                    <a:pt x="303371" y="194881"/>
                  </a:lnTo>
                  <a:lnTo>
                    <a:pt x="300609" y="198501"/>
                  </a:lnTo>
                  <a:lnTo>
                    <a:pt x="295084" y="192786"/>
                  </a:lnTo>
                  <a:lnTo>
                    <a:pt x="293751" y="194500"/>
                  </a:lnTo>
                  <a:lnTo>
                    <a:pt x="292703" y="199453"/>
                  </a:lnTo>
                  <a:lnTo>
                    <a:pt x="290798" y="196501"/>
                  </a:lnTo>
                  <a:lnTo>
                    <a:pt x="289179" y="196691"/>
                  </a:lnTo>
                  <a:lnTo>
                    <a:pt x="293370" y="204216"/>
                  </a:lnTo>
                  <a:lnTo>
                    <a:pt x="289179" y="209550"/>
                  </a:lnTo>
                  <a:lnTo>
                    <a:pt x="284131" y="206978"/>
                  </a:lnTo>
                  <a:lnTo>
                    <a:pt x="279368" y="207550"/>
                  </a:lnTo>
                  <a:lnTo>
                    <a:pt x="274225" y="205073"/>
                  </a:lnTo>
                  <a:lnTo>
                    <a:pt x="274415" y="206597"/>
                  </a:lnTo>
                  <a:lnTo>
                    <a:pt x="272605" y="205264"/>
                  </a:lnTo>
                  <a:lnTo>
                    <a:pt x="271272" y="206978"/>
                  </a:lnTo>
                  <a:lnTo>
                    <a:pt x="269081" y="202501"/>
                  </a:lnTo>
                  <a:lnTo>
                    <a:pt x="269462" y="205645"/>
                  </a:lnTo>
                  <a:lnTo>
                    <a:pt x="265938" y="202882"/>
                  </a:lnTo>
                  <a:lnTo>
                    <a:pt x="265557" y="199739"/>
                  </a:lnTo>
                  <a:lnTo>
                    <a:pt x="264128" y="201549"/>
                  </a:lnTo>
                  <a:lnTo>
                    <a:pt x="261366" y="192214"/>
                  </a:lnTo>
                  <a:lnTo>
                    <a:pt x="256794" y="194405"/>
                  </a:lnTo>
                  <a:lnTo>
                    <a:pt x="256604" y="192881"/>
                  </a:lnTo>
                  <a:lnTo>
                    <a:pt x="254889" y="191452"/>
                  </a:lnTo>
                  <a:lnTo>
                    <a:pt x="251936" y="193453"/>
                  </a:lnTo>
                  <a:lnTo>
                    <a:pt x="251460" y="190309"/>
                  </a:lnTo>
                  <a:lnTo>
                    <a:pt x="251270" y="188690"/>
                  </a:lnTo>
                  <a:lnTo>
                    <a:pt x="248317" y="190690"/>
                  </a:lnTo>
                  <a:lnTo>
                    <a:pt x="249079" y="184213"/>
                  </a:lnTo>
                  <a:lnTo>
                    <a:pt x="244602" y="186404"/>
                  </a:lnTo>
                  <a:lnTo>
                    <a:pt x="243364" y="189738"/>
                  </a:lnTo>
                  <a:lnTo>
                    <a:pt x="243364" y="189738"/>
                  </a:lnTo>
                  <a:lnTo>
                    <a:pt x="240411" y="191738"/>
                  </a:lnTo>
                  <a:lnTo>
                    <a:pt x="237458" y="193643"/>
                  </a:lnTo>
                  <a:lnTo>
                    <a:pt x="238887" y="191929"/>
                  </a:lnTo>
                  <a:lnTo>
                    <a:pt x="235744" y="192310"/>
                  </a:lnTo>
                  <a:lnTo>
                    <a:pt x="235267" y="189166"/>
                  </a:lnTo>
                  <a:lnTo>
                    <a:pt x="233744" y="189357"/>
                  </a:lnTo>
                  <a:lnTo>
                    <a:pt x="228791" y="188404"/>
                  </a:lnTo>
                  <a:lnTo>
                    <a:pt x="228981" y="189928"/>
                  </a:lnTo>
                  <a:lnTo>
                    <a:pt x="226219" y="193548"/>
                  </a:lnTo>
                  <a:lnTo>
                    <a:pt x="221551" y="194119"/>
                  </a:lnTo>
                  <a:lnTo>
                    <a:pt x="214408" y="188595"/>
                  </a:lnTo>
                  <a:lnTo>
                    <a:pt x="211455" y="190595"/>
                  </a:lnTo>
                  <a:lnTo>
                    <a:pt x="205359" y="192976"/>
                  </a:lnTo>
                  <a:lnTo>
                    <a:pt x="211265" y="201835"/>
                  </a:lnTo>
                  <a:lnTo>
                    <a:pt x="203740" y="206026"/>
                  </a:lnTo>
                  <a:lnTo>
                    <a:pt x="204216" y="209169"/>
                  </a:lnTo>
                  <a:lnTo>
                    <a:pt x="202406" y="207740"/>
                  </a:lnTo>
                  <a:lnTo>
                    <a:pt x="200978" y="209550"/>
                  </a:lnTo>
                  <a:lnTo>
                    <a:pt x="199644" y="211360"/>
                  </a:lnTo>
                  <a:lnTo>
                    <a:pt x="196501" y="211741"/>
                  </a:lnTo>
                  <a:lnTo>
                    <a:pt x="195644" y="205454"/>
                  </a:lnTo>
                  <a:lnTo>
                    <a:pt x="180308" y="210598"/>
                  </a:lnTo>
                  <a:lnTo>
                    <a:pt x="181070" y="216884"/>
                  </a:lnTo>
                  <a:lnTo>
                    <a:pt x="182690" y="216694"/>
                  </a:lnTo>
                  <a:lnTo>
                    <a:pt x="182880" y="218313"/>
                  </a:lnTo>
                  <a:lnTo>
                    <a:pt x="171831" y="219646"/>
                  </a:lnTo>
                  <a:lnTo>
                    <a:pt x="172403" y="224409"/>
                  </a:lnTo>
                  <a:lnTo>
                    <a:pt x="167354" y="221837"/>
                  </a:lnTo>
                  <a:lnTo>
                    <a:pt x="166973" y="231553"/>
                  </a:lnTo>
                  <a:lnTo>
                    <a:pt x="164211" y="235077"/>
                  </a:lnTo>
                  <a:lnTo>
                    <a:pt x="159258" y="234125"/>
                  </a:lnTo>
                  <a:lnTo>
                    <a:pt x="155924" y="232981"/>
                  </a:lnTo>
                  <a:lnTo>
                    <a:pt x="152495" y="231743"/>
                  </a:lnTo>
                  <a:lnTo>
                    <a:pt x="148400" y="237077"/>
                  </a:lnTo>
                  <a:lnTo>
                    <a:pt x="137732" y="241649"/>
                  </a:lnTo>
                  <a:lnTo>
                    <a:pt x="133064" y="242316"/>
                  </a:lnTo>
                  <a:lnTo>
                    <a:pt x="122111" y="232410"/>
                  </a:lnTo>
                  <a:lnTo>
                    <a:pt x="120777" y="234220"/>
                  </a:lnTo>
                  <a:lnTo>
                    <a:pt x="116872" y="253937"/>
                  </a:lnTo>
                  <a:lnTo>
                    <a:pt x="117634" y="260223"/>
                  </a:lnTo>
                  <a:lnTo>
                    <a:pt x="118110" y="263462"/>
                  </a:lnTo>
                  <a:lnTo>
                    <a:pt x="118491" y="266605"/>
                  </a:lnTo>
                  <a:lnTo>
                    <a:pt x="115157" y="265367"/>
                  </a:lnTo>
                  <a:lnTo>
                    <a:pt x="112776" y="259271"/>
                  </a:lnTo>
                  <a:lnTo>
                    <a:pt x="107823" y="258318"/>
                  </a:lnTo>
                  <a:lnTo>
                    <a:pt x="101917" y="262318"/>
                  </a:lnTo>
                  <a:lnTo>
                    <a:pt x="101727" y="260699"/>
                  </a:lnTo>
                  <a:lnTo>
                    <a:pt x="101251" y="257556"/>
                  </a:lnTo>
                  <a:lnTo>
                    <a:pt x="97917" y="256413"/>
                  </a:lnTo>
                  <a:lnTo>
                    <a:pt x="92012" y="260318"/>
                  </a:lnTo>
                  <a:lnTo>
                    <a:pt x="91821" y="258794"/>
                  </a:lnTo>
                  <a:lnTo>
                    <a:pt x="77438" y="258985"/>
                  </a:lnTo>
                  <a:lnTo>
                    <a:pt x="75247" y="254413"/>
                  </a:lnTo>
                  <a:lnTo>
                    <a:pt x="69913" y="250317"/>
                  </a:lnTo>
                  <a:lnTo>
                    <a:pt x="67913" y="247364"/>
                  </a:lnTo>
                  <a:lnTo>
                    <a:pt x="71628" y="238887"/>
                  </a:lnTo>
                  <a:lnTo>
                    <a:pt x="74581" y="236887"/>
                  </a:lnTo>
                  <a:lnTo>
                    <a:pt x="79724" y="239459"/>
                  </a:lnTo>
                  <a:lnTo>
                    <a:pt x="83629" y="232505"/>
                  </a:lnTo>
                  <a:lnTo>
                    <a:pt x="83439" y="230981"/>
                  </a:lnTo>
                  <a:lnTo>
                    <a:pt x="81725" y="229552"/>
                  </a:lnTo>
                  <a:lnTo>
                    <a:pt x="72390" y="232315"/>
                  </a:lnTo>
                  <a:lnTo>
                    <a:pt x="70866" y="232600"/>
                  </a:lnTo>
                  <a:lnTo>
                    <a:pt x="70675" y="230981"/>
                  </a:lnTo>
                  <a:lnTo>
                    <a:pt x="79153" y="221837"/>
                  </a:lnTo>
                  <a:lnTo>
                    <a:pt x="78486" y="217170"/>
                  </a:lnTo>
                  <a:lnTo>
                    <a:pt x="74962" y="214408"/>
                  </a:lnTo>
                  <a:lnTo>
                    <a:pt x="81058" y="212026"/>
                  </a:lnTo>
                  <a:lnTo>
                    <a:pt x="75724" y="207836"/>
                  </a:lnTo>
                  <a:lnTo>
                    <a:pt x="74104" y="208121"/>
                  </a:lnTo>
                  <a:lnTo>
                    <a:pt x="63532" y="212693"/>
                  </a:lnTo>
                  <a:lnTo>
                    <a:pt x="61150" y="206502"/>
                  </a:lnTo>
                  <a:lnTo>
                    <a:pt x="57912" y="206978"/>
                  </a:lnTo>
                  <a:lnTo>
                    <a:pt x="56007" y="204025"/>
                  </a:lnTo>
                  <a:lnTo>
                    <a:pt x="52578" y="202787"/>
                  </a:lnTo>
                  <a:lnTo>
                    <a:pt x="52388" y="201263"/>
                  </a:lnTo>
                  <a:lnTo>
                    <a:pt x="48673" y="196882"/>
                  </a:lnTo>
                  <a:lnTo>
                    <a:pt x="51625" y="194881"/>
                  </a:lnTo>
                  <a:lnTo>
                    <a:pt x="52007" y="185261"/>
                  </a:lnTo>
                  <a:lnTo>
                    <a:pt x="59055" y="190786"/>
                  </a:lnTo>
                  <a:lnTo>
                    <a:pt x="63437" y="174212"/>
                  </a:lnTo>
                  <a:lnTo>
                    <a:pt x="63246" y="172593"/>
                  </a:lnTo>
                  <a:lnTo>
                    <a:pt x="50387" y="172593"/>
                  </a:lnTo>
                  <a:lnTo>
                    <a:pt x="43244" y="167068"/>
                  </a:lnTo>
                  <a:lnTo>
                    <a:pt x="39719" y="164401"/>
                  </a:lnTo>
                  <a:lnTo>
                    <a:pt x="30194" y="152781"/>
                  </a:lnTo>
                  <a:lnTo>
                    <a:pt x="30004" y="151162"/>
                  </a:lnTo>
                  <a:lnTo>
                    <a:pt x="30766" y="144685"/>
                  </a:lnTo>
                  <a:lnTo>
                    <a:pt x="29242" y="144875"/>
                  </a:lnTo>
                  <a:lnTo>
                    <a:pt x="31909" y="141256"/>
                  </a:lnTo>
                  <a:lnTo>
                    <a:pt x="31528" y="138113"/>
                  </a:lnTo>
                  <a:lnTo>
                    <a:pt x="26765" y="138779"/>
                  </a:lnTo>
                  <a:lnTo>
                    <a:pt x="26384" y="135541"/>
                  </a:lnTo>
                  <a:lnTo>
                    <a:pt x="23241" y="136017"/>
                  </a:lnTo>
                  <a:lnTo>
                    <a:pt x="21241" y="133064"/>
                  </a:lnTo>
                  <a:lnTo>
                    <a:pt x="16383" y="132016"/>
                  </a:lnTo>
                  <a:lnTo>
                    <a:pt x="15716" y="127349"/>
                  </a:lnTo>
                  <a:lnTo>
                    <a:pt x="18859" y="126873"/>
                  </a:lnTo>
                  <a:lnTo>
                    <a:pt x="23432" y="124777"/>
                  </a:lnTo>
                  <a:lnTo>
                    <a:pt x="22384" y="116872"/>
                  </a:lnTo>
                  <a:lnTo>
                    <a:pt x="33433" y="115443"/>
                  </a:lnTo>
                  <a:lnTo>
                    <a:pt x="37052" y="118205"/>
                  </a:lnTo>
                  <a:lnTo>
                    <a:pt x="38195" y="114871"/>
                  </a:lnTo>
                  <a:lnTo>
                    <a:pt x="44672" y="115633"/>
                  </a:lnTo>
                  <a:lnTo>
                    <a:pt x="44482" y="114014"/>
                  </a:lnTo>
                  <a:lnTo>
                    <a:pt x="44291" y="112490"/>
                  </a:lnTo>
                  <a:lnTo>
                    <a:pt x="44101" y="110871"/>
                  </a:lnTo>
                  <a:lnTo>
                    <a:pt x="40767" y="109728"/>
                  </a:lnTo>
                  <a:lnTo>
                    <a:pt x="41910" y="106299"/>
                  </a:lnTo>
                  <a:lnTo>
                    <a:pt x="34004" y="107347"/>
                  </a:lnTo>
                  <a:lnTo>
                    <a:pt x="33052" y="99441"/>
                  </a:lnTo>
                  <a:lnTo>
                    <a:pt x="30099" y="101441"/>
                  </a:lnTo>
                  <a:lnTo>
                    <a:pt x="24955" y="98869"/>
                  </a:lnTo>
                  <a:lnTo>
                    <a:pt x="23717" y="89440"/>
                  </a:lnTo>
                  <a:lnTo>
                    <a:pt x="20193" y="86677"/>
                  </a:lnTo>
                  <a:lnTo>
                    <a:pt x="23146" y="84677"/>
                  </a:lnTo>
                  <a:lnTo>
                    <a:pt x="19145" y="78772"/>
                  </a:lnTo>
                  <a:lnTo>
                    <a:pt x="13049" y="81153"/>
                  </a:lnTo>
                  <a:lnTo>
                    <a:pt x="8572" y="83344"/>
                  </a:lnTo>
                  <a:lnTo>
                    <a:pt x="4953" y="80581"/>
                  </a:lnTo>
                  <a:lnTo>
                    <a:pt x="667" y="84296"/>
                  </a:lnTo>
                  <a:lnTo>
                    <a:pt x="191" y="81153"/>
                  </a:lnTo>
                  <a:lnTo>
                    <a:pt x="0" y="79629"/>
                  </a:lnTo>
                  <a:lnTo>
                    <a:pt x="9334" y="76771"/>
                  </a:lnTo>
                  <a:lnTo>
                    <a:pt x="8668" y="72104"/>
                  </a:lnTo>
                  <a:lnTo>
                    <a:pt x="10096" y="70294"/>
                  </a:lnTo>
                  <a:lnTo>
                    <a:pt x="11811" y="71723"/>
                  </a:lnTo>
                  <a:lnTo>
                    <a:pt x="13621" y="73057"/>
                  </a:lnTo>
                  <a:lnTo>
                    <a:pt x="21336" y="70485"/>
                  </a:lnTo>
                  <a:lnTo>
                    <a:pt x="21146" y="68866"/>
                  </a:lnTo>
                  <a:lnTo>
                    <a:pt x="22479" y="67151"/>
                  </a:lnTo>
                  <a:lnTo>
                    <a:pt x="22670" y="68675"/>
                  </a:lnTo>
                  <a:lnTo>
                    <a:pt x="31813" y="64294"/>
                  </a:lnTo>
                  <a:lnTo>
                    <a:pt x="37909" y="61913"/>
                  </a:lnTo>
                  <a:lnTo>
                    <a:pt x="41815" y="67818"/>
                  </a:lnTo>
                  <a:lnTo>
                    <a:pt x="43244" y="66103"/>
                  </a:lnTo>
                  <a:lnTo>
                    <a:pt x="50483" y="60388"/>
                  </a:lnTo>
                  <a:lnTo>
                    <a:pt x="48292" y="55816"/>
                  </a:lnTo>
                  <a:lnTo>
                    <a:pt x="52864" y="53626"/>
                  </a:lnTo>
                  <a:lnTo>
                    <a:pt x="52483" y="50482"/>
                  </a:lnTo>
                  <a:lnTo>
                    <a:pt x="57436" y="51435"/>
                  </a:lnTo>
                  <a:lnTo>
                    <a:pt x="59150" y="52864"/>
                  </a:lnTo>
                  <a:lnTo>
                    <a:pt x="62294" y="52388"/>
                  </a:lnTo>
                  <a:lnTo>
                    <a:pt x="62960" y="57150"/>
                  </a:lnTo>
                  <a:lnTo>
                    <a:pt x="65342" y="63246"/>
                  </a:lnTo>
                  <a:lnTo>
                    <a:pt x="65913" y="68008"/>
                  </a:lnTo>
                  <a:lnTo>
                    <a:pt x="72009" y="65627"/>
                  </a:lnTo>
                  <a:lnTo>
                    <a:pt x="90011" y="68104"/>
                  </a:lnTo>
                  <a:lnTo>
                    <a:pt x="94679" y="67532"/>
                  </a:lnTo>
                  <a:lnTo>
                    <a:pt x="90392" y="58483"/>
                  </a:lnTo>
                  <a:lnTo>
                    <a:pt x="92678" y="51721"/>
                  </a:lnTo>
                  <a:lnTo>
                    <a:pt x="91154" y="51911"/>
                  </a:lnTo>
                  <a:lnTo>
                    <a:pt x="90964" y="50387"/>
                  </a:lnTo>
                  <a:lnTo>
                    <a:pt x="90107" y="44101"/>
                  </a:lnTo>
                  <a:lnTo>
                    <a:pt x="91535" y="42291"/>
                  </a:lnTo>
                  <a:lnTo>
                    <a:pt x="91059" y="39148"/>
                  </a:lnTo>
                  <a:lnTo>
                    <a:pt x="96393" y="30480"/>
                  </a:lnTo>
                  <a:lnTo>
                    <a:pt x="102965" y="31242"/>
                  </a:lnTo>
                  <a:lnTo>
                    <a:pt x="108013" y="33814"/>
                  </a:lnTo>
                  <a:lnTo>
                    <a:pt x="111252" y="33338"/>
                  </a:lnTo>
                  <a:lnTo>
                    <a:pt x="116776" y="39052"/>
                  </a:lnTo>
                  <a:lnTo>
                    <a:pt x="121253" y="36862"/>
                  </a:lnTo>
                  <a:lnTo>
                    <a:pt x="122301" y="32004"/>
                  </a:lnTo>
                  <a:lnTo>
                    <a:pt x="125635" y="33147"/>
                  </a:lnTo>
                  <a:lnTo>
                    <a:pt x="136493" y="30194"/>
                  </a:lnTo>
                  <a:lnTo>
                    <a:pt x="136493" y="30194"/>
                  </a:lnTo>
                  <a:lnTo>
                    <a:pt x="135826" y="25432"/>
                  </a:lnTo>
                  <a:lnTo>
                    <a:pt x="140779" y="26384"/>
                  </a:lnTo>
                  <a:lnTo>
                    <a:pt x="140017" y="20098"/>
                  </a:lnTo>
                  <a:lnTo>
                    <a:pt x="149828" y="22003"/>
                  </a:lnTo>
                  <a:lnTo>
                    <a:pt x="162496" y="20383"/>
                  </a:lnTo>
                  <a:lnTo>
                    <a:pt x="167259" y="19812"/>
                  </a:lnTo>
                  <a:lnTo>
                    <a:pt x="166402" y="13525"/>
                  </a:lnTo>
                  <a:lnTo>
                    <a:pt x="168021" y="13335"/>
                  </a:lnTo>
                  <a:lnTo>
                    <a:pt x="167354" y="8572"/>
                  </a:lnTo>
                  <a:lnTo>
                    <a:pt x="176879" y="7334"/>
                  </a:lnTo>
                  <a:lnTo>
                    <a:pt x="176498" y="4191"/>
                  </a:lnTo>
                  <a:lnTo>
                    <a:pt x="189452" y="5715"/>
                  </a:lnTo>
                  <a:lnTo>
                    <a:pt x="196025" y="6572"/>
                  </a:lnTo>
                  <a:lnTo>
                    <a:pt x="197167" y="3143"/>
                  </a:lnTo>
                  <a:lnTo>
                    <a:pt x="203645" y="3905"/>
                  </a:lnTo>
                  <a:lnTo>
                    <a:pt x="209645" y="0"/>
                  </a:lnTo>
                  <a:lnTo>
                    <a:pt x="214503" y="952"/>
                  </a:lnTo>
                  <a:lnTo>
                    <a:pt x="214408" y="12192"/>
                  </a:lnTo>
                  <a:lnTo>
                    <a:pt x="212788" y="12382"/>
                  </a:lnTo>
                  <a:lnTo>
                    <a:pt x="213550" y="18764"/>
                  </a:lnTo>
                  <a:lnTo>
                    <a:pt x="217932" y="14954"/>
                  </a:lnTo>
                  <a:lnTo>
                    <a:pt x="219932" y="17907"/>
                  </a:lnTo>
                  <a:lnTo>
                    <a:pt x="222885" y="15907"/>
                  </a:lnTo>
                  <a:lnTo>
                    <a:pt x="224028" y="12573"/>
                  </a:lnTo>
                  <a:lnTo>
                    <a:pt x="227838" y="16954"/>
                  </a:lnTo>
                  <a:lnTo>
                    <a:pt x="232696" y="17907"/>
                  </a:lnTo>
                  <a:lnTo>
                    <a:pt x="235077" y="24003"/>
                  </a:lnTo>
                  <a:lnTo>
                    <a:pt x="233744" y="25813"/>
                  </a:lnTo>
                  <a:lnTo>
                    <a:pt x="234505" y="32099"/>
                  </a:lnTo>
                  <a:lnTo>
                    <a:pt x="237458" y="30099"/>
                  </a:lnTo>
                  <a:lnTo>
                    <a:pt x="239268" y="31432"/>
                  </a:lnTo>
                  <a:lnTo>
                    <a:pt x="245745" y="32290"/>
                  </a:lnTo>
                  <a:lnTo>
                    <a:pt x="249936" y="26956"/>
                  </a:lnTo>
                  <a:lnTo>
                    <a:pt x="253079" y="26479"/>
                  </a:lnTo>
                  <a:lnTo>
                    <a:pt x="259556" y="27241"/>
                  </a:lnTo>
                  <a:lnTo>
                    <a:pt x="255651" y="34195"/>
                  </a:lnTo>
                  <a:lnTo>
                    <a:pt x="251079" y="36385"/>
                  </a:lnTo>
                  <a:lnTo>
                    <a:pt x="253270" y="40957"/>
                  </a:lnTo>
                  <a:lnTo>
                    <a:pt x="253460" y="42481"/>
                  </a:lnTo>
                  <a:lnTo>
                    <a:pt x="255937" y="48577"/>
                  </a:lnTo>
                  <a:lnTo>
                    <a:pt x="261461" y="54292"/>
                  </a:lnTo>
                  <a:lnTo>
                    <a:pt x="261461" y="54292"/>
                  </a:lnTo>
                  <a:lnTo>
                    <a:pt x="263366" y="57245"/>
                  </a:lnTo>
                  <a:lnTo>
                    <a:pt x="266795" y="58483"/>
                  </a:lnTo>
                  <a:lnTo>
                    <a:pt x="274415" y="55912"/>
                  </a:lnTo>
                  <a:lnTo>
                    <a:pt x="276225" y="57245"/>
                  </a:lnTo>
                  <a:lnTo>
                    <a:pt x="283940" y="54673"/>
                  </a:lnTo>
                  <a:lnTo>
                    <a:pt x="284702" y="60960"/>
                  </a:lnTo>
                  <a:lnTo>
                    <a:pt x="301085" y="63722"/>
                  </a:lnTo>
                  <a:lnTo>
                    <a:pt x="300133" y="81439"/>
                  </a:lnTo>
                  <a:lnTo>
                    <a:pt x="305467" y="85630"/>
                  </a:lnTo>
                  <a:lnTo>
                    <a:pt x="308420" y="83629"/>
                  </a:lnTo>
                  <a:lnTo>
                    <a:pt x="313563" y="86201"/>
                  </a:lnTo>
                  <a:lnTo>
                    <a:pt x="323659" y="89725"/>
                  </a:lnTo>
                  <a:lnTo>
                    <a:pt x="322326" y="91440"/>
                  </a:lnTo>
                  <a:lnTo>
                    <a:pt x="322707" y="94583"/>
                  </a:lnTo>
                  <a:lnTo>
                    <a:pt x="322707" y="94583"/>
                  </a:lnTo>
                  <a:lnTo>
                    <a:pt x="332804" y="98203"/>
                  </a:lnTo>
                  <a:lnTo>
                    <a:pt x="335185" y="104299"/>
                  </a:lnTo>
                  <a:lnTo>
                    <a:pt x="329279" y="121063"/>
                  </a:lnTo>
                  <a:lnTo>
                    <a:pt x="321374" y="122015"/>
                  </a:lnTo>
                  <a:lnTo>
                    <a:pt x="321564" y="123634"/>
                  </a:lnTo>
                  <a:lnTo>
                    <a:pt x="309563" y="130016"/>
                  </a:lnTo>
                  <a:lnTo>
                    <a:pt x="301657" y="130969"/>
                  </a:lnTo>
                  <a:lnTo>
                    <a:pt x="300323" y="132778"/>
                  </a:lnTo>
                  <a:lnTo>
                    <a:pt x="300323" y="132778"/>
                  </a:lnTo>
                  <a:lnTo>
                    <a:pt x="295561" y="133350"/>
                  </a:lnTo>
                  <a:lnTo>
                    <a:pt x="295751" y="134969"/>
                  </a:lnTo>
                  <a:lnTo>
                    <a:pt x="290798" y="133921"/>
                  </a:lnTo>
                  <a:lnTo>
                    <a:pt x="292799" y="136874"/>
                  </a:lnTo>
                  <a:lnTo>
                    <a:pt x="289846" y="138874"/>
                  </a:lnTo>
                  <a:lnTo>
                    <a:pt x="288226" y="139065"/>
                  </a:lnTo>
                  <a:lnTo>
                    <a:pt x="287655" y="147161"/>
                  </a:lnTo>
                  <a:lnTo>
                    <a:pt x="290513" y="156496"/>
                  </a:lnTo>
                  <a:lnTo>
                    <a:pt x="294989" y="154305"/>
                  </a:lnTo>
                  <a:lnTo>
                    <a:pt x="297371" y="147542"/>
                  </a:lnTo>
                  <a:lnTo>
                    <a:pt x="302705" y="151733"/>
                  </a:lnTo>
                  <a:lnTo>
                    <a:pt x="306896" y="159163"/>
                  </a:lnTo>
                  <a:lnTo>
                    <a:pt x="300514" y="160020"/>
                  </a:lnTo>
                  <a:lnTo>
                    <a:pt x="299752" y="166497"/>
                  </a:lnTo>
                  <a:lnTo>
                    <a:pt x="303943" y="174022"/>
                  </a:lnTo>
                  <a:lnTo>
                    <a:pt x="308134" y="181451"/>
                  </a:lnTo>
                  <a:lnTo>
                    <a:pt x="306896" y="184880"/>
                  </a:lnTo>
                  <a:lnTo>
                    <a:pt x="306896" y="184880"/>
                  </a:lnTo>
                  <a:lnTo>
                    <a:pt x="306896" y="184880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985295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FBAE40"/>
          </p15:clr>
        </p15:guide>
        <p15:guide id="2" pos="7605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Obrázek 64">
            <a:extLst>
              <a:ext uri="{FF2B5EF4-FFF2-40B4-BE49-F238E27FC236}">
                <a16:creationId xmlns:a16="http://schemas.microsoft.com/office/drawing/2014/main" id="{1903806D-B11F-4777-91AC-14AF29D6B2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12658"/>
            <a:ext cx="12192000" cy="3424240"/>
          </a:xfrm>
          <a:prstGeom prst="rect">
            <a:avLst/>
          </a:prstGeom>
        </p:spPr>
      </p:pic>
      <p:pic>
        <p:nvPicPr>
          <p:cNvPr id="27" name="Obrázek 75">
            <a:extLst>
              <a:ext uri="{FF2B5EF4-FFF2-40B4-BE49-F238E27FC236}">
                <a16:creationId xmlns:a16="http://schemas.microsoft.com/office/drawing/2014/main" id="{F014DE85-7BF6-41C3-95C4-EC65E5EAD6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63" y="1354230"/>
            <a:ext cx="3136237" cy="3656116"/>
          </a:xfrm>
          <a:prstGeom prst="rect">
            <a:avLst/>
          </a:prstGeom>
        </p:spPr>
      </p:pic>
      <p:sp>
        <p:nvSpPr>
          <p:cNvPr id="28" name="Obdélník 50">
            <a:extLst>
              <a:ext uri="{FF2B5EF4-FFF2-40B4-BE49-F238E27FC236}">
                <a16:creationId xmlns:a16="http://schemas.microsoft.com/office/drawing/2014/main" id="{C6455D4C-929B-4BB2-BB4B-AA4BD3BB752C}"/>
              </a:ext>
            </a:extLst>
          </p:cNvPr>
          <p:cNvSpPr/>
          <p:nvPr userDrawn="1"/>
        </p:nvSpPr>
        <p:spPr>
          <a:xfrm>
            <a:off x="0" y="3760440"/>
            <a:ext cx="9379670" cy="276458"/>
          </a:xfrm>
          <a:custGeom>
            <a:avLst/>
            <a:gdLst>
              <a:gd name="connsiteX0" fmla="*/ 0 w 7559571"/>
              <a:gd name="connsiteY0" fmla="*/ 0 h 200385"/>
              <a:gd name="connsiteX1" fmla="*/ 7559571 w 7559571"/>
              <a:gd name="connsiteY1" fmla="*/ 0 h 200385"/>
              <a:gd name="connsiteX2" fmla="*/ 7559571 w 7559571"/>
              <a:gd name="connsiteY2" fmla="*/ 200385 h 200385"/>
              <a:gd name="connsiteX3" fmla="*/ 0 w 7559571"/>
              <a:gd name="connsiteY3" fmla="*/ 200385 h 200385"/>
              <a:gd name="connsiteX4" fmla="*/ 0 w 7559571"/>
              <a:gd name="connsiteY4" fmla="*/ 0 h 200385"/>
              <a:gd name="connsiteX0" fmla="*/ 0 w 7559571"/>
              <a:gd name="connsiteY0" fmla="*/ 9427 h 209812"/>
              <a:gd name="connsiteX1" fmla="*/ 7136091 w 7559571"/>
              <a:gd name="connsiteY1" fmla="*/ 0 h 209812"/>
              <a:gd name="connsiteX2" fmla="*/ 7559571 w 7559571"/>
              <a:gd name="connsiteY2" fmla="*/ 9427 h 209812"/>
              <a:gd name="connsiteX3" fmla="*/ 7559571 w 7559571"/>
              <a:gd name="connsiteY3" fmla="*/ 209812 h 209812"/>
              <a:gd name="connsiteX4" fmla="*/ 0 w 7559571"/>
              <a:gd name="connsiteY4" fmla="*/ 209812 h 209812"/>
              <a:gd name="connsiteX5" fmla="*/ 0 w 7559571"/>
              <a:gd name="connsiteY5" fmla="*/ 9427 h 209812"/>
              <a:gd name="connsiteX0" fmla="*/ 0 w 7673419"/>
              <a:gd name="connsiteY0" fmla="*/ 292231 h 492616"/>
              <a:gd name="connsiteX1" fmla="*/ 7673419 w 7673419"/>
              <a:gd name="connsiteY1" fmla="*/ 0 h 492616"/>
              <a:gd name="connsiteX2" fmla="*/ 7559571 w 7673419"/>
              <a:gd name="connsiteY2" fmla="*/ 292231 h 492616"/>
              <a:gd name="connsiteX3" fmla="*/ 7559571 w 7673419"/>
              <a:gd name="connsiteY3" fmla="*/ 492616 h 492616"/>
              <a:gd name="connsiteX4" fmla="*/ 0 w 7673419"/>
              <a:gd name="connsiteY4" fmla="*/ 492616 h 492616"/>
              <a:gd name="connsiteX5" fmla="*/ 0 w 7673419"/>
              <a:gd name="connsiteY5" fmla="*/ 292231 h 492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73419" h="492616">
                <a:moveTo>
                  <a:pt x="0" y="292231"/>
                </a:moveTo>
                <a:lnTo>
                  <a:pt x="7673419" y="0"/>
                </a:lnTo>
                <a:lnTo>
                  <a:pt x="7559571" y="292231"/>
                </a:lnTo>
                <a:lnTo>
                  <a:pt x="7559571" y="492616"/>
                </a:lnTo>
                <a:lnTo>
                  <a:pt x="0" y="492616"/>
                </a:lnTo>
                <a:lnTo>
                  <a:pt x="0" y="292231"/>
                </a:lnTo>
                <a:close/>
              </a:path>
            </a:pathLst>
          </a:custGeom>
          <a:solidFill>
            <a:srgbClr val="0842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9" name="Slza pozadi">
            <a:extLst>
              <a:ext uri="{FF2B5EF4-FFF2-40B4-BE49-F238E27FC236}">
                <a16:creationId xmlns:a16="http://schemas.microsoft.com/office/drawing/2014/main" id="{5B472087-BEB7-43F0-96A3-BDC392C6630F}"/>
              </a:ext>
            </a:extLst>
          </p:cNvPr>
          <p:cNvSpPr/>
          <p:nvPr userDrawn="1"/>
        </p:nvSpPr>
        <p:spPr>
          <a:xfrm rot="16200000">
            <a:off x="1560424" y="-947766"/>
            <a:ext cx="3157403" cy="6278252"/>
          </a:xfrm>
          <a:prstGeom prst="teardrop">
            <a:avLst/>
          </a:prstGeom>
          <a:solidFill>
            <a:srgbClr val="244865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n-lt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30" name="Logo UZIS - skupina">
            <a:extLst>
              <a:ext uri="{FF2B5EF4-FFF2-40B4-BE49-F238E27FC236}">
                <a16:creationId xmlns:a16="http://schemas.microsoft.com/office/drawing/2014/main" id="{E1E7BBD5-891B-4A2F-BD63-5F5DA00EFD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573965" y="6090002"/>
            <a:ext cx="4524251" cy="612428"/>
            <a:chOff x="4084311" y="378348"/>
            <a:chExt cx="5627053" cy="709095"/>
          </a:xfrm>
        </p:grpSpPr>
        <p:sp>
          <p:nvSpPr>
            <p:cNvPr id="31" name="Nazev">
              <a:extLst>
                <a:ext uri="{FF2B5EF4-FFF2-40B4-BE49-F238E27FC236}">
                  <a16:creationId xmlns:a16="http://schemas.microsoft.com/office/drawing/2014/main" id="{4C1916FE-4B88-49CD-BA58-7B74C639AF98}"/>
                </a:ext>
              </a:extLst>
            </p:cNvPr>
            <p:cNvSpPr txBox="1"/>
            <p:nvPr userDrawn="1"/>
          </p:nvSpPr>
          <p:spPr>
            <a:xfrm>
              <a:off x="5237394" y="599696"/>
              <a:ext cx="4473970" cy="427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noProof="0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Ústav zdravotnických informací a statistiky České republiky</a:t>
              </a:r>
            </a:p>
            <a:p>
              <a:r>
                <a:rPr lang="en-US" sz="900" i="1" dirty="0">
                  <a:solidFill>
                    <a:srgbClr val="2B297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stitute of Health Information and Statistics of the Czech Republic</a:t>
              </a:r>
            </a:p>
          </p:txBody>
        </p:sp>
        <p:pic>
          <p:nvPicPr>
            <p:cNvPr id="32" name="Logo">
              <a:extLst>
                <a:ext uri="{FF2B5EF4-FFF2-40B4-BE49-F238E27FC236}">
                  <a16:creationId xmlns:a16="http://schemas.microsoft.com/office/drawing/2014/main" id="{9F92AC57-7FC1-4571-BECE-7125420930C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84311" y="378348"/>
              <a:ext cx="1080000" cy="709095"/>
            </a:xfrm>
            <a:prstGeom prst="rect">
              <a:avLst/>
            </a:prstGeom>
          </p:spPr>
        </p:pic>
      </p:grpSp>
      <p:pic>
        <p:nvPicPr>
          <p:cNvPr id="33" name="Logo MZ CR">
            <a:extLst>
              <a:ext uri="{FF2B5EF4-FFF2-40B4-BE49-F238E27FC236}">
                <a16:creationId xmlns:a16="http://schemas.microsoft.com/office/drawing/2014/main" id="{5B7C4270-13A2-4527-A4C7-32FE9859D7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11" y="156482"/>
            <a:ext cx="3763463" cy="324000"/>
          </a:xfrm>
          <a:prstGeom prst="rect">
            <a:avLst/>
          </a:prstGeom>
        </p:spPr>
      </p:pic>
      <p:sp>
        <p:nvSpPr>
          <p:cNvPr id="34" name="Nadpis 1">
            <a:extLst>
              <a:ext uri="{FF2B5EF4-FFF2-40B4-BE49-F238E27FC236}">
                <a16:creationId xmlns:a16="http://schemas.microsoft.com/office/drawing/2014/main" id="{DBF05EC1-AC34-4998-A874-C476BF92C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90" y="1382511"/>
            <a:ext cx="5246408" cy="1404481"/>
          </a:xfrm>
        </p:spPr>
        <p:txBody>
          <a:bodyPr>
            <a:normAutofit/>
          </a:bodyPr>
          <a:lstStyle>
            <a:lvl1pPr algn="l">
              <a:defRPr sz="36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5" name="Zástupný text 3">
            <a:extLst>
              <a:ext uri="{FF2B5EF4-FFF2-40B4-BE49-F238E27FC236}">
                <a16:creationId xmlns:a16="http://schemas.microsoft.com/office/drawing/2014/main" id="{30F5E0A5-FA60-44D8-9106-C4F05A37F6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8506" y="5213021"/>
            <a:ext cx="11116463" cy="468000"/>
          </a:xfrm>
        </p:spPr>
        <p:txBody>
          <a:bodyPr anchor="ctr">
            <a:noAutofit/>
          </a:bodyPr>
          <a:lstStyle>
            <a:lvl1pPr marL="0" indent="0" algn="l">
              <a:buNone/>
              <a:defRPr lang="cs-CZ" sz="32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cs-CZ" dirty="0"/>
              <a:t>Vložte podnadpis</a:t>
            </a:r>
          </a:p>
        </p:txBody>
      </p:sp>
      <p:pic>
        <p:nvPicPr>
          <p:cNvPr id="39" name="Obrázek 38">
            <a:extLst>
              <a:ext uri="{FF2B5EF4-FFF2-40B4-BE49-F238E27FC236}">
                <a16:creationId xmlns:a16="http://schemas.microsoft.com/office/drawing/2014/main" id="{C2136BD8-C5A9-A137-B588-1048B6ABE59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73228" y="51997"/>
            <a:ext cx="1533923" cy="515280"/>
          </a:xfrm>
          <a:prstGeom prst="rect">
            <a:avLst/>
          </a:prstGeom>
        </p:spPr>
      </p:pic>
      <p:grpSp>
        <p:nvGrpSpPr>
          <p:cNvPr id="22" name="Skupina 21">
            <a:extLst>
              <a:ext uri="{FF2B5EF4-FFF2-40B4-BE49-F238E27FC236}">
                <a16:creationId xmlns:a16="http://schemas.microsoft.com/office/drawing/2014/main" id="{6490D8C3-3769-9175-15F4-B17F1A763D07}"/>
              </a:ext>
            </a:extLst>
          </p:cNvPr>
          <p:cNvGrpSpPr/>
          <p:nvPr userDrawn="1"/>
        </p:nvGrpSpPr>
        <p:grpSpPr>
          <a:xfrm>
            <a:off x="9442800" y="3790800"/>
            <a:ext cx="1270751" cy="2016807"/>
            <a:chOff x="9573906" y="3839890"/>
            <a:chExt cx="1270751" cy="2016807"/>
          </a:xfrm>
        </p:grpSpPr>
        <p:sp>
          <p:nvSpPr>
            <p:cNvPr id="23" name="Rovnoramenný trojúhelník 4">
              <a:extLst>
                <a:ext uri="{FF2B5EF4-FFF2-40B4-BE49-F238E27FC236}">
                  <a16:creationId xmlns:a16="http://schemas.microsoft.com/office/drawing/2014/main" id="{9DB6439B-760C-B3FC-E636-BA39EB0E034C}"/>
                </a:ext>
              </a:extLst>
            </p:cNvPr>
            <p:cNvSpPr/>
            <p:nvPr userDrawn="1"/>
          </p:nvSpPr>
          <p:spPr>
            <a:xfrm rot="1106797">
              <a:off x="9882197" y="3839890"/>
              <a:ext cx="962460" cy="1369198"/>
            </a:xfrm>
            <a:prstGeom prst="triangle">
              <a:avLst>
                <a:gd name="adj" fmla="val 58782"/>
              </a:avLst>
            </a:prstGeom>
            <a:solidFill>
              <a:srgbClr val="FFC000">
                <a:alpha val="44000"/>
              </a:srgbClr>
            </a:solidFill>
            <a:ln w="15875">
              <a:solidFill>
                <a:srgbClr val="2E5980"/>
              </a:solidFill>
            </a:ln>
            <a:effectLst>
              <a:outerShdw blurRad="50800" dist="50800" dir="5400000" algn="ctr" rotWithShape="0">
                <a:srgbClr val="2E5980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grpSp>
          <p:nvGrpSpPr>
            <p:cNvPr id="24" name="Skupina 23">
              <a:extLst>
                <a:ext uri="{FF2B5EF4-FFF2-40B4-BE49-F238E27FC236}">
                  <a16:creationId xmlns:a16="http://schemas.microsoft.com/office/drawing/2014/main" id="{924EEEC0-A3DD-F661-9511-D6E5A432005A}"/>
                </a:ext>
              </a:extLst>
            </p:cNvPr>
            <p:cNvGrpSpPr/>
            <p:nvPr userDrawn="1"/>
          </p:nvGrpSpPr>
          <p:grpSpPr>
            <a:xfrm>
              <a:off x="9573906" y="4827097"/>
              <a:ext cx="1029600" cy="1029600"/>
              <a:chOff x="9573906" y="4827097"/>
              <a:chExt cx="1029600" cy="1029600"/>
            </a:xfrm>
          </p:grpSpPr>
          <p:sp>
            <p:nvSpPr>
              <p:cNvPr id="44" name="Ovál 22">
                <a:extLst>
                  <a:ext uri="{FF2B5EF4-FFF2-40B4-BE49-F238E27FC236}">
                    <a16:creationId xmlns:a16="http://schemas.microsoft.com/office/drawing/2014/main" id="{2E492903-29D2-1017-B0BD-0259D2E07879}"/>
                  </a:ext>
                </a:extLst>
              </p:cNvPr>
              <p:cNvSpPr/>
              <p:nvPr userDrawn="1"/>
            </p:nvSpPr>
            <p:spPr>
              <a:xfrm>
                <a:off x="9573906" y="4827097"/>
                <a:ext cx="1029600" cy="10296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7144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/>
              </a:p>
            </p:txBody>
          </p:sp>
          <p:sp>
            <p:nvSpPr>
              <p:cNvPr id="45" name="Ovál 23">
                <a:extLst>
                  <a:ext uri="{FF2B5EF4-FFF2-40B4-BE49-F238E27FC236}">
                    <a16:creationId xmlns:a16="http://schemas.microsoft.com/office/drawing/2014/main" id="{E4062F79-8B08-E00B-9F94-CA18C3E96DA3}"/>
                  </a:ext>
                </a:extLst>
              </p:cNvPr>
              <p:cNvSpPr/>
              <p:nvPr userDrawn="1"/>
            </p:nvSpPr>
            <p:spPr>
              <a:xfrm>
                <a:off x="9643042" y="4896233"/>
                <a:ext cx="891327" cy="891327"/>
              </a:xfrm>
              <a:prstGeom prst="ellipse">
                <a:avLst/>
              </a:prstGeom>
              <a:solidFill>
                <a:srgbClr val="D714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 dirty="0"/>
              </a:p>
            </p:txBody>
          </p:sp>
        </p:grpSp>
      </p:grpSp>
      <p:grpSp>
        <p:nvGrpSpPr>
          <p:cNvPr id="2" name="Skupina 1">
            <a:extLst>
              <a:ext uri="{FF2B5EF4-FFF2-40B4-BE49-F238E27FC236}">
                <a16:creationId xmlns:a16="http://schemas.microsoft.com/office/drawing/2014/main" id="{260D8E68-6E32-74A3-04F9-B268087BEC8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542015" y="5055727"/>
            <a:ext cx="775529" cy="511200"/>
            <a:chOff x="5974555" y="2851118"/>
            <a:chExt cx="1328547" cy="875727"/>
          </a:xfrm>
          <a:noFill/>
        </p:grpSpPr>
        <p:sp>
          <p:nvSpPr>
            <p:cNvPr id="57" name="Volný tvar: obrazec 56">
              <a:extLst>
                <a:ext uri="{FF2B5EF4-FFF2-40B4-BE49-F238E27FC236}">
                  <a16:creationId xmlns:a16="http://schemas.microsoft.com/office/drawing/2014/main" id="{B7F7DC7F-A7B5-E00F-4CBA-4F4633E73B63}"/>
                </a:ext>
              </a:extLst>
            </p:cNvPr>
            <p:cNvSpPr/>
            <p:nvPr userDrawn="1"/>
          </p:nvSpPr>
          <p:spPr>
            <a:xfrm>
              <a:off x="5974555" y="2914650"/>
              <a:ext cx="685895" cy="327945"/>
            </a:xfrm>
            <a:custGeom>
              <a:avLst/>
              <a:gdLst>
                <a:gd name="connsiteX0" fmla="*/ 150019 w 685895"/>
                <a:gd name="connsiteY0" fmla="*/ 312801 h 327945"/>
                <a:gd name="connsiteX1" fmla="*/ 147733 w 685895"/>
                <a:gd name="connsiteY1" fmla="*/ 309467 h 327945"/>
                <a:gd name="connsiteX2" fmla="*/ 150876 w 685895"/>
                <a:gd name="connsiteY2" fmla="*/ 305371 h 327945"/>
                <a:gd name="connsiteX3" fmla="*/ 146780 w 685895"/>
                <a:gd name="connsiteY3" fmla="*/ 302324 h 327945"/>
                <a:gd name="connsiteX4" fmla="*/ 149733 w 685895"/>
                <a:gd name="connsiteY4" fmla="*/ 296513 h 327945"/>
                <a:gd name="connsiteX5" fmla="*/ 145161 w 685895"/>
                <a:gd name="connsiteY5" fmla="*/ 289846 h 327945"/>
                <a:gd name="connsiteX6" fmla="*/ 141827 w 685895"/>
                <a:gd name="connsiteY6" fmla="*/ 292132 h 327945"/>
                <a:gd name="connsiteX7" fmla="*/ 138208 w 685895"/>
                <a:gd name="connsiteY7" fmla="*/ 292513 h 327945"/>
                <a:gd name="connsiteX8" fmla="*/ 139541 w 685895"/>
                <a:gd name="connsiteY8" fmla="*/ 288798 h 327945"/>
                <a:gd name="connsiteX9" fmla="*/ 137541 w 685895"/>
                <a:gd name="connsiteY9" fmla="*/ 287179 h 327945"/>
                <a:gd name="connsiteX10" fmla="*/ 135446 w 685895"/>
                <a:gd name="connsiteY10" fmla="*/ 285655 h 327945"/>
                <a:gd name="connsiteX11" fmla="*/ 133636 w 685895"/>
                <a:gd name="connsiteY11" fmla="*/ 285941 h 327945"/>
                <a:gd name="connsiteX12" fmla="*/ 129635 w 685895"/>
                <a:gd name="connsiteY12" fmla="*/ 282797 h 327945"/>
                <a:gd name="connsiteX13" fmla="*/ 126016 w 685895"/>
                <a:gd name="connsiteY13" fmla="*/ 283274 h 327945"/>
                <a:gd name="connsiteX14" fmla="*/ 124682 w 685895"/>
                <a:gd name="connsiteY14" fmla="*/ 287084 h 327945"/>
                <a:gd name="connsiteX15" fmla="*/ 98488 w 685895"/>
                <a:gd name="connsiteY15" fmla="*/ 268796 h 327945"/>
                <a:gd name="connsiteX16" fmla="*/ 90392 w 685895"/>
                <a:gd name="connsiteY16" fmla="*/ 262604 h 327945"/>
                <a:gd name="connsiteX17" fmla="*/ 86582 w 685895"/>
                <a:gd name="connsiteY17" fmla="*/ 261271 h 327945"/>
                <a:gd name="connsiteX18" fmla="*/ 86106 w 685895"/>
                <a:gd name="connsiteY18" fmla="*/ 257746 h 327945"/>
                <a:gd name="connsiteX19" fmla="*/ 96393 w 685895"/>
                <a:gd name="connsiteY19" fmla="*/ 252793 h 327945"/>
                <a:gd name="connsiteX20" fmla="*/ 97727 w 685895"/>
                <a:gd name="connsiteY20" fmla="*/ 248984 h 327945"/>
                <a:gd name="connsiteX21" fmla="*/ 97250 w 685895"/>
                <a:gd name="connsiteY21" fmla="*/ 245364 h 327945"/>
                <a:gd name="connsiteX22" fmla="*/ 98393 w 685895"/>
                <a:gd name="connsiteY22" fmla="*/ 239839 h 327945"/>
                <a:gd name="connsiteX23" fmla="*/ 94488 w 685895"/>
                <a:gd name="connsiteY23" fmla="*/ 238506 h 327945"/>
                <a:gd name="connsiteX24" fmla="*/ 94012 w 685895"/>
                <a:gd name="connsiteY24" fmla="*/ 234982 h 327945"/>
                <a:gd name="connsiteX25" fmla="*/ 92012 w 685895"/>
                <a:gd name="connsiteY25" fmla="*/ 233363 h 327945"/>
                <a:gd name="connsiteX26" fmla="*/ 89821 w 685895"/>
                <a:gd name="connsiteY26" fmla="*/ 244602 h 327945"/>
                <a:gd name="connsiteX27" fmla="*/ 84391 w 685895"/>
                <a:gd name="connsiteY27" fmla="*/ 245269 h 327945"/>
                <a:gd name="connsiteX28" fmla="*/ 83534 w 685895"/>
                <a:gd name="connsiteY28" fmla="*/ 238125 h 327945"/>
                <a:gd name="connsiteX29" fmla="*/ 86582 w 685895"/>
                <a:gd name="connsiteY29" fmla="*/ 234125 h 327945"/>
                <a:gd name="connsiteX30" fmla="*/ 84582 w 685895"/>
                <a:gd name="connsiteY30" fmla="*/ 232600 h 327945"/>
                <a:gd name="connsiteX31" fmla="*/ 85915 w 685895"/>
                <a:gd name="connsiteY31" fmla="*/ 228791 h 327945"/>
                <a:gd name="connsiteX32" fmla="*/ 82105 w 685895"/>
                <a:gd name="connsiteY32" fmla="*/ 227457 h 327945"/>
                <a:gd name="connsiteX33" fmla="*/ 74009 w 685895"/>
                <a:gd name="connsiteY33" fmla="*/ 235744 h 327945"/>
                <a:gd name="connsiteX34" fmla="*/ 66199 w 685895"/>
                <a:gd name="connsiteY34" fmla="*/ 231362 h 327945"/>
                <a:gd name="connsiteX35" fmla="*/ 65913 w 685895"/>
                <a:gd name="connsiteY35" fmla="*/ 229553 h 327945"/>
                <a:gd name="connsiteX36" fmla="*/ 62579 w 685895"/>
                <a:gd name="connsiteY36" fmla="*/ 231838 h 327945"/>
                <a:gd name="connsiteX37" fmla="*/ 62294 w 685895"/>
                <a:gd name="connsiteY37" fmla="*/ 230124 h 327945"/>
                <a:gd name="connsiteX38" fmla="*/ 58769 w 685895"/>
                <a:gd name="connsiteY38" fmla="*/ 230505 h 327945"/>
                <a:gd name="connsiteX39" fmla="*/ 53149 w 685895"/>
                <a:gd name="connsiteY39" fmla="*/ 229457 h 327945"/>
                <a:gd name="connsiteX40" fmla="*/ 50863 w 685895"/>
                <a:gd name="connsiteY40" fmla="*/ 226124 h 327945"/>
                <a:gd name="connsiteX41" fmla="*/ 56197 w 685895"/>
                <a:gd name="connsiteY41" fmla="*/ 225457 h 327945"/>
                <a:gd name="connsiteX42" fmla="*/ 61151 w 685895"/>
                <a:gd name="connsiteY42" fmla="*/ 221171 h 327945"/>
                <a:gd name="connsiteX43" fmla="*/ 55245 w 685895"/>
                <a:gd name="connsiteY43" fmla="*/ 218313 h 327945"/>
                <a:gd name="connsiteX44" fmla="*/ 50102 w 685895"/>
                <a:gd name="connsiteY44" fmla="*/ 220789 h 327945"/>
                <a:gd name="connsiteX45" fmla="*/ 45625 w 685895"/>
                <a:gd name="connsiteY45" fmla="*/ 214122 h 327945"/>
                <a:gd name="connsiteX46" fmla="*/ 49625 w 685895"/>
                <a:gd name="connsiteY46" fmla="*/ 217265 h 327945"/>
                <a:gd name="connsiteX47" fmla="*/ 49149 w 685895"/>
                <a:gd name="connsiteY47" fmla="*/ 213646 h 327945"/>
                <a:gd name="connsiteX48" fmla="*/ 40005 w 685895"/>
                <a:gd name="connsiteY48" fmla="*/ 213074 h 327945"/>
                <a:gd name="connsiteX49" fmla="*/ 33242 w 685895"/>
                <a:gd name="connsiteY49" fmla="*/ 217646 h 327945"/>
                <a:gd name="connsiteX50" fmla="*/ 33052 w 685895"/>
                <a:gd name="connsiteY50" fmla="*/ 215837 h 327945"/>
                <a:gd name="connsiteX51" fmla="*/ 25622 w 685895"/>
                <a:gd name="connsiteY51" fmla="*/ 214979 h 327945"/>
                <a:gd name="connsiteX52" fmla="*/ 17716 w 685895"/>
                <a:gd name="connsiteY52" fmla="*/ 210598 h 327945"/>
                <a:gd name="connsiteX53" fmla="*/ 17240 w 685895"/>
                <a:gd name="connsiteY53" fmla="*/ 207074 h 327945"/>
                <a:gd name="connsiteX54" fmla="*/ 15430 w 685895"/>
                <a:gd name="connsiteY54" fmla="*/ 207264 h 327945"/>
                <a:gd name="connsiteX55" fmla="*/ 15240 w 685895"/>
                <a:gd name="connsiteY55" fmla="*/ 205454 h 327945"/>
                <a:gd name="connsiteX56" fmla="*/ 13621 w 685895"/>
                <a:gd name="connsiteY56" fmla="*/ 207550 h 327945"/>
                <a:gd name="connsiteX57" fmla="*/ 9335 w 685895"/>
                <a:gd name="connsiteY57" fmla="*/ 202597 h 327945"/>
                <a:gd name="connsiteX58" fmla="*/ 10192 w 685895"/>
                <a:gd name="connsiteY58" fmla="*/ 195263 h 327945"/>
                <a:gd name="connsiteX59" fmla="*/ 6572 w 685895"/>
                <a:gd name="connsiteY59" fmla="*/ 195739 h 327945"/>
                <a:gd name="connsiteX60" fmla="*/ 6191 w 685895"/>
                <a:gd name="connsiteY60" fmla="*/ 192214 h 327945"/>
                <a:gd name="connsiteX61" fmla="*/ 0 w 685895"/>
                <a:gd name="connsiteY61" fmla="*/ 187547 h 327945"/>
                <a:gd name="connsiteX62" fmla="*/ 8572 w 685895"/>
                <a:gd name="connsiteY62" fmla="*/ 182785 h 327945"/>
                <a:gd name="connsiteX63" fmla="*/ 13430 w 685895"/>
                <a:gd name="connsiteY63" fmla="*/ 178499 h 327945"/>
                <a:gd name="connsiteX64" fmla="*/ 18860 w 685895"/>
                <a:gd name="connsiteY64" fmla="*/ 177832 h 327945"/>
                <a:gd name="connsiteX65" fmla="*/ 24955 w 685895"/>
                <a:gd name="connsiteY65" fmla="*/ 182404 h 327945"/>
                <a:gd name="connsiteX66" fmla="*/ 26765 w 685895"/>
                <a:gd name="connsiteY66" fmla="*/ 182213 h 327945"/>
                <a:gd name="connsiteX67" fmla="*/ 22670 w 685895"/>
                <a:gd name="connsiteY67" fmla="*/ 179070 h 327945"/>
                <a:gd name="connsiteX68" fmla="*/ 22479 w 685895"/>
                <a:gd name="connsiteY68" fmla="*/ 177355 h 327945"/>
                <a:gd name="connsiteX69" fmla="*/ 28289 w 685895"/>
                <a:gd name="connsiteY69" fmla="*/ 180213 h 327945"/>
                <a:gd name="connsiteX70" fmla="*/ 31909 w 685895"/>
                <a:gd name="connsiteY70" fmla="*/ 179737 h 327945"/>
                <a:gd name="connsiteX71" fmla="*/ 33909 w 685895"/>
                <a:gd name="connsiteY71" fmla="*/ 181261 h 327945"/>
                <a:gd name="connsiteX72" fmla="*/ 33433 w 685895"/>
                <a:gd name="connsiteY72" fmla="*/ 177641 h 327945"/>
                <a:gd name="connsiteX73" fmla="*/ 34766 w 685895"/>
                <a:gd name="connsiteY73" fmla="*/ 173926 h 327945"/>
                <a:gd name="connsiteX74" fmla="*/ 27622 w 685895"/>
                <a:gd name="connsiteY74" fmla="*/ 174879 h 327945"/>
                <a:gd name="connsiteX75" fmla="*/ 28956 w 685895"/>
                <a:gd name="connsiteY75" fmla="*/ 171069 h 327945"/>
                <a:gd name="connsiteX76" fmla="*/ 16097 w 685895"/>
                <a:gd name="connsiteY76" fmla="*/ 170879 h 327945"/>
                <a:gd name="connsiteX77" fmla="*/ 10287 w 685895"/>
                <a:gd name="connsiteY77" fmla="*/ 168116 h 327945"/>
                <a:gd name="connsiteX78" fmla="*/ 10001 w 685895"/>
                <a:gd name="connsiteY78" fmla="*/ 166307 h 327945"/>
                <a:gd name="connsiteX79" fmla="*/ 13335 w 685895"/>
                <a:gd name="connsiteY79" fmla="*/ 164021 h 327945"/>
                <a:gd name="connsiteX80" fmla="*/ 14669 w 685895"/>
                <a:gd name="connsiteY80" fmla="*/ 160211 h 327945"/>
                <a:gd name="connsiteX81" fmla="*/ 22098 w 685895"/>
                <a:gd name="connsiteY81" fmla="*/ 161068 h 327945"/>
                <a:gd name="connsiteX82" fmla="*/ 22384 w 685895"/>
                <a:gd name="connsiteY82" fmla="*/ 162878 h 327945"/>
                <a:gd name="connsiteX83" fmla="*/ 25908 w 685895"/>
                <a:gd name="connsiteY83" fmla="*/ 162401 h 327945"/>
                <a:gd name="connsiteX84" fmla="*/ 25432 w 685895"/>
                <a:gd name="connsiteY84" fmla="*/ 158782 h 327945"/>
                <a:gd name="connsiteX85" fmla="*/ 27527 w 685895"/>
                <a:gd name="connsiteY85" fmla="*/ 160306 h 327945"/>
                <a:gd name="connsiteX86" fmla="*/ 34480 w 685895"/>
                <a:gd name="connsiteY86" fmla="*/ 157639 h 327945"/>
                <a:gd name="connsiteX87" fmla="*/ 41910 w 685895"/>
                <a:gd name="connsiteY87" fmla="*/ 158401 h 327945"/>
                <a:gd name="connsiteX88" fmla="*/ 43148 w 685895"/>
                <a:gd name="connsiteY88" fmla="*/ 140113 h 327945"/>
                <a:gd name="connsiteX89" fmla="*/ 38862 w 685895"/>
                <a:gd name="connsiteY89" fmla="*/ 135255 h 327945"/>
                <a:gd name="connsiteX90" fmla="*/ 35814 w 685895"/>
                <a:gd name="connsiteY90" fmla="*/ 126587 h 327945"/>
                <a:gd name="connsiteX91" fmla="*/ 37433 w 685895"/>
                <a:gd name="connsiteY91" fmla="*/ 124587 h 327945"/>
                <a:gd name="connsiteX92" fmla="*/ 40957 w 685895"/>
                <a:gd name="connsiteY92" fmla="*/ 124111 h 327945"/>
                <a:gd name="connsiteX93" fmla="*/ 45911 w 685895"/>
                <a:gd name="connsiteY93" fmla="*/ 119825 h 327945"/>
                <a:gd name="connsiteX94" fmla="*/ 48387 w 685895"/>
                <a:gd name="connsiteY94" fmla="*/ 124968 h 327945"/>
                <a:gd name="connsiteX95" fmla="*/ 55340 w 685895"/>
                <a:gd name="connsiteY95" fmla="*/ 122206 h 327945"/>
                <a:gd name="connsiteX96" fmla="*/ 51816 w 685895"/>
                <a:gd name="connsiteY96" fmla="*/ 122682 h 327945"/>
                <a:gd name="connsiteX97" fmla="*/ 45244 w 685895"/>
                <a:gd name="connsiteY97" fmla="*/ 114491 h 327945"/>
                <a:gd name="connsiteX98" fmla="*/ 42101 w 685895"/>
                <a:gd name="connsiteY98" fmla="*/ 118491 h 327945"/>
                <a:gd name="connsiteX99" fmla="*/ 32195 w 685895"/>
                <a:gd name="connsiteY99" fmla="*/ 112586 h 327945"/>
                <a:gd name="connsiteX100" fmla="*/ 37719 w 685895"/>
                <a:gd name="connsiteY100" fmla="*/ 99155 h 327945"/>
                <a:gd name="connsiteX101" fmla="*/ 42863 w 685895"/>
                <a:gd name="connsiteY101" fmla="*/ 96679 h 327945"/>
                <a:gd name="connsiteX102" fmla="*/ 48482 w 685895"/>
                <a:gd name="connsiteY102" fmla="*/ 97726 h 327945"/>
                <a:gd name="connsiteX103" fmla="*/ 49435 w 685895"/>
                <a:gd name="connsiteY103" fmla="*/ 104870 h 327945"/>
                <a:gd name="connsiteX104" fmla="*/ 55054 w 685895"/>
                <a:gd name="connsiteY104" fmla="*/ 105918 h 327945"/>
                <a:gd name="connsiteX105" fmla="*/ 63532 w 685895"/>
                <a:gd name="connsiteY105" fmla="*/ 101155 h 327945"/>
                <a:gd name="connsiteX106" fmla="*/ 60293 w 685895"/>
                <a:gd name="connsiteY106" fmla="*/ 90773 h 327945"/>
                <a:gd name="connsiteX107" fmla="*/ 62103 w 685895"/>
                <a:gd name="connsiteY107" fmla="*/ 90488 h 327945"/>
                <a:gd name="connsiteX108" fmla="*/ 64198 w 685895"/>
                <a:gd name="connsiteY108" fmla="*/ 92012 h 327945"/>
                <a:gd name="connsiteX109" fmla="*/ 77724 w 685895"/>
                <a:gd name="connsiteY109" fmla="*/ 112014 h 327945"/>
                <a:gd name="connsiteX110" fmla="*/ 91630 w 685895"/>
                <a:gd name="connsiteY110" fmla="*/ 106489 h 327945"/>
                <a:gd name="connsiteX111" fmla="*/ 97917 w 685895"/>
                <a:gd name="connsiteY111" fmla="*/ 98488 h 327945"/>
                <a:gd name="connsiteX112" fmla="*/ 99727 w 685895"/>
                <a:gd name="connsiteY112" fmla="*/ 98203 h 327945"/>
                <a:gd name="connsiteX113" fmla="*/ 104870 w 685895"/>
                <a:gd name="connsiteY113" fmla="*/ 95726 h 327945"/>
                <a:gd name="connsiteX114" fmla="*/ 106204 w 685895"/>
                <a:gd name="connsiteY114" fmla="*/ 91916 h 327945"/>
                <a:gd name="connsiteX115" fmla="*/ 111823 w 685895"/>
                <a:gd name="connsiteY115" fmla="*/ 92964 h 327945"/>
                <a:gd name="connsiteX116" fmla="*/ 115443 w 685895"/>
                <a:gd name="connsiteY116" fmla="*/ 92488 h 327945"/>
                <a:gd name="connsiteX117" fmla="*/ 109823 w 685895"/>
                <a:gd name="connsiteY117" fmla="*/ 91440 h 327945"/>
                <a:gd name="connsiteX118" fmla="*/ 109061 w 685895"/>
                <a:gd name="connsiteY118" fmla="*/ 86106 h 327945"/>
                <a:gd name="connsiteX119" fmla="*/ 123920 w 685895"/>
                <a:gd name="connsiteY119" fmla="*/ 87725 h 327945"/>
                <a:gd name="connsiteX120" fmla="*/ 125730 w 685895"/>
                <a:gd name="connsiteY120" fmla="*/ 87535 h 327945"/>
                <a:gd name="connsiteX121" fmla="*/ 125444 w 685895"/>
                <a:gd name="connsiteY121" fmla="*/ 85725 h 327945"/>
                <a:gd name="connsiteX122" fmla="*/ 130588 w 685895"/>
                <a:gd name="connsiteY122" fmla="*/ 83249 h 327945"/>
                <a:gd name="connsiteX123" fmla="*/ 133731 w 685895"/>
                <a:gd name="connsiteY123" fmla="*/ 79248 h 327945"/>
                <a:gd name="connsiteX124" fmla="*/ 139637 w 685895"/>
                <a:gd name="connsiteY124" fmla="*/ 82010 h 327945"/>
                <a:gd name="connsiteX125" fmla="*/ 141161 w 685895"/>
                <a:gd name="connsiteY125" fmla="*/ 80010 h 327945"/>
                <a:gd name="connsiteX126" fmla="*/ 138398 w 685895"/>
                <a:gd name="connsiteY126" fmla="*/ 73152 h 327945"/>
                <a:gd name="connsiteX127" fmla="*/ 136588 w 685895"/>
                <a:gd name="connsiteY127" fmla="*/ 73342 h 327945"/>
                <a:gd name="connsiteX128" fmla="*/ 136207 w 685895"/>
                <a:gd name="connsiteY128" fmla="*/ 69818 h 327945"/>
                <a:gd name="connsiteX129" fmla="*/ 138303 w 685895"/>
                <a:gd name="connsiteY129" fmla="*/ 58674 h 327945"/>
                <a:gd name="connsiteX130" fmla="*/ 139922 w 685895"/>
                <a:gd name="connsiteY130" fmla="*/ 56674 h 327945"/>
                <a:gd name="connsiteX131" fmla="*/ 153543 w 685895"/>
                <a:gd name="connsiteY131" fmla="*/ 49339 h 327945"/>
                <a:gd name="connsiteX132" fmla="*/ 157163 w 685895"/>
                <a:gd name="connsiteY132" fmla="*/ 48958 h 327945"/>
                <a:gd name="connsiteX133" fmla="*/ 159448 w 685895"/>
                <a:gd name="connsiteY133" fmla="*/ 52197 h 327945"/>
                <a:gd name="connsiteX134" fmla="*/ 160972 w 685895"/>
                <a:gd name="connsiteY134" fmla="*/ 50197 h 327945"/>
                <a:gd name="connsiteX135" fmla="*/ 161639 w 685895"/>
                <a:gd name="connsiteY135" fmla="*/ 55531 h 327945"/>
                <a:gd name="connsiteX136" fmla="*/ 165735 w 685895"/>
                <a:gd name="connsiteY136" fmla="*/ 58674 h 327945"/>
                <a:gd name="connsiteX137" fmla="*/ 170688 w 685895"/>
                <a:gd name="connsiteY137" fmla="*/ 54388 h 327945"/>
                <a:gd name="connsiteX138" fmla="*/ 170212 w 685895"/>
                <a:gd name="connsiteY138" fmla="*/ 50768 h 327945"/>
                <a:gd name="connsiteX139" fmla="*/ 173260 w 685895"/>
                <a:gd name="connsiteY139" fmla="*/ 46768 h 327945"/>
                <a:gd name="connsiteX140" fmla="*/ 175355 w 685895"/>
                <a:gd name="connsiteY140" fmla="*/ 48292 h 327945"/>
                <a:gd name="connsiteX141" fmla="*/ 182499 w 685895"/>
                <a:gd name="connsiteY141" fmla="*/ 47339 h 327945"/>
                <a:gd name="connsiteX142" fmla="*/ 176403 w 685895"/>
                <a:gd name="connsiteY142" fmla="*/ 42767 h 327945"/>
                <a:gd name="connsiteX143" fmla="*/ 177546 w 685895"/>
                <a:gd name="connsiteY143" fmla="*/ 37147 h 327945"/>
                <a:gd name="connsiteX144" fmla="*/ 181165 w 685895"/>
                <a:gd name="connsiteY144" fmla="*/ 36671 h 327945"/>
                <a:gd name="connsiteX145" fmla="*/ 190786 w 685895"/>
                <a:gd name="connsiteY145" fmla="*/ 40862 h 327945"/>
                <a:gd name="connsiteX146" fmla="*/ 190881 w 685895"/>
                <a:gd name="connsiteY146" fmla="*/ 55340 h 327945"/>
                <a:gd name="connsiteX147" fmla="*/ 194501 w 685895"/>
                <a:gd name="connsiteY147" fmla="*/ 54864 h 327945"/>
                <a:gd name="connsiteX148" fmla="*/ 194977 w 685895"/>
                <a:gd name="connsiteY148" fmla="*/ 58388 h 327945"/>
                <a:gd name="connsiteX149" fmla="*/ 196977 w 685895"/>
                <a:gd name="connsiteY149" fmla="*/ 60008 h 327945"/>
                <a:gd name="connsiteX150" fmla="*/ 198787 w 685895"/>
                <a:gd name="connsiteY150" fmla="*/ 59722 h 327945"/>
                <a:gd name="connsiteX151" fmla="*/ 200120 w 685895"/>
                <a:gd name="connsiteY151" fmla="*/ 55912 h 327945"/>
                <a:gd name="connsiteX152" fmla="*/ 201930 w 685895"/>
                <a:gd name="connsiteY152" fmla="*/ 55626 h 327945"/>
                <a:gd name="connsiteX153" fmla="*/ 204216 w 685895"/>
                <a:gd name="connsiteY153" fmla="*/ 58960 h 327945"/>
                <a:gd name="connsiteX154" fmla="*/ 208026 w 685895"/>
                <a:gd name="connsiteY154" fmla="*/ 60293 h 327945"/>
                <a:gd name="connsiteX155" fmla="*/ 209550 w 685895"/>
                <a:gd name="connsiteY155" fmla="*/ 58293 h 327945"/>
                <a:gd name="connsiteX156" fmla="*/ 205930 w 685895"/>
                <a:gd name="connsiteY156" fmla="*/ 58769 h 327945"/>
                <a:gd name="connsiteX157" fmla="*/ 203263 w 685895"/>
                <a:gd name="connsiteY157" fmla="*/ 51911 h 327945"/>
                <a:gd name="connsiteX158" fmla="*/ 206788 w 685895"/>
                <a:gd name="connsiteY158" fmla="*/ 51435 h 327945"/>
                <a:gd name="connsiteX159" fmla="*/ 207359 w 685895"/>
                <a:gd name="connsiteY159" fmla="*/ 54959 h 327945"/>
                <a:gd name="connsiteX160" fmla="*/ 208883 w 685895"/>
                <a:gd name="connsiteY160" fmla="*/ 52959 h 327945"/>
                <a:gd name="connsiteX161" fmla="*/ 210884 w 685895"/>
                <a:gd name="connsiteY161" fmla="*/ 54483 h 327945"/>
                <a:gd name="connsiteX162" fmla="*/ 216027 w 685895"/>
                <a:gd name="connsiteY162" fmla="*/ 52007 h 327945"/>
                <a:gd name="connsiteX163" fmla="*/ 218313 w 685895"/>
                <a:gd name="connsiteY163" fmla="*/ 55340 h 327945"/>
                <a:gd name="connsiteX164" fmla="*/ 223647 w 685895"/>
                <a:gd name="connsiteY164" fmla="*/ 54578 h 327945"/>
                <a:gd name="connsiteX165" fmla="*/ 221647 w 685895"/>
                <a:gd name="connsiteY165" fmla="*/ 53054 h 327945"/>
                <a:gd name="connsiteX166" fmla="*/ 223266 w 685895"/>
                <a:gd name="connsiteY166" fmla="*/ 51054 h 327945"/>
                <a:gd name="connsiteX167" fmla="*/ 229362 w 685895"/>
                <a:gd name="connsiteY167" fmla="*/ 55721 h 327945"/>
                <a:gd name="connsiteX168" fmla="*/ 230886 w 685895"/>
                <a:gd name="connsiteY168" fmla="*/ 53626 h 327945"/>
                <a:gd name="connsiteX169" fmla="*/ 234505 w 685895"/>
                <a:gd name="connsiteY169" fmla="*/ 53245 h 327945"/>
                <a:gd name="connsiteX170" fmla="*/ 234696 w 685895"/>
                <a:gd name="connsiteY170" fmla="*/ 54959 h 327945"/>
                <a:gd name="connsiteX171" fmla="*/ 230886 w 685895"/>
                <a:gd name="connsiteY171" fmla="*/ 53626 h 327945"/>
                <a:gd name="connsiteX172" fmla="*/ 233172 w 685895"/>
                <a:gd name="connsiteY172" fmla="*/ 56959 h 327945"/>
                <a:gd name="connsiteX173" fmla="*/ 238506 w 685895"/>
                <a:gd name="connsiteY173" fmla="*/ 56293 h 327945"/>
                <a:gd name="connsiteX174" fmla="*/ 242316 w 685895"/>
                <a:gd name="connsiteY174" fmla="*/ 57531 h 327945"/>
                <a:gd name="connsiteX175" fmla="*/ 244126 w 685895"/>
                <a:gd name="connsiteY175" fmla="*/ 57341 h 327945"/>
                <a:gd name="connsiteX176" fmla="*/ 248031 w 685895"/>
                <a:gd name="connsiteY176" fmla="*/ 58674 h 327945"/>
                <a:gd name="connsiteX177" fmla="*/ 250412 w 685895"/>
                <a:gd name="connsiteY177" fmla="*/ 49244 h 327945"/>
                <a:gd name="connsiteX178" fmla="*/ 252413 w 685895"/>
                <a:gd name="connsiteY178" fmla="*/ 50863 h 327945"/>
                <a:gd name="connsiteX179" fmla="*/ 254698 w 685895"/>
                <a:gd name="connsiteY179" fmla="*/ 54102 h 327945"/>
                <a:gd name="connsiteX180" fmla="*/ 268224 w 685895"/>
                <a:gd name="connsiteY180" fmla="*/ 59626 h 327945"/>
                <a:gd name="connsiteX181" fmla="*/ 266700 w 685895"/>
                <a:gd name="connsiteY181" fmla="*/ 61627 h 327945"/>
                <a:gd name="connsiteX182" fmla="*/ 272510 w 685895"/>
                <a:gd name="connsiteY182" fmla="*/ 64484 h 327945"/>
                <a:gd name="connsiteX183" fmla="*/ 274511 w 685895"/>
                <a:gd name="connsiteY183" fmla="*/ 66008 h 327945"/>
                <a:gd name="connsiteX184" fmla="*/ 276796 w 685895"/>
                <a:gd name="connsiteY184" fmla="*/ 69342 h 327945"/>
                <a:gd name="connsiteX185" fmla="*/ 279940 w 685895"/>
                <a:gd name="connsiteY185" fmla="*/ 65246 h 327945"/>
                <a:gd name="connsiteX186" fmla="*/ 283559 w 685895"/>
                <a:gd name="connsiteY186" fmla="*/ 64865 h 327945"/>
                <a:gd name="connsiteX187" fmla="*/ 285845 w 685895"/>
                <a:gd name="connsiteY187" fmla="*/ 68104 h 327945"/>
                <a:gd name="connsiteX188" fmla="*/ 289179 w 685895"/>
                <a:gd name="connsiteY188" fmla="*/ 65913 h 327945"/>
                <a:gd name="connsiteX189" fmla="*/ 290227 w 685895"/>
                <a:gd name="connsiteY189" fmla="*/ 60293 h 327945"/>
                <a:gd name="connsiteX190" fmla="*/ 292037 w 685895"/>
                <a:gd name="connsiteY190" fmla="*/ 60103 h 327945"/>
                <a:gd name="connsiteX191" fmla="*/ 296513 w 685895"/>
                <a:gd name="connsiteY191" fmla="*/ 52197 h 327945"/>
                <a:gd name="connsiteX192" fmla="*/ 298323 w 685895"/>
                <a:gd name="connsiteY192" fmla="*/ 52007 h 327945"/>
                <a:gd name="connsiteX193" fmla="*/ 301657 w 685895"/>
                <a:gd name="connsiteY193" fmla="*/ 49721 h 327945"/>
                <a:gd name="connsiteX194" fmla="*/ 305276 w 685895"/>
                <a:gd name="connsiteY194" fmla="*/ 49244 h 327945"/>
                <a:gd name="connsiteX195" fmla="*/ 305753 w 685895"/>
                <a:gd name="connsiteY195" fmla="*/ 52864 h 327945"/>
                <a:gd name="connsiteX196" fmla="*/ 309086 w 685895"/>
                <a:gd name="connsiteY196" fmla="*/ 50578 h 327945"/>
                <a:gd name="connsiteX197" fmla="*/ 312896 w 685895"/>
                <a:gd name="connsiteY197" fmla="*/ 51911 h 327945"/>
                <a:gd name="connsiteX198" fmla="*/ 318992 w 685895"/>
                <a:gd name="connsiteY198" fmla="*/ 56483 h 327945"/>
                <a:gd name="connsiteX199" fmla="*/ 323183 w 685895"/>
                <a:gd name="connsiteY199" fmla="*/ 46863 h 327945"/>
                <a:gd name="connsiteX200" fmla="*/ 327279 w 685895"/>
                <a:gd name="connsiteY200" fmla="*/ 50006 h 327945"/>
                <a:gd name="connsiteX201" fmla="*/ 326803 w 685895"/>
                <a:gd name="connsiteY201" fmla="*/ 46387 h 327945"/>
                <a:gd name="connsiteX202" fmla="*/ 330422 w 685895"/>
                <a:gd name="connsiteY202" fmla="*/ 45911 h 327945"/>
                <a:gd name="connsiteX203" fmla="*/ 331946 w 685895"/>
                <a:gd name="connsiteY203" fmla="*/ 43910 h 327945"/>
                <a:gd name="connsiteX204" fmla="*/ 335471 w 685895"/>
                <a:gd name="connsiteY204" fmla="*/ 28956 h 327945"/>
                <a:gd name="connsiteX205" fmla="*/ 331851 w 685895"/>
                <a:gd name="connsiteY205" fmla="*/ 29432 h 327945"/>
                <a:gd name="connsiteX206" fmla="*/ 332518 w 685895"/>
                <a:gd name="connsiteY206" fmla="*/ 20288 h 327945"/>
                <a:gd name="connsiteX207" fmla="*/ 337661 w 685895"/>
                <a:gd name="connsiteY207" fmla="*/ 17812 h 327945"/>
                <a:gd name="connsiteX208" fmla="*/ 335566 w 685895"/>
                <a:gd name="connsiteY208" fmla="*/ 16192 h 327945"/>
                <a:gd name="connsiteX209" fmla="*/ 342805 w 685895"/>
                <a:gd name="connsiteY209" fmla="*/ 15240 h 327945"/>
                <a:gd name="connsiteX210" fmla="*/ 345662 w 685895"/>
                <a:gd name="connsiteY210" fmla="*/ 9430 h 327945"/>
                <a:gd name="connsiteX211" fmla="*/ 354902 w 685895"/>
                <a:gd name="connsiteY211" fmla="*/ 10096 h 327945"/>
                <a:gd name="connsiteX212" fmla="*/ 357759 w 685895"/>
                <a:gd name="connsiteY212" fmla="*/ 4191 h 327945"/>
                <a:gd name="connsiteX213" fmla="*/ 362712 w 685895"/>
                <a:gd name="connsiteY213" fmla="*/ 0 h 327945"/>
                <a:gd name="connsiteX214" fmla="*/ 370332 w 685895"/>
                <a:gd name="connsiteY214" fmla="*/ 2572 h 327945"/>
                <a:gd name="connsiteX215" fmla="*/ 374618 w 685895"/>
                <a:gd name="connsiteY215" fmla="*/ 7429 h 327945"/>
                <a:gd name="connsiteX216" fmla="*/ 387668 w 685895"/>
                <a:gd name="connsiteY216" fmla="*/ 9335 h 327945"/>
                <a:gd name="connsiteX217" fmla="*/ 388144 w 685895"/>
                <a:gd name="connsiteY217" fmla="*/ 12954 h 327945"/>
                <a:gd name="connsiteX218" fmla="*/ 385001 w 685895"/>
                <a:gd name="connsiteY218" fmla="*/ 16954 h 327945"/>
                <a:gd name="connsiteX219" fmla="*/ 392716 w 685895"/>
                <a:gd name="connsiteY219" fmla="*/ 19526 h 327945"/>
                <a:gd name="connsiteX220" fmla="*/ 388715 w 685895"/>
                <a:gd name="connsiteY220" fmla="*/ 30956 h 327945"/>
                <a:gd name="connsiteX221" fmla="*/ 386524 w 685895"/>
                <a:gd name="connsiteY221" fmla="*/ 42100 h 327945"/>
                <a:gd name="connsiteX222" fmla="*/ 389001 w 685895"/>
                <a:gd name="connsiteY222" fmla="*/ 47244 h 327945"/>
                <a:gd name="connsiteX223" fmla="*/ 398526 w 685895"/>
                <a:gd name="connsiteY223" fmla="*/ 49625 h 327945"/>
                <a:gd name="connsiteX224" fmla="*/ 399002 w 685895"/>
                <a:gd name="connsiteY224" fmla="*/ 53150 h 327945"/>
                <a:gd name="connsiteX225" fmla="*/ 400812 w 685895"/>
                <a:gd name="connsiteY225" fmla="*/ 52959 h 327945"/>
                <a:gd name="connsiteX226" fmla="*/ 415385 w 685895"/>
                <a:gd name="connsiteY226" fmla="*/ 52864 h 327945"/>
                <a:gd name="connsiteX227" fmla="*/ 416052 w 685895"/>
                <a:gd name="connsiteY227" fmla="*/ 58198 h 327945"/>
                <a:gd name="connsiteX228" fmla="*/ 421481 w 685895"/>
                <a:gd name="connsiteY228" fmla="*/ 57436 h 327945"/>
                <a:gd name="connsiteX229" fmla="*/ 420719 w 685895"/>
                <a:gd name="connsiteY229" fmla="*/ 52102 h 327945"/>
                <a:gd name="connsiteX230" fmla="*/ 431102 w 685895"/>
                <a:gd name="connsiteY230" fmla="*/ 47149 h 327945"/>
                <a:gd name="connsiteX231" fmla="*/ 431482 w 685895"/>
                <a:gd name="connsiteY231" fmla="*/ 36195 h 327945"/>
                <a:gd name="connsiteX232" fmla="*/ 446056 w 685895"/>
                <a:gd name="connsiteY232" fmla="*/ 36100 h 327945"/>
                <a:gd name="connsiteX233" fmla="*/ 462439 w 685895"/>
                <a:gd name="connsiteY233" fmla="*/ 35719 h 327945"/>
                <a:gd name="connsiteX234" fmla="*/ 463391 w 685895"/>
                <a:gd name="connsiteY234" fmla="*/ 15621 h 327945"/>
                <a:gd name="connsiteX235" fmla="*/ 486823 w 685895"/>
                <a:gd name="connsiteY235" fmla="*/ 12573 h 327945"/>
                <a:gd name="connsiteX236" fmla="*/ 488347 w 685895"/>
                <a:gd name="connsiteY236" fmla="*/ 10477 h 327945"/>
                <a:gd name="connsiteX237" fmla="*/ 489204 w 685895"/>
                <a:gd name="connsiteY237" fmla="*/ 3143 h 327945"/>
                <a:gd name="connsiteX238" fmla="*/ 493014 w 685895"/>
                <a:gd name="connsiteY238" fmla="*/ 4477 h 327945"/>
                <a:gd name="connsiteX239" fmla="*/ 509492 w 685895"/>
                <a:gd name="connsiteY239" fmla="*/ 18574 h 327945"/>
                <a:gd name="connsiteX240" fmla="*/ 515969 w 685895"/>
                <a:gd name="connsiteY240" fmla="*/ 12287 h 327945"/>
                <a:gd name="connsiteX241" fmla="*/ 518541 w 685895"/>
                <a:gd name="connsiteY241" fmla="*/ 17431 h 327945"/>
                <a:gd name="connsiteX242" fmla="*/ 522065 w 685895"/>
                <a:gd name="connsiteY242" fmla="*/ 16954 h 327945"/>
                <a:gd name="connsiteX243" fmla="*/ 529971 w 685895"/>
                <a:gd name="connsiteY243" fmla="*/ 21336 h 327945"/>
                <a:gd name="connsiteX244" fmla="*/ 553593 w 685895"/>
                <a:gd name="connsiteY244" fmla="*/ 20003 h 327945"/>
                <a:gd name="connsiteX245" fmla="*/ 553879 w 685895"/>
                <a:gd name="connsiteY245" fmla="*/ 36290 h 327945"/>
                <a:gd name="connsiteX246" fmla="*/ 570547 w 685895"/>
                <a:gd name="connsiteY246" fmla="*/ 37719 h 327945"/>
                <a:gd name="connsiteX247" fmla="*/ 572167 w 685895"/>
                <a:gd name="connsiteY247" fmla="*/ 50197 h 327945"/>
                <a:gd name="connsiteX248" fmla="*/ 572643 w 685895"/>
                <a:gd name="connsiteY248" fmla="*/ 80963 h 327945"/>
                <a:gd name="connsiteX249" fmla="*/ 612838 w 685895"/>
                <a:gd name="connsiteY249" fmla="*/ 81058 h 327945"/>
                <a:gd name="connsiteX250" fmla="*/ 618458 w 685895"/>
                <a:gd name="connsiteY250" fmla="*/ 82105 h 327945"/>
                <a:gd name="connsiteX251" fmla="*/ 626650 w 685895"/>
                <a:gd name="connsiteY251" fmla="*/ 102870 h 327945"/>
                <a:gd name="connsiteX252" fmla="*/ 628079 w 685895"/>
                <a:gd name="connsiteY252" fmla="*/ 113538 h 327945"/>
                <a:gd name="connsiteX253" fmla="*/ 630364 w 685895"/>
                <a:gd name="connsiteY253" fmla="*/ 116872 h 327945"/>
                <a:gd name="connsiteX254" fmla="*/ 633984 w 685895"/>
                <a:gd name="connsiteY254" fmla="*/ 116396 h 327945"/>
                <a:gd name="connsiteX255" fmla="*/ 643223 w 685895"/>
                <a:gd name="connsiteY255" fmla="*/ 116967 h 327945"/>
                <a:gd name="connsiteX256" fmla="*/ 645414 w 685895"/>
                <a:gd name="connsiteY256" fmla="*/ 120301 h 327945"/>
                <a:gd name="connsiteX257" fmla="*/ 650843 w 685895"/>
                <a:gd name="connsiteY257" fmla="*/ 119539 h 327945"/>
                <a:gd name="connsiteX258" fmla="*/ 652844 w 685895"/>
                <a:gd name="connsiteY258" fmla="*/ 121063 h 327945"/>
                <a:gd name="connsiteX259" fmla="*/ 661606 w 685895"/>
                <a:gd name="connsiteY259" fmla="*/ 118110 h 327945"/>
                <a:gd name="connsiteX260" fmla="*/ 671989 w 685895"/>
                <a:gd name="connsiteY260" fmla="*/ 127635 h 327945"/>
                <a:gd name="connsiteX261" fmla="*/ 677228 w 685895"/>
                <a:gd name="connsiteY261" fmla="*/ 139637 h 327945"/>
                <a:gd name="connsiteX262" fmla="*/ 685610 w 685895"/>
                <a:gd name="connsiteY262" fmla="*/ 147638 h 327945"/>
                <a:gd name="connsiteX263" fmla="*/ 683419 w 685895"/>
                <a:gd name="connsiteY263" fmla="*/ 158782 h 327945"/>
                <a:gd name="connsiteX264" fmla="*/ 685895 w 685895"/>
                <a:gd name="connsiteY264" fmla="*/ 163830 h 327945"/>
                <a:gd name="connsiteX265" fmla="*/ 679418 w 685895"/>
                <a:gd name="connsiteY265" fmla="*/ 170212 h 327945"/>
                <a:gd name="connsiteX266" fmla="*/ 680180 w 685895"/>
                <a:gd name="connsiteY266" fmla="*/ 175546 h 327945"/>
                <a:gd name="connsiteX267" fmla="*/ 671036 w 685895"/>
                <a:gd name="connsiteY267" fmla="*/ 189452 h 327945"/>
                <a:gd name="connsiteX268" fmla="*/ 670655 w 685895"/>
                <a:gd name="connsiteY268" fmla="*/ 200311 h 327945"/>
                <a:gd name="connsiteX269" fmla="*/ 665988 w 685895"/>
                <a:gd name="connsiteY269" fmla="*/ 206407 h 327945"/>
                <a:gd name="connsiteX270" fmla="*/ 644843 w 685895"/>
                <a:gd name="connsiteY270" fmla="*/ 198311 h 327945"/>
                <a:gd name="connsiteX271" fmla="*/ 647986 w 685895"/>
                <a:gd name="connsiteY271" fmla="*/ 208788 h 327945"/>
                <a:gd name="connsiteX272" fmla="*/ 656939 w 685895"/>
                <a:gd name="connsiteY272" fmla="*/ 207550 h 327945"/>
                <a:gd name="connsiteX273" fmla="*/ 661035 w 685895"/>
                <a:gd name="connsiteY273" fmla="*/ 210693 h 327945"/>
                <a:gd name="connsiteX274" fmla="*/ 655320 w 685895"/>
                <a:gd name="connsiteY274" fmla="*/ 222313 h 327945"/>
                <a:gd name="connsiteX275" fmla="*/ 660940 w 685895"/>
                <a:gd name="connsiteY275" fmla="*/ 223361 h 327945"/>
                <a:gd name="connsiteX276" fmla="*/ 663130 w 685895"/>
                <a:gd name="connsiteY276" fmla="*/ 226695 h 327945"/>
                <a:gd name="connsiteX277" fmla="*/ 658273 w 685895"/>
                <a:gd name="connsiteY277" fmla="*/ 230981 h 327945"/>
                <a:gd name="connsiteX278" fmla="*/ 651986 w 685895"/>
                <a:gd name="connsiteY278" fmla="*/ 239078 h 327945"/>
                <a:gd name="connsiteX279" fmla="*/ 654463 w 685895"/>
                <a:gd name="connsiteY279" fmla="*/ 244126 h 327945"/>
                <a:gd name="connsiteX280" fmla="*/ 650081 w 685895"/>
                <a:gd name="connsiteY280" fmla="*/ 252032 h 327945"/>
                <a:gd name="connsiteX281" fmla="*/ 642652 w 685895"/>
                <a:gd name="connsiteY281" fmla="*/ 251174 h 327945"/>
                <a:gd name="connsiteX282" fmla="*/ 642938 w 685895"/>
                <a:gd name="connsiteY282" fmla="*/ 252984 h 327945"/>
                <a:gd name="connsiteX283" fmla="*/ 637699 w 685895"/>
                <a:gd name="connsiteY283" fmla="*/ 255461 h 327945"/>
                <a:gd name="connsiteX284" fmla="*/ 636365 w 685895"/>
                <a:gd name="connsiteY284" fmla="*/ 259271 h 327945"/>
                <a:gd name="connsiteX285" fmla="*/ 631031 w 685895"/>
                <a:gd name="connsiteY285" fmla="*/ 259937 h 327945"/>
                <a:gd name="connsiteX286" fmla="*/ 632365 w 685895"/>
                <a:gd name="connsiteY286" fmla="*/ 256127 h 327945"/>
                <a:gd name="connsiteX287" fmla="*/ 624745 w 685895"/>
                <a:gd name="connsiteY287" fmla="*/ 253555 h 327945"/>
                <a:gd name="connsiteX288" fmla="*/ 620649 w 685895"/>
                <a:gd name="connsiteY288" fmla="*/ 250508 h 327945"/>
                <a:gd name="connsiteX289" fmla="*/ 617506 w 685895"/>
                <a:gd name="connsiteY289" fmla="*/ 254508 h 327945"/>
                <a:gd name="connsiteX290" fmla="*/ 617125 w 685895"/>
                <a:gd name="connsiteY290" fmla="*/ 265462 h 327945"/>
                <a:gd name="connsiteX291" fmla="*/ 602552 w 685895"/>
                <a:gd name="connsiteY291" fmla="*/ 265557 h 327945"/>
                <a:gd name="connsiteX292" fmla="*/ 596932 w 685895"/>
                <a:gd name="connsiteY292" fmla="*/ 264509 h 327945"/>
                <a:gd name="connsiteX293" fmla="*/ 593312 w 685895"/>
                <a:gd name="connsiteY293" fmla="*/ 264986 h 327945"/>
                <a:gd name="connsiteX294" fmla="*/ 592169 w 685895"/>
                <a:gd name="connsiteY294" fmla="*/ 256032 h 327945"/>
                <a:gd name="connsiteX295" fmla="*/ 593217 w 685895"/>
                <a:gd name="connsiteY295" fmla="*/ 250508 h 327945"/>
                <a:gd name="connsiteX296" fmla="*/ 591217 w 685895"/>
                <a:gd name="connsiteY296" fmla="*/ 248888 h 327945"/>
                <a:gd name="connsiteX297" fmla="*/ 586264 w 685895"/>
                <a:gd name="connsiteY297" fmla="*/ 253175 h 327945"/>
                <a:gd name="connsiteX298" fmla="*/ 580835 w 685895"/>
                <a:gd name="connsiteY298" fmla="*/ 253937 h 327945"/>
                <a:gd name="connsiteX299" fmla="*/ 580454 w 685895"/>
                <a:gd name="connsiteY299" fmla="*/ 250317 h 327945"/>
                <a:gd name="connsiteX300" fmla="*/ 575024 w 685895"/>
                <a:gd name="connsiteY300" fmla="*/ 251079 h 327945"/>
                <a:gd name="connsiteX301" fmla="*/ 572738 w 685895"/>
                <a:gd name="connsiteY301" fmla="*/ 247745 h 327945"/>
                <a:gd name="connsiteX302" fmla="*/ 572357 w 685895"/>
                <a:gd name="connsiteY302" fmla="*/ 258699 h 327945"/>
                <a:gd name="connsiteX303" fmla="*/ 569214 w 685895"/>
                <a:gd name="connsiteY303" fmla="*/ 262700 h 327945"/>
                <a:gd name="connsiteX304" fmla="*/ 551307 w 685895"/>
                <a:gd name="connsiteY304" fmla="*/ 265081 h 327945"/>
                <a:gd name="connsiteX305" fmla="*/ 551497 w 685895"/>
                <a:gd name="connsiteY305" fmla="*/ 266891 h 327945"/>
                <a:gd name="connsiteX306" fmla="*/ 552640 w 685895"/>
                <a:gd name="connsiteY306" fmla="*/ 275749 h 327945"/>
                <a:gd name="connsiteX307" fmla="*/ 545497 w 685895"/>
                <a:gd name="connsiteY307" fmla="*/ 276701 h 327945"/>
                <a:gd name="connsiteX308" fmla="*/ 545782 w 685895"/>
                <a:gd name="connsiteY308" fmla="*/ 278511 h 327945"/>
                <a:gd name="connsiteX309" fmla="*/ 538067 w 685895"/>
                <a:gd name="connsiteY309" fmla="*/ 275939 h 327945"/>
                <a:gd name="connsiteX310" fmla="*/ 535781 w 685895"/>
                <a:gd name="connsiteY310" fmla="*/ 272605 h 327945"/>
                <a:gd name="connsiteX311" fmla="*/ 532447 w 685895"/>
                <a:gd name="connsiteY311" fmla="*/ 274796 h 327945"/>
                <a:gd name="connsiteX312" fmla="*/ 522732 w 685895"/>
                <a:gd name="connsiteY312" fmla="*/ 270700 h 327945"/>
                <a:gd name="connsiteX313" fmla="*/ 520541 w 685895"/>
                <a:gd name="connsiteY313" fmla="*/ 267367 h 327945"/>
                <a:gd name="connsiteX314" fmla="*/ 520065 w 685895"/>
                <a:gd name="connsiteY314" fmla="*/ 263747 h 327945"/>
                <a:gd name="connsiteX315" fmla="*/ 514636 w 685895"/>
                <a:gd name="connsiteY315" fmla="*/ 264509 h 327945"/>
                <a:gd name="connsiteX316" fmla="*/ 515969 w 685895"/>
                <a:gd name="connsiteY316" fmla="*/ 260699 h 327945"/>
                <a:gd name="connsiteX317" fmla="*/ 514160 w 685895"/>
                <a:gd name="connsiteY317" fmla="*/ 260890 h 327945"/>
                <a:gd name="connsiteX318" fmla="*/ 513683 w 685895"/>
                <a:gd name="connsiteY318" fmla="*/ 257366 h 327945"/>
                <a:gd name="connsiteX319" fmla="*/ 504539 w 685895"/>
                <a:gd name="connsiteY319" fmla="*/ 256794 h 327945"/>
                <a:gd name="connsiteX320" fmla="*/ 494062 w 685895"/>
                <a:gd name="connsiteY320" fmla="*/ 247269 h 327945"/>
                <a:gd name="connsiteX321" fmla="*/ 490728 w 685895"/>
                <a:gd name="connsiteY321" fmla="*/ 249555 h 327945"/>
                <a:gd name="connsiteX322" fmla="*/ 487871 w 685895"/>
                <a:gd name="connsiteY322" fmla="*/ 255365 h 327945"/>
                <a:gd name="connsiteX323" fmla="*/ 481774 w 685895"/>
                <a:gd name="connsiteY323" fmla="*/ 250698 h 327945"/>
                <a:gd name="connsiteX324" fmla="*/ 477679 w 685895"/>
                <a:gd name="connsiteY324" fmla="*/ 247650 h 327945"/>
                <a:gd name="connsiteX325" fmla="*/ 476345 w 685895"/>
                <a:gd name="connsiteY325" fmla="*/ 251460 h 327945"/>
                <a:gd name="connsiteX326" fmla="*/ 466725 w 685895"/>
                <a:gd name="connsiteY326" fmla="*/ 247269 h 327945"/>
                <a:gd name="connsiteX327" fmla="*/ 457581 w 685895"/>
                <a:gd name="connsiteY327" fmla="*/ 261175 h 327945"/>
                <a:gd name="connsiteX328" fmla="*/ 455295 w 685895"/>
                <a:gd name="connsiteY328" fmla="*/ 257842 h 327945"/>
                <a:gd name="connsiteX329" fmla="*/ 449866 w 685895"/>
                <a:gd name="connsiteY329" fmla="*/ 258604 h 327945"/>
                <a:gd name="connsiteX330" fmla="*/ 440531 w 685895"/>
                <a:gd name="connsiteY330" fmla="*/ 243459 h 327945"/>
                <a:gd name="connsiteX331" fmla="*/ 440341 w 685895"/>
                <a:gd name="connsiteY331" fmla="*/ 241745 h 327945"/>
                <a:gd name="connsiteX332" fmla="*/ 437674 w 685895"/>
                <a:gd name="connsiteY332" fmla="*/ 249269 h 327945"/>
                <a:gd name="connsiteX333" fmla="*/ 433864 w 685895"/>
                <a:gd name="connsiteY333" fmla="*/ 248031 h 327945"/>
                <a:gd name="connsiteX334" fmla="*/ 435388 w 685895"/>
                <a:gd name="connsiteY334" fmla="*/ 245936 h 327945"/>
                <a:gd name="connsiteX335" fmla="*/ 429863 w 685895"/>
                <a:gd name="connsiteY335" fmla="*/ 244888 h 327945"/>
                <a:gd name="connsiteX336" fmla="*/ 430625 w 685895"/>
                <a:gd name="connsiteY336" fmla="*/ 237554 h 327945"/>
                <a:gd name="connsiteX337" fmla="*/ 427101 w 685895"/>
                <a:gd name="connsiteY337" fmla="*/ 238030 h 327945"/>
                <a:gd name="connsiteX338" fmla="*/ 427291 w 685895"/>
                <a:gd name="connsiteY338" fmla="*/ 239839 h 327945"/>
                <a:gd name="connsiteX339" fmla="*/ 423672 w 685895"/>
                <a:gd name="connsiteY339" fmla="*/ 240221 h 327945"/>
                <a:gd name="connsiteX340" fmla="*/ 420338 w 685895"/>
                <a:gd name="connsiteY340" fmla="*/ 242507 h 327945"/>
                <a:gd name="connsiteX341" fmla="*/ 417005 w 685895"/>
                <a:gd name="connsiteY341" fmla="*/ 244792 h 327945"/>
                <a:gd name="connsiteX342" fmla="*/ 415671 w 685895"/>
                <a:gd name="connsiteY342" fmla="*/ 248603 h 327945"/>
                <a:gd name="connsiteX343" fmla="*/ 419481 w 685895"/>
                <a:gd name="connsiteY343" fmla="*/ 249936 h 327945"/>
                <a:gd name="connsiteX344" fmla="*/ 416623 w 685895"/>
                <a:gd name="connsiteY344" fmla="*/ 255746 h 327945"/>
                <a:gd name="connsiteX345" fmla="*/ 411004 w 685895"/>
                <a:gd name="connsiteY345" fmla="*/ 254603 h 327945"/>
                <a:gd name="connsiteX346" fmla="*/ 409004 w 685895"/>
                <a:gd name="connsiteY346" fmla="*/ 253079 h 327945"/>
                <a:gd name="connsiteX347" fmla="*/ 409004 w 685895"/>
                <a:gd name="connsiteY347" fmla="*/ 253079 h 327945"/>
                <a:gd name="connsiteX348" fmla="*/ 402241 w 685895"/>
                <a:gd name="connsiteY348" fmla="*/ 257651 h 327945"/>
                <a:gd name="connsiteX349" fmla="*/ 407861 w 685895"/>
                <a:gd name="connsiteY349" fmla="*/ 258699 h 327945"/>
                <a:gd name="connsiteX350" fmla="*/ 405479 w 685895"/>
                <a:gd name="connsiteY350" fmla="*/ 268034 h 327945"/>
                <a:gd name="connsiteX351" fmla="*/ 401669 w 685895"/>
                <a:gd name="connsiteY351" fmla="*/ 266795 h 327945"/>
                <a:gd name="connsiteX352" fmla="*/ 400717 w 685895"/>
                <a:gd name="connsiteY352" fmla="*/ 259651 h 327945"/>
                <a:gd name="connsiteX353" fmla="*/ 398716 w 685895"/>
                <a:gd name="connsiteY353" fmla="*/ 258128 h 327945"/>
                <a:gd name="connsiteX354" fmla="*/ 397383 w 685895"/>
                <a:gd name="connsiteY354" fmla="*/ 261938 h 327945"/>
                <a:gd name="connsiteX355" fmla="*/ 393763 w 685895"/>
                <a:gd name="connsiteY355" fmla="*/ 262414 h 327945"/>
                <a:gd name="connsiteX356" fmla="*/ 394716 w 685895"/>
                <a:gd name="connsiteY356" fmla="*/ 269462 h 327945"/>
                <a:gd name="connsiteX357" fmla="*/ 393097 w 685895"/>
                <a:gd name="connsiteY357" fmla="*/ 271558 h 327945"/>
                <a:gd name="connsiteX358" fmla="*/ 392906 w 685895"/>
                <a:gd name="connsiteY358" fmla="*/ 269748 h 327945"/>
                <a:gd name="connsiteX359" fmla="*/ 383953 w 685895"/>
                <a:gd name="connsiteY359" fmla="*/ 270891 h 327945"/>
                <a:gd name="connsiteX360" fmla="*/ 381857 w 685895"/>
                <a:gd name="connsiteY360" fmla="*/ 269367 h 327945"/>
                <a:gd name="connsiteX361" fmla="*/ 374428 w 685895"/>
                <a:gd name="connsiteY361" fmla="*/ 268510 h 327945"/>
                <a:gd name="connsiteX362" fmla="*/ 377857 w 685895"/>
                <a:gd name="connsiteY362" fmla="*/ 266319 h 327945"/>
                <a:gd name="connsiteX363" fmla="*/ 368618 w 685895"/>
                <a:gd name="connsiteY363" fmla="*/ 265652 h 327945"/>
                <a:gd name="connsiteX364" fmla="*/ 364046 w 685895"/>
                <a:gd name="connsiteY364" fmla="*/ 259080 h 327945"/>
                <a:gd name="connsiteX365" fmla="*/ 351758 w 685895"/>
                <a:gd name="connsiteY365" fmla="*/ 262509 h 327945"/>
                <a:gd name="connsiteX366" fmla="*/ 353282 w 685895"/>
                <a:gd name="connsiteY366" fmla="*/ 260413 h 327945"/>
                <a:gd name="connsiteX367" fmla="*/ 350806 w 685895"/>
                <a:gd name="connsiteY367" fmla="*/ 255365 h 327945"/>
                <a:gd name="connsiteX368" fmla="*/ 346996 w 685895"/>
                <a:gd name="connsiteY368" fmla="*/ 254032 h 327945"/>
                <a:gd name="connsiteX369" fmla="*/ 343090 w 685895"/>
                <a:gd name="connsiteY369" fmla="*/ 252698 h 327945"/>
                <a:gd name="connsiteX370" fmla="*/ 343376 w 685895"/>
                <a:gd name="connsiteY370" fmla="*/ 254508 h 327945"/>
                <a:gd name="connsiteX371" fmla="*/ 341281 w 685895"/>
                <a:gd name="connsiteY371" fmla="*/ 252984 h 327945"/>
                <a:gd name="connsiteX372" fmla="*/ 339566 w 685895"/>
                <a:gd name="connsiteY372" fmla="*/ 253270 h 327945"/>
                <a:gd name="connsiteX373" fmla="*/ 339280 w 685895"/>
                <a:gd name="connsiteY373" fmla="*/ 251460 h 327945"/>
                <a:gd name="connsiteX374" fmla="*/ 333946 w 685895"/>
                <a:gd name="connsiteY374" fmla="*/ 252127 h 327945"/>
                <a:gd name="connsiteX375" fmla="*/ 332327 w 685895"/>
                <a:gd name="connsiteY375" fmla="*/ 254222 h 327945"/>
                <a:gd name="connsiteX376" fmla="*/ 333280 w 685895"/>
                <a:gd name="connsiteY376" fmla="*/ 261271 h 327945"/>
                <a:gd name="connsiteX377" fmla="*/ 324326 w 685895"/>
                <a:gd name="connsiteY377" fmla="*/ 262509 h 327945"/>
                <a:gd name="connsiteX378" fmla="*/ 326327 w 685895"/>
                <a:gd name="connsiteY378" fmla="*/ 264033 h 327945"/>
                <a:gd name="connsiteX379" fmla="*/ 326803 w 685895"/>
                <a:gd name="connsiteY379" fmla="*/ 267557 h 327945"/>
                <a:gd name="connsiteX380" fmla="*/ 319849 w 685895"/>
                <a:gd name="connsiteY380" fmla="*/ 270320 h 327945"/>
                <a:gd name="connsiteX381" fmla="*/ 314515 w 685895"/>
                <a:gd name="connsiteY381" fmla="*/ 271082 h 327945"/>
                <a:gd name="connsiteX382" fmla="*/ 310610 w 685895"/>
                <a:gd name="connsiteY382" fmla="*/ 269748 h 327945"/>
                <a:gd name="connsiteX383" fmla="*/ 302990 w 685895"/>
                <a:gd name="connsiteY383" fmla="*/ 267081 h 327945"/>
                <a:gd name="connsiteX384" fmla="*/ 298513 w 685895"/>
                <a:gd name="connsiteY384" fmla="*/ 274987 h 327945"/>
                <a:gd name="connsiteX385" fmla="*/ 293180 w 685895"/>
                <a:gd name="connsiteY385" fmla="*/ 275654 h 327945"/>
                <a:gd name="connsiteX386" fmla="*/ 289370 w 685895"/>
                <a:gd name="connsiteY386" fmla="*/ 274320 h 327945"/>
                <a:gd name="connsiteX387" fmla="*/ 287750 w 685895"/>
                <a:gd name="connsiteY387" fmla="*/ 276416 h 327945"/>
                <a:gd name="connsiteX388" fmla="*/ 283940 w 685895"/>
                <a:gd name="connsiteY388" fmla="*/ 275082 h 327945"/>
                <a:gd name="connsiteX389" fmla="*/ 280130 w 685895"/>
                <a:gd name="connsiteY389" fmla="*/ 273749 h 327945"/>
                <a:gd name="connsiteX390" fmla="*/ 279654 w 685895"/>
                <a:gd name="connsiteY390" fmla="*/ 270224 h 327945"/>
                <a:gd name="connsiteX391" fmla="*/ 278321 w 685895"/>
                <a:gd name="connsiteY391" fmla="*/ 274034 h 327945"/>
                <a:gd name="connsiteX392" fmla="*/ 276320 w 685895"/>
                <a:gd name="connsiteY392" fmla="*/ 272415 h 327945"/>
                <a:gd name="connsiteX393" fmla="*/ 277844 w 685895"/>
                <a:gd name="connsiteY393" fmla="*/ 270415 h 327945"/>
                <a:gd name="connsiteX394" fmla="*/ 275844 w 685895"/>
                <a:gd name="connsiteY394" fmla="*/ 268891 h 327945"/>
                <a:gd name="connsiteX395" fmla="*/ 272224 w 685895"/>
                <a:gd name="connsiteY395" fmla="*/ 269367 h 327945"/>
                <a:gd name="connsiteX396" fmla="*/ 274701 w 685895"/>
                <a:gd name="connsiteY396" fmla="*/ 274511 h 327945"/>
                <a:gd name="connsiteX397" fmla="*/ 272701 w 685895"/>
                <a:gd name="connsiteY397" fmla="*/ 272987 h 327945"/>
                <a:gd name="connsiteX398" fmla="*/ 272891 w 685895"/>
                <a:gd name="connsiteY398" fmla="*/ 274701 h 327945"/>
                <a:gd name="connsiteX399" fmla="*/ 267748 w 685895"/>
                <a:gd name="connsiteY399" fmla="*/ 277273 h 327945"/>
                <a:gd name="connsiteX400" fmla="*/ 265176 w 685895"/>
                <a:gd name="connsiteY400" fmla="*/ 284797 h 327945"/>
                <a:gd name="connsiteX401" fmla="*/ 263080 w 685895"/>
                <a:gd name="connsiteY401" fmla="*/ 283274 h 327945"/>
                <a:gd name="connsiteX402" fmla="*/ 259461 w 685895"/>
                <a:gd name="connsiteY402" fmla="*/ 283750 h 327945"/>
                <a:gd name="connsiteX403" fmla="*/ 256604 w 685895"/>
                <a:gd name="connsiteY403" fmla="*/ 289560 h 327945"/>
                <a:gd name="connsiteX404" fmla="*/ 258889 w 685895"/>
                <a:gd name="connsiteY404" fmla="*/ 292894 h 327945"/>
                <a:gd name="connsiteX405" fmla="*/ 251365 w 685895"/>
                <a:gd name="connsiteY405" fmla="*/ 304800 h 327945"/>
                <a:gd name="connsiteX406" fmla="*/ 251555 w 685895"/>
                <a:gd name="connsiteY406" fmla="*/ 306610 h 327945"/>
                <a:gd name="connsiteX407" fmla="*/ 246412 w 685895"/>
                <a:gd name="connsiteY407" fmla="*/ 309086 h 327945"/>
                <a:gd name="connsiteX408" fmla="*/ 238982 w 685895"/>
                <a:gd name="connsiteY408" fmla="*/ 308229 h 327945"/>
                <a:gd name="connsiteX409" fmla="*/ 236125 w 685895"/>
                <a:gd name="connsiteY409" fmla="*/ 314039 h 327945"/>
                <a:gd name="connsiteX410" fmla="*/ 228886 w 685895"/>
                <a:gd name="connsiteY410" fmla="*/ 314992 h 327945"/>
                <a:gd name="connsiteX411" fmla="*/ 227076 w 685895"/>
                <a:gd name="connsiteY411" fmla="*/ 315278 h 327945"/>
                <a:gd name="connsiteX412" fmla="*/ 223266 w 685895"/>
                <a:gd name="connsiteY412" fmla="*/ 313944 h 327945"/>
                <a:gd name="connsiteX413" fmla="*/ 218599 w 685895"/>
                <a:gd name="connsiteY413" fmla="*/ 320040 h 327945"/>
                <a:gd name="connsiteX414" fmla="*/ 212693 w 685895"/>
                <a:gd name="connsiteY414" fmla="*/ 317183 h 327945"/>
                <a:gd name="connsiteX415" fmla="*/ 212312 w 685895"/>
                <a:gd name="connsiteY415" fmla="*/ 313563 h 327945"/>
                <a:gd name="connsiteX416" fmla="*/ 207836 w 685895"/>
                <a:gd name="connsiteY416" fmla="*/ 321469 h 327945"/>
                <a:gd name="connsiteX417" fmla="*/ 206026 w 685895"/>
                <a:gd name="connsiteY417" fmla="*/ 321659 h 327945"/>
                <a:gd name="connsiteX418" fmla="*/ 204026 w 685895"/>
                <a:gd name="connsiteY418" fmla="*/ 320135 h 327945"/>
                <a:gd name="connsiteX419" fmla="*/ 198596 w 685895"/>
                <a:gd name="connsiteY419" fmla="*/ 320802 h 327945"/>
                <a:gd name="connsiteX420" fmla="*/ 199358 w 685895"/>
                <a:gd name="connsiteY420" fmla="*/ 326136 h 327945"/>
                <a:gd name="connsiteX421" fmla="*/ 199549 w 685895"/>
                <a:gd name="connsiteY421" fmla="*/ 327946 h 327945"/>
                <a:gd name="connsiteX422" fmla="*/ 197548 w 685895"/>
                <a:gd name="connsiteY422" fmla="*/ 326422 h 327945"/>
                <a:gd name="connsiteX423" fmla="*/ 191167 w 685895"/>
                <a:gd name="connsiteY423" fmla="*/ 319945 h 327945"/>
                <a:gd name="connsiteX424" fmla="*/ 189357 w 685895"/>
                <a:gd name="connsiteY424" fmla="*/ 320230 h 327945"/>
                <a:gd name="connsiteX425" fmla="*/ 187166 w 685895"/>
                <a:gd name="connsiteY425" fmla="*/ 316897 h 327945"/>
                <a:gd name="connsiteX426" fmla="*/ 185071 w 685895"/>
                <a:gd name="connsiteY426" fmla="*/ 315373 h 327945"/>
                <a:gd name="connsiteX427" fmla="*/ 183737 w 685895"/>
                <a:gd name="connsiteY427" fmla="*/ 319183 h 327945"/>
                <a:gd name="connsiteX428" fmla="*/ 175260 w 685895"/>
                <a:gd name="connsiteY428" fmla="*/ 323945 h 327945"/>
                <a:gd name="connsiteX429" fmla="*/ 169164 w 685895"/>
                <a:gd name="connsiteY429" fmla="*/ 319278 h 327945"/>
                <a:gd name="connsiteX430" fmla="*/ 168497 w 685895"/>
                <a:gd name="connsiteY430" fmla="*/ 313944 h 327945"/>
                <a:gd name="connsiteX431" fmla="*/ 165068 w 685895"/>
                <a:gd name="connsiteY431" fmla="*/ 316230 h 327945"/>
                <a:gd name="connsiteX432" fmla="*/ 157448 w 685895"/>
                <a:gd name="connsiteY432" fmla="*/ 313563 h 327945"/>
                <a:gd name="connsiteX433" fmla="*/ 150019 w 685895"/>
                <a:gd name="connsiteY433" fmla="*/ 312801 h 32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</a:cxnLst>
              <a:rect l="l" t="t" r="r" b="b"/>
              <a:pathLst>
                <a:path w="685895" h="327945">
                  <a:moveTo>
                    <a:pt x="150019" y="312801"/>
                  </a:moveTo>
                  <a:lnTo>
                    <a:pt x="147733" y="309467"/>
                  </a:lnTo>
                  <a:lnTo>
                    <a:pt x="150876" y="305371"/>
                  </a:lnTo>
                  <a:lnTo>
                    <a:pt x="146780" y="302324"/>
                  </a:lnTo>
                  <a:lnTo>
                    <a:pt x="149733" y="296513"/>
                  </a:lnTo>
                  <a:lnTo>
                    <a:pt x="145161" y="289846"/>
                  </a:lnTo>
                  <a:lnTo>
                    <a:pt x="141827" y="292132"/>
                  </a:lnTo>
                  <a:lnTo>
                    <a:pt x="138208" y="292513"/>
                  </a:lnTo>
                  <a:lnTo>
                    <a:pt x="139541" y="288798"/>
                  </a:lnTo>
                  <a:lnTo>
                    <a:pt x="137541" y="287179"/>
                  </a:lnTo>
                  <a:lnTo>
                    <a:pt x="135446" y="285655"/>
                  </a:lnTo>
                  <a:lnTo>
                    <a:pt x="133636" y="285941"/>
                  </a:lnTo>
                  <a:lnTo>
                    <a:pt x="129635" y="282797"/>
                  </a:lnTo>
                  <a:lnTo>
                    <a:pt x="126016" y="283274"/>
                  </a:lnTo>
                  <a:lnTo>
                    <a:pt x="124682" y="287084"/>
                  </a:lnTo>
                  <a:lnTo>
                    <a:pt x="98488" y="268796"/>
                  </a:lnTo>
                  <a:lnTo>
                    <a:pt x="90392" y="262604"/>
                  </a:lnTo>
                  <a:lnTo>
                    <a:pt x="86582" y="261271"/>
                  </a:lnTo>
                  <a:lnTo>
                    <a:pt x="86106" y="257746"/>
                  </a:lnTo>
                  <a:lnTo>
                    <a:pt x="96393" y="252793"/>
                  </a:lnTo>
                  <a:lnTo>
                    <a:pt x="97727" y="248984"/>
                  </a:lnTo>
                  <a:lnTo>
                    <a:pt x="97250" y="245364"/>
                  </a:lnTo>
                  <a:lnTo>
                    <a:pt x="98393" y="239839"/>
                  </a:lnTo>
                  <a:lnTo>
                    <a:pt x="94488" y="238506"/>
                  </a:lnTo>
                  <a:lnTo>
                    <a:pt x="94012" y="234982"/>
                  </a:lnTo>
                  <a:lnTo>
                    <a:pt x="92012" y="233363"/>
                  </a:lnTo>
                  <a:lnTo>
                    <a:pt x="89821" y="244602"/>
                  </a:lnTo>
                  <a:lnTo>
                    <a:pt x="84391" y="245269"/>
                  </a:lnTo>
                  <a:lnTo>
                    <a:pt x="83534" y="238125"/>
                  </a:lnTo>
                  <a:lnTo>
                    <a:pt x="86582" y="234125"/>
                  </a:lnTo>
                  <a:lnTo>
                    <a:pt x="84582" y="232600"/>
                  </a:lnTo>
                  <a:lnTo>
                    <a:pt x="85915" y="228791"/>
                  </a:lnTo>
                  <a:lnTo>
                    <a:pt x="82105" y="227457"/>
                  </a:lnTo>
                  <a:lnTo>
                    <a:pt x="74009" y="235744"/>
                  </a:lnTo>
                  <a:lnTo>
                    <a:pt x="66199" y="231362"/>
                  </a:lnTo>
                  <a:lnTo>
                    <a:pt x="65913" y="229553"/>
                  </a:lnTo>
                  <a:lnTo>
                    <a:pt x="62579" y="231838"/>
                  </a:lnTo>
                  <a:lnTo>
                    <a:pt x="62294" y="230124"/>
                  </a:lnTo>
                  <a:lnTo>
                    <a:pt x="58769" y="230505"/>
                  </a:lnTo>
                  <a:lnTo>
                    <a:pt x="53149" y="229457"/>
                  </a:lnTo>
                  <a:lnTo>
                    <a:pt x="50863" y="226124"/>
                  </a:lnTo>
                  <a:lnTo>
                    <a:pt x="56197" y="225457"/>
                  </a:lnTo>
                  <a:lnTo>
                    <a:pt x="61151" y="221171"/>
                  </a:lnTo>
                  <a:lnTo>
                    <a:pt x="55245" y="218313"/>
                  </a:lnTo>
                  <a:lnTo>
                    <a:pt x="50102" y="220789"/>
                  </a:lnTo>
                  <a:lnTo>
                    <a:pt x="45625" y="214122"/>
                  </a:lnTo>
                  <a:lnTo>
                    <a:pt x="49625" y="217265"/>
                  </a:lnTo>
                  <a:lnTo>
                    <a:pt x="49149" y="213646"/>
                  </a:lnTo>
                  <a:lnTo>
                    <a:pt x="40005" y="213074"/>
                  </a:lnTo>
                  <a:lnTo>
                    <a:pt x="33242" y="217646"/>
                  </a:lnTo>
                  <a:lnTo>
                    <a:pt x="33052" y="215837"/>
                  </a:lnTo>
                  <a:lnTo>
                    <a:pt x="25622" y="214979"/>
                  </a:lnTo>
                  <a:lnTo>
                    <a:pt x="17716" y="210598"/>
                  </a:lnTo>
                  <a:lnTo>
                    <a:pt x="17240" y="207074"/>
                  </a:lnTo>
                  <a:lnTo>
                    <a:pt x="15430" y="207264"/>
                  </a:lnTo>
                  <a:lnTo>
                    <a:pt x="15240" y="205454"/>
                  </a:lnTo>
                  <a:lnTo>
                    <a:pt x="13621" y="207550"/>
                  </a:lnTo>
                  <a:lnTo>
                    <a:pt x="9335" y="202597"/>
                  </a:lnTo>
                  <a:lnTo>
                    <a:pt x="10192" y="195263"/>
                  </a:lnTo>
                  <a:lnTo>
                    <a:pt x="6572" y="195739"/>
                  </a:lnTo>
                  <a:lnTo>
                    <a:pt x="6191" y="192214"/>
                  </a:lnTo>
                  <a:lnTo>
                    <a:pt x="0" y="187547"/>
                  </a:lnTo>
                  <a:lnTo>
                    <a:pt x="8572" y="182785"/>
                  </a:lnTo>
                  <a:lnTo>
                    <a:pt x="13430" y="178499"/>
                  </a:lnTo>
                  <a:lnTo>
                    <a:pt x="18860" y="177832"/>
                  </a:lnTo>
                  <a:lnTo>
                    <a:pt x="24955" y="182404"/>
                  </a:lnTo>
                  <a:lnTo>
                    <a:pt x="26765" y="182213"/>
                  </a:lnTo>
                  <a:lnTo>
                    <a:pt x="22670" y="179070"/>
                  </a:lnTo>
                  <a:lnTo>
                    <a:pt x="22479" y="177355"/>
                  </a:lnTo>
                  <a:lnTo>
                    <a:pt x="28289" y="180213"/>
                  </a:lnTo>
                  <a:lnTo>
                    <a:pt x="31909" y="179737"/>
                  </a:lnTo>
                  <a:lnTo>
                    <a:pt x="33909" y="181261"/>
                  </a:lnTo>
                  <a:lnTo>
                    <a:pt x="33433" y="177641"/>
                  </a:lnTo>
                  <a:lnTo>
                    <a:pt x="34766" y="173926"/>
                  </a:lnTo>
                  <a:lnTo>
                    <a:pt x="27622" y="174879"/>
                  </a:lnTo>
                  <a:lnTo>
                    <a:pt x="28956" y="171069"/>
                  </a:lnTo>
                  <a:lnTo>
                    <a:pt x="16097" y="170879"/>
                  </a:lnTo>
                  <a:lnTo>
                    <a:pt x="10287" y="168116"/>
                  </a:lnTo>
                  <a:lnTo>
                    <a:pt x="10001" y="166307"/>
                  </a:lnTo>
                  <a:lnTo>
                    <a:pt x="13335" y="164021"/>
                  </a:lnTo>
                  <a:lnTo>
                    <a:pt x="14669" y="160211"/>
                  </a:lnTo>
                  <a:lnTo>
                    <a:pt x="22098" y="161068"/>
                  </a:lnTo>
                  <a:lnTo>
                    <a:pt x="22384" y="162878"/>
                  </a:lnTo>
                  <a:lnTo>
                    <a:pt x="25908" y="162401"/>
                  </a:lnTo>
                  <a:lnTo>
                    <a:pt x="25432" y="158782"/>
                  </a:lnTo>
                  <a:lnTo>
                    <a:pt x="27527" y="160306"/>
                  </a:lnTo>
                  <a:lnTo>
                    <a:pt x="34480" y="157639"/>
                  </a:lnTo>
                  <a:lnTo>
                    <a:pt x="41910" y="158401"/>
                  </a:lnTo>
                  <a:lnTo>
                    <a:pt x="43148" y="140113"/>
                  </a:lnTo>
                  <a:lnTo>
                    <a:pt x="38862" y="135255"/>
                  </a:lnTo>
                  <a:lnTo>
                    <a:pt x="35814" y="126587"/>
                  </a:lnTo>
                  <a:lnTo>
                    <a:pt x="37433" y="124587"/>
                  </a:lnTo>
                  <a:lnTo>
                    <a:pt x="40957" y="124111"/>
                  </a:lnTo>
                  <a:lnTo>
                    <a:pt x="45911" y="119825"/>
                  </a:lnTo>
                  <a:lnTo>
                    <a:pt x="48387" y="124968"/>
                  </a:lnTo>
                  <a:lnTo>
                    <a:pt x="55340" y="122206"/>
                  </a:lnTo>
                  <a:lnTo>
                    <a:pt x="51816" y="122682"/>
                  </a:lnTo>
                  <a:lnTo>
                    <a:pt x="45244" y="114491"/>
                  </a:lnTo>
                  <a:lnTo>
                    <a:pt x="42101" y="118491"/>
                  </a:lnTo>
                  <a:lnTo>
                    <a:pt x="32195" y="112586"/>
                  </a:lnTo>
                  <a:lnTo>
                    <a:pt x="37719" y="99155"/>
                  </a:lnTo>
                  <a:lnTo>
                    <a:pt x="42863" y="96679"/>
                  </a:lnTo>
                  <a:lnTo>
                    <a:pt x="48482" y="97726"/>
                  </a:lnTo>
                  <a:lnTo>
                    <a:pt x="49435" y="104870"/>
                  </a:lnTo>
                  <a:lnTo>
                    <a:pt x="55054" y="105918"/>
                  </a:lnTo>
                  <a:lnTo>
                    <a:pt x="63532" y="101155"/>
                  </a:lnTo>
                  <a:lnTo>
                    <a:pt x="60293" y="90773"/>
                  </a:lnTo>
                  <a:lnTo>
                    <a:pt x="62103" y="90488"/>
                  </a:lnTo>
                  <a:lnTo>
                    <a:pt x="64198" y="92012"/>
                  </a:lnTo>
                  <a:lnTo>
                    <a:pt x="77724" y="112014"/>
                  </a:lnTo>
                  <a:lnTo>
                    <a:pt x="91630" y="106489"/>
                  </a:lnTo>
                  <a:lnTo>
                    <a:pt x="97917" y="98488"/>
                  </a:lnTo>
                  <a:lnTo>
                    <a:pt x="99727" y="98203"/>
                  </a:lnTo>
                  <a:lnTo>
                    <a:pt x="104870" y="95726"/>
                  </a:lnTo>
                  <a:lnTo>
                    <a:pt x="106204" y="91916"/>
                  </a:lnTo>
                  <a:lnTo>
                    <a:pt x="111823" y="92964"/>
                  </a:lnTo>
                  <a:lnTo>
                    <a:pt x="115443" y="92488"/>
                  </a:lnTo>
                  <a:lnTo>
                    <a:pt x="109823" y="91440"/>
                  </a:lnTo>
                  <a:lnTo>
                    <a:pt x="109061" y="86106"/>
                  </a:lnTo>
                  <a:lnTo>
                    <a:pt x="123920" y="87725"/>
                  </a:lnTo>
                  <a:lnTo>
                    <a:pt x="125730" y="87535"/>
                  </a:lnTo>
                  <a:lnTo>
                    <a:pt x="125444" y="85725"/>
                  </a:lnTo>
                  <a:lnTo>
                    <a:pt x="130588" y="83249"/>
                  </a:lnTo>
                  <a:lnTo>
                    <a:pt x="133731" y="79248"/>
                  </a:lnTo>
                  <a:lnTo>
                    <a:pt x="139637" y="82010"/>
                  </a:lnTo>
                  <a:lnTo>
                    <a:pt x="141161" y="80010"/>
                  </a:lnTo>
                  <a:lnTo>
                    <a:pt x="138398" y="73152"/>
                  </a:lnTo>
                  <a:lnTo>
                    <a:pt x="136588" y="73342"/>
                  </a:lnTo>
                  <a:lnTo>
                    <a:pt x="136207" y="69818"/>
                  </a:lnTo>
                  <a:lnTo>
                    <a:pt x="138303" y="58674"/>
                  </a:lnTo>
                  <a:lnTo>
                    <a:pt x="139922" y="56674"/>
                  </a:lnTo>
                  <a:lnTo>
                    <a:pt x="153543" y="49339"/>
                  </a:lnTo>
                  <a:lnTo>
                    <a:pt x="157163" y="48958"/>
                  </a:lnTo>
                  <a:lnTo>
                    <a:pt x="159448" y="52197"/>
                  </a:lnTo>
                  <a:lnTo>
                    <a:pt x="160972" y="50197"/>
                  </a:lnTo>
                  <a:lnTo>
                    <a:pt x="161639" y="55531"/>
                  </a:lnTo>
                  <a:lnTo>
                    <a:pt x="165735" y="58674"/>
                  </a:lnTo>
                  <a:lnTo>
                    <a:pt x="170688" y="54388"/>
                  </a:lnTo>
                  <a:lnTo>
                    <a:pt x="170212" y="50768"/>
                  </a:lnTo>
                  <a:lnTo>
                    <a:pt x="173260" y="46768"/>
                  </a:lnTo>
                  <a:lnTo>
                    <a:pt x="175355" y="48292"/>
                  </a:lnTo>
                  <a:lnTo>
                    <a:pt x="182499" y="47339"/>
                  </a:lnTo>
                  <a:lnTo>
                    <a:pt x="176403" y="42767"/>
                  </a:lnTo>
                  <a:lnTo>
                    <a:pt x="177546" y="37147"/>
                  </a:lnTo>
                  <a:lnTo>
                    <a:pt x="181165" y="36671"/>
                  </a:lnTo>
                  <a:lnTo>
                    <a:pt x="190786" y="40862"/>
                  </a:lnTo>
                  <a:lnTo>
                    <a:pt x="190881" y="55340"/>
                  </a:lnTo>
                  <a:lnTo>
                    <a:pt x="194501" y="54864"/>
                  </a:lnTo>
                  <a:lnTo>
                    <a:pt x="194977" y="58388"/>
                  </a:lnTo>
                  <a:lnTo>
                    <a:pt x="196977" y="60008"/>
                  </a:lnTo>
                  <a:lnTo>
                    <a:pt x="198787" y="59722"/>
                  </a:lnTo>
                  <a:lnTo>
                    <a:pt x="200120" y="55912"/>
                  </a:lnTo>
                  <a:lnTo>
                    <a:pt x="201930" y="55626"/>
                  </a:lnTo>
                  <a:lnTo>
                    <a:pt x="204216" y="58960"/>
                  </a:lnTo>
                  <a:lnTo>
                    <a:pt x="208026" y="60293"/>
                  </a:lnTo>
                  <a:lnTo>
                    <a:pt x="209550" y="58293"/>
                  </a:lnTo>
                  <a:lnTo>
                    <a:pt x="205930" y="58769"/>
                  </a:lnTo>
                  <a:lnTo>
                    <a:pt x="203263" y="51911"/>
                  </a:lnTo>
                  <a:lnTo>
                    <a:pt x="206788" y="51435"/>
                  </a:lnTo>
                  <a:lnTo>
                    <a:pt x="207359" y="54959"/>
                  </a:lnTo>
                  <a:lnTo>
                    <a:pt x="208883" y="52959"/>
                  </a:lnTo>
                  <a:lnTo>
                    <a:pt x="210884" y="54483"/>
                  </a:lnTo>
                  <a:lnTo>
                    <a:pt x="216027" y="52007"/>
                  </a:lnTo>
                  <a:lnTo>
                    <a:pt x="218313" y="55340"/>
                  </a:lnTo>
                  <a:lnTo>
                    <a:pt x="223647" y="54578"/>
                  </a:lnTo>
                  <a:lnTo>
                    <a:pt x="221647" y="53054"/>
                  </a:lnTo>
                  <a:lnTo>
                    <a:pt x="223266" y="51054"/>
                  </a:lnTo>
                  <a:lnTo>
                    <a:pt x="229362" y="55721"/>
                  </a:lnTo>
                  <a:lnTo>
                    <a:pt x="230886" y="53626"/>
                  </a:lnTo>
                  <a:lnTo>
                    <a:pt x="234505" y="53245"/>
                  </a:lnTo>
                  <a:lnTo>
                    <a:pt x="234696" y="54959"/>
                  </a:lnTo>
                  <a:lnTo>
                    <a:pt x="230886" y="53626"/>
                  </a:lnTo>
                  <a:lnTo>
                    <a:pt x="233172" y="56959"/>
                  </a:lnTo>
                  <a:lnTo>
                    <a:pt x="238506" y="56293"/>
                  </a:lnTo>
                  <a:lnTo>
                    <a:pt x="242316" y="57531"/>
                  </a:lnTo>
                  <a:lnTo>
                    <a:pt x="244126" y="57341"/>
                  </a:lnTo>
                  <a:lnTo>
                    <a:pt x="248031" y="58674"/>
                  </a:lnTo>
                  <a:lnTo>
                    <a:pt x="250412" y="49244"/>
                  </a:lnTo>
                  <a:lnTo>
                    <a:pt x="252413" y="50863"/>
                  </a:lnTo>
                  <a:lnTo>
                    <a:pt x="254698" y="54102"/>
                  </a:lnTo>
                  <a:lnTo>
                    <a:pt x="268224" y="59626"/>
                  </a:lnTo>
                  <a:lnTo>
                    <a:pt x="266700" y="61627"/>
                  </a:lnTo>
                  <a:lnTo>
                    <a:pt x="272510" y="64484"/>
                  </a:lnTo>
                  <a:lnTo>
                    <a:pt x="274511" y="66008"/>
                  </a:lnTo>
                  <a:lnTo>
                    <a:pt x="276796" y="69342"/>
                  </a:lnTo>
                  <a:lnTo>
                    <a:pt x="279940" y="65246"/>
                  </a:lnTo>
                  <a:lnTo>
                    <a:pt x="283559" y="64865"/>
                  </a:lnTo>
                  <a:lnTo>
                    <a:pt x="285845" y="68104"/>
                  </a:lnTo>
                  <a:lnTo>
                    <a:pt x="289179" y="65913"/>
                  </a:lnTo>
                  <a:lnTo>
                    <a:pt x="290227" y="60293"/>
                  </a:lnTo>
                  <a:lnTo>
                    <a:pt x="292037" y="60103"/>
                  </a:lnTo>
                  <a:lnTo>
                    <a:pt x="296513" y="52197"/>
                  </a:lnTo>
                  <a:lnTo>
                    <a:pt x="298323" y="52007"/>
                  </a:lnTo>
                  <a:lnTo>
                    <a:pt x="301657" y="49721"/>
                  </a:lnTo>
                  <a:lnTo>
                    <a:pt x="305276" y="49244"/>
                  </a:lnTo>
                  <a:lnTo>
                    <a:pt x="305753" y="52864"/>
                  </a:lnTo>
                  <a:lnTo>
                    <a:pt x="309086" y="50578"/>
                  </a:lnTo>
                  <a:lnTo>
                    <a:pt x="312896" y="51911"/>
                  </a:lnTo>
                  <a:lnTo>
                    <a:pt x="318992" y="56483"/>
                  </a:lnTo>
                  <a:lnTo>
                    <a:pt x="323183" y="46863"/>
                  </a:lnTo>
                  <a:lnTo>
                    <a:pt x="327279" y="50006"/>
                  </a:lnTo>
                  <a:lnTo>
                    <a:pt x="326803" y="46387"/>
                  </a:lnTo>
                  <a:lnTo>
                    <a:pt x="330422" y="45911"/>
                  </a:lnTo>
                  <a:lnTo>
                    <a:pt x="331946" y="43910"/>
                  </a:lnTo>
                  <a:lnTo>
                    <a:pt x="335471" y="28956"/>
                  </a:lnTo>
                  <a:lnTo>
                    <a:pt x="331851" y="29432"/>
                  </a:lnTo>
                  <a:lnTo>
                    <a:pt x="332518" y="20288"/>
                  </a:lnTo>
                  <a:lnTo>
                    <a:pt x="337661" y="17812"/>
                  </a:lnTo>
                  <a:lnTo>
                    <a:pt x="335566" y="16192"/>
                  </a:lnTo>
                  <a:lnTo>
                    <a:pt x="342805" y="15240"/>
                  </a:lnTo>
                  <a:lnTo>
                    <a:pt x="345662" y="9430"/>
                  </a:lnTo>
                  <a:lnTo>
                    <a:pt x="354902" y="10096"/>
                  </a:lnTo>
                  <a:lnTo>
                    <a:pt x="357759" y="4191"/>
                  </a:lnTo>
                  <a:lnTo>
                    <a:pt x="362712" y="0"/>
                  </a:lnTo>
                  <a:lnTo>
                    <a:pt x="370332" y="2572"/>
                  </a:lnTo>
                  <a:lnTo>
                    <a:pt x="374618" y="7429"/>
                  </a:lnTo>
                  <a:lnTo>
                    <a:pt x="387668" y="9335"/>
                  </a:lnTo>
                  <a:lnTo>
                    <a:pt x="388144" y="12954"/>
                  </a:lnTo>
                  <a:lnTo>
                    <a:pt x="385001" y="16954"/>
                  </a:lnTo>
                  <a:lnTo>
                    <a:pt x="392716" y="19526"/>
                  </a:lnTo>
                  <a:lnTo>
                    <a:pt x="388715" y="30956"/>
                  </a:lnTo>
                  <a:lnTo>
                    <a:pt x="386524" y="42100"/>
                  </a:lnTo>
                  <a:lnTo>
                    <a:pt x="389001" y="47244"/>
                  </a:lnTo>
                  <a:lnTo>
                    <a:pt x="398526" y="49625"/>
                  </a:lnTo>
                  <a:lnTo>
                    <a:pt x="399002" y="53150"/>
                  </a:lnTo>
                  <a:lnTo>
                    <a:pt x="400812" y="52959"/>
                  </a:lnTo>
                  <a:lnTo>
                    <a:pt x="415385" y="52864"/>
                  </a:lnTo>
                  <a:lnTo>
                    <a:pt x="416052" y="58198"/>
                  </a:lnTo>
                  <a:lnTo>
                    <a:pt x="421481" y="57436"/>
                  </a:lnTo>
                  <a:lnTo>
                    <a:pt x="420719" y="52102"/>
                  </a:lnTo>
                  <a:lnTo>
                    <a:pt x="431102" y="47149"/>
                  </a:lnTo>
                  <a:lnTo>
                    <a:pt x="431482" y="36195"/>
                  </a:lnTo>
                  <a:lnTo>
                    <a:pt x="446056" y="36100"/>
                  </a:lnTo>
                  <a:lnTo>
                    <a:pt x="462439" y="35719"/>
                  </a:lnTo>
                  <a:lnTo>
                    <a:pt x="463391" y="15621"/>
                  </a:lnTo>
                  <a:lnTo>
                    <a:pt x="486823" y="12573"/>
                  </a:lnTo>
                  <a:lnTo>
                    <a:pt x="488347" y="10477"/>
                  </a:lnTo>
                  <a:lnTo>
                    <a:pt x="489204" y="3143"/>
                  </a:lnTo>
                  <a:lnTo>
                    <a:pt x="493014" y="4477"/>
                  </a:lnTo>
                  <a:lnTo>
                    <a:pt x="509492" y="18574"/>
                  </a:lnTo>
                  <a:lnTo>
                    <a:pt x="515969" y="12287"/>
                  </a:lnTo>
                  <a:lnTo>
                    <a:pt x="518541" y="17431"/>
                  </a:lnTo>
                  <a:lnTo>
                    <a:pt x="522065" y="16954"/>
                  </a:lnTo>
                  <a:lnTo>
                    <a:pt x="529971" y="21336"/>
                  </a:lnTo>
                  <a:lnTo>
                    <a:pt x="553593" y="20003"/>
                  </a:lnTo>
                  <a:lnTo>
                    <a:pt x="553879" y="36290"/>
                  </a:lnTo>
                  <a:lnTo>
                    <a:pt x="570547" y="37719"/>
                  </a:lnTo>
                  <a:lnTo>
                    <a:pt x="572167" y="50197"/>
                  </a:lnTo>
                  <a:lnTo>
                    <a:pt x="572643" y="80963"/>
                  </a:lnTo>
                  <a:lnTo>
                    <a:pt x="612838" y="81058"/>
                  </a:lnTo>
                  <a:lnTo>
                    <a:pt x="618458" y="82105"/>
                  </a:lnTo>
                  <a:lnTo>
                    <a:pt x="626650" y="102870"/>
                  </a:lnTo>
                  <a:lnTo>
                    <a:pt x="628079" y="113538"/>
                  </a:lnTo>
                  <a:lnTo>
                    <a:pt x="630364" y="116872"/>
                  </a:lnTo>
                  <a:lnTo>
                    <a:pt x="633984" y="116396"/>
                  </a:lnTo>
                  <a:lnTo>
                    <a:pt x="643223" y="116967"/>
                  </a:lnTo>
                  <a:lnTo>
                    <a:pt x="645414" y="120301"/>
                  </a:lnTo>
                  <a:lnTo>
                    <a:pt x="650843" y="119539"/>
                  </a:lnTo>
                  <a:lnTo>
                    <a:pt x="652844" y="121063"/>
                  </a:lnTo>
                  <a:lnTo>
                    <a:pt x="661606" y="118110"/>
                  </a:lnTo>
                  <a:lnTo>
                    <a:pt x="671989" y="127635"/>
                  </a:lnTo>
                  <a:lnTo>
                    <a:pt x="677228" y="139637"/>
                  </a:lnTo>
                  <a:lnTo>
                    <a:pt x="685610" y="147638"/>
                  </a:lnTo>
                  <a:lnTo>
                    <a:pt x="683419" y="158782"/>
                  </a:lnTo>
                  <a:lnTo>
                    <a:pt x="685895" y="163830"/>
                  </a:lnTo>
                  <a:lnTo>
                    <a:pt x="679418" y="170212"/>
                  </a:lnTo>
                  <a:lnTo>
                    <a:pt x="680180" y="175546"/>
                  </a:lnTo>
                  <a:lnTo>
                    <a:pt x="671036" y="189452"/>
                  </a:lnTo>
                  <a:lnTo>
                    <a:pt x="670655" y="200311"/>
                  </a:lnTo>
                  <a:lnTo>
                    <a:pt x="665988" y="206407"/>
                  </a:lnTo>
                  <a:lnTo>
                    <a:pt x="644843" y="198311"/>
                  </a:lnTo>
                  <a:lnTo>
                    <a:pt x="647986" y="208788"/>
                  </a:lnTo>
                  <a:lnTo>
                    <a:pt x="656939" y="207550"/>
                  </a:lnTo>
                  <a:lnTo>
                    <a:pt x="661035" y="210693"/>
                  </a:lnTo>
                  <a:lnTo>
                    <a:pt x="655320" y="222313"/>
                  </a:lnTo>
                  <a:lnTo>
                    <a:pt x="660940" y="223361"/>
                  </a:lnTo>
                  <a:lnTo>
                    <a:pt x="663130" y="226695"/>
                  </a:lnTo>
                  <a:lnTo>
                    <a:pt x="658273" y="230981"/>
                  </a:lnTo>
                  <a:lnTo>
                    <a:pt x="651986" y="239078"/>
                  </a:lnTo>
                  <a:lnTo>
                    <a:pt x="654463" y="244126"/>
                  </a:lnTo>
                  <a:lnTo>
                    <a:pt x="650081" y="252032"/>
                  </a:lnTo>
                  <a:lnTo>
                    <a:pt x="642652" y="251174"/>
                  </a:lnTo>
                  <a:lnTo>
                    <a:pt x="642938" y="252984"/>
                  </a:lnTo>
                  <a:lnTo>
                    <a:pt x="637699" y="255461"/>
                  </a:lnTo>
                  <a:lnTo>
                    <a:pt x="636365" y="259271"/>
                  </a:lnTo>
                  <a:lnTo>
                    <a:pt x="631031" y="259937"/>
                  </a:lnTo>
                  <a:lnTo>
                    <a:pt x="632365" y="256127"/>
                  </a:lnTo>
                  <a:lnTo>
                    <a:pt x="624745" y="253555"/>
                  </a:lnTo>
                  <a:lnTo>
                    <a:pt x="620649" y="250508"/>
                  </a:lnTo>
                  <a:lnTo>
                    <a:pt x="617506" y="254508"/>
                  </a:lnTo>
                  <a:lnTo>
                    <a:pt x="617125" y="265462"/>
                  </a:lnTo>
                  <a:lnTo>
                    <a:pt x="602552" y="265557"/>
                  </a:lnTo>
                  <a:lnTo>
                    <a:pt x="596932" y="264509"/>
                  </a:lnTo>
                  <a:lnTo>
                    <a:pt x="593312" y="264986"/>
                  </a:lnTo>
                  <a:lnTo>
                    <a:pt x="592169" y="256032"/>
                  </a:lnTo>
                  <a:lnTo>
                    <a:pt x="593217" y="250508"/>
                  </a:lnTo>
                  <a:lnTo>
                    <a:pt x="591217" y="248888"/>
                  </a:lnTo>
                  <a:lnTo>
                    <a:pt x="586264" y="253175"/>
                  </a:lnTo>
                  <a:lnTo>
                    <a:pt x="580835" y="253937"/>
                  </a:lnTo>
                  <a:lnTo>
                    <a:pt x="580454" y="250317"/>
                  </a:lnTo>
                  <a:lnTo>
                    <a:pt x="575024" y="251079"/>
                  </a:lnTo>
                  <a:lnTo>
                    <a:pt x="572738" y="247745"/>
                  </a:lnTo>
                  <a:lnTo>
                    <a:pt x="572357" y="258699"/>
                  </a:lnTo>
                  <a:lnTo>
                    <a:pt x="569214" y="262700"/>
                  </a:lnTo>
                  <a:lnTo>
                    <a:pt x="551307" y="265081"/>
                  </a:lnTo>
                  <a:lnTo>
                    <a:pt x="551497" y="266891"/>
                  </a:lnTo>
                  <a:lnTo>
                    <a:pt x="552640" y="275749"/>
                  </a:lnTo>
                  <a:lnTo>
                    <a:pt x="545497" y="276701"/>
                  </a:lnTo>
                  <a:lnTo>
                    <a:pt x="545782" y="278511"/>
                  </a:lnTo>
                  <a:lnTo>
                    <a:pt x="538067" y="275939"/>
                  </a:lnTo>
                  <a:lnTo>
                    <a:pt x="535781" y="272605"/>
                  </a:lnTo>
                  <a:lnTo>
                    <a:pt x="532447" y="274796"/>
                  </a:lnTo>
                  <a:lnTo>
                    <a:pt x="522732" y="270700"/>
                  </a:lnTo>
                  <a:lnTo>
                    <a:pt x="520541" y="267367"/>
                  </a:lnTo>
                  <a:lnTo>
                    <a:pt x="520065" y="263747"/>
                  </a:lnTo>
                  <a:lnTo>
                    <a:pt x="514636" y="264509"/>
                  </a:lnTo>
                  <a:lnTo>
                    <a:pt x="515969" y="260699"/>
                  </a:lnTo>
                  <a:lnTo>
                    <a:pt x="514160" y="260890"/>
                  </a:lnTo>
                  <a:lnTo>
                    <a:pt x="513683" y="257366"/>
                  </a:lnTo>
                  <a:lnTo>
                    <a:pt x="504539" y="256794"/>
                  </a:lnTo>
                  <a:lnTo>
                    <a:pt x="494062" y="247269"/>
                  </a:lnTo>
                  <a:lnTo>
                    <a:pt x="490728" y="249555"/>
                  </a:lnTo>
                  <a:lnTo>
                    <a:pt x="487871" y="255365"/>
                  </a:lnTo>
                  <a:lnTo>
                    <a:pt x="481774" y="250698"/>
                  </a:lnTo>
                  <a:lnTo>
                    <a:pt x="477679" y="247650"/>
                  </a:lnTo>
                  <a:lnTo>
                    <a:pt x="476345" y="251460"/>
                  </a:lnTo>
                  <a:lnTo>
                    <a:pt x="466725" y="247269"/>
                  </a:lnTo>
                  <a:lnTo>
                    <a:pt x="457581" y="261175"/>
                  </a:lnTo>
                  <a:lnTo>
                    <a:pt x="455295" y="257842"/>
                  </a:lnTo>
                  <a:lnTo>
                    <a:pt x="449866" y="258604"/>
                  </a:lnTo>
                  <a:lnTo>
                    <a:pt x="440531" y="243459"/>
                  </a:lnTo>
                  <a:lnTo>
                    <a:pt x="440341" y="241745"/>
                  </a:lnTo>
                  <a:lnTo>
                    <a:pt x="437674" y="249269"/>
                  </a:lnTo>
                  <a:lnTo>
                    <a:pt x="433864" y="248031"/>
                  </a:lnTo>
                  <a:lnTo>
                    <a:pt x="435388" y="245936"/>
                  </a:lnTo>
                  <a:lnTo>
                    <a:pt x="429863" y="244888"/>
                  </a:lnTo>
                  <a:lnTo>
                    <a:pt x="430625" y="237554"/>
                  </a:lnTo>
                  <a:lnTo>
                    <a:pt x="427101" y="238030"/>
                  </a:lnTo>
                  <a:lnTo>
                    <a:pt x="427291" y="239839"/>
                  </a:lnTo>
                  <a:lnTo>
                    <a:pt x="423672" y="240221"/>
                  </a:lnTo>
                  <a:lnTo>
                    <a:pt x="420338" y="242507"/>
                  </a:lnTo>
                  <a:lnTo>
                    <a:pt x="417005" y="244792"/>
                  </a:lnTo>
                  <a:lnTo>
                    <a:pt x="415671" y="248603"/>
                  </a:lnTo>
                  <a:lnTo>
                    <a:pt x="419481" y="249936"/>
                  </a:lnTo>
                  <a:lnTo>
                    <a:pt x="416623" y="255746"/>
                  </a:lnTo>
                  <a:lnTo>
                    <a:pt x="411004" y="254603"/>
                  </a:lnTo>
                  <a:lnTo>
                    <a:pt x="409004" y="253079"/>
                  </a:lnTo>
                  <a:lnTo>
                    <a:pt x="409004" y="253079"/>
                  </a:lnTo>
                  <a:lnTo>
                    <a:pt x="402241" y="257651"/>
                  </a:lnTo>
                  <a:lnTo>
                    <a:pt x="407861" y="258699"/>
                  </a:lnTo>
                  <a:lnTo>
                    <a:pt x="405479" y="268034"/>
                  </a:lnTo>
                  <a:lnTo>
                    <a:pt x="401669" y="266795"/>
                  </a:lnTo>
                  <a:lnTo>
                    <a:pt x="400717" y="259651"/>
                  </a:lnTo>
                  <a:lnTo>
                    <a:pt x="398716" y="258128"/>
                  </a:lnTo>
                  <a:lnTo>
                    <a:pt x="397383" y="261938"/>
                  </a:lnTo>
                  <a:lnTo>
                    <a:pt x="393763" y="262414"/>
                  </a:lnTo>
                  <a:lnTo>
                    <a:pt x="394716" y="269462"/>
                  </a:lnTo>
                  <a:lnTo>
                    <a:pt x="393097" y="271558"/>
                  </a:lnTo>
                  <a:lnTo>
                    <a:pt x="392906" y="269748"/>
                  </a:lnTo>
                  <a:lnTo>
                    <a:pt x="383953" y="270891"/>
                  </a:lnTo>
                  <a:lnTo>
                    <a:pt x="381857" y="269367"/>
                  </a:lnTo>
                  <a:lnTo>
                    <a:pt x="374428" y="268510"/>
                  </a:lnTo>
                  <a:lnTo>
                    <a:pt x="377857" y="266319"/>
                  </a:lnTo>
                  <a:lnTo>
                    <a:pt x="368618" y="265652"/>
                  </a:lnTo>
                  <a:lnTo>
                    <a:pt x="364046" y="259080"/>
                  </a:lnTo>
                  <a:lnTo>
                    <a:pt x="351758" y="262509"/>
                  </a:lnTo>
                  <a:lnTo>
                    <a:pt x="353282" y="260413"/>
                  </a:lnTo>
                  <a:lnTo>
                    <a:pt x="350806" y="255365"/>
                  </a:lnTo>
                  <a:lnTo>
                    <a:pt x="346996" y="254032"/>
                  </a:lnTo>
                  <a:lnTo>
                    <a:pt x="343090" y="252698"/>
                  </a:lnTo>
                  <a:lnTo>
                    <a:pt x="343376" y="254508"/>
                  </a:lnTo>
                  <a:lnTo>
                    <a:pt x="341281" y="252984"/>
                  </a:lnTo>
                  <a:lnTo>
                    <a:pt x="339566" y="253270"/>
                  </a:lnTo>
                  <a:lnTo>
                    <a:pt x="339280" y="251460"/>
                  </a:lnTo>
                  <a:lnTo>
                    <a:pt x="333946" y="252127"/>
                  </a:lnTo>
                  <a:lnTo>
                    <a:pt x="332327" y="254222"/>
                  </a:lnTo>
                  <a:lnTo>
                    <a:pt x="333280" y="261271"/>
                  </a:lnTo>
                  <a:lnTo>
                    <a:pt x="324326" y="262509"/>
                  </a:lnTo>
                  <a:lnTo>
                    <a:pt x="326327" y="264033"/>
                  </a:lnTo>
                  <a:lnTo>
                    <a:pt x="326803" y="267557"/>
                  </a:lnTo>
                  <a:lnTo>
                    <a:pt x="319849" y="270320"/>
                  </a:lnTo>
                  <a:lnTo>
                    <a:pt x="314515" y="271082"/>
                  </a:lnTo>
                  <a:lnTo>
                    <a:pt x="310610" y="269748"/>
                  </a:lnTo>
                  <a:lnTo>
                    <a:pt x="302990" y="267081"/>
                  </a:lnTo>
                  <a:lnTo>
                    <a:pt x="298513" y="274987"/>
                  </a:lnTo>
                  <a:lnTo>
                    <a:pt x="293180" y="275654"/>
                  </a:lnTo>
                  <a:lnTo>
                    <a:pt x="289370" y="274320"/>
                  </a:lnTo>
                  <a:lnTo>
                    <a:pt x="287750" y="276416"/>
                  </a:lnTo>
                  <a:lnTo>
                    <a:pt x="283940" y="275082"/>
                  </a:lnTo>
                  <a:lnTo>
                    <a:pt x="280130" y="273749"/>
                  </a:lnTo>
                  <a:lnTo>
                    <a:pt x="279654" y="270224"/>
                  </a:lnTo>
                  <a:lnTo>
                    <a:pt x="278321" y="274034"/>
                  </a:lnTo>
                  <a:lnTo>
                    <a:pt x="276320" y="272415"/>
                  </a:lnTo>
                  <a:lnTo>
                    <a:pt x="277844" y="270415"/>
                  </a:lnTo>
                  <a:lnTo>
                    <a:pt x="275844" y="268891"/>
                  </a:lnTo>
                  <a:lnTo>
                    <a:pt x="272224" y="269367"/>
                  </a:lnTo>
                  <a:lnTo>
                    <a:pt x="274701" y="274511"/>
                  </a:lnTo>
                  <a:lnTo>
                    <a:pt x="272701" y="272987"/>
                  </a:lnTo>
                  <a:lnTo>
                    <a:pt x="272891" y="274701"/>
                  </a:lnTo>
                  <a:lnTo>
                    <a:pt x="267748" y="277273"/>
                  </a:lnTo>
                  <a:lnTo>
                    <a:pt x="265176" y="284797"/>
                  </a:lnTo>
                  <a:lnTo>
                    <a:pt x="263080" y="283274"/>
                  </a:lnTo>
                  <a:lnTo>
                    <a:pt x="259461" y="283750"/>
                  </a:lnTo>
                  <a:lnTo>
                    <a:pt x="256604" y="289560"/>
                  </a:lnTo>
                  <a:lnTo>
                    <a:pt x="258889" y="292894"/>
                  </a:lnTo>
                  <a:lnTo>
                    <a:pt x="251365" y="304800"/>
                  </a:lnTo>
                  <a:lnTo>
                    <a:pt x="251555" y="306610"/>
                  </a:lnTo>
                  <a:lnTo>
                    <a:pt x="246412" y="309086"/>
                  </a:lnTo>
                  <a:lnTo>
                    <a:pt x="238982" y="308229"/>
                  </a:lnTo>
                  <a:lnTo>
                    <a:pt x="236125" y="314039"/>
                  </a:lnTo>
                  <a:lnTo>
                    <a:pt x="228886" y="314992"/>
                  </a:lnTo>
                  <a:lnTo>
                    <a:pt x="227076" y="315278"/>
                  </a:lnTo>
                  <a:lnTo>
                    <a:pt x="223266" y="313944"/>
                  </a:lnTo>
                  <a:lnTo>
                    <a:pt x="218599" y="320040"/>
                  </a:lnTo>
                  <a:lnTo>
                    <a:pt x="212693" y="317183"/>
                  </a:lnTo>
                  <a:lnTo>
                    <a:pt x="212312" y="313563"/>
                  </a:lnTo>
                  <a:lnTo>
                    <a:pt x="207836" y="321469"/>
                  </a:lnTo>
                  <a:lnTo>
                    <a:pt x="206026" y="321659"/>
                  </a:lnTo>
                  <a:lnTo>
                    <a:pt x="204026" y="320135"/>
                  </a:lnTo>
                  <a:lnTo>
                    <a:pt x="198596" y="320802"/>
                  </a:lnTo>
                  <a:lnTo>
                    <a:pt x="199358" y="326136"/>
                  </a:lnTo>
                  <a:lnTo>
                    <a:pt x="199549" y="327946"/>
                  </a:lnTo>
                  <a:lnTo>
                    <a:pt x="197548" y="326422"/>
                  </a:lnTo>
                  <a:lnTo>
                    <a:pt x="191167" y="319945"/>
                  </a:lnTo>
                  <a:lnTo>
                    <a:pt x="189357" y="320230"/>
                  </a:lnTo>
                  <a:lnTo>
                    <a:pt x="187166" y="316897"/>
                  </a:lnTo>
                  <a:lnTo>
                    <a:pt x="185071" y="315373"/>
                  </a:lnTo>
                  <a:lnTo>
                    <a:pt x="183737" y="319183"/>
                  </a:lnTo>
                  <a:lnTo>
                    <a:pt x="175260" y="323945"/>
                  </a:lnTo>
                  <a:lnTo>
                    <a:pt x="169164" y="319278"/>
                  </a:lnTo>
                  <a:lnTo>
                    <a:pt x="168497" y="313944"/>
                  </a:lnTo>
                  <a:lnTo>
                    <a:pt x="165068" y="316230"/>
                  </a:lnTo>
                  <a:lnTo>
                    <a:pt x="157448" y="313563"/>
                  </a:lnTo>
                  <a:lnTo>
                    <a:pt x="150019" y="312801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 dirty="0"/>
            </a:p>
          </p:txBody>
        </p:sp>
        <p:sp>
          <p:nvSpPr>
            <p:cNvPr id="58" name="Volný tvar: obrazec 57">
              <a:extLst>
                <a:ext uri="{FF2B5EF4-FFF2-40B4-BE49-F238E27FC236}">
                  <a16:creationId xmlns:a16="http://schemas.microsoft.com/office/drawing/2014/main" id="{B46AF4B6-38DA-AE0E-9468-FCAD1E1466A7}"/>
                </a:ext>
              </a:extLst>
            </p:cNvPr>
            <p:cNvSpPr/>
            <p:nvPr userDrawn="1"/>
          </p:nvSpPr>
          <p:spPr>
            <a:xfrm>
              <a:off x="6597967" y="2851118"/>
              <a:ext cx="702754" cy="537400"/>
            </a:xfrm>
            <a:custGeom>
              <a:avLst/>
              <a:gdLst>
                <a:gd name="connsiteX0" fmla="*/ 71247 w 702754"/>
                <a:gd name="connsiteY0" fmla="*/ 472821 h 537400"/>
                <a:gd name="connsiteX1" fmla="*/ 74390 w 702754"/>
                <a:gd name="connsiteY1" fmla="*/ 468821 h 537400"/>
                <a:gd name="connsiteX2" fmla="*/ 73914 w 702754"/>
                <a:gd name="connsiteY2" fmla="*/ 465201 h 537400"/>
                <a:gd name="connsiteX3" fmla="*/ 72295 w 702754"/>
                <a:gd name="connsiteY3" fmla="*/ 467201 h 537400"/>
                <a:gd name="connsiteX4" fmla="*/ 63341 w 702754"/>
                <a:gd name="connsiteY4" fmla="*/ 468439 h 537400"/>
                <a:gd name="connsiteX5" fmla="*/ 63151 w 702754"/>
                <a:gd name="connsiteY5" fmla="*/ 466630 h 537400"/>
                <a:gd name="connsiteX6" fmla="*/ 50292 w 702754"/>
                <a:gd name="connsiteY6" fmla="*/ 466534 h 537400"/>
                <a:gd name="connsiteX7" fmla="*/ 50959 w 702754"/>
                <a:gd name="connsiteY7" fmla="*/ 471868 h 537400"/>
                <a:gd name="connsiteX8" fmla="*/ 48006 w 702754"/>
                <a:gd name="connsiteY8" fmla="*/ 463201 h 537400"/>
                <a:gd name="connsiteX9" fmla="*/ 38862 w 702754"/>
                <a:gd name="connsiteY9" fmla="*/ 462629 h 537400"/>
                <a:gd name="connsiteX10" fmla="*/ 38576 w 702754"/>
                <a:gd name="connsiteY10" fmla="*/ 460820 h 537400"/>
                <a:gd name="connsiteX11" fmla="*/ 42386 w 702754"/>
                <a:gd name="connsiteY11" fmla="*/ 462153 h 537400"/>
                <a:gd name="connsiteX12" fmla="*/ 38386 w 702754"/>
                <a:gd name="connsiteY12" fmla="*/ 459010 h 537400"/>
                <a:gd name="connsiteX13" fmla="*/ 36766 w 702754"/>
                <a:gd name="connsiteY13" fmla="*/ 461105 h 537400"/>
                <a:gd name="connsiteX14" fmla="*/ 22193 w 702754"/>
                <a:gd name="connsiteY14" fmla="*/ 461200 h 537400"/>
                <a:gd name="connsiteX15" fmla="*/ 21907 w 702754"/>
                <a:gd name="connsiteY15" fmla="*/ 459391 h 537400"/>
                <a:gd name="connsiteX16" fmla="*/ 25813 w 702754"/>
                <a:gd name="connsiteY16" fmla="*/ 460724 h 537400"/>
                <a:gd name="connsiteX17" fmla="*/ 27051 w 702754"/>
                <a:gd name="connsiteY17" fmla="*/ 456914 h 537400"/>
                <a:gd name="connsiteX18" fmla="*/ 28670 w 702754"/>
                <a:gd name="connsiteY18" fmla="*/ 454914 h 537400"/>
                <a:gd name="connsiteX19" fmla="*/ 22765 w 702754"/>
                <a:gd name="connsiteY19" fmla="*/ 452056 h 537400"/>
                <a:gd name="connsiteX20" fmla="*/ 29527 w 702754"/>
                <a:gd name="connsiteY20" fmla="*/ 447484 h 537400"/>
                <a:gd name="connsiteX21" fmla="*/ 24955 w 702754"/>
                <a:gd name="connsiteY21" fmla="*/ 440912 h 537400"/>
                <a:gd name="connsiteX22" fmla="*/ 26575 w 702754"/>
                <a:gd name="connsiteY22" fmla="*/ 438912 h 537400"/>
                <a:gd name="connsiteX23" fmla="*/ 29623 w 702754"/>
                <a:gd name="connsiteY23" fmla="*/ 434816 h 537400"/>
                <a:gd name="connsiteX24" fmla="*/ 29432 w 702754"/>
                <a:gd name="connsiteY24" fmla="*/ 433006 h 537400"/>
                <a:gd name="connsiteX25" fmla="*/ 33052 w 702754"/>
                <a:gd name="connsiteY25" fmla="*/ 432530 h 537400"/>
                <a:gd name="connsiteX26" fmla="*/ 32575 w 702754"/>
                <a:gd name="connsiteY26" fmla="*/ 429006 h 537400"/>
                <a:gd name="connsiteX27" fmla="*/ 36100 w 702754"/>
                <a:gd name="connsiteY27" fmla="*/ 428530 h 537400"/>
                <a:gd name="connsiteX28" fmla="*/ 33623 w 702754"/>
                <a:gd name="connsiteY28" fmla="*/ 423386 h 537400"/>
                <a:gd name="connsiteX29" fmla="*/ 28861 w 702754"/>
                <a:gd name="connsiteY29" fmla="*/ 415004 h 537400"/>
                <a:gd name="connsiteX30" fmla="*/ 25051 w 702754"/>
                <a:gd name="connsiteY30" fmla="*/ 413671 h 537400"/>
                <a:gd name="connsiteX31" fmla="*/ 18097 w 702754"/>
                <a:gd name="connsiteY31" fmla="*/ 416433 h 537400"/>
                <a:gd name="connsiteX32" fmla="*/ 17145 w 702754"/>
                <a:gd name="connsiteY32" fmla="*/ 409289 h 537400"/>
                <a:gd name="connsiteX33" fmla="*/ 15049 w 702754"/>
                <a:gd name="connsiteY33" fmla="*/ 407765 h 537400"/>
                <a:gd name="connsiteX34" fmla="*/ 16669 w 702754"/>
                <a:gd name="connsiteY34" fmla="*/ 405765 h 537400"/>
                <a:gd name="connsiteX35" fmla="*/ 14383 w 702754"/>
                <a:gd name="connsiteY35" fmla="*/ 402431 h 537400"/>
                <a:gd name="connsiteX36" fmla="*/ 16764 w 702754"/>
                <a:gd name="connsiteY36" fmla="*/ 393001 h 537400"/>
                <a:gd name="connsiteX37" fmla="*/ 19240 w 702754"/>
                <a:gd name="connsiteY37" fmla="*/ 383572 h 537400"/>
                <a:gd name="connsiteX38" fmla="*/ 4096 w 702754"/>
                <a:gd name="connsiteY38" fmla="*/ 365665 h 537400"/>
                <a:gd name="connsiteX39" fmla="*/ 11049 w 702754"/>
                <a:gd name="connsiteY39" fmla="*/ 362998 h 537400"/>
                <a:gd name="connsiteX40" fmla="*/ 11811 w 702754"/>
                <a:gd name="connsiteY40" fmla="*/ 355568 h 537400"/>
                <a:gd name="connsiteX41" fmla="*/ 9620 w 702754"/>
                <a:gd name="connsiteY41" fmla="*/ 352234 h 537400"/>
                <a:gd name="connsiteX42" fmla="*/ 13430 w 702754"/>
                <a:gd name="connsiteY42" fmla="*/ 353568 h 537400"/>
                <a:gd name="connsiteX43" fmla="*/ 10477 w 702754"/>
                <a:gd name="connsiteY43" fmla="*/ 344900 h 537400"/>
                <a:gd name="connsiteX44" fmla="*/ 4858 w 702754"/>
                <a:gd name="connsiteY44" fmla="*/ 343852 h 537400"/>
                <a:gd name="connsiteX45" fmla="*/ 4572 w 702754"/>
                <a:gd name="connsiteY45" fmla="*/ 342043 h 537400"/>
                <a:gd name="connsiteX46" fmla="*/ 7429 w 702754"/>
                <a:gd name="connsiteY46" fmla="*/ 336233 h 537400"/>
                <a:gd name="connsiteX47" fmla="*/ 12382 w 702754"/>
                <a:gd name="connsiteY47" fmla="*/ 331946 h 537400"/>
                <a:gd name="connsiteX48" fmla="*/ 0 w 702754"/>
                <a:gd name="connsiteY48" fmla="*/ 320897 h 537400"/>
                <a:gd name="connsiteX49" fmla="*/ 1524 w 702754"/>
                <a:gd name="connsiteY49" fmla="*/ 318897 h 537400"/>
                <a:gd name="connsiteX50" fmla="*/ 3524 w 702754"/>
                <a:gd name="connsiteY50" fmla="*/ 320421 h 537400"/>
                <a:gd name="connsiteX51" fmla="*/ 1333 w 702754"/>
                <a:gd name="connsiteY51" fmla="*/ 317087 h 537400"/>
                <a:gd name="connsiteX52" fmla="*/ 8954 w 702754"/>
                <a:gd name="connsiteY52" fmla="*/ 319659 h 537400"/>
                <a:gd name="connsiteX53" fmla="*/ 7620 w 702754"/>
                <a:gd name="connsiteY53" fmla="*/ 323469 h 537400"/>
                <a:gd name="connsiteX54" fmla="*/ 12954 w 702754"/>
                <a:gd name="connsiteY54" fmla="*/ 322802 h 537400"/>
                <a:gd name="connsiteX55" fmla="*/ 14288 w 702754"/>
                <a:gd name="connsiteY55" fmla="*/ 318992 h 537400"/>
                <a:gd name="connsiteX56" fmla="*/ 19526 w 702754"/>
                <a:gd name="connsiteY56" fmla="*/ 316516 h 537400"/>
                <a:gd name="connsiteX57" fmla="*/ 19240 w 702754"/>
                <a:gd name="connsiteY57" fmla="*/ 314706 h 537400"/>
                <a:gd name="connsiteX58" fmla="*/ 26670 w 702754"/>
                <a:gd name="connsiteY58" fmla="*/ 315563 h 537400"/>
                <a:gd name="connsiteX59" fmla="*/ 31051 w 702754"/>
                <a:gd name="connsiteY59" fmla="*/ 307658 h 537400"/>
                <a:gd name="connsiteX60" fmla="*/ 28575 w 702754"/>
                <a:gd name="connsiteY60" fmla="*/ 302609 h 537400"/>
                <a:gd name="connsiteX61" fmla="*/ 34861 w 702754"/>
                <a:gd name="connsiteY61" fmla="*/ 294513 h 537400"/>
                <a:gd name="connsiteX62" fmla="*/ 39719 w 702754"/>
                <a:gd name="connsiteY62" fmla="*/ 290227 h 537400"/>
                <a:gd name="connsiteX63" fmla="*/ 37529 w 702754"/>
                <a:gd name="connsiteY63" fmla="*/ 286893 h 537400"/>
                <a:gd name="connsiteX64" fmla="*/ 31909 w 702754"/>
                <a:gd name="connsiteY64" fmla="*/ 285845 h 537400"/>
                <a:gd name="connsiteX65" fmla="*/ 37624 w 702754"/>
                <a:gd name="connsiteY65" fmla="*/ 274225 h 537400"/>
                <a:gd name="connsiteX66" fmla="*/ 33528 w 702754"/>
                <a:gd name="connsiteY66" fmla="*/ 271081 h 537400"/>
                <a:gd name="connsiteX67" fmla="*/ 24574 w 702754"/>
                <a:gd name="connsiteY67" fmla="*/ 272320 h 537400"/>
                <a:gd name="connsiteX68" fmla="*/ 21431 w 702754"/>
                <a:gd name="connsiteY68" fmla="*/ 261842 h 537400"/>
                <a:gd name="connsiteX69" fmla="*/ 42577 w 702754"/>
                <a:gd name="connsiteY69" fmla="*/ 269938 h 537400"/>
                <a:gd name="connsiteX70" fmla="*/ 47244 w 702754"/>
                <a:gd name="connsiteY70" fmla="*/ 263842 h 537400"/>
                <a:gd name="connsiteX71" fmla="*/ 47625 w 702754"/>
                <a:gd name="connsiteY71" fmla="*/ 252984 h 537400"/>
                <a:gd name="connsiteX72" fmla="*/ 56769 w 702754"/>
                <a:gd name="connsiteY72" fmla="*/ 239077 h 537400"/>
                <a:gd name="connsiteX73" fmla="*/ 56007 w 702754"/>
                <a:gd name="connsiteY73" fmla="*/ 233743 h 537400"/>
                <a:gd name="connsiteX74" fmla="*/ 62484 w 702754"/>
                <a:gd name="connsiteY74" fmla="*/ 227362 h 537400"/>
                <a:gd name="connsiteX75" fmla="*/ 60007 w 702754"/>
                <a:gd name="connsiteY75" fmla="*/ 222313 h 537400"/>
                <a:gd name="connsiteX76" fmla="*/ 62198 w 702754"/>
                <a:gd name="connsiteY76" fmla="*/ 211169 h 537400"/>
                <a:gd name="connsiteX77" fmla="*/ 67627 w 702754"/>
                <a:gd name="connsiteY77" fmla="*/ 210407 h 537400"/>
                <a:gd name="connsiteX78" fmla="*/ 67151 w 702754"/>
                <a:gd name="connsiteY78" fmla="*/ 206883 h 537400"/>
                <a:gd name="connsiteX79" fmla="*/ 70485 w 702754"/>
                <a:gd name="connsiteY79" fmla="*/ 204597 h 537400"/>
                <a:gd name="connsiteX80" fmla="*/ 79057 w 702754"/>
                <a:gd name="connsiteY80" fmla="*/ 214313 h 537400"/>
                <a:gd name="connsiteX81" fmla="*/ 80867 w 702754"/>
                <a:gd name="connsiteY81" fmla="*/ 214122 h 537400"/>
                <a:gd name="connsiteX82" fmla="*/ 84487 w 702754"/>
                <a:gd name="connsiteY82" fmla="*/ 213646 h 537400"/>
                <a:gd name="connsiteX83" fmla="*/ 86487 w 702754"/>
                <a:gd name="connsiteY83" fmla="*/ 215170 h 537400"/>
                <a:gd name="connsiteX84" fmla="*/ 89821 w 702754"/>
                <a:gd name="connsiteY84" fmla="*/ 212884 h 537400"/>
                <a:gd name="connsiteX85" fmla="*/ 92107 w 702754"/>
                <a:gd name="connsiteY85" fmla="*/ 216217 h 537400"/>
                <a:gd name="connsiteX86" fmla="*/ 95440 w 702754"/>
                <a:gd name="connsiteY86" fmla="*/ 214027 h 537400"/>
                <a:gd name="connsiteX87" fmla="*/ 100679 w 702754"/>
                <a:gd name="connsiteY87" fmla="*/ 225933 h 537400"/>
                <a:gd name="connsiteX88" fmla="*/ 106775 w 702754"/>
                <a:gd name="connsiteY88" fmla="*/ 230600 h 537400"/>
                <a:gd name="connsiteX89" fmla="*/ 108585 w 702754"/>
                <a:gd name="connsiteY89" fmla="*/ 230410 h 537400"/>
                <a:gd name="connsiteX90" fmla="*/ 107251 w 702754"/>
                <a:gd name="connsiteY90" fmla="*/ 234220 h 537400"/>
                <a:gd name="connsiteX91" fmla="*/ 111347 w 702754"/>
                <a:gd name="connsiteY91" fmla="*/ 237268 h 537400"/>
                <a:gd name="connsiteX92" fmla="*/ 114109 w 702754"/>
                <a:gd name="connsiteY92" fmla="*/ 244126 h 537400"/>
                <a:gd name="connsiteX93" fmla="*/ 117157 w 702754"/>
                <a:gd name="connsiteY93" fmla="*/ 240125 h 537400"/>
                <a:gd name="connsiteX94" fmla="*/ 124587 w 702754"/>
                <a:gd name="connsiteY94" fmla="*/ 240983 h 537400"/>
                <a:gd name="connsiteX95" fmla="*/ 127540 w 702754"/>
                <a:gd name="connsiteY95" fmla="*/ 235077 h 537400"/>
                <a:gd name="connsiteX96" fmla="*/ 134969 w 702754"/>
                <a:gd name="connsiteY96" fmla="*/ 235934 h 537400"/>
                <a:gd name="connsiteX97" fmla="*/ 136303 w 702754"/>
                <a:gd name="connsiteY97" fmla="*/ 232124 h 537400"/>
                <a:gd name="connsiteX98" fmla="*/ 144113 w 702754"/>
                <a:gd name="connsiteY98" fmla="*/ 236506 h 537400"/>
                <a:gd name="connsiteX99" fmla="*/ 154210 w 702754"/>
                <a:gd name="connsiteY99" fmla="*/ 229743 h 537400"/>
                <a:gd name="connsiteX100" fmla="*/ 151924 w 702754"/>
                <a:gd name="connsiteY100" fmla="*/ 226409 h 537400"/>
                <a:gd name="connsiteX101" fmla="*/ 155067 w 702754"/>
                <a:gd name="connsiteY101" fmla="*/ 222409 h 537400"/>
                <a:gd name="connsiteX102" fmla="*/ 153067 w 702754"/>
                <a:gd name="connsiteY102" fmla="*/ 220885 h 537400"/>
                <a:gd name="connsiteX103" fmla="*/ 154591 w 702754"/>
                <a:gd name="connsiteY103" fmla="*/ 218884 h 537400"/>
                <a:gd name="connsiteX104" fmla="*/ 154876 w 702754"/>
                <a:gd name="connsiteY104" fmla="*/ 220599 h 537400"/>
                <a:gd name="connsiteX105" fmla="*/ 160496 w 702754"/>
                <a:gd name="connsiteY105" fmla="*/ 221647 h 537400"/>
                <a:gd name="connsiteX106" fmla="*/ 162496 w 702754"/>
                <a:gd name="connsiteY106" fmla="*/ 223266 h 537400"/>
                <a:gd name="connsiteX107" fmla="*/ 157829 w 702754"/>
                <a:gd name="connsiteY107" fmla="*/ 229267 h 537400"/>
                <a:gd name="connsiteX108" fmla="*/ 159829 w 702754"/>
                <a:gd name="connsiteY108" fmla="*/ 230791 h 537400"/>
                <a:gd name="connsiteX109" fmla="*/ 158972 w 702754"/>
                <a:gd name="connsiteY109" fmla="*/ 238220 h 537400"/>
                <a:gd name="connsiteX110" fmla="*/ 174688 w 702754"/>
                <a:gd name="connsiteY110" fmla="*/ 232505 h 537400"/>
                <a:gd name="connsiteX111" fmla="*/ 180022 w 702754"/>
                <a:gd name="connsiteY111" fmla="*/ 231838 h 537400"/>
                <a:gd name="connsiteX112" fmla="*/ 181927 w 702754"/>
                <a:gd name="connsiteY112" fmla="*/ 231553 h 537400"/>
                <a:gd name="connsiteX113" fmla="*/ 181642 w 702754"/>
                <a:gd name="connsiteY113" fmla="*/ 229743 h 537400"/>
                <a:gd name="connsiteX114" fmla="*/ 191071 w 702754"/>
                <a:gd name="connsiteY114" fmla="*/ 232124 h 537400"/>
                <a:gd name="connsiteX115" fmla="*/ 188785 w 702754"/>
                <a:gd name="connsiteY115" fmla="*/ 228791 h 537400"/>
                <a:gd name="connsiteX116" fmla="*/ 190405 w 702754"/>
                <a:gd name="connsiteY116" fmla="*/ 226790 h 537400"/>
                <a:gd name="connsiteX117" fmla="*/ 188309 w 702754"/>
                <a:gd name="connsiteY117" fmla="*/ 225266 h 537400"/>
                <a:gd name="connsiteX118" fmla="*/ 197834 w 702754"/>
                <a:gd name="connsiteY118" fmla="*/ 227647 h 537400"/>
                <a:gd name="connsiteX119" fmla="*/ 199644 w 702754"/>
                <a:gd name="connsiteY119" fmla="*/ 227362 h 537400"/>
                <a:gd name="connsiteX120" fmla="*/ 205454 w 702754"/>
                <a:gd name="connsiteY120" fmla="*/ 230219 h 537400"/>
                <a:gd name="connsiteX121" fmla="*/ 209550 w 702754"/>
                <a:gd name="connsiteY121" fmla="*/ 233363 h 537400"/>
                <a:gd name="connsiteX122" fmla="*/ 235839 w 702754"/>
                <a:gd name="connsiteY122" fmla="*/ 238887 h 537400"/>
                <a:gd name="connsiteX123" fmla="*/ 234220 w 702754"/>
                <a:gd name="connsiteY123" fmla="*/ 226409 h 537400"/>
                <a:gd name="connsiteX124" fmla="*/ 230314 w 702754"/>
                <a:gd name="connsiteY124" fmla="*/ 225171 h 537400"/>
                <a:gd name="connsiteX125" fmla="*/ 227647 w 702754"/>
                <a:gd name="connsiteY125" fmla="*/ 218218 h 537400"/>
                <a:gd name="connsiteX126" fmla="*/ 219742 w 702754"/>
                <a:gd name="connsiteY126" fmla="*/ 213836 h 537400"/>
                <a:gd name="connsiteX127" fmla="*/ 218980 w 702754"/>
                <a:gd name="connsiteY127" fmla="*/ 208502 h 537400"/>
                <a:gd name="connsiteX128" fmla="*/ 221266 w 702754"/>
                <a:gd name="connsiteY128" fmla="*/ 211836 h 537400"/>
                <a:gd name="connsiteX129" fmla="*/ 222599 w 702754"/>
                <a:gd name="connsiteY129" fmla="*/ 208026 h 537400"/>
                <a:gd name="connsiteX130" fmla="*/ 221932 w 702754"/>
                <a:gd name="connsiteY130" fmla="*/ 202692 h 537400"/>
                <a:gd name="connsiteX131" fmla="*/ 227076 w 702754"/>
                <a:gd name="connsiteY131" fmla="*/ 200216 h 537400"/>
                <a:gd name="connsiteX132" fmla="*/ 228600 w 702754"/>
                <a:gd name="connsiteY132" fmla="*/ 198215 h 537400"/>
                <a:gd name="connsiteX133" fmla="*/ 234696 w 702754"/>
                <a:gd name="connsiteY133" fmla="*/ 202787 h 537400"/>
                <a:gd name="connsiteX134" fmla="*/ 239458 w 702754"/>
                <a:gd name="connsiteY134" fmla="*/ 196787 h 537400"/>
                <a:gd name="connsiteX135" fmla="*/ 244792 w 702754"/>
                <a:gd name="connsiteY135" fmla="*/ 196025 h 537400"/>
                <a:gd name="connsiteX136" fmla="*/ 247936 w 702754"/>
                <a:gd name="connsiteY136" fmla="*/ 192024 h 537400"/>
                <a:gd name="connsiteX137" fmla="*/ 256413 w 702754"/>
                <a:gd name="connsiteY137" fmla="*/ 187262 h 537400"/>
                <a:gd name="connsiteX138" fmla="*/ 246697 w 702754"/>
                <a:gd name="connsiteY138" fmla="*/ 183071 h 537400"/>
                <a:gd name="connsiteX139" fmla="*/ 244221 w 702754"/>
                <a:gd name="connsiteY139" fmla="*/ 178022 h 537400"/>
                <a:gd name="connsiteX140" fmla="*/ 242411 w 702754"/>
                <a:gd name="connsiteY140" fmla="*/ 178213 h 537400"/>
                <a:gd name="connsiteX141" fmla="*/ 239649 w 702754"/>
                <a:gd name="connsiteY141" fmla="*/ 171355 h 537400"/>
                <a:gd name="connsiteX142" fmla="*/ 244316 w 702754"/>
                <a:gd name="connsiteY142" fmla="*/ 165259 h 537400"/>
                <a:gd name="connsiteX143" fmla="*/ 252889 w 702754"/>
                <a:gd name="connsiteY143" fmla="*/ 160496 h 537400"/>
                <a:gd name="connsiteX144" fmla="*/ 250603 w 702754"/>
                <a:gd name="connsiteY144" fmla="*/ 157163 h 537400"/>
                <a:gd name="connsiteX145" fmla="*/ 255746 w 702754"/>
                <a:gd name="connsiteY145" fmla="*/ 154686 h 537400"/>
                <a:gd name="connsiteX146" fmla="*/ 270605 w 702754"/>
                <a:gd name="connsiteY146" fmla="*/ 156400 h 537400"/>
                <a:gd name="connsiteX147" fmla="*/ 286226 w 702754"/>
                <a:gd name="connsiteY147" fmla="*/ 136208 h 537400"/>
                <a:gd name="connsiteX148" fmla="*/ 287560 w 702754"/>
                <a:gd name="connsiteY148" fmla="*/ 132397 h 537400"/>
                <a:gd name="connsiteX149" fmla="*/ 292989 w 702754"/>
                <a:gd name="connsiteY149" fmla="*/ 131635 h 537400"/>
                <a:gd name="connsiteX150" fmla="*/ 295180 w 702754"/>
                <a:gd name="connsiteY150" fmla="*/ 134969 h 537400"/>
                <a:gd name="connsiteX151" fmla="*/ 300799 w 702754"/>
                <a:gd name="connsiteY151" fmla="*/ 136017 h 537400"/>
                <a:gd name="connsiteX152" fmla="*/ 298513 w 702754"/>
                <a:gd name="connsiteY152" fmla="*/ 132683 h 537400"/>
                <a:gd name="connsiteX153" fmla="*/ 301847 w 702754"/>
                <a:gd name="connsiteY153" fmla="*/ 130492 h 537400"/>
                <a:gd name="connsiteX154" fmla="*/ 303276 w 702754"/>
                <a:gd name="connsiteY154" fmla="*/ 126683 h 537400"/>
                <a:gd name="connsiteX155" fmla="*/ 305276 w 702754"/>
                <a:gd name="connsiteY155" fmla="*/ 128206 h 537400"/>
                <a:gd name="connsiteX156" fmla="*/ 308419 w 702754"/>
                <a:gd name="connsiteY156" fmla="*/ 124206 h 537400"/>
                <a:gd name="connsiteX157" fmla="*/ 314515 w 702754"/>
                <a:gd name="connsiteY157" fmla="*/ 128778 h 537400"/>
                <a:gd name="connsiteX158" fmla="*/ 319659 w 702754"/>
                <a:gd name="connsiteY158" fmla="*/ 126301 h 537400"/>
                <a:gd name="connsiteX159" fmla="*/ 319183 w 702754"/>
                <a:gd name="connsiteY159" fmla="*/ 122777 h 537400"/>
                <a:gd name="connsiteX160" fmla="*/ 313277 w 702754"/>
                <a:gd name="connsiteY160" fmla="*/ 119920 h 537400"/>
                <a:gd name="connsiteX161" fmla="*/ 322326 w 702754"/>
                <a:gd name="connsiteY161" fmla="*/ 118681 h 537400"/>
                <a:gd name="connsiteX162" fmla="*/ 323374 w 702754"/>
                <a:gd name="connsiteY162" fmla="*/ 113157 h 537400"/>
                <a:gd name="connsiteX163" fmla="*/ 325183 w 702754"/>
                <a:gd name="connsiteY163" fmla="*/ 112871 h 537400"/>
                <a:gd name="connsiteX164" fmla="*/ 325850 w 702754"/>
                <a:gd name="connsiteY164" fmla="*/ 118205 h 537400"/>
                <a:gd name="connsiteX165" fmla="*/ 338423 w 702754"/>
                <a:gd name="connsiteY165" fmla="*/ 116586 h 537400"/>
                <a:gd name="connsiteX166" fmla="*/ 338709 w 702754"/>
                <a:gd name="connsiteY166" fmla="*/ 118396 h 537400"/>
                <a:gd name="connsiteX167" fmla="*/ 341566 w 702754"/>
                <a:gd name="connsiteY167" fmla="*/ 112490 h 537400"/>
                <a:gd name="connsiteX168" fmla="*/ 343090 w 702754"/>
                <a:gd name="connsiteY168" fmla="*/ 110490 h 537400"/>
                <a:gd name="connsiteX169" fmla="*/ 346519 w 702754"/>
                <a:gd name="connsiteY169" fmla="*/ 108204 h 537400"/>
                <a:gd name="connsiteX170" fmla="*/ 356806 w 702754"/>
                <a:gd name="connsiteY170" fmla="*/ 103251 h 537400"/>
                <a:gd name="connsiteX171" fmla="*/ 359664 w 702754"/>
                <a:gd name="connsiteY171" fmla="*/ 97441 h 537400"/>
                <a:gd name="connsiteX172" fmla="*/ 359759 w 702754"/>
                <a:gd name="connsiteY172" fmla="*/ 70199 h 537400"/>
                <a:gd name="connsiteX173" fmla="*/ 368046 w 702754"/>
                <a:gd name="connsiteY173" fmla="*/ 63722 h 537400"/>
                <a:gd name="connsiteX174" fmla="*/ 375380 w 702754"/>
                <a:gd name="connsiteY174" fmla="*/ 64484 h 537400"/>
                <a:gd name="connsiteX175" fmla="*/ 376999 w 702754"/>
                <a:gd name="connsiteY175" fmla="*/ 62484 h 537400"/>
                <a:gd name="connsiteX176" fmla="*/ 383096 w 702754"/>
                <a:gd name="connsiteY176" fmla="*/ 67151 h 537400"/>
                <a:gd name="connsiteX177" fmla="*/ 384905 w 702754"/>
                <a:gd name="connsiteY177" fmla="*/ 66865 h 537400"/>
                <a:gd name="connsiteX178" fmla="*/ 396621 w 702754"/>
                <a:gd name="connsiteY178" fmla="*/ 72580 h 537400"/>
                <a:gd name="connsiteX179" fmla="*/ 401574 w 702754"/>
                <a:gd name="connsiteY179" fmla="*/ 82867 h 537400"/>
                <a:gd name="connsiteX180" fmla="*/ 405193 w 702754"/>
                <a:gd name="connsiteY180" fmla="*/ 82391 h 537400"/>
                <a:gd name="connsiteX181" fmla="*/ 409480 w 702754"/>
                <a:gd name="connsiteY181" fmla="*/ 87249 h 537400"/>
                <a:gd name="connsiteX182" fmla="*/ 413099 w 702754"/>
                <a:gd name="connsiteY182" fmla="*/ 86773 h 537400"/>
                <a:gd name="connsiteX183" fmla="*/ 416433 w 702754"/>
                <a:gd name="connsiteY183" fmla="*/ 84487 h 537400"/>
                <a:gd name="connsiteX184" fmla="*/ 442436 w 702754"/>
                <a:gd name="connsiteY184" fmla="*/ 100965 h 537400"/>
                <a:gd name="connsiteX185" fmla="*/ 443770 w 702754"/>
                <a:gd name="connsiteY185" fmla="*/ 97155 h 537400"/>
                <a:gd name="connsiteX186" fmla="*/ 445770 w 702754"/>
                <a:gd name="connsiteY186" fmla="*/ 98774 h 537400"/>
                <a:gd name="connsiteX187" fmla="*/ 452438 w 702754"/>
                <a:gd name="connsiteY187" fmla="*/ 94202 h 537400"/>
                <a:gd name="connsiteX188" fmla="*/ 465487 w 702754"/>
                <a:gd name="connsiteY188" fmla="*/ 96107 h 537400"/>
                <a:gd name="connsiteX189" fmla="*/ 472059 w 702754"/>
                <a:gd name="connsiteY189" fmla="*/ 104299 h 537400"/>
                <a:gd name="connsiteX190" fmla="*/ 479965 w 702754"/>
                <a:gd name="connsiteY190" fmla="*/ 108680 h 537400"/>
                <a:gd name="connsiteX191" fmla="*/ 480917 w 702754"/>
                <a:gd name="connsiteY191" fmla="*/ 115824 h 537400"/>
                <a:gd name="connsiteX192" fmla="*/ 493109 w 702754"/>
                <a:gd name="connsiteY192" fmla="*/ 125063 h 537400"/>
                <a:gd name="connsiteX193" fmla="*/ 498062 w 702754"/>
                <a:gd name="connsiteY193" fmla="*/ 135350 h 537400"/>
                <a:gd name="connsiteX194" fmla="*/ 505301 w 702754"/>
                <a:gd name="connsiteY194" fmla="*/ 134398 h 537400"/>
                <a:gd name="connsiteX195" fmla="*/ 514731 w 702754"/>
                <a:gd name="connsiteY195" fmla="*/ 136779 h 537400"/>
                <a:gd name="connsiteX196" fmla="*/ 539496 w 702754"/>
                <a:gd name="connsiteY196" fmla="*/ 144399 h 537400"/>
                <a:gd name="connsiteX197" fmla="*/ 543782 w 702754"/>
                <a:gd name="connsiteY197" fmla="*/ 149257 h 537400"/>
                <a:gd name="connsiteX198" fmla="*/ 553498 w 702754"/>
                <a:gd name="connsiteY198" fmla="*/ 153352 h 537400"/>
                <a:gd name="connsiteX199" fmla="*/ 564547 w 702754"/>
                <a:gd name="connsiteY199" fmla="*/ 153734 h 537400"/>
                <a:gd name="connsiteX200" fmla="*/ 574548 w 702754"/>
                <a:gd name="connsiteY200" fmla="*/ 146971 h 537400"/>
                <a:gd name="connsiteX201" fmla="*/ 577691 w 702754"/>
                <a:gd name="connsiteY201" fmla="*/ 142875 h 537400"/>
                <a:gd name="connsiteX202" fmla="*/ 582739 w 702754"/>
                <a:gd name="connsiteY202" fmla="*/ 125921 h 537400"/>
                <a:gd name="connsiteX203" fmla="*/ 595884 w 702754"/>
                <a:gd name="connsiteY203" fmla="*/ 100584 h 537400"/>
                <a:gd name="connsiteX204" fmla="*/ 601218 w 702754"/>
                <a:gd name="connsiteY204" fmla="*/ 99917 h 537400"/>
                <a:gd name="connsiteX205" fmla="*/ 605314 w 702754"/>
                <a:gd name="connsiteY205" fmla="*/ 102965 h 537400"/>
                <a:gd name="connsiteX206" fmla="*/ 616934 w 702754"/>
                <a:gd name="connsiteY206" fmla="*/ 94202 h 537400"/>
                <a:gd name="connsiteX207" fmla="*/ 628840 w 702754"/>
                <a:gd name="connsiteY207" fmla="*/ 87249 h 537400"/>
                <a:gd name="connsiteX208" fmla="*/ 630174 w 702754"/>
                <a:gd name="connsiteY208" fmla="*/ 83439 h 537400"/>
                <a:gd name="connsiteX209" fmla="*/ 627602 w 702754"/>
                <a:gd name="connsiteY209" fmla="*/ 78296 h 537400"/>
                <a:gd name="connsiteX210" fmla="*/ 637222 w 702754"/>
                <a:gd name="connsiteY210" fmla="*/ 67913 h 537400"/>
                <a:gd name="connsiteX211" fmla="*/ 641413 w 702754"/>
                <a:gd name="connsiteY211" fmla="*/ 58293 h 537400"/>
                <a:gd name="connsiteX212" fmla="*/ 644461 w 702754"/>
                <a:gd name="connsiteY212" fmla="*/ 39815 h 537400"/>
                <a:gd name="connsiteX213" fmla="*/ 653415 w 702754"/>
                <a:gd name="connsiteY213" fmla="*/ 24098 h 537400"/>
                <a:gd name="connsiteX214" fmla="*/ 658558 w 702754"/>
                <a:gd name="connsiteY214" fmla="*/ 21622 h 537400"/>
                <a:gd name="connsiteX215" fmla="*/ 664369 w 702754"/>
                <a:gd name="connsiteY215" fmla="*/ 24479 h 537400"/>
                <a:gd name="connsiteX216" fmla="*/ 665512 w 702754"/>
                <a:gd name="connsiteY216" fmla="*/ 18859 h 537400"/>
                <a:gd name="connsiteX217" fmla="*/ 671989 w 702754"/>
                <a:gd name="connsiteY217" fmla="*/ 12573 h 537400"/>
                <a:gd name="connsiteX218" fmla="*/ 673989 w 702754"/>
                <a:gd name="connsiteY218" fmla="*/ 14097 h 537400"/>
                <a:gd name="connsiteX219" fmla="*/ 674846 w 702754"/>
                <a:gd name="connsiteY219" fmla="*/ 6763 h 537400"/>
                <a:gd name="connsiteX220" fmla="*/ 684847 w 702754"/>
                <a:gd name="connsiteY220" fmla="*/ 0 h 537400"/>
                <a:gd name="connsiteX221" fmla="*/ 698659 w 702754"/>
                <a:gd name="connsiteY221" fmla="*/ 7239 h 537400"/>
                <a:gd name="connsiteX222" fmla="*/ 699135 w 702754"/>
                <a:gd name="connsiteY222" fmla="*/ 10858 h 537400"/>
                <a:gd name="connsiteX223" fmla="*/ 700278 w 702754"/>
                <a:gd name="connsiteY223" fmla="*/ 19717 h 537400"/>
                <a:gd name="connsiteX224" fmla="*/ 702755 w 702754"/>
                <a:gd name="connsiteY224" fmla="*/ 24860 h 537400"/>
                <a:gd name="connsiteX225" fmla="*/ 699897 w 702754"/>
                <a:gd name="connsiteY225" fmla="*/ 30671 h 537400"/>
                <a:gd name="connsiteX226" fmla="*/ 701326 w 702754"/>
                <a:gd name="connsiteY226" fmla="*/ 41338 h 537400"/>
                <a:gd name="connsiteX227" fmla="*/ 698468 w 702754"/>
                <a:gd name="connsiteY227" fmla="*/ 47149 h 537400"/>
                <a:gd name="connsiteX228" fmla="*/ 688657 w 702754"/>
                <a:gd name="connsiteY228" fmla="*/ 55721 h 537400"/>
                <a:gd name="connsiteX229" fmla="*/ 687800 w 702754"/>
                <a:gd name="connsiteY229" fmla="*/ 63055 h 537400"/>
                <a:gd name="connsiteX230" fmla="*/ 683514 w 702754"/>
                <a:gd name="connsiteY230" fmla="*/ 72771 h 537400"/>
                <a:gd name="connsiteX231" fmla="*/ 682657 w 702754"/>
                <a:gd name="connsiteY231" fmla="*/ 80105 h 537400"/>
                <a:gd name="connsiteX232" fmla="*/ 679799 w 702754"/>
                <a:gd name="connsiteY232" fmla="*/ 85916 h 537400"/>
                <a:gd name="connsiteX233" fmla="*/ 676084 w 702754"/>
                <a:gd name="connsiteY233" fmla="*/ 99060 h 537400"/>
                <a:gd name="connsiteX234" fmla="*/ 676751 w 702754"/>
                <a:gd name="connsiteY234" fmla="*/ 104394 h 537400"/>
                <a:gd name="connsiteX235" fmla="*/ 674180 w 702754"/>
                <a:gd name="connsiteY235" fmla="*/ 112014 h 537400"/>
                <a:gd name="connsiteX236" fmla="*/ 672370 w 702754"/>
                <a:gd name="connsiteY236" fmla="*/ 112300 h 537400"/>
                <a:gd name="connsiteX237" fmla="*/ 671608 w 702754"/>
                <a:gd name="connsiteY237" fmla="*/ 106871 h 537400"/>
                <a:gd name="connsiteX238" fmla="*/ 668274 w 702754"/>
                <a:gd name="connsiteY238" fmla="*/ 109156 h 537400"/>
                <a:gd name="connsiteX239" fmla="*/ 668560 w 702754"/>
                <a:gd name="connsiteY239" fmla="*/ 125444 h 537400"/>
                <a:gd name="connsiteX240" fmla="*/ 663892 w 702754"/>
                <a:gd name="connsiteY240" fmla="*/ 131540 h 537400"/>
                <a:gd name="connsiteX241" fmla="*/ 653129 w 702754"/>
                <a:gd name="connsiteY241" fmla="*/ 132969 h 537400"/>
                <a:gd name="connsiteX242" fmla="*/ 651605 w 702754"/>
                <a:gd name="connsiteY242" fmla="*/ 134969 h 537400"/>
                <a:gd name="connsiteX243" fmla="*/ 652081 w 702754"/>
                <a:gd name="connsiteY243" fmla="*/ 138493 h 537400"/>
                <a:gd name="connsiteX244" fmla="*/ 661321 w 702754"/>
                <a:gd name="connsiteY244" fmla="*/ 153638 h 537400"/>
                <a:gd name="connsiteX245" fmla="*/ 662559 w 702754"/>
                <a:gd name="connsiteY245" fmla="*/ 162496 h 537400"/>
                <a:gd name="connsiteX246" fmla="*/ 668655 w 702754"/>
                <a:gd name="connsiteY246" fmla="*/ 167164 h 537400"/>
                <a:gd name="connsiteX247" fmla="*/ 656749 w 702754"/>
                <a:gd name="connsiteY247" fmla="*/ 174117 h 537400"/>
                <a:gd name="connsiteX248" fmla="*/ 649224 w 702754"/>
                <a:gd name="connsiteY248" fmla="*/ 186023 h 537400"/>
                <a:gd name="connsiteX249" fmla="*/ 646366 w 702754"/>
                <a:gd name="connsiteY249" fmla="*/ 191834 h 537400"/>
                <a:gd name="connsiteX250" fmla="*/ 660749 w 702754"/>
                <a:gd name="connsiteY250" fmla="*/ 204502 h 537400"/>
                <a:gd name="connsiteX251" fmla="*/ 656368 w 702754"/>
                <a:gd name="connsiteY251" fmla="*/ 212312 h 537400"/>
                <a:gd name="connsiteX252" fmla="*/ 665131 w 702754"/>
                <a:gd name="connsiteY252" fmla="*/ 223838 h 537400"/>
                <a:gd name="connsiteX253" fmla="*/ 656654 w 702754"/>
                <a:gd name="connsiteY253" fmla="*/ 228600 h 537400"/>
                <a:gd name="connsiteX254" fmla="*/ 655606 w 702754"/>
                <a:gd name="connsiteY254" fmla="*/ 234125 h 537400"/>
                <a:gd name="connsiteX255" fmla="*/ 657797 w 702754"/>
                <a:gd name="connsiteY255" fmla="*/ 237458 h 537400"/>
                <a:gd name="connsiteX256" fmla="*/ 654748 w 702754"/>
                <a:gd name="connsiteY256" fmla="*/ 241459 h 537400"/>
                <a:gd name="connsiteX257" fmla="*/ 643890 w 702754"/>
                <a:gd name="connsiteY257" fmla="*/ 242888 h 537400"/>
                <a:gd name="connsiteX258" fmla="*/ 642842 w 702754"/>
                <a:gd name="connsiteY258" fmla="*/ 248507 h 537400"/>
                <a:gd name="connsiteX259" fmla="*/ 632365 w 702754"/>
                <a:gd name="connsiteY259" fmla="*/ 251746 h 537400"/>
                <a:gd name="connsiteX260" fmla="*/ 629698 w 702754"/>
                <a:gd name="connsiteY260" fmla="*/ 259366 h 537400"/>
                <a:gd name="connsiteX261" fmla="*/ 622268 w 702754"/>
                <a:gd name="connsiteY261" fmla="*/ 258509 h 537400"/>
                <a:gd name="connsiteX262" fmla="*/ 620935 w 702754"/>
                <a:gd name="connsiteY262" fmla="*/ 262318 h 537400"/>
                <a:gd name="connsiteX263" fmla="*/ 622078 w 702754"/>
                <a:gd name="connsiteY263" fmla="*/ 271177 h 537400"/>
                <a:gd name="connsiteX264" fmla="*/ 620744 w 702754"/>
                <a:gd name="connsiteY264" fmla="*/ 274987 h 537400"/>
                <a:gd name="connsiteX265" fmla="*/ 614077 w 702754"/>
                <a:gd name="connsiteY265" fmla="*/ 279559 h 537400"/>
                <a:gd name="connsiteX266" fmla="*/ 609600 w 702754"/>
                <a:gd name="connsiteY266" fmla="*/ 287369 h 537400"/>
                <a:gd name="connsiteX267" fmla="*/ 610076 w 702754"/>
                <a:gd name="connsiteY267" fmla="*/ 290893 h 537400"/>
                <a:gd name="connsiteX268" fmla="*/ 604933 w 702754"/>
                <a:gd name="connsiteY268" fmla="*/ 293465 h 537400"/>
                <a:gd name="connsiteX269" fmla="*/ 598075 w 702754"/>
                <a:gd name="connsiteY269" fmla="*/ 283464 h 537400"/>
                <a:gd name="connsiteX270" fmla="*/ 579691 w 702754"/>
                <a:gd name="connsiteY270" fmla="*/ 282226 h 537400"/>
                <a:gd name="connsiteX271" fmla="*/ 571214 w 702754"/>
                <a:gd name="connsiteY271" fmla="*/ 286988 h 537400"/>
                <a:gd name="connsiteX272" fmla="*/ 577310 w 702754"/>
                <a:gd name="connsiteY272" fmla="*/ 306134 h 537400"/>
                <a:gd name="connsiteX273" fmla="*/ 585216 w 702754"/>
                <a:gd name="connsiteY273" fmla="*/ 310515 h 537400"/>
                <a:gd name="connsiteX274" fmla="*/ 590074 w 702754"/>
                <a:gd name="connsiteY274" fmla="*/ 318992 h 537400"/>
                <a:gd name="connsiteX275" fmla="*/ 588931 w 702754"/>
                <a:gd name="connsiteY275" fmla="*/ 324517 h 537400"/>
                <a:gd name="connsiteX276" fmla="*/ 595027 w 702754"/>
                <a:gd name="connsiteY276" fmla="*/ 329184 h 537400"/>
                <a:gd name="connsiteX277" fmla="*/ 591026 w 702754"/>
                <a:gd name="connsiteY277" fmla="*/ 340614 h 537400"/>
                <a:gd name="connsiteX278" fmla="*/ 592741 w 702754"/>
                <a:gd name="connsiteY278" fmla="*/ 353092 h 537400"/>
                <a:gd name="connsiteX279" fmla="*/ 593217 w 702754"/>
                <a:gd name="connsiteY279" fmla="*/ 356616 h 537400"/>
                <a:gd name="connsiteX280" fmla="*/ 597503 w 702754"/>
                <a:gd name="connsiteY280" fmla="*/ 361474 h 537400"/>
                <a:gd name="connsiteX281" fmla="*/ 600932 w 702754"/>
                <a:gd name="connsiteY281" fmla="*/ 373761 h 537400"/>
                <a:gd name="connsiteX282" fmla="*/ 608838 w 702754"/>
                <a:gd name="connsiteY282" fmla="*/ 378142 h 537400"/>
                <a:gd name="connsiteX283" fmla="*/ 604647 w 702754"/>
                <a:gd name="connsiteY283" fmla="*/ 387763 h 537400"/>
                <a:gd name="connsiteX284" fmla="*/ 614553 w 702754"/>
                <a:gd name="connsiteY284" fmla="*/ 393668 h 537400"/>
                <a:gd name="connsiteX285" fmla="*/ 613410 w 702754"/>
                <a:gd name="connsiteY285" fmla="*/ 399288 h 537400"/>
                <a:gd name="connsiteX286" fmla="*/ 615982 w 702754"/>
                <a:gd name="connsiteY286" fmla="*/ 404336 h 537400"/>
                <a:gd name="connsiteX287" fmla="*/ 611314 w 702754"/>
                <a:gd name="connsiteY287" fmla="*/ 410432 h 537400"/>
                <a:gd name="connsiteX288" fmla="*/ 613981 w 702754"/>
                <a:gd name="connsiteY288" fmla="*/ 417290 h 537400"/>
                <a:gd name="connsiteX289" fmla="*/ 616267 w 702754"/>
                <a:gd name="connsiteY289" fmla="*/ 420624 h 537400"/>
                <a:gd name="connsiteX290" fmla="*/ 610267 w 702754"/>
                <a:gd name="connsiteY290" fmla="*/ 430530 h 537400"/>
                <a:gd name="connsiteX291" fmla="*/ 617601 w 702754"/>
                <a:gd name="connsiteY291" fmla="*/ 444055 h 537400"/>
                <a:gd name="connsiteX292" fmla="*/ 620554 w 702754"/>
                <a:gd name="connsiteY292" fmla="*/ 452723 h 537400"/>
                <a:gd name="connsiteX293" fmla="*/ 626364 w 702754"/>
                <a:gd name="connsiteY293" fmla="*/ 455581 h 537400"/>
                <a:gd name="connsiteX294" fmla="*/ 624840 w 702754"/>
                <a:gd name="connsiteY294" fmla="*/ 457581 h 537400"/>
                <a:gd name="connsiteX295" fmla="*/ 625030 w 702754"/>
                <a:gd name="connsiteY295" fmla="*/ 459391 h 537400"/>
                <a:gd name="connsiteX296" fmla="*/ 617030 w 702754"/>
                <a:gd name="connsiteY296" fmla="*/ 467677 h 537400"/>
                <a:gd name="connsiteX297" fmla="*/ 611410 w 702754"/>
                <a:gd name="connsiteY297" fmla="*/ 466630 h 537400"/>
                <a:gd name="connsiteX298" fmla="*/ 602932 w 702754"/>
                <a:gd name="connsiteY298" fmla="*/ 471392 h 537400"/>
                <a:gd name="connsiteX299" fmla="*/ 599980 w 702754"/>
                <a:gd name="connsiteY299" fmla="*/ 477202 h 537400"/>
                <a:gd name="connsiteX300" fmla="*/ 600361 w 702754"/>
                <a:gd name="connsiteY300" fmla="*/ 493490 h 537400"/>
                <a:gd name="connsiteX301" fmla="*/ 596932 w 702754"/>
                <a:gd name="connsiteY301" fmla="*/ 495776 h 537400"/>
                <a:gd name="connsiteX302" fmla="*/ 589788 w 702754"/>
                <a:gd name="connsiteY302" fmla="*/ 496634 h 537400"/>
                <a:gd name="connsiteX303" fmla="*/ 589597 w 702754"/>
                <a:gd name="connsiteY303" fmla="*/ 494919 h 537400"/>
                <a:gd name="connsiteX304" fmla="*/ 574453 w 702754"/>
                <a:gd name="connsiteY304" fmla="*/ 491490 h 537400"/>
                <a:gd name="connsiteX305" fmla="*/ 569309 w 702754"/>
                <a:gd name="connsiteY305" fmla="*/ 493967 h 537400"/>
                <a:gd name="connsiteX306" fmla="*/ 565213 w 702754"/>
                <a:gd name="connsiteY306" fmla="*/ 490823 h 537400"/>
                <a:gd name="connsiteX307" fmla="*/ 558355 w 702754"/>
                <a:gd name="connsiteY307" fmla="*/ 493585 h 537400"/>
                <a:gd name="connsiteX308" fmla="*/ 533590 w 702754"/>
                <a:gd name="connsiteY308" fmla="*/ 485966 h 537400"/>
                <a:gd name="connsiteX309" fmla="*/ 531971 w 702754"/>
                <a:gd name="connsiteY309" fmla="*/ 488061 h 537400"/>
                <a:gd name="connsiteX310" fmla="*/ 536067 w 702754"/>
                <a:gd name="connsiteY310" fmla="*/ 491109 h 537400"/>
                <a:gd name="connsiteX311" fmla="*/ 536257 w 702754"/>
                <a:gd name="connsiteY311" fmla="*/ 492919 h 537400"/>
                <a:gd name="connsiteX312" fmla="*/ 530638 w 702754"/>
                <a:gd name="connsiteY312" fmla="*/ 491776 h 537400"/>
                <a:gd name="connsiteX313" fmla="*/ 528447 w 702754"/>
                <a:gd name="connsiteY313" fmla="*/ 488537 h 537400"/>
                <a:gd name="connsiteX314" fmla="*/ 514350 w 702754"/>
                <a:gd name="connsiteY314" fmla="*/ 479488 h 537400"/>
                <a:gd name="connsiteX315" fmla="*/ 501586 w 702754"/>
                <a:gd name="connsiteY315" fmla="*/ 479298 h 537400"/>
                <a:gd name="connsiteX316" fmla="*/ 500253 w 702754"/>
                <a:gd name="connsiteY316" fmla="*/ 483108 h 537400"/>
                <a:gd name="connsiteX317" fmla="*/ 496443 w 702754"/>
                <a:gd name="connsiteY317" fmla="*/ 481870 h 537400"/>
                <a:gd name="connsiteX318" fmla="*/ 489680 w 702754"/>
                <a:gd name="connsiteY318" fmla="*/ 486346 h 537400"/>
                <a:gd name="connsiteX319" fmla="*/ 485299 w 702754"/>
                <a:gd name="connsiteY319" fmla="*/ 494157 h 537400"/>
                <a:gd name="connsiteX320" fmla="*/ 482441 w 702754"/>
                <a:gd name="connsiteY320" fmla="*/ 499967 h 537400"/>
                <a:gd name="connsiteX321" fmla="*/ 468249 w 702754"/>
                <a:gd name="connsiteY321" fmla="*/ 503682 h 537400"/>
                <a:gd name="connsiteX322" fmla="*/ 466725 w 702754"/>
                <a:gd name="connsiteY322" fmla="*/ 505682 h 537400"/>
                <a:gd name="connsiteX323" fmla="*/ 461581 w 702754"/>
                <a:gd name="connsiteY323" fmla="*/ 508159 h 537400"/>
                <a:gd name="connsiteX324" fmla="*/ 449675 w 702754"/>
                <a:gd name="connsiteY324" fmla="*/ 515207 h 537400"/>
                <a:gd name="connsiteX325" fmla="*/ 449961 w 702754"/>
                <a:gd name="connsiteY325" fmla="*/ 517017 h 537400"/>
                <a:gd name="connsiteX326" fmla="*/ 450723 w 702754"/>
                <a:gd name="connsiteY326" fmla="*/ 536829 h 537400"/>
                <a:gd name="connsiteX327" fmla="*/ 432530 w 702754"/>
                <a:gd name="connsiteY327" fmla="*/ 537401 h 537400"/>
                <a:gd name="connsiteX328" fmla="*/ 423291 w 702754"/>
                <a:gd name="connsiteY328" fmla="*/ 536829 h 537400"/>
                <a:gd name="connsiteX329" fmla="*/ 424624 w 702754"/>
                <a:gd name="connsiteY329" fmla="*/ 533019 h 537400"/>
                <a:gd name="connsiteX330" fmla="*/ 425005 w 702754"/>
                <a:gd name="connsiteY330" fmla="*/ 522160 h 537400"/>
                <a:gd name="connsiteX331" fmla="*/ 419290 w 702754"/>
                <a:gd name="connsiteY331" fmla="*/ 506539 h 537400"/>
                <a:gd name="connsiteX332" fmla="*/ 420433 w 702754"/>
                <a:gd name="connsiteY332" fmla="*/ 501015 h 537400"/>
                <a:gd name="connsiteX333" fmla="*/ 416338 w 702754"/>
                <a:gd name="connsiteY333" fmla="*/ 497872 h 537400"/>
                <a:gd name="connsiteX334" fmla="*/ 417671 w 702754"/>
                <a:gd name="connsiteY334" fmla="*/ 494062 h 537400"/>
                <a:gd name="connsiteX335" fmla="*/ 413575 w 702754"/>
                <a:gd name="connsiteY335" fmla="*/ 491014 h 537400"/>
                <a:gd name="connsiteX336" fmla="*/ 407765 w 702754"/>
                <a:gd name="connsiteY336" fmla="*/ 488156 h 537400"/>
                <a:gd name="connsiteX337" fmla="*/ 406432 w 702754"/>
                <a:gd name="connsiteY337" fmla="*/ 491966 h 537400"/>
                <a:gd name="connsiteX338" fmla="*/ 395573 w 702754"/>
                <a:gd name="connsiteY338" fmla="*/ 493395 h 537400"/>
                <a:gd name="connsiteX339" fmla="*/ 395383 w 702754"/>
                <a:gd name="connsiteY339" fmla="*/ 491585 h 537400"/>
                <a:gd name="connsiteX340" fmla="*/ 389954 w 702754"/>
                <a:gd name="connsiteY340" fmla="*/ 492347 h 537400"/>
                <a:gd name="connsiteX341" fmla="*/ 390239 w 702754"/>
                <a:gd name="connsiteY341" fmla="*/ 494062 h 537400"/>
                <a:gd name="connsiteX342" fmla="*/ 388239 w 702754"/>
                <a:gd name="connsiteY342" fmla="*/ 492538 h 537400"/>
                <a:gd name="connsiteX343" fmla="*/ 384810 w 702754"/>
                <a:gd name="connsiteY343" fmla="*/ 494824 h 537400"/>
                <a:gd name="connsiteX344" fmla="*/ 373856 w 702754"/>
                <a:gd name="connsiteY344" fmla="*/ 494443 h 537400"/>
                <a:gd name="connsiteX345" fmla="*/ 363474 w 702754"/>
                <a:gd name="connsiteY345" fmla="*/ 499396 h 537400"/>
                <a:gd name="connsiteX346" fmla="*/ 364617 w 702754"/>
                <a:gd name="connsiteY346" fmla="*/ 493871 h 537400"/>
                <a:gd name="connsiteX347" fmla="*/ 364141 w 702754"/>
                <a:gd name="connsiteY347" fmla="*/ 490252 h 537400"/>
                <a:gd name="connsiteX348" fmla="*/ 367284 w 702754"/>
                <a:gd name="connsiteY348" fmla="*/ 486251 h 537400"/>
                <a:gd name="connsiteX349" fmla="*/ 368617 w 702754"/>
                <a:gd name="connsiteY349" fmla="*/ 482441 h 537400"/>
                <a:gd name="connsiteX350" fmla="*/ 368808 w 702754"/>
                <a:gd name="connsiteY350" fmla="*/ 484251 h 537400"/>
                <a:gd name="connsiteX351" fmla="*/ 370141 w 702754"/>
                <a:gd name="connsiteY351" fmla="*/ 480441 h 537400"/>
                <a:gd name="connsiteX352" fmla="*/ 369951 w 702754"/>
                <a:gd name="connsiteY352" fmla="*/ 478631 h 537400"/>
                <a:gd name="connsiteX353" fmla="*/ 366331 w 702754"/>
                <a:gd name="connsiteY353" fmla="*/ 479108 h 537400"/>
                <a:gd name="connsiteX354" fmla="*/ 360997 w 702754"/>
                <a:gd name="connsiteY354" fmla="*/ 494347 h 537400"/>
                <a:gd name="connsiteX355" fmla="*/ 358711 w 702754"/>
                <a:gd name="connsiteY355" fmla="*/ 491014 h 537400"/>
                <a:gd name="connsiteX356" fmla="*/ 351758 w 702754"/>
                <a:gd name="connsiteY356" fmla="*/ 493681 h 537400"/>
                <a:gd name="connsiteX357" fmla="*/ 342329 w 702754"/>
                <a:gd name="connsiteY357" fmla="*/ 491300 h 537400"/>
                <a:gd name="connsiteX358" fmla="*/ 335661 w 702754"/>
                <a:gd name="connsiteY358" fmla="*/ 495871 h 537400"/>
                <a:gd name="connsiteX359" fmla="*/ 329565 w 702754"/>
                <a:gd name="connsiteY359" fmla="*/ 491204 h 537400"/>
                <a:gd name="connsiteX360" fmla="*/ 322993 w 702754"/>
                <a:gd name="connsiteY360" fmla="*/ 483013 h 537400"/>
                <a:gd name="connsiteX361" fmla="*/ 316421 w 702754"/>
                <a:gd name="connsiteY361" fmla="*/ 474821 h 537400"/>
                <a:gd name="connsiteX362" fmla="*/ 315182 w 702754"/>
                <a:gd name="connsiteY362" fmla="*/ 465963 h 537400"/>
                <a:gd name="connsiteX363" fmla="*/ 309372 w 702754"/>
                <a:gd name="connsiteY363" fmla="*/ 463105 h 537400"/>
                <a:gd name="connsiteX364" fmla="*/ 304895 w 702754"/>
                <a:gd name="connsiteY364" fmla="*/ 456438 h 537400"/>
                <a:gd name="connsiteX365" fmla="*/ 306419 w 702754"/>
                <a:gd name="connsiteY365" fmla="*/ 454438 h 537400"/>
                <a:gd name="connsiteX366" fmla="*/ 303085 w 702754"/>
                <a:gd name="connsiteY366" fmla="*/ 456629 h 537400"/>
                <a:gd name="connsiteX367" fmla="*/ 304419 w 702754"/>
                <a:gd name="connsiteY367" fmla="*/ 452914 h 537400"/>
                <a:gd name="connsiteX368" fmla="*/ 300514 w 702754"/>
                <a:gd name="connsiteY368" fmla="*/ 451580 h 537400"/>
                <a:gd name="connsiteX369" fmla="*/ 303943 w 702754"/>
                <a:gd name="connsiteY369" fmla="*/ 449294 h 537400"/>
                <a:gd name="connsiteX370" fmla="*/ 301847 w 702754"/>
                <a:gd name="connsiteY370" fmla="*/ 447770 h 537400"/>
                <a:gd name="connsiteX371" fmla="*/ 295180 w 702754"/>
                <a:gd name="connsiteY371" fmla="*/ 452247 h 537400"/>
                <a:gd name="connsiteX372" fmla="*/ 265652 w 702754"/>
                <a:gd name="connsiteY372" fmla="*/ 450723 h 537400"/>
                <a:gd name="connsiteX373" fmla="*/ 256699 w 702754"/>
                <a:gd name="connsiteY373" fmla="*/ 451866 h 537400"/>
                <a:gd name="connsiteX374" fmla="*/ 256889 w 702754"/>
                <a:gd name="connsiteY374" fmla="*/ 453676 h 537400"/>
                <a:gd name="connsiteX375" fmla="*/ 247459 w 702754"/>
                <a:gd name="connsiteY375" fmla="*/ 451295 h 537400"/>
                <a:gd name="connsiteX376" fmla="*/ 245935 w 702754"/>
                <a:gd name="connsiteY376" fmla="*/ 453390 h 537400"/>
                <a:gd name="connsiteX377" fmla="*/ 235744 w 702754"/>
                <a:gd name="connsiteY377" fmla="*/ 445580 h 537400"/>
                <a:gd name="connsiteX378" fmla="*/ 232219 w 702754"/>
                <a:gd name="connsiteY378" fmla="*/ 446056 h 537400"/>
                <a:gd name="connsiteX379" fmla="*/ 233553 w 702754"/>
                <a:gd name="connsiteY379" fmla="*/ 442246 h 537400"/>
                <a:gd name="connsiteX380" fmla="*/ 223361 w 702754"/>
                <a:gd name="connsiteY380" fmla="*/ 434626 h 537400"/>
                <a:gd name="connsiteX381" fmla="*/ 224409 w 702754"/>
                <a:gd name="connsiteY381" fmla="*/ 429006 h 537400"/>
                <a:gd name="connsiteX382" fmla="*/ 229362 w 702754"/>
                <a:gd name="connsiteY382" fmla="*/ 424720 h 537400"/>
                <a:gd name="connsiteX383" fmla="*/ 221932 w 702754"/>
                <a:gd name="connsiteY383" fmla="*/ 423863 h 537400"/>
                <a:gd name="connsiteX384" fmla="*/ 209645 w 702754"/>
                <a:gd name="connsiteY384" fmla="*/ 427292 h 537400"/>
                <a:gd name="connsiteX385" fmla="*/ 203930 w 702754"/>
                <a:gd name="connsiteY385" fmla="*/ 426244 h 537400"/>
                <a:gd name="connsiteX386" fmla="*/ 199930 w 702754"/>
                <a:gd name="connsiteY386" fmla="*/ 423196 h 537400"/>
                <a:gd name="connsiteX387" fmla="*/ 190690 w 702754"/>
                <a:gd name="connsiteY387" fmla="*/ 422624 h 537400"/>
                <a:gd name="connsiteX388" fmla="*/ 182785 w 702754"/>
                <a:gd name="connsiteY388" fmla="*/ 418147 h 537400"/>
                <a:gd name="connsiteX389" fmla="*/ 180308 w 702754"/>
                <a:gd name="connsiteY389" fmla="*/ 413099 h 537400"/>
                <a:gd name="connsiteX390" fmla="*/ 173164 w 702754"/>
                <a:gd name="connsiteY390" fmla="*/ 414052 h 537400"/>
                <a:gd name="connsiteX391" fmla="*/ 172402 w 702754"/>
                <a:gd name="connsiteY391" fmla="*/ 408718 h 537400"/>
                <a:gd name="connsiteX392" fmla="*/ 162973 w 702754"/>
                <a:gd name="connsiteY392" fmla="*/ 406337 h 537400"/>
                <a:gd name="connsiteX393" fmla="*/ 166116 w 702754"/>
                <a:gd name="connsiteY393" fmla="*/ 402241 h 537400"/>
                <a:gd name="connsiteX394" fmla="*/ 158686 w 702754"/>
                <a:gd name="connsiteY394" fmla="*/ 401384 h 537400"/>
                <a:gd name="connsiteX395" fmla="*/ 154400 w 702754"/>
                <a:gd name="connsiteY395" fmla="*/ 396526 h 537400"/>
                <a:gd name="connsiteX396" fmla="*/ 148495 w 702754"/>
                <a:gd name="connsiteY396" fmla="*/ 393763 h 537400"/>
                <a:gd name="connsiteX397" fmla="*/ 145828 w 702754"/>
                <a:gd name="connsiteY397" fmla="*/ 401288 h 537400"/>
                <a:gd name="connsiteX398" fmla="*/ 132302 w 702754"/>
                <a:gd name="connsiteY398" fmla="*/ 395859 h 537400"/>
                <a:gd name="connsiteX399" fmla="*/ 128302 w 702754"/>
                <a:gd name="connsiteY399" fmla="*/ 392716 h 537400"/>
                <a:gd name="connsiteX400" fmla="*/ 124682 w 702754"/>
                <a:gd name="connsiteY400" fmla="*/ 393192 h 537400"/>
                <a:gd name="connsiteX401" fmla="*/ 129445 w 702754"/>
                <a:gd name="connsiteY401" fmla="*/ 401669 h 537400"/>
                <a:gd name="connsiteX402" fmla="*/ 121158 w 702754"/>
                <a:gd name="connsiteY402" fmla="*/ 408242 h 537400"/>
                <a:gd name="connsiteX403" fmla="*/ 130683 w 702754"/>
                <a:gd name="connsiteY403" fmla="*/ 425101 h 537400"/>
                <a:gd name="connsiteX404" fmla="*/ 125539 w 702754"/>
                <a:gd name="connsiteY404" fmla="*/ 427577 h 537400"/>
                <a:gd name="connsiteX405" fmla="*/ 120682 w 702754"/>
                <a:gd name="connsiteY405" fmla="*/ 431863 h 537400"/>
                <a:gd name="connsiteX406" fmla="*/ 125158 w 702754"/>
                <a:gd name="connsiteY406" fmla="*/ 438531 h 537400"/>
                <a:gd name="connsiteX407" fmla="*/ 129254 w 702754"/>
                <a:gd name="connsiteY407" fmla="*/ 441579 h 537400"/>
                <a:gd name="connsiteX408" fmla="*/ 126397 w 702754"/>
                <a:gd name="connsiteY408" fmla="*/ 447389 h 537400"/>
                <a:gd name="connsiteX409" fmla="*/ 114967 w 702754"/>
                <a:gd name="connsiteY409" fmla="*/ 457962 h 537400"/>
                <a:gd name="connsiteX410" fmla="*/ 113442 w 702754"/>
                <a:gd name="connsiteY410" fmla="*/ 459962 h 537400"/>
                <a:gd name="connsiteX411" fmla="*/ 114490 w 702754"/>
                <a:gd name="connsiteY411" fmla="*/ 454438 h 537400"/>
                <a:gd name="connsiteX412" fmla="*/ 112490 w 702754"/>
                <a:gd name="connsiteY412" fmla="*/ 452914 h 537400"/>
                <a:gd name="connsiteX413" fmla="*/ 105727 w 702754"/>
                <a:gd name="connsiteY413" fmla="*/ 457391 h 537400"/>
                <a:gd name="connsiteX414" fmla="*/ 107251 w 702754"/>
                <a:gd name="connsiteY414" fmla="*/ 455390 h 537400"/>
                <a:gd name="connsiteX415" fmla="*/ 101917 w 702754"/>
                <a:gd name="connsiteY415" fmla="*/ 456057 h 537400"/>
                <a:gd name="connsiteX416" fmla="*/ 101441 w 702754"/>
                <a:gd name="connsiteY416" fmla="*/ 452533 h 537400"/>
                <a:gd name="connsiteX417" fmla="*/ 97631 w 702754"/>
                <a:gd name="connsiteY417" fmla="*/ 451199 h 537400"/>
                <a:gd name="connsiteX418" fmla="*/ 94774 w 702754"/>
                <a:gd name="connsiteY418" fmla="*/ 457009 h 537400"/>
                <a:gd name="connsiteX419" fmla="*/ 82867 w 702754"/>
                <a:gd name="connsiteY419" fmla="*/ 464058 h 537400"/>
                <a:gd name="connsiteX420" fmla="*/ 77914 w 702754"/>
                <a:gd name="connsiteY420" fmla="*/ 468344 h 537400"/>
                <a:gd name="connsiteX421" fmla="*/ 78391 w 702754"/>
                <a:gd name="connsiteY421" fmla="*/ 471868 h 537400"/>
                <a:gd name="connsiteX422" fmla="*/ 76676 w 702754"/>
                <a:gd name="connsiteY422" fmla="*/ 472154 h 537400"/>
                <a:gd name="connsiteX423" fmla="*/ 77057 w 702754"/>
                <a:gd name="connsiteY423" fmla="*/ 475679 h 537400"/>
                <a:gd name="connsiteX424" fmla="*/ 73533 w 702754"/>
                <a:gd name="connsiteY424" fmla="*/ 476155 h 537400"/>
                <a:gd name="connsiteX425" fmla="*/ 74866 w 702754"/>
                <a:gd name="connsiteY425" fmla="*/ 472345 h 537400"/>
                <a:gd name="connsiteX426" fmla="*/ 71247 w 702754"/>
                <a:gd name="connsiteY426" fmla="*/ 472821 h 537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</a:cxnLst>
              <a:rect l="l" t="t" r="r" b="b"/>
              <a:pathLst>
                <a:path w="702754" h="537400">
                  <a:moveTo>
                    <a:pt x="71247" y="472821"/>
                  </a:moveTo>
                  <a:lnTo>
                    <a:pt x="74390" y="468821"/>
                  </a:lnTo>
                  <a:lnTo>
                    <a:pt x="73914" y="465201"/>
                  </a:lnTo>
                  <a:lnTo>
                    <a:pt x="72295" y="467201"/>
                  </a:lnTo>
                  <a:lnTo>
                    <a:pt x="63341" y="468439"/>
                  </a:lnTo>
                  <a:lnTo>
                    <a:pt x="63151" y="466630"/>
                  </a:lnTo>
                  <a:lnTo>
                    <a:pt x="50292" y="466534"/>
                  </a:lnTo>
                  <a:lnTo>
                    <a:pt x="50959" y="471868"/>
                  </a:lnTo>
                  <a:lnTo>
                    <a:pt x="48006" y="463201"/>
                  </a:lnTo>
                  <a:lnTo>
                    <a:pt x="38862" y="462629"/>
                  </a:lnTo>
                  <a:lnTo>
                    <a:pt x="38576" y="460820"/>
                  </a:lnTo>
                  <a:lnTo>
                    <a:pt x="42386" y="462153"/>
                  </a:lnTo>
                  <a:lnTo>
                    <a:pt x="38386" y="459010"/>
                  </a:lnTo>
                  <a:lnTo>
                    <a:pt x="36766" y="461105"/>
                  </a:lnTo>
                  <a:lnTo>
                    <a:pt x="22193" y="461200"/>
                  </a:lnTo>
                  <a:lnTo>
                    <a:pt x="21907" y="459391"/>
                  </a:lnTo>
                  <a:lnTo>
                    <a:pt x="25813" y="460724"/>
                  </a:lnTo>
                  <a:lnTo>
                    <a:pt x="27051" y="456914"/>
                  </a:lnTo>
                  <a:lnTo>
                    <a:pt x="28670" y="454914"/>
                  </a:lnTo>
                  <a:lnTo>
                    <a:pt x="22765" y="452056"/>
                  </a:lnTo>
                  <a:lnTo>
                    <a:pt x="29527" y="447484"/>
                  </a:lnTo>
                  <a:lnTo>
                    <a:pt x="24955" y="440912"/>
                  </a:lnTo>
                  <a:lnTo>
                    <a:pt x="26575" y="438912"/>
                  </a:lnTo>
                  <a:lnTo>
                    <a:pt x="29623" y="434816"/>
                  </a:lnTo>
                  <a:lnTo>
                    <a:pt x="29432" y="433006"/>
                  </a:lnTo>
                  <a:lnTo>
                    <a:pt x="33052" y="432530"/>
                  </a:lnTo>
                  <a:lnTo>
                    <a:pt x="32575" y="429006"/>
                  </a:lnTo>
                  <a:lnTo>
                    <a:pt x="36100" y="428530"/>
                  </a:lnTo>
                  <a:lnTo>
                    <a:pt x="33623" y="423386"/>
                  </a:lnTo>
                  <a:lnTo>
                    <a:pt x="28861" y="415004"/>
                  </a:lnTo>
                  <a:lnTo>
                    <a:pt x="25051" y="413671"/>
                  </a:lnTo>
                  <a:lnTo>
                    <a:pt x="18097" y="416433"/>
                  </a:lnTo>
                  <a:lnTo>
                    <a:pt x="17145" y="409289"/>
                  </a:lnTo>
                  <a:lnTo>
                    <a:pt x="15049" y="407765"/>
                  </a:lnTo>
                  <a:lnTo>
                    <a:pt x="16669" y="405765"/>
                  </a:lnTo>
                  <a:lnTo>
                    <a:pt x="14383" y="402431"/>
                  </a:lnTo>
                  <a:lnTo>
                    <a:pt x="16764" y="393001"/>
                  </a:lnTo>
                  <a:lnTo>
                    <a:pt x="19240" y="383572"/>
                  </a:lnTo>
                  <a:lnTo>
                    <a:pt x="4096" y="365665"/>
                  </a:lnTo>
                  <a:lnTo>
                    <a:pt x="11049" y="362998"/>
                  </a:lnTo>
                  <a:lnTo>
                    <a:pt x="11811" y="355568"/>
                  </a:lnTo>
                  <a:lnTo>
                    <a:pt x="9620" y="352234"/>
                  </a:lnTo>
                  <a:lnTo>
                    <a:pt x="13430" y="353568"/>
                  </a:lnTo>
                  <a:lnTo>
                    <a:pt x="10477" y="344900"/>
                  </a:lnTo>
                  <a:lnTo>
                    <a:pt x="4858" y="343852"/>
                  </a:lnTo>
                  <a:lnTo>
                    <a:pt x="4572" y="342043"/>
                  </a:lnTo>
                  <a:lnTo>
                    <a:pt x="7429" y="336233"/>
                  </a:lnTo>
                  <a:lnTo>
                    <a:pt x="12382" y="331946"/>
                  </a:lnTo>
                  <a:lnTo>
                    <a:pt x="0" y="320897"/>
                  </a:lnTo>
                  <a:lnTo>
                    <a:pt x="1524" y="318897"/>
                  </a:lnTo>
                  <a:lnTo>
                    <a:pt x="3524" y="320421"/>
                  </a:lnTo>
                  <a:lnTo>
                    <a:pt x="1333" y="317087"/>
                  </a:lnTo>
                  <a:lnTo>
                    <a:pt x="8954" y="319659"/>
                  </a:lnTo>
                  <a:lnTo>
                    <a:pt x="7620" y="323469"/>
                  </a:lnTo>
                  <a:lnTo>
                    <a:pt x="12954" y="322802"/>
                  </a:lnTo>
                  <a:lnTo>
                    <a:pt x="14288" y="318992"/>
                  </a:lnTo>
                  <a:lnTo>
                    <a:pt x="19526" y="316516"/>
                  </a:lnTo>
                  <a:lnTo>
                    <a:pt x="19240" y="314706"/>
                  </a:lnTo>
                  <a:lnTo>
                    <a:pt x="26670" y="315563"/>
                  </a:lnTo>
                  <a:lnTo>
                    <a:pt x="31051" y="307658"/>
                  </a:lnTo>
                  <a:lnTo>
                    <a:pt x="28575" y="302609"/>
                  </a:lnTo>
                  <a:lnTo>
                    <a:pt x="34861" y="294513"/>
                  </a:lnTo>
                  <a:lnTo>
                    <a:pt x="39719" y="290227"/>
                  </a:lnTo>
                  <a:lnTo>
                    <a:pt x="37529" y="286893"/>
                  </a:lnTo>
                  <a:lnTo>
                    <a:pt x="31909" y="285845"/>
                  </a:lnTo>
                  <a:lnTo>
                    <a:pt x="37624" y="274225"/>
                  </a:lnTo>
                  <a:lnTo>
                    <a:pt x="33528" y="271081"/>
                  </a:lnTo>
                  <a:lnTo>
                    <a:pt x="24574" y="272320"/>
                  </a:lnTo>
                  <a:lnTo>
                    <a:pt x="21431" y="261842"/>
                  </a:lnTo>
                  <a:lnTo>
                    <a:pt x="42577" y="269938"/>
                  </a:lnTo>
                  <a:lnTo>
                    <a:pt x="47244" y="263842"/>
                  </a:lnTo>
                  <a:lnTo>
                    <a:pt x="47625" y="252984"/>
                  </a:lnTo>
                  <a:lnTo>
                    <a:pt x="56769" y="239077"/>
                  </a:lnTo>
                  <a:lnTo>
                    <a:pt x="56007" y="233743"/>
                  </a:lnTo>
                  <a:lnTo>
                    <a:pt x="62484" y="227362"/>
                  </a:lnTo>
                  <a:lnTo>
                    <a:pt x="60007" y="222313"/>
                  </a:lnTo>
                  <a:lnTo>
                    <a:pt x="62198" y="211169"/>
                  </a:lnTo>
                  <a:lnTo>
                    <a:pt x="67627" y="210407"/>
                  </a:lnTo>
                  <a:lnTo>
                    <a:pt x="67151" y="206883"/>
                  </a:lnTo>
                  <a:lnTo>
                    <a:pt x="70485" y="204597"/>
                  </a:lnTo>
                  <a:lnTo>
                    <a:pt x="79057" y="214313"/>
                  </a:lnTo>
                  <a:lnTo>
                    <a:pt x="80867" y="214122"/>
                  </a:lnTo>
                  <a:lnTo>
                    <a:pt x="84487" y="213646"/>
                  </a:lnTo>
                  <a:lnTo>
                    <a:pt x="86487" y="215170"/>
                  </a:lnTo>
                  <a:lnTo>
                    <a:pt x="89821" y="212884"/>
                  </a:lnTo>
                  <a:lnTo>
                    <a:pt x="92107" y="216217"/>
                  </a:lnTo>
                  <a:lnTo>
                    <a:pt x="95440" y="214027"/>
                  </a:lnTo>
                  <a:lnTo>
                    <a:pt x="100679" y="225933"/>
                  </a:lnTo>
                  <a:lnTo>
                    <a:pt x="106775" y="230600"/>
                  </a:lnTo>
                  <a:lnTo>
                    <a:pt x="108585" y="230410"/>
                  </a:lnTo>
                  <a:lnTo>
                    <a:pt x="107251" y="234220"/>
                  </a:lnTo>
                  <a:lnTo>
                    <a:pt x="111347" y="237268"/>
                  </a:lnTo>
                  <a:lnTo>
                    <a:pt x="114109" y="244126"/>
                  </a:lnTo>
                  <a:lnTo>
                    <a:pt x="117157" y="240125"/>
                  </a:lnTo>
                  <a:lnTo>
                    <a:pt x="124587" y="240983"/>
                  </a:lnTo>
                  <a:lnTo>
                    <a:pt x="127540" y="235077"/>
                  </a:lnTo>
                  <a:lnTo>
                    <a:pt x="134969" y="235934"/>
                  </a:lnTo>
                  <a:lnTo>
                    <a:pt x="136303" y="232124"/>
                  </a:lnTo>
                  <a:lnTo>
                    <a:pt x="144113" y="236506"/>
                  </a:lnTo>
                  <a:lnTo>
                    <a:pt x="154210" y="229743"/>
                  </a:lnTo>
                  <a:lnTo>
                    <a:pt x="151924" y="226409"/>
                  </a:lnTo>
                  <a:lnTo>
                    <a:pt x="155067" y="222409"/>
                  </a:lnTo>
                  <a:lnTo>
                    <a:pt x="153067" y="220885"/>
                  </a:lnTo>
                  <a:lnTo>
                    <a:pt x="154591" y="218884"/>
                  </a:lnTo>
                  <a:lnTo>
                    <a:pt x="154876" y="220599"/>
                  </a:lnTo>
                  <a:lnTo>
                    <a:pt x="160496" y="221647"/>
                  </a:lnTo>
                  <a:lnTo>
                    <a:pt x="162496" y="223266"/>
                  </a:lnTo>
                  <a:lnTo>
                    <a:pt x="157829" y="229267"/>
                  </a:lnTo>
                  <a:lnTo>
                    <a:pt x="159829" y="230791"/>
                  </a:lnTo>
                  <a:lnTo>
                    <a:pt x="158972" y="238220"/>
                  </a:lnTo>
                  <a:lnTo>
                    <a:pt x="174688" y="232505"/>
                  </a:lnTo>
                  <a:lnTo>
                    <a:pt x="180022" y="231838"/>
                  </a:lnTo>
                  <a:lnTo>
                    <a:pt x="181927" y="231553"/>
                  </a:lnTo>
                  <a:lnTo>
                    <a:pt x="181642" y="229743"/>
                  </a:lnTo>
                  <a:lnTo>
                    <a:pt x="191071" y="232124"/>
                  </a:lnTo>
                  <a:lnTo>
                    <a:pt x="188785" y="228791"/>
                  </a:lnTo>
                  <a:lnTo>
                    <a:pt x="190405" y="226790"/>
                  </a:lnTo>
                  <a:lnTo>
                    <a:pt x="188309" y="225266"/>
                  </a:lnTo>
                  <a:lnTo>
                    <a:pt x="197834" y="227647"/>
                  </a:lnTo>
                  <a:lnTo>
                    <a:pt x="199644" y="227362"/>
                  </a:lnTo>
                  <a:lnTo>
                    <a:pt x="205454" y="230219"/>
                  </a:lnTo>
                  <a:lnTo>
                    <a:pt x="209550" y="233363"/>
                  </a:lnTo>
                  <a:lnTo>
                    <a:pt x="235839" y="238887"/>
                  </a:lnTo>
                  <a:lnTo>
                    <a:pt x="234220" y="226409"/>
                  </a:lnTo>
                  <a:lnTo>
                    <a:pt x="230314" y="225171"/>
                  </a:lnTo>
                  <a:lnTo>
                    <a:pt x="227647" y="218218"/>
                  </a:lnTo>
                  <a:lnTo>
                    <a:pt x="219742" y="213836"/>
                  </a:lnTo>
                  <a:lnTo>
                    <a:pt x="218980" y="208502"/>
                  </a:lnTo>
                  <a:lnTo>
                    <a:pt x="221266" y="211836"/>
                  </a:lnTo>
                  <a:lnTo>
                    <a:pt x="222599" y="208026"/>
                  </a:lnTo>
                  <a:lnTo>
                    <a:pt x="221932" y="202692"/>
                  </a:lnTo>
                  <a:lnTo>
                    <a:pt x="227076" y="200216"/>
                  </a:lnTo>
                  <a:lnTo>
                    <a:pt x="228600" y="198215"/>
                  </a:lnTo>
                  <a:lnTo>
                    <a:pt x="234696" y="202787"/>
                  </a:lnTo>
                  <a:lnTo>
                    <a:pt x="239458" y="196787"/>
                  </a:lnTo>
                  <a:lnTo>
                    <a:pt x="244792" y="196025"/>
                  </a:lnTo>
                  <a:lnTo>
                    <a:pt x="247936" y="192024"/>
                  </a:lnTo>
                  <a:lnTo>
                    <a:pt x="256413" y="187262"/>
                  </a:lnTo>
                  <a:lnTo>
                    <a:pt x="246697" y="183071"/>
                  </a:lnTo>
                  <a:lnTo>
                    <a:pt x="244221" y="178022"/>
                  </a:lnTo>
                  <a:lnTo>
                    <a:pt x="242411" y="178213"/>
                  </a:lnTo>
                  <a:lnTo>
                    <a:pt x="239649" y="171355"/>
                  </a:lnTo>
                  <a:lnTo>
                    <a:pt x="244316" y="165259"/>
                  </a:lnTo>
                  <a:lnTo>
                    <a:pt x="252889" y="160496"/>
                  </a:lnTo>
                  <a:lnTo>
                    <a:pt x="250603" y="157163"/>
                  </a:lnTo>
                  <a:lnTo>
                    <a:pt x="255746" y="154686"/>
                  </a:lnTo>
                  <a:lnTo>
                    <a:pt x="270605" y="156400"/>
                  </a:lnTo>
                  <a:lnTo>
                    <a:pt x="286226" y="136208"/>
                  </a:lnTo>
                  <a:lnTo>
                    <a:pt x="287560" y="132397"/>
                  </a:lnTo>
                  <a:lnTo>
                    <a:pt x="292989" y="131635"/>
                  </a:lnTo>
                  <a:lnTo>
                    <a:pt x="295180" y="134969"/>
                  </a:lnTo>
                  <a:lnTo>
                    <a:pt x="300799" y="136017"/>
                  </a:lnTo>
                  <a:lnTo>
                    <a:pt x="298513" y="132683"/>
                  </a:lnTo>
                  <a:lnTo>
                    <a:pt x="301847" y="130492"/>
                  </a:lnTo>
                  <a:lnTo>
                    <a:pt x="303276" y="126683"/>
                  </a:lnTo>
                  <a:lnTo>
                    <a:pt x="305276" y="128206"/>
                  </a:lnTo>
                  <a:lnTo>
                    <a:pt x="308419" y="124206"/>
                  </a:lnTo>
                  <a:lnTo>
                    <a:pt x="314515" y="128778"/>
                  </a:lnTo>
                  <a:lnTo>
                    <a:pt x="319659" y="126301"/>
                  </a:lnTo>
                  <a:lnTo>
                    <a:pt x="319183" y="122777"/>
                  </a:lnTo>
                  <a:lnTo>
                    <a:pt x="313277" y="119920"/>
                  </a:lnTo>
                  <a:lnTo>
                    <a:pt x="322326" y="118681"/>
                  </a:lnTo>
                  <a:lnTo>
                    <a:pt x="323374" y="113157"/>
                  </a:lnTo>
                  <a:lnTo>
                    <a:pt x="325183" y="112871"/>
                  </a:lnTo>
                  <a:lnTo>
                    <a:pt x="325850" y="118205"/>
                  </a:lnTo>
                  <a:lnTo>
                    <a:pt x="338423" y="116586"/>
                  </a:lnTo>
                  <a:lnTo>
                    <a:pt x="338709" y="118396"/>
                  </a:lnTo>
                  <a:lnTo>
                    <a:pt x="341566" y="112490"/>
                  </a:lnTo>
                  <a:lnTo>
                    <a:pt x="343090" y="110490"/>
                  </a:lnTo>
                  <a:lnTo>
                    <a:pt x="346519" y="108204"/>
                  </a:lnTo>
                  <a:lnTo>
                    <a:pt x="356806" y="103251"/>
                  </a:lnTo>
                  <a:lnTo>
                    <a:pt x="359664" y="97441"/>
                  </a:lnTo>
                  <a:lnTo>
                    <a:pt x="359759" y="70199"/>
                  </a:lnTo>
                  <a:lnTo>
                    <a:pt x="368046" y="63722"/>
                  </a:lnTo>
                  <a:lnTo>
                    <a:pt x="375380" y="64484"/>
                  </a:lnTo>
                  <a:lnTo>
                    <a:pt x="376999" y="62484"/>
                  </a:lnTo>
                  <a:lnTo>
                    <a:pt x="383096" y="67151"/>
                  </a:lnTo>
                  <a:lnTo>
                    <a:pt x="384905" y="66865"/>
                  </a:lnTo>
                  <a:lnTo>
                    <a:pt x="396621" y="72580"/>
                  </a:lnTo>
                  <a:lnTo>
                    <a:pt x="401574" y="82867"/>
                  </a:lnTo>
                  <a:lnTo>
                    <a:pt x="405193" y="82391"/>
                  </a:lnTo>
                  <a:lnTo>
                    <a:pt x="409480" y="87249"/>
                  </a:lnTo>
                  <a:lnTo>
                    <a:pt x="413099" y="86773"/>
                  </a:lnTo>
                  <a:lnTo>
                    <a:pt x="416433" y="84487"/>
                  </a:lnTo>
                  <a:lnTo>
                    <a:pt x="442436" y="100965"/>
                  </a:lnTo>
                  <a:lnTo>
                    <a:pt x="443770" y="97155"/>
                  </a:lnTo>
                  <a:lnTo>
                    <a:pt x="445770" y="98774"/>
                  </a:lnTo>
                  <a:lnTo>
                    <a:pt x="452438" y="94202"/>
                  </a:lnTo>
                  <a:lnTo>
                    <a:pt x="465487" y="96107"/>
                  </a:lnTo>
                  <a:lnTo>
                    <a:pt x="472059" y="104299"/>
                  </a:lnTo>
                  <a:lnTo>
                    <a:pt x="479965" y="108680"/>
                  </a:lnTo>
                  <a:lnTo>
                    <a:pt x="480917" y="115824"/>
                  </a:lnTo>
                  <a:lnTo>
                    <a:pt x="493109" y="125063"/>
                  </a:lnTo>
                  <a:lnTo>
                    <a:pt x="498062" y="135350"/>
                  </a:lnTo>
                  <a:lnTo>
                    <a:pt x="505301" y="134398"/>
                  </a:lnTo>
                  <a:lnTo>
                    <a:pt x="514731" y="136779"/>
                  </a:lnTo>
                  <a:lnTo>
                    <a:pt x="539496" y="144399"/>
                  </a:lnTo>
                  <a:lnTo>
                    <a:pt x="543782" y="149257"/>
                  </a:lnTo>
                  <a:lnTo>
                    <a:pt x="553498" y="153352"/>
                  </a:lnTo>
                  <a:lnTo>
                    <a:pt x="564547" y="153734"/>
                  </a:lnTo>
                  <a:lnTo>
                    <a:pt x="574548" y="146971"/>
                  </a:lnTo>
                  <a:lnTo>
                    <a:pt x="577691" y="142875"/>
                  </a:lnTo>
                  <a:lnTo>
                    <a:pt x="582739" y="125921"/>
                  </a:lnTo>
                  <a:lnTo>
                    <a:pt x="595884" y="100584"/>
                  </a:lnTo>
                  <a:lnTo>
                    <a:pt x="601218" y="99917"/>
                  </a:lnTo>
                  <a:lnTo>
                    <a:pt x="605314" y="102965"/>
                  </a:lnTo>
                  <a:lnTo>
                    <a:pt x="616934" y="94202"/>
                  </a:lnTo>
                  <a:lnTo>
                    <a:pt x="628840" y="87249"/>
                  </a:lnTo>
                  <a:lnTo>
                    <a:pt x="630174" y="83439"/>
                  </a:lnTo>
                  <a:lnTo>
                    <a:pt x="627602" y="78296"/>
                  </a:lnTo>
                  <a:lnTo>
                    <a:pt x="637222" y="67913"/>
                  </a:lnTo>
                  <a:lnTo>
                    <a:pt x="641413" y="58293"/>
                  </a:lnTo>
                  <a:lnTo>
                    <a:pt x="644461" y="39815"/>
                  </a:lnTo>
                  <a:lnTo>
                    <a:pt x="653415" y="24098"/>
                  </a:lnTo>
                  <a:lnTo>
                    <a:pt x="658558" y="21622"/>
                  </a:lnTo>
                  <a:lnTo>
                    <a:pt x="664369" y="24479"/>
                  </a:lnTo>
                  <a:lnTo>
                    <a:pt x="665512" y="18859"/>
                  </a:lnTo>
                  <a:lnTo>
                    <a:pt x="671989" y="12573"/>
                  </a:lnTo>
                  <a:lnTo>
                    <a:pt x="673989" y="14097"/>
                  </a:lnTo>
                  <a:lnTo>
                    <a:pt x="674846" y="6763"/>
                  </a:lnTo>
                  <a:lnTo>
                    <a:pt x="684847" y="0"/>
                  </a:lnTo>
                  <a:lnTo>
                    <a:pt x="698659" y="7239"/>
                  </a:lnTo>
                  <a:lnTo>
                    <a:pt x="699135" y="10858"/>
                  </a:lnTo>
                  <a:lnTo>
                    <a:pt x="700278" y="19717"/>
                  </a:lnTo>
                  <a:lnTo>
                    <a:pt x="702755" y="24860"/>
                  </a:lnTo>
                  <a:lnTo>
                    <a:pt x="699897" y="30671"/>
                  </a:lnTo>
                  <a:lnTo>
                    <a:pt x="701326" y="41338"/>
                  </a:lnTo>
                  <a:lnTo>
                    <a:pt x="698468" y="47149"/>
                  </a:lnTo>
                  <a:lnTo>
                    <a:pt x="688657" y="55721"/>
                  </a:lnTo>
                  <a:lnTo>
                    <a:pt x="687800" y="63055"/>
                  </a:lnTo>
                  <a:lnTo>
                    <a:pt x="683514" y="72771"/>
                  </a:lnTo>
                  <a:lnTo>
                    <a:pt x="682657" y="80105"/>
                  </a:lnTo>
                  <a:lnTo>
                    <a:pt x="679799" y="85916"/>
                  </a:lnTo>
                  <a:lnTo>
                    <a:pt x="676084" y="99060"/>
                  </a:lnTo>
                  <a:lnTo>
                    <a:pt x="676751" y="104394"/>
                  </a:lnTo>
                  <a:lnTo>
                    <a:pt x="674180" y="112014"/>
                  </a:lnTo>
                  <a:lnTo>
                    <a:pt x="672370" y="112300"/>
                  </a:lnTo>
                  <a:lnTo>
                    <a:pt x="671608" y="106871"/>
                  </a:lnTo>
                  <a:lnTo>
                    <a:pt x="668274" y="109156"/>
                  </a:lnTo>
                  <a:lnTo>
                    <a:pt x="668560" y="125444"/>
                  </a:lnTo>
                  <a:lnTo>
                    <a:pt x="663892" y="131540"/>
                  </a:lnTo>
                  <a:lnTo>
                    <a:pt x="653129" y="132969"/>
                  </a:lnTo>
                  <a:lnTo>
                    <a:pt x="651605" y="134969"/>
                  </a:lnTo>
                  <a:lnTo>
                    <a:pt x="652081" y="138493"/>
                  </a:lnTo>
                  <a:lnTo>
                    <a:pt x="661321" y="153638"/>
                  </a:lnTo>
                  <a:lnTo>
                    <a:pt x="662559" y="162496"/>
                  </a:lnTo>
                  <a:lnTo>
                    <a:pt x="668655" y="167164"/>
                  </a:lnTo>
                  <a:lnTo>
                    <a:pt x="656749" y="174117"/>
                  </a:lnTo>
                  <a:lnTo>
                    <a:pt x="649224" y="186023"/>
                  </a:lnTo>
                  <a:lnTo>
                    <a:pt x="646366" y="191834"/>
                  </a:lnTo>
                  <a:lnTo>
                    <a:pt x="660749" y="204502"/>
                  </a:lnTo>
                  <a:lnTo>
                    <a:pt x="656368" y="212312"/>
                  </a:lnTo>
                  <a:lnTo>
                    <a:pt x="665131" y="223838"/>
                  </a:lnTo>
                  <a:lnTo>
                    <a:pt x="656654" y="228600"/>
                  </a:lnTo>
                  <a:lnTo>
                    <a:pt x="655606" y="234125"/>
                  </a:lnTo>
                  <a:lnTo>
                    <a:pt x="657797" y="237458"/>
                  </a:lnTo>
                  <a:lnTo>
                    <a:pt x="654748" y="241459"/>
                  </a:lnTo>
                  <a:lnTo>
                    <a:pt x="643890" y="242888"/>
                  </a:lnTo>
                  <a:lnTo>
                    <a:pt x="642842" y="248507"/>
                  </a:lnTo>
                  <a:lnTo>
                    <a:pt x="632365" y="251746"/>
                  </a:lnTo>
                  <a:lnTo>
                    <a:pt x="629698" y="259366"/>
                  </a:lnTo>
                  <a:lnTo>
                    <a:pt x="622268" y="258509"/>
                  </a:lnTo>
                  <a:lnTo>
                    <a:pt x="620935" y="262318"/>
                  </a:lnTo>
                  <a:lnTo>
                    <a:pt x="622078" y="271177"/>
                  </a:lnTo>
                  <a:lnTo>
                    <a:pt x="620744" y="274987"/>
                  </a:lnTo>
                  <a:lnTo>
                    <a:pt x="614077" y="279559"/>
                  </a:lnTo>
                  <a:lnTo>
                    <a:pt x="609600" y="287369"/>
                  </a:lnTo>
                  <a:lnTo>
                    <a:pt x="610076" y="290893"/>
                  </a:lnTo>
                  <a:lnTo>
                    <a:pt x="604933" y="293465"/>
                  </a:lnTo>
                  <a:lnTo>
                    <a:pt x="598075" y="283464"/>
                  </a:lnTo>
                  <a:lnTo>
                    <a:pt x="579691" y="282226"/>
                  </a:lnTo>
                  <a:lnTo>
                    <a:pt x="571214" y="286988"/>
                  </a:lnTo>
                  <a:lnTo>
                    <a:pt x="577310" y="306134"/>
                  </a:lnTo>
                  <a:lnTo>
                    <a:pt x="585216" y="310515"/>
                  </a:lnTo>
                  <a:lnTo>
                    <a:pt x="590074" y="318992"/>
                  </a:lnTo>
                  <a:lnTo>
                    <a:pt x="588931" y="324517"/>
                  </a:lnTo>
                  <a:lnTo>
                    <a:pt x="595027" y="329184"/>
                  </a:lnTo>
                  <a:lnTo>
                    <a:pt x="591026" y="340614"/>
                  </a:lnTo>
                  <a:lnTo>
                    <a:pt x="592741" y="353092"/>
                  </a:lnTo>
                  <a:lnTo>
                    <a:pt x="593217" y="356616"/>
                  </a:lnTo>
                  <a:lnTo>
                    <a:pt x="597503" y="361474"/>
                  </a:lnTo>
                  <a:lnTo>
                    <a:pt x="600932" y="373761"/>
                  </a:lnTo>
                  <a:lnTo>
                    <a:pt x="608838" y="378142"/>
                  </a:lnTo>
                  <a:lnTo>
                    <a:pt x="604647" y="387763"/>
                  </a:lnTo>
                  <a:lnTo>
                    <a:pt x="614553" y="393668"/>
                  </a:lnTo>
                  <a:lnTo>
                    <a:pt x="613410" y="399288"/>
                  </a:lnTo>
                  <a:lnTo>
                    <a:pt x="615982" y="404336"/>
                  </a:lnTo>
                  <a:lnTo>
                    <a:pt x="611314" y="410432"/>
                  </a:lnTo>
                  <a:lnTo>
                    <a:pt x="613981" y="417290"/>
                  </a:lnTo>
                  <a:lnTo>
                    <a:pt x="616267" y="420624"/>
                  </a:lnTo>
                  <a:lnTo>
                    <a:pt x="610267" y="430530"/>
                  </a:lnTo>
                  <a:lnTo>
                    <a:pt x="617601" y="444055"/>
                  </a:lnTo>
                  <a:lnTo>
                    <a:pt x="620554" y="452723"/>
                  </a:lnTo>
                  <a:lnTo>
                    <a:pt x="626364" y="455581"/>
                  </a:lnTo>
                  <a:lnTo>
                    <a:pt x="624840" y="457581"/>
                  </a:lnTo>
                  <a:lnTo>
                    <a:pt x="625030" y="459391"/>
                  </a:lnTo>
                  <a:lnTo>
                    <a:pt x="617030" y="467677"/>
                  </a:lnTo>
                  <a:lnTo>
                    <a:pt x="611410" y="466630"/>
                  </a:lnTo>
                  <a:lnTo>
                    <a:pt x="602932" y="471392"/>
                  </a:lnTo>
                  <a:lnTo>
                    <a:pt x="599980" y="477202"/>
                  </a:lnTo>
                  <a:lnTo>
                    <a:pt x="600361" y="493490"/>
                  </a:lnTo>
                  <a:lnTo>
                    <a:pt x="596932" y="495776"/>
                  </a:lnTo>
                  <a:lnTo>
                    <a:pt x="589788" y="496634"/>
                  </a:lnTo>
                  <a:lnTo>
                    <a:pt x="589597" y="494919"/>
                  </a:lnTo>
                  <a:lnTo>
                    <a:pt x="574453" y="491490"/>
                  </a:lnTo>
                  <a:lnTo>
                    <a:pt x="569309" y="493967"/>
                  </a:lnTo>
                  <a:lnTo>
                    <a:pt x="565213" y="490823"/>
                  </a:lnTo>
                  <a:lnTo>
                    <a:pt x="558355" y="493585"/>
                  </a:lnTo>
                  <a:lnTo>
                    <a:pt x="533590" y="485966"/>
                  </a:lnTo>
                  <a:lnTo>
                    <a:pt x="531971" y="488061"/>
                  </a:lnTo>
                  <a:lnTo>
                    <a:pt x="536067" y="491109"/>
                  </a:lnTo>
                  <a:lnTo>
                    <a:pt x="536257" y="492919"/>
                  </a:lnTo>
                  <a:lnTo>
                    <a:pt x="530638" y="491776"/>
                  </a:lnTo>
                  <a:lnTo>
                    <a:pt x="528447" y="488537"/>
                  </a:lnTo>
                  <a:lnTo>
                    <a:pt x="514350" y="479488"/>
                  </a:lnTo>
                  <a:lnTo>
                    <a:pt x="501586" y="479298"/>
                  </a:lnTo>
                  <a:lnTo>
                    <a:pt x="500253" y="483108"/>
                  </a:lnTo>
                  <a:lnTo>
                    <a:pt x="496443" y="481870"/>
                  </a:lnTo>
                  <a:lnTo>
                    <a:pt x="489680" y="486346"/>
                  </a:lnTo>
                  <a:lnTo>
                    <a:pt x="485299" y="494157"/>
                  </a:lnTo>
                  <a:lnTo>
                    <a:pt x="482441" y="499967"/>
                  </a:lnTo>
                  <a:lnTo>
                    <a:pt x="468249" y="503682"/>
                  </a:lnTo>
                  <a:lnTo>
                    <a:pt x="466725" y="505682"/>
                  </a:lnTo>
                  <a:lnTo>
                    <a:pt x="461581" y="508159"/>
                  </a:lnTo>
                  <a:lnTo>
                    <a:pt x="449675" y="515207"/>
                  </a:lnTo>
                  <a:lnTo>
                    <a:pt x="449961" y="517017"/>
                  </a:lnTo>
                  <a:lnTo>
                    <a:pt x="450723" y="536829"/>
                  </a:lnTo>
                  <a:lnTo>
                    <a:pt x="432530" y="537401"/>
                  </a:lnTo>
                  <a:lnTo>
                    <a:pt x="423291" y="536829"/>
                  </a:lnTo>
                  <a:lnTo>
                    <a:pt x="424624" y="533019"/>
                  </a:lnTo>
                  <a:lnTo>
                    <a:pt x="425005" y="522160"/>
                  </a:lnTo>
                  <a:lnTo>
                    <a:pt x="419290" y="506539"/>
                  </a:lnTo>
                  <a:lnTo>
                    <a:pt x="420433" y="501015"/>
                  </a:lnTo>
                  <a:lnTo>
                    <a:pt x="416338" y="497872"/>
                  </a:lnTo>
                  <a:lnTo>
                    <a:pt x="417671" y="494062"/>
                  </a:lnTo>
                  <a:lnTo>
                    <a:pt x="413575" y="491014"/>
                  </a:lnTo>
                  <a:lnTo>
                    <a:pt x="407765" y="488156"/>
                  </a:lnTo>
                  <a:lnTo>
                    <a:pt x="406432" y="491966"/>
                  </a:lnTo>
                  <a:lnTo>
                    <a:pt x="395573" y="493395"/>
                  </a:lnTo>
                  <a:lnTo>
                    <a:pt x="395383" y="491585"/>
                  </a:lnTo>
                  <a:lnTo>
                    <a:pt x="389954" y="492347"/>
                  </a:lnTo>
                  <a:lnTo>
                    <a:pt x="390239" y="494062"/>
                  </a:lnTo>
                  <a:lnTo>
                    <a:pt x="388239" y="492538"/>
                  </a:lnTo>
                  <a:lnTo>
                    <a:pt x="384810" y="494824"/>
                  </a:lnTo>
                  <a:lnTo>
                    <a:pt x="373856" y="494443"/>
                  </a:lnTo>
                  <a:lnTo>
                    <a:pt x="363474" y="499396"/>
                  </a:lnTo>
                  <a:lnTo>
                    <a:pt x="364617" y="493871"/>
                  </a:lnTo>
                  <a:lnTo>
                    <a:pt x="364141" y="490252"/>
                  </a:lnTo>
                  <a:lnTo>
                    <a:pt x="367284" y="486251"/>
                  </a:lnTo>
                  <a:lnTo>
                    <a:pt x="368617" y="482441"/>
                  </a:lnTo>
                  <a:lnTo>
                    <a:pt x="368808" y="484251"/>
                  </a:lnTo>
                  <a:lnTo>
                    <a:pt x="370141" y="480441"/>
                  </a:lnTo>
                  <a:lnTo>
                    <a:pt x="369951" y="478631"/>
                  </a:lnTo>
                  <a:lnTo>
                    <a:pt x="366331" y="479108"/>
                  </a:lnTo>
                  <a:lnTo>
                    <a:pt x="360997" y="494347"/>
                  </a:lnTo>
                  <a:lnTo>
                    <a:pt x="358711" y="491014"/>
                  </a:lnTo>
                  <a:lnTo>
                    <a:pt x="351758" y="493681"/>
                  </a:lnTo>
                  <a:lnTo>
                    <a:pt x="342329" y="491300"/>
                  </a:lnTo>
                  <a:lnTo>
                    <a:pt x="335661" y="495871"/>
                  </a:lnTo>
                  <a:lnTo>
                    <a:pt x="329565" y="491204"/>
                  </a:lnTo>
                  <a:lnTo>
                    <a:pt x="322993" y="483013"/>
                  </a:lnTo>
                  <a:lnTo>
                    <a:pt x="316421" y="474821"/>
                  </a:lnTo>
                  <a:lnTo>
                    <a:pt x="315182" y="465963"/>
                  </a:lnTo>
                  <a:lnTo>
                    <a:pt x="309372" y="463105"/>
                  </a:lnTo>
                  <a:lnTo>
                    <a:pt x="304895" y="456438"/>
                  </a:lnTo>
                  <a:lnTo>
                    <a:pt x="306419" y="454438"/>
                  </a:lnTo>
                  <a:lnTo>
                    <a:pt x="303085" y="456629"/>
                  </a:lnTo>
                  <a:lnTo>
                    <a:pt x="304419" y="452914"/>
                  </a:lnTo>
                  <a:lnTo>
                    <a:pt x="300514" y="451580"/>
                  </a:lnTo>
                  <a:lnTo>
                    <a:pt x="303943" y="449294"/>
                  </a:lnTo>
                  <a:lnTo>
                    <a:pt x="301847" y="447770"/>
                  </a:lnTo>
                  <a:lnTo>
                    <a:pt x="295180" y="452247"/>
                  </a:lnTo>
                  <a:lnTo>
                    <a:pt x="265652" y="450723"/>
                  </a:lnTo>
                  <a:lnTo>
                    <a:pt x="256699" y="451866"/>
                  </a:lnTo>
                  <a:lnTo>
                    <a:pt x="256889" y="453676"/>
                  </a:lnTo>
                  <a:lnTo>
                    <a:pt x="247459" y="451295"/>
                  </a:lnTo>
                  <a:lnTo>
                    <a:pt x="245935" y="453390"/>
                  </a:lnTo>
                  <a:lnTo>
                    <a:pt x="235744" y="445580"/>
                  </a:lnTo>
                  <a:lnTo>
                    <a:pt x="232219" y="446056"/>
                  </a:lnTo>
                  <a:lnTo>
                    <a:pt x="233553" y="442246"/>
                  </a:lnTo>
                  <a:lnTo>
                    <a:pt x="223361" y="434626"/>
                  </a:lnTo>
                  <a:lnTo>
                    <a:pt x="224409" y="429006"/>
                  </a:lnTo>
                  <a:lnTo>
                    <a:pt x="229362" y="424720"/>
                  </a:lnTo>
                  <a:lnTo>
                    <a:pt x="221932" y="423863"/>
                  </a:lnTo>
                  <a:lnTo>
                    <a:pt x="209645" y="427292"/>
                  </a:lnTo>
                  <a:lnTo>
                    <a:pt x="203930" y="426244"/>
                  </a:lnTo>
                  <a:lnTo>
                    <a:pt x="199930" y="423196"/>
                  </a:lnTo>
                  <a:lnTo>
                    <a:pt x="190690" y="422624"/>
                  </a:lnTo>
                  <a:lnTo>
                    <a:pt x="182785" y="418147"/>
                  </a:lnTo>
                  <a:lnTo>
                    <a:pt x="180308" y="413099"/>
                  </a:lnTo>
                  <a:lnTo>
                    <a:pt x="173164" y="414052"/>
                  </a:lnTo>
                  <a:lnTo>
                    <a:pt x="172402" y="408718"/>
                  </a:lnTo>
                  <a:lnTo>
                    <a:pt x="162973" y="406337"/>
                  </a:lnTo>
                  <a:lnTo>
                    <a:pt x="166116" y="402241"/>
                  </a:lnTo>
                  <a:lnTo>
                    <a:pt x="158686" y="401384"/>
                  </a:lnTo>
                  <a:lnTo>
                    <a:pt x="154400" y="396526"/>
                  </a:lnTo>
                  <a:lnTo>
                    <a:pt x="148495" y="393763"/>
                  </a:lnTo>
                  <a:lnTo>
                    <a:pt x="145828" y="401288"/>
                  </a:lnTo>
                  <a:lnTo>
                    <a:pt x="132302" y="395859"/>
                  </a:lnTo>
                  <a:lnTo>
                    <a:pt x="128302" y="392716"/>
                  </a:lnTo>
                  <a:lnTo>
                    <a:pt x="124682" y="393192"/>
                  </a:lnTo>
                  <a:lnTo>
                    <a:pt x="129445" y="401669"/>
                  </a:lnTo>
                  <a:lnTo>
                    <a:pt x="121158" y="408242"/>
                  </a:lnTo>
                  <a:lnTo>
                    <a:pt x="130683" y="425101"/>
                  </a:lnTo>
                  <a:lnTo>
                    <a:pt x="125539" y="427577"/>
                  </a:lnTo>
                  <a:lnTo>
                    <a:pt x="120682" y="431863"/>
                  </a:lnTo>
                  <a:lnTo>
                    <a:pt x="125158" y="438531"/>
                  </a:lnTo>
                  <a:lnTo>
                    <a:pt x="129254" y="441579"/>
                  </a:lnTo>
                  <a:lnTo>
                    <a:pt x="126397" y="447389"/>
                  </a:lnTo>
                  <a:lnTo>
                    <a:pt x="114967" y="457962"/>
                  </a:lnTo>
                  <a:lnTo>
                    <a:pt x="113442" y="459962"/>
                  </a:lnTo>
                  <a:lnTo>
                    <a:pt x="114490" y="454438"/>
                  </a:lnTo>
                  <a:lnTo>
                    <a:pt x="112490" y="452914"/>
                  </a:lnTo>
                  <a:lnTo>
                    <a:pt x="105727" y="457391"/>
                  </a:lnTo>
                  <a:lnTo>
                    <a:pt x="107251" y="455390"/>
                  </a:lnTo>
                  <a:lnTo>
                    <a:pt x="101917" y="456057"/>
                  </a:lnTo>
                  <a:lnTo>
                    <a:pt x="101441" y="452533"/>
                  </a:lnTo>
                  <a:lnTo>
                    <a:pt x="97631" y="451199"/>
                  </a:lnTo>
                  <a:lnTo>
                    <a:pt x="94774" y="457009"/>
                  </a:lnTo>
                  <a:lnTo>
                    <a:pt x="82867" y="464058"/>
                  </a:lnTo>
                  <a:lnTo>
                    <a:pt x="77914" y="468344"/>
                  </a:lnTo>
                  <a:lnTo>
                    <a:pt x="78391" y="471868"/>
                  </a:lnTo>
                  <a:lnTo>
                    <a:pt x="76676" y="472154"/>
                  </a:lnTo>
                  <a:lnTo>
                    <a:pt x="77057" y="475679"/>
                  </a:lnTo>
                  <a:lnTo>
                    <a:pt x="73533" y="476155"/>
                  </a:lnTo>
                  <a:lnTo>
                    <a:pt x="74866" y="472345"/>
                  </a:lnTo>
                  <a:lnTo>
                    <a:pt x="71247" y="472821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9" name="Volný tvar: obrazec 58">
              <a:extLst>
                <a:ext uri="{FF2B5EF4-FFF2-40B4-BE49-F238E27FC236}">
                  <a16:creationId xmlns:a16="http://schemas.microsoft.com/office/drawing/2014/main" id="{8DD2BFA0-1699-F79A-2B1C-B9DBF9B4918F}"/>
                </a:ext>
              </a:extLst>
            </p:cNvPr>
            <p:cNvSpPr/>
            <p:nvPr userDrawn="1"/>
          </p:nvSpPr>
          <p:spPr>
            <a:xfrm>
              <a:off x="6093142" y="3152203"/>
              <a:ext cx="595121" cy="429005"/>
            </a:xfrm>
            <a:custGeom>
              <a:avLst/>
              <a:gdLst>
                <a:gd name="connsiteX0" fmla="*/ 1429 w 595121"/>
                <a:gd name="connsiteY0" fmla="*/ 193358 h 429005"/>
                <a:gd name="connsiteX1" fmla="*/ 4953 w 595121"/>
                <a:gd name="connsiteY1" fmla="*/ 192881 h 429005"/>
                <a:gd name="connsiteX2" fmla="*/ 4286 w 595121"/>
                <a:gd name="connsiteY2" fmla="*/ 187547 h 429005"/>
                <a:gd name="connsiteX3" fmla="*/ 4000 w 595121"/>
                <a:gd name="connsiteY3" fmla="*/ 185833 h 429005"/>
                <a:gd name="connsiteX4" fmla="*/ 0 w 595121"/>
                <a:gd name="connsiteY4" fmla="*/ 182689 h 429005"/>
                <a:gd name="connsiteX5" fmla="*/ 2857 w 595121"/>
                <a:gd name="connsiteY5" fmla="*/ 176879 h 429005"/>
                <a:gd name="connsiteX6" fmla="*/ 6953 w 595121"/>
                <a:gd name="connsiteY6" fmla="*/ 180022 h 429005"/>
                <a:gd name="connsiteX7" fmla="*/ 6667 w 595121"/>
                <a:gd name="connsiteY7" fmla="*/ 178213 h 429005"/>
                <a:gd name="connsiteX8" fmla="*/ 7810 w 595121"/>
                <a:gd name="connsiteY8" fmla="*/ 172593 h 429005"/>
                <a:gd name="connsiteX9" fmla="*/ 5810 w 595121"/>
                <a:gd name="connsiteY9" fmla="*/ 171069 h 429005"/>
                <a:gd name="connsiteX10" fmla="*/ 8382 w 595121"/>
                <a:gd name="connsiteY10" fmla="*/ 163449 h 429005"/>
                <a:gd name="connsiteX11" fmla="*/ 7429 w 595121"/>
                <a:gd name="connsiteY11" fmla="*/ 156305 h 429005"/>
                <a:gd name="connsiteX12" fmla="*/ 3429 w 595121"/>
                <a:gd name="connsiteY12" fmla="*/ 153257 h 429005"/>
                <a:gd name="connsiteX13" fmla="*/ 4763 w 595121"/>
                <a:gd name="connsiteY13" fmla="*/ 149447 h 429005"/>
                <a:gd name="connsiteX14" fmla="*/ 2953 w 595121"/>
                <a:gd name="connsiteY14" fmla="*/ 149638 h 429005"/>
                <a:gd name="connsiteX15" fmla="*/ 2476 w 595121"/>
                <a:gd name="connsiteY15" fmla="*/ 146113 h 429005"/>
                <a:gd name="connsiteX16" fmla="*/ 4000 w 595121"/>
                <a:gd name="connsiteY16" fmla="*/ 144113 h 429005"/>
                <a:gd name="connsiteX17" fmla="*/ 16573 w 595121"/>
                <a:gd name="connsiteY17" fmla="*/ 142399 h 429005"/>
                <a:gd name="connsiteX18" fmla="*/ 21717 w 595121"/>
                <a:gd name="connsiteY18" fmla="*/ 139922 h 429005"/>
                <a:gd name="connsiteX19" fmla="*/ 17431 w 595121"/>
                <a:gd name="connsiteY19" fmla="*/ 135064 h 429005"/>
                <a:gd name="connsiteX20" fmla="*/ 23431 w 595121"/>
                <a:gd name="connsiteY20" fmla="*/ 125158 h 429005"/>
                <a:gd name="connsiteX21" fmla="*/ 21622 w 595121"/>
                <a:gd name="connsiteY21" fmla="*/ 125444 h 429005"/>
                <a:gd name="connsiteX22" fmla="*/ 24955 w 595121"/>
                <a:gd name="connsiteY22" fmla="*/ 123158 h 429005"/>
                <a:gd name="connsiteX23" fmla="*/ 26098 w 595121"/>
                <a:gd name="connsiteY23" fmla="*/ 117634 h 429005"/>
                <a:gd name="connsiteX24" fmla="*/ 27908 w 595121"/>
                <a:gd name="connsiteY24" fmla="*/ 117348 h 429005"/>
                <a:gd name="connsiteX25" fmla="*/ 26670 w 595121"/>
                <a:gd name="connsiteY25" fmla="*/ 108490 h 429005"/>
                <a:gd name="connsiteX26" fmla="*/ 30575 w 595121"/>
                <a:gd name="connsiteY26" fmla="*/ 109728 h 429005"/>
                <a:gd name="connsiteX27" fmla="*/ 32290 w 595121"/>
                <a:gd name="connsiteY27" fmla="*/ 109538 h 429005"/>
                <a:gd name="connsiteX28" fmla="*/ 33433 w 595121"/>
                <a:gd name="connsiteY28" fmla="*/ 103918 h 429005"/>
                <a:gd name="connsiteX29" fmla="*/ 32956 w 595121"/>
                <a:gd name="connsiteY29" fmla="*/ 100393 h 429005"/>
                <a:gd name="connsiteX30" fmla="*/ 32956 w 595121"/>
                <a:gd name="connsiteY30" fmla="*/ 100393 h 429005"/>
                <a:gd name="connsiteX31" fmla="*/ 27337 w 595121"/>
                <a:gd name="connsiteY31" fmla="*/ 99250 h 429005"/>
                <a:gd name="connsiteX32" fmla="*/ 18002 w 595121"/>
                <a:gd name="connsiteY32" fmla="*/ 84201 h 429005"/>
                <a:gd name="connsiteX33" fmla="*/ 22669 w 595121"/>
                <a:gd name="connsiteY33" fmla="*/ 78200 h 429005"/>
                <a:gd name="connsiteX34" fmla="*/ 27813 w 595121"/>
                <a:gd name="connsiteY34" fmla="*/ 75629 h 429005"/>
                <a:gd name="connsiteX35" fmla="*/ 31432 w 595121"/>
                <a:gd name="connsiteY35" fmla="*/ 75247 h 429005"/>
                <a:gd name="connsiteX36" fmla="*/ 38862 w 595121"/>
                <a:gd name="connsiteY36" fmla="*/ 76009 h 429005"/>
                <a:gd name="connsiteX37" fmla="*/ 46482 w 595121"/>
                <a:gd name="connsiteY37" fmla="*/ 78676 h 429005"/>
                <a:gd name="connsiteX38" fmla="*/ 49911 w 595121"/>
                <a:gd name="connsiteY38" fmla="*/ 76391 h 429005"/>
                <a:gd name="connsiteX39" fmla="*/ 50578 w 595121"/>
                <a:gd name="connsiteY39" fmla="*/ 81725 h 429005"/>
                <a:gd name="connsiteX40" fmla="*/ 56674 w 595121"/>
                <a:gd name="connsiteY40" fmla="*/ 86392 h 429005"/>
                <a:gd name="connsiteX41" fmla="*/ 65151 w 595121"/>
                <a:gd name="connsiteY41" fmla="*/ 81629 h 429005"/>
                <a:gd name="connsiteX42" fmla="*/ 66484 w 595121"/>
                <a:gd name="connsiteY42" fmla="*/ 77819 h 429005"/>
                <a:gd name="connsiteX43" fmla="*/ 68580 w 595121"/>
                <a:gd name="connsiteY43" fmla="*/ 79343 h 429005"/>
                <a:gd name="connsiteX44" fmla="*/ 70771 w 595121"/>
                <a:gd name="connsiteY44" fmla="*/ 82677 h 429005"/>
                <a:gd name="connsiteX45" fmla="*/ 72580 w 595121"/>
                <a:gd name="connsiteY45" fmla="*/ 82391 h 429005"/>
                <a:gd name="connsiteX46" fmla="*/ 78962 w 595121"/>
                <a:gd name="connsiteY46" fmla="*/ 88868 h 429005"/>
                <a:gd name="connsiteX47" fmla="*/ 80963 w 595121"/>
                <a:gd name="connsiteY47" fmla="*/ 90392 h 429005"/>
                <a:gd name="connsiteX48" fmla="*/ 80772 w 595121"/>
                <a:gd name="connsiteY48" fmla="*/ 88583 h 429005"/>
                <a:gd name="connsiteX49" fmla="*/ 80010 w 595121"/>
                <a:gd name="connsiteY49" fmla="*/ 83248 h 429005"/>
                <a:gd name="connsiteX50" fmla="*/ 85439 w 595121"/>
                <a:gd name="connsiteY50" fmla="*/ 82582 h 429005"/>
                <a:gd name="connsiteX51" fmla="*/ 87439 w 595121"/>
                <a:gd name="connsiteY51" fmla="*/ 84106 h 429005"/>
                <a:gd name="connsiteX52" fmla="*/ 89249 w 595121"/>
                <a:gd name="connsiteY52" fmla="*/ 83915 h 429005"/>
                <a:gd name="connsiteX53" fmla="*/ 93726 w 595121"/>
                <a:gd name="connsiteY53" fmla="*/ 76009 h 429005"/>
                <a:gd name="connsiteX54" fmla="*/ 94107 w 595121"/>
                <a:gd name="connsiteY54" fmla="*/ 79629 h 429005"/>
                <a:gd name="connsiteX55" fmla="*/ 100013 w 595121"/>
                <a:gd name="connsiteY55" fmla="*/ 82487 h 429005"/>
                <a:gd name="connsiteX56" fmla="*/ 104680 w 595121"/>
                <a:gd name="connsiteY56" fmla="*/ 76391 h 429005"/>
                <a:gd name="connsiteX57" fmla="*/ 108490 w 595121"/>
                <a:gd name="connsiteY57" fmla="*/ 77724 h 429005"/>
                <a:gd name="connsiteX58" fmla="*/ 110299 w 595121"/>
                <a:gd name="connsiteY58" fmla="*/ 77438 h 429005"/>
                <a:gd name="connsiteX59" fmla="*/ 117538 w 595121"/>
                <a:gd name="connsiteY59" fmla="*/ 76486 h 429005"/>
                <a:gd name="connsiteX60" fmla="*/ 120396 w 595121"/>
                <a:gd name="connsiteY60" fmla="*/ 70675 h 429005"/>
                <a:gd name="connsiteX61" fmla="*/ 127825 w 595121"/>
                <a:gd name="connsiteY61" fmla="*/ 71533 h 429005"/>
                <a:gd name="connsiteX62" fmla="*/ 132969 w 595121"/>
                <a:gd name="connsiteY62" fmla="*/ 69056 h 429005"/>
                <a:gd name="connsiteX63" fmla="*/ 132779 w 595121"/>
                <a:gd name="connsiteY63" fmla="*/ 67246 h 429005"/>
                <a:gd name="connsiteX64" fmla="*/ 140303 w 595121"/>
                <a:gd name="connsiteY64" fmla="*/ 55340 h 429005"/>
                <a:gd name="connsiteX65" fmla="*/ 138017 w 595121"/>
                <a:gd name="connsiteY65" fmla="*/ 52006 h 429005"/>
                <a:gd name="connsiteX66" fmla="*/ 140875 w 595121"/>
                <a:gd name="connsiteY66" fmla="*/ 46196 h 429005"/>
                <a:gd name="connsiteX67" fmla="*/ 144494 w 595121"/>
                <a:gd name="connsiteY67" fmla="*/ 45720 h 429005"/>
                <a:gd name="connsiteX68" fmla="*/ 146590 w 595121"/>
                <a:gd name="connsiteY68" fmla="*/ 47244 h 429005"/>
                <a:gd name="connsiteX69" fmla="*/ 149161 w 595121"/>
                <a:gd name="connsiteY69" fmla="*/ 39719 h 429005"/>
                <a:gd name="connsiteX70" fmla="*/ 154305 w 595121"/>
                <a:gd name="connsiteY70" fmla="*/ 37147 h 429005"/>
                <a:gd name="connsiteX71" fmla="*/ 154114 w 595121"/>
                <a:gd name="connsiteY71" fmla="*/ 35433 h 429005"/>
                <a:gd name="connsiteX72" fmla="*/ 156115 w 595121"/>
                <a:gd name="connsiteY72" fmla="*/ 36957 h 429005"/>
                <a:gd name="connsiteX73" fmla="*/ 153638 w 595121"/>
                <a:gd name="connsiteY73" fmla="*/ 31813 h 429005"/>
                <a:gd name="connsiteX74" fmla="*/ 157258 w 595121"/>
                <a:gd name="connsiteY74" fmla="*/ 31337 h 429005"/>
                <a:gd name="connsiteX75" fmla="*/ 159258 w 595121"/>
                <a:gd name="connsiteY75" fmla="*/ 32861 h 429005"/>
                <a:gd name="connsiteX76" fmla="*/ 157734 w 595121"/>
                <a:gd name="connsiteY76" fmla="*/ 34862 h 429005"/>
                <a:gd name="connsiteX77" fmla="*/ 159734 w 595121"/>
                <a:gd name="connsiteY77" fmla="*/ 36481 h 429005"/>
                <a:gd name="connsiteX78" fmla="*/ 161068 w 595121"/>
                <a:gd name="connsiteY78" fmla="*/ 32671 h 429005"/>
                <a:gd name="connsiteX79" fmla="*/ 161544 w 595121"/>
                <a:gd name="connsiteY79" fmla="*/ 36195 h 429005"/>
                <a:gd name="connsiteX80" fmla="*/ 165354 w 595121"/>
                <a:gd name="connsiteY80" fmla="*/ 37529 h 429005"/>
                <a:gd name="connsiteX81" fmla="*/ 169164 w 595121"/>
                <a:gd name="connsiteY81" fmla="*/ 38862 h 429005"/>
                <a:gd name="connsiteX82" fmla="*/ 170783 w 595121"/>
                <a:gd name="connsiteY82" fmla="*/ 36767 h 429005"/>
                <a:gd name="connsiteX83" fmla="*/ 174593 w 595121"/>
                <a:gd name="connsiteY83" fmla="*/ 38100 h 429005"/>
                <a:gd name="connsiteX84" fmla="*/ 179927 w 595121"/>
                <a:gd name="connsiteY84" fmla="*/ 37433 h 429005"/>
                <a:gd name="connsiteX85" fmla="*/ 184404 w 595121"/>
                <a:gd name="connsiteY85" fmla="*/ 29527 h 429005"/>
                <a:gd name="connsiteX86" fmla="*/ 192024 w 595121"/>
                <a:gd name="connsiteY86" fmla="*/ 32195 h 429005"/>
                <a:gd name="connsiteX87" fmla="*/ 195929 w 595121"/>
                <a:gd name="connsiteY87" fmla="*/ 33528 h 429005"/>
                <a:gd name="connsiteX88" fmla="*/ 201263 w 595121"/>
                <a:gd name="connsiteY88" fmla="*/ 32766 h 429005"/>
                <a:gd name="connsiteX89" fmla="*/ 208216 w 595121"/>
                <a:gd name="connsiteY89" fmla="*/ 30004 h 429005"/>
                <a:gd name="connsiteX90" fmla="*/ 207740 w 595121"/>
                <a:gd name="connsiteY90" fmla="*/ 26479 h 429005"/>
                <a:gd name="connsiteX91" fmla="*/ 205740 w 595121"/>
                <a:gd name="connsiteY91" fmla="*/ 24955 h 429005"/>
                <a:gd name="connsiteX92" fmla="*/ 214693 w 595121"/>
                <a:gd name="connsiteY92" fmla="*/ 23717 h 429005"/>
                <a:gd name="connsiteX93" fmla="*/ 213741 w 595121"/>
                <a:gd name="connsiteY93" fmla="*/ 16669 h 429005"/>
                <a:gd name="connsiteX94" fmla="*/ 215360 w 595121"/>
                <a:gd name="connsiteY94" fmla="*/ 14573 h 429005"/>
                <a:gd name="connsiteX95" fmla="*/ 220694 w 595121"/>
                <a:gd name="connsiteY95" fmla="*/ 13906 h 429005"/>
                <a:gd name="connsiteX96" fmla="*/ 220980 w 595121"/>
                <a:gd name="connsiteY96" fmla="*/ 15716 h 429005"/>
                <a:gd name="connsiteX97" fmla="*/ 222694 w 595121"/>
                <a:gd name="connsiteY97" fmla="*/ 15430 h 429005"/>
                <a:gd name="connsiteX98" fmla="*/ 224790 w 595121"/>
                <a:gd name="connsiteY98" fmla="*/ 16954 h 429005"/>
                <a:gd name="connsiteX99" fmla="*/ 224504 w 595121"/>
                <a:gd name="connsiteY99" fmla="*/ 15145 h 429005"/>
                <a:gd name="connsiteX100" fmla="*/ 228409 w 595121"/>
                <a:gd name="connsiteY100" fmla="*/ 16478 h 429005"/>
                <a:gd name="connsiteX101" fmla="*/ 232219 w 595121"/>
                <a:gd name="connsiteY101" fmla="*/ 17812 h 429005"/>
                <a:gd name="connsiteX102" fmla="*/ 234696 w 595121"/>
                <a:gd name="connsiteY102" fmla="*/ 22860 h 429005"/>
                <a:gd name="connsiteX103" fmla="*/ 233172 w 595121"/>
                <a:gd name="connsiteY103" fmla="*/ 24955 h 429005"/>
                <a:gd name="connsiteX104" fmla="*/ 245459 w 595121"/>
                <a:gd name="connsiteY104" fmla="*/ 21526 h 429005"/>
                <a:gd name="connsiteX105" fmla="*/ 250031 w 595121"/>
                <a:gd name="connsiteY105" fmla="*/ 28099 h 429005"/>
                <a:gd name="connsiteX106" fmla="*/ 259271 w 595121"/>
                <a:gd name="connsiteY106" fmla="*/ 28766 h 429005"/>
                <a:gd name="connsiteX107" fmla="*/ 255841 w 595121"/>
                <a:gd name="connsiteY107" fmla="*/ 30956 h 429005"/>
                <a:gd name="connsiteX108" fmla="*/ 263271 w 595121"/>
                <a:gd name="connsiteY108" fmla="*/ 31813 h 429005"/>
                <a:gd name="connsiteX109" fmla="*/ 265366 w 595121"/>
                <a:gd name="connsiteY109" fmla="*/ 33338 h 429005"/>
                <a:gd name="connsiteX110" fmla="*/ 274320 w 595121"/>
                <a:gd name="connsiteY110" fmla="*/ 32195 h 429005"/>
                <a:gd name="connsiteX111" fmla="*/ 274510 w 595121"/>
                <a:gd name="connsiteY111" fmla="*/ 34004 h 429005"/>
                <a:gd name="connsiteX112" fmla="*/ 276130 w 595121"/>
                <a:gd name="connsiteY112" fmla="*/ 31909 h 429005"/>
                <a:gd name="connsiteX113" fmla="*/ 275177 w 595121"/>
                <a:gd name="connsiteY113" fmla="*/ 24860 h 429005"/>
                <a:gd name="connsiteX114" fmla="*/ 278797 w 595121"/>
                <a:gd name="connsiteY114" fmla="*/ 24384 h 429005"/>
                <a:gd name="connsiteX115" fmla="*/ 280130 w 595121"/>
                <a:gd name="connsiteY115" fmla="*/ 20574 h 429005"/>
                <a:gd name="connsiteX116" fmla="*/ 282130 w 595121"/>
                <a:gd name="connsiteY116" fmla="*/ 22098 h 429005"/>
                <a:gd name="connsiteX117" fmla="*/ 283083 w 595121"/>
                <a:gd name="connsiteY117" fmla="*/ 29242 h 429005"/>
                <a:gd name="connsiteX118" fmla="*/ 286893 w 595121"/>
                <a:gd name="connsiteY118" fmla="*/ 30480 h 429005"/>
                <a:gd name="connsiteX119" fmla="*/ 289274 w 595121"/>
                <a:gd name="connsiteY119" fmla="*/ 21146 h 429005"/>
                <a:gd name="connsiteX120" fmla="*/ 283655 w 595121"/>
                <a:gd name="connsiteY120" fmla="*/ 20098 h 429005"/>
                <a:gd name="connsiteX121" fmla="*/ 290417 w 595121"/>
                <a:gd name="connsiteY121" fmla="*/ 15526 h 429005"/>
                <a:gd name="connsiteX122" fmla="*/ 290417 w 595121"/>
                <a:gd name="connsiteY122" fmla="*/ 15526 h 429005"/>
                <a:gd name="connsiteX123" fmla="*/ 292417 w 595121"/>
                <a:gd name="connsiteY123" fmla="*/ 17050 h 429005"/>
                <a:gd name="connsiteX124" fmla="*/ 298037 w 595121"/>
                <a:gd name="connsiteY124" fmla="*/ 18193 h 429005"/>
                <a:gd name="connsiteX125" fmla="*/ 300895 w 595121"/>
                <a:gd name="connsiteY125" fmla="*/ 12383 h 429005"/>
                <a:gd name="connsiteX126" fmla="*/ 297085 w 595121"/>
                <a:gd name="connsiteY126" fmla="*/ 11049 h 429005"/>
                <a:gd name="connsiteX127" fmla="*/ 298418 w 595121"/>
                <a:gd name="connsiteY127" fmla="*/ 7239 h 429005"/>
                <a:gd name="connsiteX128" fmla="*/ 301752 w 595121"/>
                <a:gd name="connsiteY128" fmla="*/ 4953 h 429005"/>
                <a:gd name="connsiteX129" fmla="*/ 305086 w 595121"/>
                <a:gd name="connsiteY129" fmla="*/ 2667 h 429005"/>
                <a:gd name="connsiteX130" fmla="*/ 308705 w 595121"/>
                <a:gd name="connsiteY130" fmla="*/ 2286 h 429005"/>
                <a:gd name="connsiteX131" fmla="*/ 308515 w 595121"/>
                <a:gd name="connsiteY131" fmla="*/ 476 h 429005"/>
                <a:gd name="connsiteX132" fmla="*/ 312039 w 595121"/>
                <a:gd name="connsiteY132" fmla="*/ 0 h 429005"/>
                <a:gd name="connsiteX133" fmla="*/ 311277 w 595121"/>
                <a:gd name="connsiteY133" fmla="*/ 7334 h 429005"/>
                <a:gd name="connsiteX134" fmla="*/ 316801 w 595121"/>
                <a:gd name="connsiteY134" fmla="*/ 8382 h 429005"/>
                <a:gd name="connsiteX135" fmla="*/ 315277 w 595121"/>
                <a:gd name="connsiteY135" fmla="*/ 10477 h 429005"/>
                <a:gd name="connsiteX136" fmla="*/ 319088 w 595121"/>
                <a:gd name="connsiteY136" fmla="*/ 11716 h 429005"/>
                <a:gd name="connsiteX137" fmla="*/ 321755 w 595121"/>
                <a:gd name="connsiteY137" fmla="*/ 4191 h 429005"/>
                <a:gd name="connsiteX138" fmla="*/ 321945 w 595121"/>
                <a:gd name="connsiteY138" fmla="*/ 5905 h 429005"/>
                <a:gd name="connsiteX139" fmla="*/ 331280 w 595121"/>
                <a:gd name="connsiteY139" fmla="*/ 21050 h 429005"/>
                <a:gd name="connsiteX140" fmla="*/ 336709 w 595121"/>
                <a:gd name="connsiteY140" fmla="*/ 20288 h 429005"/>
                <a:gd name="connsiteX141" fmla="*/ 338995 w 595121"/>
                <a:gd name="connsiteY141" fmla="*/ 23622 h 429005"/>
                <a:gd name="connsiteX142" fmla="*/ 348139 w 595121"/>
                <a:gd name="connsiteY142" fmla="*/ 9716 h 429005"/>
                <a:gd name="connsiteX143" fmla="*/ 357759 w 595121"/>
                <a:gd name="connsiteY143" fmla="*/ 13906 h 429005"/>
                <a:gd name="connsiteX144" fmla="*/ 359092 w 595121"/>
                <a:gd name="connsiteY144" fmla="*/ 10096 h 429005"/>
                <a:gd name="connsiteX145" fmla="*/ 363188 w 595121"/>
                <a:gd name="connsiteY145" fmla="*/ 13145 h 429005"/>
                <a:gd name="connsiteX146" fmla="*/ 369284 w 595121"/>
                <a:gd name="connsiteY146" fmla="*/ 17812 h 429005"/>
                <a:gd name="connsiteX147" fmla="*/ 372142 w 595121"/>
                <a:gd name="connsiteY147" fmla="*/ 12001 h 429005"/>
                <a:gd name="connsiteX148" fmla="*/ 375475 w 595121"/>
                <a:gd name="connsiteY148" fmla="*/ 9716 h 429005"/>
                <a:gd name="connsiteX149" fmla="*/ 385953 w 595121"/>
                <a:gd name="connsiteY149" fmla="*/ 19241 h 429005"/>
                <a:gd name="connsiteX150" fmla="*/ 395097 w 595121"/>
                <a:gd name="connsiteY150" fmla="*/ 19812 h 429005"/>
                <a:gd name="connsiteX151" fmla="*/ 395573 w 595121"/>
                <a:gd name="connsiteY151" fmla="*/ 23336 h 429005"/>
                <a:gd name="connsiteX152" fmla="*/ 397383 w 595121"/>
                <a:gd name="connsiteY152" fmla="*/ 23146 h 429005"/>
                <a:gd name="connsiteX153" fmla="*/ 396049 w 595121"/>
                <a:gd name="connsiteY153" fmla="*/ 26956 h 429005"/>
                <a:gd name="connsiteX154" fmla="*/ 401479 w 595121"/>
                <a:gd name="connsiteY154" fmla="*/ 26194 h 429005"/>
                <a:gd name="connsiteX155" fmla="*/ 401955 w 595121"/>
                <a:gd name="connsiteY155" fmla="*/ 29813 h 429005"/>
                <a:gd name="connsiteX156" fmla="*/ 404146 w 595121"/>
                <a:gd name="connsiteY156" fmla="*/ 33147 h 429005"/>
                <a:gd name="connsiteX157" fmla="*/ 413861 w 595121"/>
                <a:gd name="connsiteY157" fmla="*/ 37243 h 429005"/>
                <a:gd name="connsiteX158" fmla="*/ 417195 w 595121"/>
                <a:gd name="connsiteY158" fmla="*/ 35052 h 429005"/>
                <a:gd name="connsiteX159" fmla="*/ 419481 w 595121"/>
                <a:gd name="connsiteY159" fmla="*/ 38386 h 429005"/>
                <a:gd name="connsiteX160" fmla="*/ 427196 w 595121"/>
                <a:gd name="connsiteY160" fmla="*/ 40958 h 429005"/>
                <a:gd name="connsiteX161" fmla="*/ 426910 w 595121"/>
                <a:gd name="connsiteY161" fmla="*/ 39148 h 429005"/>
                <a:gd name="connsiteX162" fmla="*/ 434054 w 595121"/>
                <a:gd name="connsiteY162" fmla="*/ 38195 h 429005"/>
                <a:gd name="connsiteX163" fmla="*/ 432911 w 595121"/>
                <a:gd name="connsiteY163" fmla="*/ 29337 h 429005"/>
                <a:gd name="connsiteX164" fmla="*/ 432721 w 595121"/>
                <a:gd name="connsiteY164" fmla="*/ 27527 h 429005"/>
                <a:gd name="connsiteX165" fmla="*/ 450628 w 595121"/>
                <a:gd name="connsiteY165" fmla="*/ 25146 h 429005"/>
                <a:gd name="connsiteX166" fmla="*/ 453771 w 595121"/>
                <a:gd name="connsiteY166" fmla="*/ 21146 h 429005"/>
                <a:gd name="connsiteX167" fmla="*/ 454152 w 595121"/>
                <a:gd name="connsiteY167" fmla="*/ 10192 h 429005"/>
                <a:gd name="connsiteX168" fmla="*/ 456438 w 595121"/>
                <a:gd name="connsiteY168" fmla="*/ 13525 h 429005"/>
                <a:gd name="connsiteX169" fmla="*/ 461867 w 595121"/>
                <a:gd name="connsiteY169" fmla="*/ 12763 h 429005"/>
                <a:gd name="connsiteX170" fmla="*/ 462248 w 595121"/>
                <a:gd name="connsiteY170" fmla="*/ 16383 h 429005"/>
                <a:gd name="connsiteX171" fmla="*/ 467677 w 595121"/>
                <a:gd name="connsiteY171" fmla="*/ 15621 h 429005"/>
                <a:gd name="connsiteX172" fmla="*/ 472630 w 595121"/>
                <a:gd name="connsiteY172" fmla="*/ 11335 h 429005"/>
                <a:gd name="connsiteX173" fmla="*/ 474631 w 595121"/>
                <a:gd name="connsiteY173" fmla="*/ 12954 h 429005"/>
                <a:gd name="connsiteX174" fmla="*/ 473583 w 595121"/>
                <a:gd name="connsiteY174" fmla="*/ 18479 h 429005"/>
                <a:gd name="connsiteX175" fmla="*/ 474726 w 595121"/>
                <a:gd name="connsiteY175" fmla="*/ 27432 h 429005"/>
                <a:gd name="connsiteX176" fmla="*/ 478346 w 595121"/>
                <a:gd name="connsiteY176" fmla="*/ 26956 h 429005"/>
                <a:gd name="connsiteX177" fmla="*/ 483965 w 595121"/>
                <a:gd name="connsiteY177" fmla="*/ 28004 h 429005"/>
                <a:gd name="connsiteX178" fmla="*/ 498538 w 595121"/>
                <a:gd name="connsiteY178" fmla="*/ 27908 h 429005"/>
                <a:gd name="connsiteX179" fmla="*/ 498919 w 595121"/>
                <a:gd name="connsiteY179" fmla="*/ 16954 h 429005"/>
                <a:gd name="connsiteX180" fmla="*/ 502063 w 595121"/>
                <a:gd name="connsiteY180" fmla="*/ 12954 h 429005"/>
                <a:gd name="connsiteX181" fmla="*/ 506158 w 595121"/>
                <a:gd name="connsiteY181" fmla="*/ 16002 h 429005"/>
                <a:gd name="connsiteX182" fmla="*/ 508349 w 595121"/>
                <a:gd name="connsiteY182" fmla="*/ 19336 h 429005"/>
                <a:gd name="connsiteX183" fmla="*/ 506349 w 595121"/>
                <a:gd name="connsiteY183" fmla="*/ 17812 h 429005"/>
                <a:gd name="connsiteX184" fmla="*/ 504825 w 595121"/>
                <a:gd name="connsiteY184" fmla="*/ 19812 h 429005"/>
                <a:gd name="connsiteX185" fmla="*/ 517207 w 595121"/>
                <a:gd name="connsiteY185" fmla="*/ 30861 h 429005"/>
                <a:gd name="connsiteX186" fmla="*/ 512255 w 595121"/>
                <a:gd name="connsiteY186" fmla="*/ 35147 h 429005"/>
                <a:gd name="connsiteX187" fmla="*/ 509397 w 595121"/>
                <a:gd name="connsiteY187" fmla="*/ 40958 h 429005"/>
                <a:gd name="connsiteX188" fmla="*/ 509683 w 595121"/>
                <a:gd name="connsiteY188" fmla="*/ 42767 h 429005"/>
                <a:gd name="connsiteX189" fmla="*/ 515302 w 595121"/>
                <a:gd name="connsiteY189" fmla="*/ 43815 h 429005"/>
                <a:gd name="connsiteX190" fmla="*/ 518255 w 595121"/>
                <a:gd name="connsiteY190" fmla="*/ 52483 h 429005"/>
                <a:gd name="connsiteX191" fmla="*/ 514445 w 595121"/>
                <a:gd name="connsiteY191" fmla="*/ 51149 h 429005"/>
                <a:gd name="connsiteX192" fmla="*/ 516636 w 595121"/>
                <a:gd name="connsiteY192" fmla="*/ 54483 h 429005"/>
                <a:gd name="connsiteX193" fmla="*/ 515874 w 595121"/>
                <a:gd name="connsiteY193" fmla="*/ 61913 h 429005"/>
                <a:gd name="connsiteX194" fmla="*/ 508921 w 595121"/>
                <a:gd name="connsiteY194" fmla="*/ 64579 h 429005"/>
                <a:gd name="connsiteX195" fmla="*/ 524065 w 595121"/>
                <a:gd name="connsiteY195" fmla="*/ 82487 h 429005"/>
                <a:gd name="connsiteX196" fmla="*/ 521589 w 595121"/>
                <a:gd name="connsiteY196" fmla="*/ 91916 h 429005"/>
                <a:gd name="connsiteX197" fmla="*/ 519208 w 595121"/>
                <a:gd name="connsiteY197" fmla="*/ 101346 h 429005"/>
                <a:gd name="connsiteX198" fmla="*/ 521494 w 595121"/>
                <a:gd name="connsiteY198" fmla="*/ 104680 h 429005"/>
                <a:gd name="connsiteX199" fmla="*/ 519874 w 595121"/>
                <a:gd name="connsiteY199" fmla="*/ 106680 h 429005"/>
                <a:gd name="connsiteX200" fmla="*/ 521970 w 595121"/>
                <a:gd name="connsiteY200" fmla="*/ 108204 h 429005"/>
                <a:gd name="connsiteX201" fmla="*/ 522922 w 595121"/>
                <a:gd name="connsiteY201" fmla="*/ 115348 h 429005"/>
                <a:gd name="connsiteX202" fmla="*/ 529876 w 595121"/>
                <a:gd name="connsiteY202" fmla="*/ 112585 h 429005"/>
                <a:gd name="connsiteX203" fmla="*/ 533686 w 595121"/>
                <a:gd name="connsiteY203" fmla="*/ 113919 h 429005"/>
                <a:gd name="connsiteX204" fmla="*/ 538448 w 595121"/>
                <a:gd name="connsiteY204" fmla="*/ 122301 h 429005"/>
                <a:gd name="connsiteX205" fmla="*/ 540925 w 595121"/>
                <a:gd name="connsiteY205" fmla="*/ 127445 h 429005"/>
                <a:gd name="connsiteX206" fmla="*/ 537400 w 595121"/>
                <a:gd name="connsiteY206" fmla="*/ 127921 h 429005"/>
                <a:gd name="connsiteX207" fmla="*/ 537877 w 595121"/>
                <a:gd name="connsiteY207" fmla="*/ 131445 h 429005"/>
                <a:gd name="connsiteX208" fmla="*/ 534257 w 595121"/>
                <a:gd name="connsiteY208" fmla="*/ 131921 h 429005"/>
                <a:gd name="connsiteX209" fmla="*/ 534448 w 595121"/>
                <a:gd name="connsiteY209" fmla="*/ 133731 h 429005"/>
                <a:gd name="connsiteX210" fmla="*/ 531400 w 595121"/>
                <a:gd name="connsiteY210" fmla="*/ 137827 h 429005"/>
                <a:gd name="connsiteX211" fmla="*/ 529780 w 595121"/>
                <a:gd name="connsiteY211" fmla="*/ 139827 h 429005"/>
                <a:gd name="connsiteX212" fmla="*/ 534352 w 595121"/>
                <a:gd name="connsiteY212" fmla="*/ 146399 h 429005"/>
                <a:gd name="connsiteX213" fmla="*/ 527590 w 595121"/>
                <a:gd name="connsiteY213" fmla="*/ 150971 h 429005"/>
                <a:gd name="connsiteX214" fmla="*/ 533495 w 595121"/>
                <a:gd name="connsiteY214" fmla="*/ 153829 h 429005"/>
                <a:gd name="connsiteX215" fmla="*/ 531876 w 595121"/>
                <a:gd name="connsiteY215" fmla="*/ 155829 h 429005"/>
                <a:gd name="connsiteX216" fmla="*/ 530638 w 595121"/>
                <a:gd name="connsiteY216" fmla="*/ 159639 h 429005"/>
                <a:gd name="connsiteX217" fmla="*/ 526732 w 595121"/>
                <a:gd name="connsiteY217" fmla="*/ 158305 h 429005"/>
                <a:gd name="connsiteX218" fmla="*/ 527018 w 595121"/>
                <a:gd name="connsiteY218" fmla="*/ 160115 h 429005"/>
                <a:gd name="connsiteX219" fmla="*/ 541591 w 595121"/>
                <a:gd name="connsiteY219" fmla="*/ 160020 h 429005"/>
                <a:gd name="connsiteX220" fmla="*/ 543211 w 595121"/>
                <a:gd name="connsiteY220" fmla="*/ 157925 h 429005"/>
                <a:gd name="connsiteX221" fmla="*/ 547211 w 595121"/>
                <a:gd name="connsiteY221" fmla="*/ 161068 h 429005"/>
                <a:gd name="connsiteX222" fmla="*/ 543401 w 595121"/>
                <a:gd name="connsiteY222" fmla="*/ 159734 h 429005"/>
                <a:gd name="connsiteX223" fmla="*/ 543687 w 595121"/>
                <a:gd name="connsiteY223" fmla="*/ 161544 h 429005"/>
                <a:gd name="connsiteX224" fmla="*/ 552831 w 595121"/>
                <a:gd name="connsiteY224" fmla="*/ 162116 h 429005"/>
                <a:gd name="connsiteX225" fmla="*/ 555784 w 595121"/>
                <a:gd name="connsiteY225" fmla="*/ 170783 h 429005"/>
                <a:gd name="connsiteX226" fmla="*/ 555117 w 595121"/>
                <a:gd name="connsiteY226" fmla="*/ 165449 h 429005"/>
                <a:gd name="connsiteX227" fmla="*/ 567976 w 595121"/>
                <a:gd name="connsiteY227" fmla="*/ 165545 h 429005"/>
                <a:gd name="connsiteX228" fmla="*/ 568166 w 595121"/>
                <a:gd name="connsiteY228" fmla="*/ 167354 h 429005"/>
                <a:gd name="connsiteX229" fmla="*/ 577120 w 595121"/>
                <a:gd name="connsiteY229" fmla="*/ 166116 h 429005"/>
                <a:gd name="connsiteX230" fmla="*/ 578739 w 595121"/>
                <a:gd name="connsiteY230" fmla="*/ 164116 h 429005"/>
                <a:gd name="connsiteX231" fmla="*/ 579215 w 595121"/>
                <a:gd name="connsiteY231" fmla="*/ 167735 h 429005"/>
                <a:gd name="connsiteX232" fmla="*/ 576072 w 595121"/>
                <a:gd name="connsiteY232" fmla="*/ 171736 h 429005"/>
                <a:gd name="connsiteX233" fmla="*/ 577691 w 595121"/>
                <a:gd name="connsiteY233" fmla="*/ 184213 h 429005"/>
                <a:gd name="connsiteX234" fmla="*/ 579977 w 595121"/>
                <a:gd name="connsiteY234" fmla="*/ 187547 h 429005"/>
                <a:gd name="connsiteX235" fmla="*/ 582263 w 595121"/>
                <a:gd name="connsiteY235" fmla="*/ 190881 h 429005"/>
                <a:gd name="connsiteX236" fmla="*/ 583597 w 595121"/>
                <a:gd name="connsiteY236" fmla="*/ 187071 h 429005"/>
                <a:gd name="connsiteX237" fmla="*/ 585883 w 595121"/>
                <a:gd name="connsiteY237" fmla="*/ 190405 h 429005"/>
                <a:gd name="connsiteX238" fmla="*/ 587407 w 595121"/>
                <a:gd name="connsiteY238" fmla="*/ 188309 h 429005"/>
                <a:gd name="connsiteX239" fmla="*/ 589407 w 595121"/>
                <a:gd name="connsiteY239" fmla="*/ 189929 h 429005"/>
                <a:gd name="connsiteX240" fmla="*/ 587883 w 595121"/>
                <a:gd name="connsiteY240" fmla="*/ 191929 h 429005"/>
                <a:gd name="connsiteX241" fmla="*/ 591883 w 595121"/>
                <a:gd name="connsiteY241" fmla="*/ 195072 h 429005"/>
                <a:gd name="connsiteX242" fmla="*/ 587026 w 595121"/>
                <a:gd name="connsiteY242" fmla="*/ 199263 h 429005"/>
                <a:gd name="connsiteX243" fmla="*/ 595122 w 595121"/>
                <a:gd name="connsiteY243" fmla="*/ 205454 h 429005"/>
                <a:gd name="connsiteX244" fmla="*/ 593598 w 595121"/>
                <a:gd name="connsiteY244" fmla="*/ 207454 h 429005"/>
                <a:gd name="connsiteX245" fmla="*/ 589788 w 595121"/>
                <a:gd name="connsiteY245" fmla="*/ 206216 h 429005"/>
                <a:gd name="connsiteX246" fmla="*/ 580168 w 595121"/>
                <a:gd name="connsiteY246" fmla="*/ 216503 h 429005"/>
                <a:gd name="connsiteX247" fmla="*/ 582930 w 595121"/>
                <a:gd name="connsiteY247" fmla="*/ 223456 h 429005"/>
                <a:gd name="connsiteX248" fmla="*/ 581787 w 595121"/>
                <a:gd name="connsiteY248" fmla="*/ 228981 h 429005"/>
                <a:gd name="connsiteX249" fmla="*/ 582263 w 595121"/>
                <a:gd name="connsiteY249" fmla="*/ 232600 h 429005"/>
                <a:gd name="connsiteX250" fmla="*/ 585025 w 595121"/>
                <a:gd name="connsiteY250" fmla="*/ 239459 h 429005"/>
                <a:gd name="connsiteX251" fmla="*/ 579215 w 595121"/>
                <a:gd name="connsiteY251" fmla="*/ 251079 h 429005"/>
                <a:gd name="connsiteX252" fmla="*/ 579596 w 595121"/>
                <a:gd name="connsiteY252" fmla="*/ 267367 h 429005"/>
                <a:gd name="connsiteX253" fmla="*/ 585883 w 595121"/>
                <a:gd name="connsiteY253" fmla="*/ 273748 h 429005"/>
                <a:gd name="connsiteX254" fmla="*/ 586835 w 595121"/>
                <a:gd name="connsiteY254" fmla="*/ 280892 h 429005"/>
                <a:gd name="connsiteX255" fmla="*/ 583501 w 595121"/>
                <a:gd name="connsiteY255" fmla="*/ 283178 h 429005"/>
                <a:gd name="connsiteX256" fmla="*/ 583121 w 595121"/>
                <a:gd name="connsiteY256" fmla="*/ 294132 h 429005"/>
                <a:gd name="connsiteX257" fmla="*/ 578930 w 595121"/>
                <a:gd name="connsiteY257" fmla="*/ 303752 h 429005"/>
                <a:gd name="connsiteX258" fmla="*/ 579596 w 595121"/>
                <a:gd name="connsiteY258" fmla="*/ 309086 h 429005"/>
                <a:gd name="connsiteX259" fmla="*/ 577882 w 595121"/>
                <a:gd name="connsiteY259" fmla="*/ 323755 h 429005"/>
                <a:gd name="connsiteX260" fmla="*/ 573024 w 595121"/>
                <a:gd name="connsiteY260" fmla="*/ 328041 h 429005"/>
                <a:gd name="connsiteX261" fmla="*/ 573691 w 595121"/>
                <a:gd name="connsiteY261" fmla="*/ 333470 h 429005"/>
                <a:gd name="connsiteX262" fmla="*/ 568071 w 595121"/>
                <a:gd name="connsiteY262" fmla="*/ 332327 h 429005"/>
                <a:gd name="connsiteX263" fmla="*/ 568261 w 595121"/>
                <a:gd name="connsiteY263" fmla="*/ 334137 h 429005"/>
                <a:gd name="connsiteX264" fmla="*/ 552259 w 595121"/>
                <a:gd name="connsiteY264" fmla="*/ 323564 h 429005"/>
                <a:gd name="connsiteX265" fmla="*/ 547116 w 595121"/>
                <a:gd name="connsiteY265" fmla="*/ 326041 h 429005"/>
                <a:gd name="connsiteX266" fmla="*/ 535210 w 595121"/>
                <a:gd name="connsiteY266" fmla="*/ 318611 h 429005"/>
                <a:gd name="connsiteX267" fmla="*/ 533400 w 595121"/>
                <a:gd name="connsiteY267" fmla="*/ 318802 h 429005"/>
                <a:gd name="connsiteX268" fmla="*/ 529495 w 595121"/>
                <a:gd name="connsiteY268" fmla="*/ 317468 h 429005"/>
                <a:gd name="connsiteX269" fmla="*/ 515874 w 595121"/>
                <a:gd name="connsiteY269" fmla="*/ 324802 h 429005"/>
                <a:gd name="connsiteX270" fmla="*/ 515398 w 595121"/>
                <a:gd name="connsiteY270" fmla="*/ 321183 h 429005"/>
                <a:gd name="connsiteX271" fmla="*/ 512064 w 595121"/>
                <a:gd name="connsiteY271" fmla="*/ 323469 h 429005"/>
                <a:gd name="connsiteX272" fmla="*/ 511016 w 595121"/>
                <a:gd name="connsiteY272" fmla="*/ 328993 h 429005"/>
                <a:gd name="connsiteX273" fmla="*/ 506063 w 595121"/>
                <a:gd name="connsiteY273" fmla="*/ 333280 h 429005"/>
                <a:gd name="connsiteX274" fmla="*/ 518065 w 595121"/>
                <a:gd name="connsiteY274" fmla="*/ 340805 h 429005"/>
                <a:gd name="connsiteX275" fmla="*/ 524542 w 595121"/>
                <a:gd name="connsiteY275" fmla="*/ 348996 h 429005"/>
                <a:gd name="connsiteX276" fmla="*/ 523018 w 595121"/>
                <a:gd name="connsiteY276" fmla="*/ 350996 h 429005"/>
                <a:gd name="connsiteX277" fmla="*/ 522160 w 595121"/>
                <a:gd name="connsiteY277" fmla="*/ 358330 h 429005"/>
                <a:gd name="connsiteX278" fmla="*/ 517969 w 595121"/>
                <a:gd name="connsiteY278" fmla="*/ 368046 h 429005"/>
                <a:gd name="connsiteX279" fmla="*/ 536257 w 595121"/>
                <a:gd name="connsiteY279" fmla="*/ 381857 h 429005"/>
                <a:gd name="connsiteX280" fmla="*/ 542068 w 595121"/>
                <a:gd name="connsiteY280" fmla="*/ 384715 h 429005"/>
                <a:gd name="connsiteX281" fmla="*/ 514921 w 595121"/>
                <a:gd name="connsiteY281" fmla="*/ 386525 h 429005"/>
                <a:gd name="connsiteX282" fmla="*/ 515398 w 595121"/>
                <a:gd name="connsiteY282" fmla="*/ 390049 h 429005"/>
                <a:gd name="connsiteX283" fmla="*/ 513588 w 595121"/>
                <a:gd name="connsiteY283" fmla="*/ 390334 h 429005"/>
                <a:gd name="connsiteX284" fmla="*/ 507778 w 595121"/>
                <a:gd name="connsiteY284" fmla="*/ 387477 h 429005"/>
                <a:gd name="connsiteX285" fmla="*/ 502348 w 595121"/>
                <a:gd name="connsiteY285" fmla="*/ 388144 h 429005"/>
                <a:gd name="connsiteX286" fmla="*/ 498538 w 595121"/>
                <a:gd name="connsiteY286" fmla="*/ 386905 h 429005"/>
                <a:gd name="connsiteX287" fmla="*/ 495681 w 595121"/>
                <a:gd name="connsiteY287" fmla="*/ 392716 h 429005"/>
                <a:gd name="connsiteX288" fmla="*/ 493395 w 595121"/>
                <a:gd name="connsiteY288" fmla="*/ 389382 h 429005"/>
                <a:gd name="connsiteX289" fmla="*/ 483965 w 595121"/>
                <a:gd name="connsiteY289" fmla="*/ 387001 h 429005"/>
                <a:gd name="connsiteX290" fmla="*/ 483680 w 595121"/>
                <a:gd name="connsiteY290" fmla="*/ 385191 h 429005"/>
                <a:gd name="connsiteX291" fmla="*/ 476536 w 595121"/>
                <a:gd name="connsiteY291" fmla="*/ 386143 h 429005"/>
                <a:gd name="connsiteX292" fmla="*/ 470821 w 595121"/>
                <a:gd name="connsiteY292" fmla="*/ 385096 h 429005"/>
                <a:gd name="connsiteX293" fmla="*/ 458629 w 595121"/>
                <a:gd name="connsiteY293" fmla="*/ 375856 h 429005"/>
                <a:gd name="connsiteX294" fmla="*/ 457771 w 595121"/>
                <a:gd name="connsiteY294" fmla="*/ 368713 h 429005"/>
                <a:gd name="connsiteX295" fmla="*/ 459486 w 595121"/>
                <a:gd name="connsiteY295" fmla="*/ 368427 h 429005"/>
                <a:gd name="connsiteX296" fmla="*/ 456819 w 595121"/>
                <a:gd name="connsiteY296" fmla="*/ 361569 h 429005"/>
                <a:gd name="connsiteX297" fmla="*/ 460343 w 595121"/>
                <a:gd name="connsiteY297" fmla="*/ 361093 h 429005"/>
                <a:gd name="connsiteX298" fmla="*/ 459867 w 595121"/>
                <a:gd name="connsiteY298" fmla="*/ 357568 h 429005"/>
                <a:gd name="connsiteX299" fmla="*/ 456343 w 595121"/>
                <a:gd name="connsiteY299" fmla="*/ 358045 h 429005"/>
                <a:gd name="connsiteX300" fmla="*/ 452247 w 595121"/>
                <a:gd name="connsiteY300" fmla="*/ 354901 h 429005"/>
                <a:gd name="connsiteX301" fmla="*/ 448627 w 595121"/>
                <a:gd name="connsiteY301" fmla="*/ 355378 h 429005"/>
                <a:gd name="connsiteX302" fmla="*/ 447770 w 595121"/>
                <a:gd name="connsiteY302" fmla="*/ 362807 h 429005"/>
                <a:gd name="connsiteX303" fmla="*/ 426625 w 595121"/>
                <a:gd name="connsiteY303" fmla="*/ 381857 h 429005"/>
                <a:gd name="connsiteX304" fmla="*/ 424624 w 595121"/>
                <a:gd name="connsiteY304" fmla="*/ 394811 h 429005"/>
                <a:gd name="connsiteX305" fmla="*/ 427577 w 595121"/>
                <a:gd name="connsiteY305" fmla="*/ 403479 h 429005"/>
                <a:gd name="connsiteX306" fmla="*/ 426053 w 595121"/>
                <a:gd name="connsiteY306" fmla="*/ 405479 h 429005"/>
                <a:gd name="connsiteX307" fmla="*/ 424529 w 595121"/>
                <a:gd name="connsiteY307" fmla="*/ 407575 h 429005"/>
                <a:gd name="connsiteX308" fmla="*/ 409670 w 595121"/>
                <a:gd name="connsiteY308" fmla="*/ 405860 h 429005"/>
                <a:gd name="connsiteX309" fmla="*/ 415385 w 595121"/>
                <a:gd name="connsiteY309" fmla="*/ 421481 h 429005"/>
                <a:gd name="connsiteX310" fmla="*/ 406622 w 595121"/>
                <a:gd name="connsiteY310" fmla="*/ 424434 h 429005"/>
                <a:gd name="connsiteX311" fmla="*/ 407098 w 595121"/>
                <a:gd name="connsiteY311" fmla="*/ 427958 h 429005"/>
                <a:gd name="connsiteX312" fmla="*/ 399955 w 595121"/>
                <a:gd name="connsiteY312" fmla="*/ 428911 h 429005"/>
                <a:gd name="connsiteX313" fmla="*/ 393859 w 595121"/>
                <a:gd name="connsiteY313" fmla="*/ 424339 h 429005"/>
                <a:gd name="connsiteX314" fmla="*/ 386905 w 595121"/>
                <a:gd name="connsiteY314" fmla="*/ 427006 h 429005"/>
                <a:gd name="connsiteX315" fmla="*/ 385286 w 595121"/>
                <a:gd name="connsiteY315" fmla="*/ 429006 h 429005"/>
                <a:gd name="connsiteX316" fmla="*/ 377857 w 595121"/>
                <a:gd name="connsiteY316" fmla="*/ 428244 h 429005"/>
                <a:gd name="connsiteX317" fmla="*/ 369094 w 595121"/>
                <a:gd name="connsiteY317" fmla="*/ 416719 h 429005"/>
                <a:gd name="connsiteX318" fmla="*/ 364998 w 595121"/>
                <a:gd name="connsiteY318" fmla="*/ 413575 h 429005"/>
                <a:gd name="connsiteX319" fmla="*/ 366808 w 595121"/>
                <a:gd name="connsiteY319" fmla="*/ 413385 h 429005"/>
                <a:gd name="connsiteX320" fmla="*/ 359378 w 595121"/>
                <a:gd name="connsiteY320" fmla="*/ 412528 h 429005"/>
                <a:gd name="connsiteX321" fmla="*/ 345662 w 595121"/>
                <a:gd name="connsiteY321" fmla="*/ 405289 h 429005"/>
                <a:gd name="connsiteX322" fmla="*/ 334613 w 595121"/>
                <a:gd name="connsiteY322" fmla="*/ 405003 h 429005"/>
                <a:gd name="connsiteX323" fmla="*/ 324231 w 595121"/>
                <a:gd name="connsiteY323" fmla="*/ 395478 h 429005"/>
                <a:gd name="connsiteX324" fmla="*/ 323755 w 595121"/>
                <a:gd name="connsiteY324" fmla="*/ 391859 h 429005"/>
                <a:gd name="connsiteX325" fmla="*/ 317182 w 595121"/>
                <a:gd name="connsiteY325" fmla="*/ 383667 h 429005"/>
                <a:gd name="connsiteX326" fmla="*/ 324517 w 595121"/>
                <a:gd name="connsiteY326" fmla="*/ 370046 h 429005"/>
                <a:gd name="connsiteX327" fmla="*/ 331470 w 595121"/>
                <a:gd name="connsiteY327" fmla="*/ 367284 h 429005"/>
                <a:gd name="connsiteX328" fmla="*/ 330898 w 595121"/>
                <a:gd name="connsiteY328" fmla="*/ 349187 h 429005"/>
                <a:gd name="connsiteX329" fmla="*/ 326231 w 595121"/>
                <a:gd name="connsiteY329" fmla="*/ 355283 h 429005"/>
                <a:gd name="connsiteX330" fmla="*/ 317659 w 595121"/>
                <a:gd name="connsiteY330" fmla="*/ 360045 h 429005"/>
                <a:gd name="connsiteX331" fmla="*/ 315182 w 595121"/>
                <a:gd name="connsiteY331" fmla="*/ 354901 h 429005"/>
                <a:gd name="connsiteX332" fmla="*/ 300323 w 595121"/>
                <a:gd name="connsiteY332" fmla="*/ 353282 h 429005"/>
                <a:gd name="connsiteX333" fmla="*/ 292798 w 595121"/>
                <a:gd name="connsiteY333" fmla="*/ 337947 h 429005"/>
                <a:gd name="connsiteX334" fmla="*/ 289465 w 595121"/>
                <a:gd name="connsiteY334" fmla="*/ 340233 h 429005"/>
                <a:gd name="connsiteX335" fmla="*/ 288988 w 595121"/>
                <a:gd name="connsiteY335" fmla="*/ 336613 h 429005"/>
                <a:gd name="connsiteX336" fmla="*/ 281559 w 595121"/>
                <a:gd name="connsiteY336" fmla="*/ 335851 h 429005"/>
                <a:gd name="connsiteX337" fmla="*/ 279082 w 595121"/>
                <a:gd name="connsiteY337" fmla="*/ 330708 h 429005"/>
                <a:gd name="connsiteX338" fmla="*/ 273939 w 595121"/>
                <a:gd name="connsiteY338" fmla="*/ 333184 h 429005"/>
                <a:gd name="connsiteX339" fmla="*/ 268033 w 595121"/>
                <a:gd name="connsiteY339" fmla="*/ 330327 h 429005"/>
                <a:gd name="connsiteX340" fmla="*/ 264509 w 595121"/>
                <a:gd name="connsiteY340" fmla="*/ 330803 h 429005"/>
                <a:gd name="connsiteX341" fmla="*/ 264700 w 595121"/>
                <a:gd name="connsiteY341" fmla="*/ 332613 h 429005"/>
                <a:gd name="connsiteX342" fmla="*/ 261080 w 595121"/>
                <a:gd name="connsiteY342" fmla="*/ 333089 h 429005"/>
                <a:gd name="connsiteX343" fmla="*/ 257746 w 595121"/>
                <a:gd name="connsiteY343" fmla="*/ 335375 h 429005"/>
                <a:gd name="connsiteX344" fmla="*/ 252413 w 595121"/>
                <a:gd name="connsiteY344" fmla="*/ 336042 h 429005"/>
                <a:gd name="connsiteX345" fmla="*/ 250126 w 595121"/>
                <a:gd name="connsiteY345" fmla="*/ 332708 h 429005"/>
                <a:gd name="connsiteX346" fmla="*/ 250698 w 595121"/>
                <a:gd name="connsiteY346" fmla="*/ 323564 h 429005"/>
                <a:gd name="connsiteX347" fmla="*/ 248888 w 595121"/>
                <a:gd name="connsiteY347" fmla="*/ 323850 h 429005"/>
                <a:gd name="connsiteX348" fmla="*/ 254222 w 595121"/>
                <a:gd name="connsiteY348" fmla="*/ 308610 h 429005"/>
                <a:gd name="connsiteX349" fmla="*/ 256889 w 595121"/>
                <a:gd name="connsiteY349" fmla="*/ 300990 h 429005"/>
                <a:gd name="connsiteX350" fmla="*/ 251460 w 595121"/>
                <a:gd name="connsiteY350" fmla="*/ 301752 h 429005"/>
                <a:gd name="connsiteX351" fmla="*/ 250126 w 595121"/>
                <a:gd name="connsiteY351" fmla="*/ 305562 h 429005"/>
                <a:gd name="connsiteX352" fmla="*/ 244316 w 595121"/>
                <a:gd name="connsiteY352" fmla="*/ 302705 h 429005"/>
                <a:gd name="connsiteX353" fmla="*/ 237077 w 595121"/>
                <a:gd name="connsiteY353" fmla="*/ 303657 h 429005"/>
                <a:gd name="connsiteX354" fmla="*/ 230981 w 595121"/>
                <a:gd name="connsiteY354" fmla="*/ 298990 h 429005"/>
                <a:gd name="connsiteX355" fmla="*/ 220218 w 595121"/>
                <a:gd name="connsiteY355" fmla="*/ 300418 h 429005"/>
                <a:gd name="connsiteX356" fmla="*/ 218694 w 595121"/>
                <a:gd name="connsiteY356" fmla="*/ 302419 h 429005"/>
                <a:gd name="connsiteX357" fmla="*/ 208979 w 595121"/>
                <a:gd name="connsiteY357" fmla="*/ 298323 h 429005"/>
                <a:gd name="connsiteX358" fmla="*/ 210598 w 595121"/>
                <a:gd name="connsiteY358" fmla="*/ 296227 h 429005"/>
                <a:gd name="connsiteX359" fmla="*/ 208026 w 595121"/>
                <a:gd name="connsiteY359" fmla="*/ 291179 h 429005"/>
                <a:gd name="connsiteX360" fmla="*/ 204216 w 595121"/>
                <a:gd name="connsiteY360" fmla="*/ 289846 h 429005"/>
                <a:gd name="connsiteX361" fmla="*/ 202692 w 595121"/>
                <a:gd name="connsiteY361" fmla="*/ 291846 h 429005"/>
                <a:gd name="connsiteX362" fmla="*/ 200406 w 595121"/>
                <a:gd name="connsiteY362" fmla="*/ 288512 h 429005"/>
                <a:gd name="connsiteX363" fmla="*/ 198596 w 595121"/>
                <a:gd name="connsiteY363" fmla="*/ 288798 h 429005"/>
                <a:gd name="connsiteX364" fmla="*/ 198406 w 595121"/>
                <a:gd name="connsiteY364" fmla="*/ 286988 h 429005"/>
                <a:gd name="connsiteX365" fmla="*/ 200120 w 595121"/>
                <a:gd name="connsiteY365" fmla="*/ 286702 h 429005"/>
                <a:gd name="connsiteX366" fmla="*/ 199930 w 595121"/>
                <a:gd name="connsiteY366" fmla="*/ 284988 h 429005"/>
                <a:gd name="connsiteX367" fmla="*/ 197929 w 595121"/>
                <a:gd name="connsiteY367" fmla="*/ 283464 h 429005"/>
                <a:gd name="connsiteX368" fmla="*/ 197644 w 595121"/>
                <a:gd name="connsiteY368" fmla="*/ 281654 h 429005"/>
                <a:gd name="connsiteX369" fmla="*/ 194310 w 595121"/>
                <a:gd name="connsiteY369" fmla="*/ 283940 h 429005"/>
                <a:gd name="connsiteX370" fmla="*/ 193072 w 595121"/>
                <a:gd name="connsiteY370" fmla="*/ 274987 h 429005"/>
                <a:gd name="connsiteX371" fmla="*/ 191357 w 595121"/>
                <a:gd name="connsiteY371" fmla="*/ 275177 h 429005"/>
                <a:gd name="connsiteX372" fmla="*/ 190595 w 595121"/>
                <a:gd name="connsiteY372" fmla="*/ 269938 h 429005"/>
                <a:gd name="connsiteX373" fmla="*/ 184118 w 595121"/>
                <a:gd name="connsiteY373" fmla="*/ 276130 h 429005"/>
                <a:gd name="connsiteX374" fmla="*/ 180308 w 595121"/>
                <a:gd name="connsiteY374" fmla="*/ 274892 h 429005"/>
                <a:gd name="connsiteX375" fmla="*/ 177546 w 595121"/>
                <a:gd name="connsiteY375" fmla="*/ 268034 h 429005"/>
                <a:gd name="connsiteX376" fmla="*/ 172879 w 595121"/>
                <a:gd name="connsiteY376" fmla="*/ 274034 h 429005"/>
                <a:gd name="connsiteX377" fmla="*/ 168592 w 595121"/>
                <a:gd name="connsiteY377" fmla="*/ 269176 h 429005"/>
                <a:gd name="connsiteX378" fmla="*/ 168116 w 595121"/>
                <a:gd name="connsiteY378" fmla="*/ 265557 h 429005"/>
                <a:gd name="connsiteX379" fmla="*/ 171545 w 595121"/>
                <a:gd name="connsiteY379" fmla="*/ 263366 h 429005"/>
                <a:gd name="connsiteX380" fmla="*/ 169450 w 595121"/>
                <a:gd name="connsiteY380" fmla="*/ 261842 h 429005"/>
                <a:gd name="connsiteX381" fmla="*/ 160496 w 595121"/>
                <a:gd name="connsiteY381" fmla="*/ 262985 h 429005"/>
                <a:gd name="connsiteX382" fmla="*/ 158401 w 595121"/>
                <a:gd name="connsiteY382" fmla="*/ 261461 h 429005"/>
                <a:gd name="connsiteX383" fmla="*/ 154876 w 595121"/>
                <a:gd name="connsiteY383" fmla="*/ 261938 h 429005"/>
                <a:gd name="connsiteX384" fmla="*/ 152590 w 595121"/>
                <a:gd name="connsiteY384" fmla="*/ 258604 h 429005"/>
                <a:gd name="connsiteX385" fmla="*/ 148304 w 595121"/>
                <a:gd name="connsiteY385" fmla="*/ 253746 h 429005"/>
                <a:gd name="connsiteX386" fmla="*/ 144875 w 595121"/>
                <a:gd name="connsiteY386" fmla="*/ 255937 h 429005"/>
                <a:gd name="connsiteX387" fmla="*/ 144304 w 595121"/>
                <a:gd name="connsiteY387" fmla="*/ 265176 h 429005"/>
                <a:gd name="connsiteX388" fmla="*/ 137350 w 595121"/>
                <a:gd name="connsiteY388" fmla="*/ 267843 h 429005"/>
                <a:gd name="connsiteX389" fmla="*/ 133540 w 595121"/>
                <a:gd name="connsiteY389" fmla="*/ 266605 h 429005"/>
                <a:gd name="connsiteX390" fmla="*/ 130207 w 595121"/>
                <a:gd name="connsiteY390" fmla="*/ 268796 h 429005"/>
                <a:gd name="connsiteX391" fmla="*/ 127159 w 595121"/>
                <a:gd name="connsiteY391" fmla="*/ 260128 h 429005"/>
                <a:gd name="connsiteX392" fmla="*/ 128302 w 595121"/>
                <a:gd name="connsiteY392" fmla="*/ 254603 h 429005"/>
                <a:gd name="connsiteX393" fmla="*/ 119348 w 595121"/>
                <a:gd name="connsiteY393" fmla="*/ 255746 h 429005"/>
                <a:gd name="connsiteX394" fmla="*/ 121539 w 595121"/>
                <a:gd name="connsiteY394" fmla="*/ 259080 h 429005"/>
                <a:gd name="connsiteX395" fmla="*/ 114395 w 595121"/>
                <a:gd name="connsiteY395" fmla="*/ 260033 h 429005"/>
                <a:gd name="connsiteX396" fmla="*/ 114586 w 595121"/>
                <a:gd name="connsiteY396" fmla="*/ 261842 h 429005"/>
                <a:gd name="connsiteX397" fmla="*/ 109252 w 595121"/>
                <a:gd name="connsiteY397" fmla="*/ 262509 h 429005"/>
                <a:gd name="connsiteX398" fmla="*/ 108966 w 595121"/>
                <a:gd name="connsiteY398" fmla="*/ 260699 h 429005"/>
                <a:gd name="connsiteX399" fmla="*/ 102013 w 595121"/>
                <a:gd name="connsiteY399" fmla="*/ 263462 h 429005"/>
                <a:gd name="connsiteX400" fmla="*/ 98012 w 595121"/>
                <a:gd name="connsiteY400" fmla="*/ 260413 h 429005"/>
                <a:gd name="connsiteX401" fmla="*/ 94679 w 595121"/>
                <a:gd name="connsiteY401" fmla="*/ 262604 h 429005"/>
                <a:gd name="connsiteX402" fmla="*/ 92583 w 595121"/>
                <a:gd name="connsiteY402" fmla="*/ 261080 h 429005"/>
                <a:gd name="connsiteX403" fmla="*/ 89249 w 595121"/>
                <a:gd name="connsiteY403" fmla="*/ 263366 h 429005"/>
                <a:gd name="connsiteX404" fmla="*/ 87154 w 595121"/>
                <a:gd name="connsiteY404" fmla="*/ 261842 h 429005"/>
                <a:gd name="connsiteX405" fmla="*/ 85915 w 595121"/>
                <a:gd name="connsiteY405" fmla="*/ 265652 h 429005"/>
                <a:gd name="connsiteX406" fmla="*/ 83629 w 595121"/>
                <a:gd name="connsiteY406" fmla="*/ 262318 h 429005"/>
                <a:gd name="connsiteX407" fmla="*/ 86773 w 595121"/>
                <a:gd name="connsiteY407" fmla="*/ 258223 h 429005"/>
                <a:gd name="connsiteX408" fmla="*/ 84487 w 595121"/>
                <a:gd name="connsiteY408" fmla="*/ 254889 h 429005"/>
                <a:gd name="connsiteX409" fmla="*/ 85820 w 595121"/>
                <a:gd name="connsiteY409" fmla="*/ 251079 h 429005"/>
                <a:gd name="connsiteX410" fmla="*/ 82201 w 595121"/>
                <a:gd name="connsiteY410" fmla="*/ 251555 h 429005"/>
                <a:gd name="connsiteX411" fmla="*/ 80200 w 595121"/>
                <a:gd name="connsiteY411" fmla="*/ 250031 h 429005"/>
                <a:gd name="connsiteX412" fmla="*/ 76581 w 595121"/>
                <a:gd name="connsiteY412" fmla="*/ 250508 h 429005"/>
                <a:gd name="connsiteX413" fmla="*/ 72295 w 595121"/>
                <a:gd name="connsiteY413" fmla="*/ 245650 h 429005"/>
                <a:gd name="connsiteX414" fmla="*/ 70199 w 595121"/>
                <a:gd name="connsiteY414" fmla="*/ 244126 h 429005"/>
                <a:gd name="connsiteX415" fmla="*/ 71342 w 595121"/>
                <a:gd name="connsiteY415" fmla="*/ 238506 h 429005"/>
                <a:gd name="connsiteX416" fmla="*/ 64103 w 595121"/>
                <a:gd name="connsiteY416" fmla="*/ 239459 h 429005"/>
                <a:gd name="connsiteX417" fmla="*/ 61913 w 595121"/>
                <a:gd name="connsiteY417" fmla="*/ 236125 h 429005"/>
                <a:gd name="connsiteX418" fmla="*/ 59436 w 595121"/>
                <a:gd name="connsiteY418" fmla="*/ 231076 h 429005"/>
                <a:gd name="connsiteX419" fmla="*/ 54197 w 595121"/>
                <a:gd name="connsiteY419" fmla="*/ 233553 h 429005"/>
                <a:gd name="connsiteX420" fmla="*/ 43624 w 595121"/>
                <a:gd name="connsiteY420" fmla="*/ 222313 h 429005"/>
                <a:gd name="connsiteX421" fmla="*/ 35909 w 595121"/>
                <a:gd name="connsiteY421" fmla="*/ 219646 h 429005"/>
                <a:gd name="connsiteX422" fmla="*/ 30099 w 595121"/>
                <a:gd name="connsiteY422" fmla="*/ 216789 h 429005"/>
                <a:gd name="connsiteX423" fmla="*/ 25813 w 595121"/>
                <a:gd name="connsiteY423" fmla="*/ 211931 h 429005"/>
                <a:gd name="connsiteX424" fmla="*/ 21241 w 595121"/>
                <a:gd name="connsiteY424" fmla="*/ 205264 h 429005"/>
                <a:gd name="connsiteX425" fmla="*/ 13621 w 595121"/>
                <a:gd name="connsiteY425" fmla="*/ 202692 h 429005"/>
                <a:gd name="connsiteX426" fmla="*/ 1429 w 595121"/>
                <a:gd name="connsiteY426" fmla="*/ 193358 h 429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</a:cxnLst>
              <a:rect l="l" t="t" r="r" b="b"/>
              <a:pathLst>
                <a:path w="595121" h="429005">
                  <a:moveTo>
                    <a:pt x="1429" y="193358"/>
                  </a:moveTo>
                  <a:lnTo>
                    <a:pt x="4953" y="192881"/>
                  </a:lnTo>
                  <a:lnTo>
                    <a:pt x="4286" y="187547"/>
                  </a:lnTo>
                  <a:lnTo>
                    <a:pt x="4000" y="185833"/>
                  </a:lnTo>
                  <a:lnTo>
                    <a:pt x="0" y="182689"/>
                  </a:lnTo>
                  <a:lnTo>
                    <a:pt x="2857" y="176879"/>
                  </a:lnTo>
                  <a:lnTo>
                    <a:pt x="6953" y="180022"/>
                  </a:lnTo>
                  <a:lnTo>
                    <a:pt x="6667" y="178213"/>
                  </a:lnTo>
                  <a:lnTo>
                    <a:pt x="7810" y="172593"/>
                  </a:lnTo>
                  <a:lnTo>
                    <a:pt x="5810" y="171069"/>
                  </a:lnTo>
                  <a:lnTo>
                    <a:pt x="8382" y="163449"/>
                  </a:lnTo>
                  <a:lnTo>
                    <a:pt x="7429" y="156305"/>
                  </a:lnTo>
                  <a:lnTo>
                    <a:pt x="3429" y="153257"/>
                  </a:lnTo>
                  <a:lnTo>
                    <a:pt x="4763" y="149447"/>
                  </a:lnTo>
                  <a:lnTo>
                    <a:pt x="2953" y="149638"/>
                  </a:lnTo>
                  <a:lnTo>
                    <a:pt x="2476" y="146113"/>
                  </a:lnTo>
                  <a:lnTo>
                    <a:pt x="4000" y="144113"/>
                  </a:lnTo>
                  <a:lnTo>
                    <a:pt x="16573" y="142399"/>
                  </a:lnTo>
                  <a:lnTo>
                    <a:pt x="21717" y="139922"/>
                  </a:lnTo>
                  <a:lnTo>
                    <a:pt x="17431" y="135064"/>
                  </a:lnTo>
                  <a:lnTo>
                    <a:pt x="23431" y="125158"/>
                  </a:lnTo>
                  <a:lnTo>
                    <a:pt x="21622" y="125444"/>
                  </a:lnTo>
                  <a:lnTo>
                    <a:pt x="24955" y="123158"/>
                  </a:lnTo>
                  <a:lnTo>
                    <a:pt x="26098" y="117634"/>
                  </a:lnTo>
                  <a:lnTo>
                    <a:pt x="27908" y="117348"/>
                  </a:lnTo>
                  <a:lnTo>
                    <a:pt x="26670" y="108490"/>
                  </a:lnTo>
                  <a:lnTo>
                    <a:pt x="30575" y="109728"/>
                  </a:lnTo>
                  <a:lnTo>
                    <a:pt x="32290" y="109538"/>
                  </a:lnTo>
                  <a:lnTo>
                    <a:pt x="33433" y="103918"/>
                  </a:lnTo>
                  <a:lnTo>
                    <a:pt x="32956" y="100393"/>
                  </a:lnTo>
                  <a:lnTo>
                    <a:pt x="32956" y="100393"/>
                  </a:lnTo>
                  <a:lnTo>
                    <a:pt x="27337" y="99250"/>
                  </a:lnTo>
                  <a:lnTo>
                    <a:pt x="18002" y="84201"/>
                  </a:lnTo>
                  <a:lnTo>
                    <a:pt x="22669" y="78200"/>
                  </a:lnTo>
                  <a:lnTo>
                    <a:pt x="27813" y="75629"/>
                  </a:lnTo>
                  <a:lnTo>
                    <a:pt x="31432" y="75247"/>
                  </a:lnTo>
                  <a:lnTo>
                    <a:pt x="38862" y="76009"/>
                  </a:lnTo>
                  <a:lnTo>
                    <a:pt x="46482" y="78676"/>
                  </a:lnTo>
                  <a:lnTo>
                    <a:pt x="49911" y="76391"/>
                  </a:lnTo>
                  <a:lnTo>
                    <a:pt x="50578" y="81725"/>
                  </a:lnTo>
                  <a:lnTo>
                    <a:pt x="56674" y="86392"/>
                  </a:lnTo>
                  <a:lnTo>
                    <a:pt x="65151" y="81629"/>
                  </a:lnTo>
                  <a:lnTo>
                    <a:pt x="66484" y="77819"/>
                  </a:lnTo>
                  <a:lnTo>
                    <a:pt x="68580" y="79343"/>
                  </a:lnTo>
                  <a:lnTo>
                    <a:pt x="70771" y="82677"/>
                  </a:lnTo>
                  <a:lnTo>
                    <a:pt x="72580" y="82391"/>
                  </a:lnTo>
                  <a:lnTo>
                    <a:pt x="78962" y="88868"/>
                  </a:lnTo>
                  <a:lnTo>
                    <a:pt x="80963" y="90392"/>
                  </a:lnTo>
                  <a:lnTo>
                    <a:pt x="80772" y="88583"/>
                  </a:lnTo>
                  <a:lnTo>
                    <a:pt x="80010" y="83248"/>
                  </a:lnTo>
                  <a:lnTo>
                    <a:pt x="85439" y="82582"/>
                  </a:lnTo>
                  <a:lnTo>
                    <a:pt x="87439" y="84106"/>
                  </a:lnTo>
                  <a:lnTo>
                    <a:pt x="89249" y="83915"/>
                  </a:lnTo>
                  <a:lnTo>
                    <a:pt x="93726" y="76009"/>
                  </a:lnTo>
                  <a:lnTo>
                    <a:pt x="94107" y="79629"/>
                  </a:lnTo>
                  <a:lnTo>
                    <a:pt x="100013" y="82487"/>
                  </a:lnTo>
                  <a:lnTo>
                    <a:pt x="104680" y="76391"/>
                  </a:lnTo>
                  <a:lnTo>
                    <a:pt x="108490" y="77724"/>
                  </a:lnTo>
                  <a:lnTo>
                    <a:pt x="110299" y="77438"/>
                  </a:lnTo>
                  <a:lnTo>
                    <a:pt x="117538" y="76486"/>
                  </a:lnTo>
                  <a:lnTo>
                    <a:pt x="120396" y="70675"/>
                  </a:lnTo>
                  <a:lnTo>
                    <a:pt x="127825" y="71533"/>
                  </a:lnTo>
                  <a:lnTo>
                    <a:pt x="132969" y="69056"/>
                  </a:lnTo>
                  <a:lnTo>
                    <a:pt x="132779" y="67246"/>
                  </a:lnTo>
                  <a:lnTo>
                    <a:pt x="140303" y="55340"/>
                  </a:lnTo>
                  <a:lnTo>
                    <a:pt x="138017" y="52006"/>
                  </a:lnTo>
                  <a:lnTo>
                    <a:pt x="140875" y="46196"/>
                  </a:lnTo>
                  <a:lnTo>
                    <a:pt x="144494" y="45720"/>
                  </a:lnTo>
                  <a:lnTo>
                    <a:pt x="146590" y="47244"/>
                  </a:lnTo>
                  <a:lnTo>
                    <a:pt x="149161" y="39719"/>
                  </a:lnTo>
                  <a:lnTo>
                    <a:pt x="154305" y="37147"/>
                  </a:lnTo>
                  <a:lnTo>
                    <a:pt x="154114" y="35433"/>
                  </a:lnTo>
                  <a:lnTo>
                    <a:pt x="156115" y="36957"/>
                  </a:lnTo>
                  <a:lnTo>
                    <a:pt x="153638" y="31813"/>
                  </a:lnTo>
                  <a:lnTo>
                    <a:pt x="157258" y="31337"/>
                  </a:lnTo>
                  <a:lnTo>
                    <a:pt x="159258" y="32861"/>
                  </a:lnTo>
                  <a:lnTo>
                    <a:pt x="157734" y="34862"/>
                  </a:lnTo>
                  <a:lnTo>
                    <a:pt x="159734" y="36481"/>
                  </a:lnTo>
                  <a:lnTo>
                    <a:pt x="161068" y="32671"/>
                  </a:lnTo>
                  <a:lnTo>
                    <a:pt x="161544" y="36195"/>
                  </a:lnTo>
                  <a:lnTo>
                    <a:pt x="165354" y="37529"/>
                  </a:lnTo>
                  <a:lnTo>
                    <a:pt x="169164" y="38862"/>
                  </a:lnTo>
                  <a:lnTo>
                    <a:pt x="170783" y="36767"/>
                  </a:lnTo>
                  <a:lnTo>
                    <a:pt x="174593" y="38100"/>
                  </a:lnTo>
                  <a:lnTo>
                    <a:pt x="179927" y="37433"/>
                  </a:lnTo>
                  <a:lnTo>
                    <a:pt x="184404" y="29527"/>
                  </a:lnTo>
                  <a:lnTo>
                    <a:pt x="192024" y="32195"/>
                  </a:lnTo>
                  <a:lnTo>
                    <a:pt x="195929" y="33528"/>
                  </a:lnTo>
                  <a:lnTo>
                    <a:pt x="201263" y="32766"/>
                  </a:lnTo>
                  <a:lnTo>
                    <a:pt x="208216" y="30004"/>
                  </a:lnTo>
                  <a:lnTo>
                    <a:pt x="207740" y="26479"/>
                  </a:lnTo>
                  <a:lnTo>
                    <a:pt x="205740" y="24955"/>
                  </a:lnTo>
                  <a:lnTo>
                    <a:pt x="214693" y="23717"/>
                  </a:lnTo>
                  <a:lnTo>
                    <a:pt x="213741" y="16669"/>
                  </a:lnTo>
                  <a:lnTo>
                    <a:pt x="215360" y="14573"/>
                  </a:lnTo>
                  <a:lnTo>
                    <a:pt x="220694" y="13906"/>
                  </a:lnTo>
                  <a:lnTo>
                    <a:pt x="220980" y="15716"/>
                  </a:lnTo>
                  <a:lnTo>
                    <a:pt x="222694" y="15430"/>
                  </a:lnTo>
                  <a:lnTo>
                    <a:pt x="224790" y="16954"/>
                  </a:lnTo>
                  <a:lnTo>
                    <a:pt x="224504" y="15145"/>
                  </a:lnTo>
                  <a:lnTo>
                    <a:pt x="228409" y="16478"/>
                  </a:lnTo>
                  <a:lnTo>
                    <a:pt x="232219" y="17812"/>
                  </a:lnTo>
                  <a:lnTo>
                    <a:pt x="234696" y="22860"/>
                  </a:lnTo>
                  <a:lnTo>
                    <a:pt x="233172" y="24955"/>
                  </a:lnTo>
                  <a:lnTo>
                    <a:pt x="245459" y="21526"/>
                  </a:lnTo>
                  <a:lnTo>
                    <a:pt x="250031" y="28099"/>
                  </a:lnTo>
                  <a:lnTo>
                    <a:pt x="259271" y="28766"/>
                  </a:lnTo>
                  <a:lnTo>
                    <a:pt x="255841" y="30956"/>
                  </a:lnTo>
                  <a:lnTo>
                    <a:pt x="263271" y="31813"/>
                  </a:lnTo>
                  <a:lnTo>
                    <a:pt x="265366" y="33338"/>
                  </a:lnTo>
                  <a:lnTo>
                    <a:pt x="274320" y="32195"/>
                  </a:lnTo>
                  <a:lnTo>
                    <a:pt x="274510" y="34004"/>
                  </a:lnTo>
                  <a:lnTo>
                    <a:pt x="276130" y="31909"/>
                  </a:lnTo>
                  <a:lnTo>
                    <a:pt x="275177" y="24860"/>
                  </a:lnTo>
                  <a:lnTo>
                    <a:pt x="278797" y="24384"/>
                  </a:lnTo>
                  <a:lnTo>
                    <a:pt x="280130" y="20574"/>
                  </a:lnTo>
                  <a:lnTo>
                    <a:pt x="282130" y="22098"/>
                  </a:lnTo>
                  <a:lnTo>
                    <a:pt x="283083" y="29242"/>
                  </a:lnTo>
                  <a:lnTo>
                    <a:pt x="286893" y="30480"/>
                  </a:lnTo>
                  <a:lnTo>
                    <a:pt x="289274" y="21146"/>
                  </a:lnTo>
                  <a:lnTo>
                    <a:pt x="283655" y="20098"/>
                  </a:lnTo>
                  <a:lnTo>
                    <a:pt x="290417" y="15526"/>
                  </a:lnTo>
                  <a:lnTo>
                    <a:pt x="290417" y="15526"/>
                  </a:lnTo>
                  <a:lnTo>
                    <a:pt x="292417" y="17050"/>
                  </a:lnTo>
                  <a:lnTo>
                    <a:pt x="298037" y="18193"/>
                  </a:lnTo>
                  <a:lnTo>
                    <a:pt x="300895" y="12383"/>
                  </a:lnTo>
                  <a:lnTo>
                    <a:pt x="297085" y="11049"/>
                  </a:lnTo>
                  <a:lnTo>
                    <a:pt x="298418" y="7239"/>
                  </a:lnTo>
                  <a:lnTo>
                    <a:pt x="301752" y="4953"/>
                  </a:lnTo>
                  <a:lnTo>
                    <a:pt x="305086" y="2667"/>
                  </a:lnTo>
                  <a:lnTo>
                    <a:pt x="308705" y="2286"/>
                  </a:lnTo>
                  <a:lnTo>
                    <a:pt x="308515" y="476"/>
                  </a:lnTo>
                  <a:lnTo>
                    <a:pt x="312039" y="0"/>
                  </a:lnTo>
                  <a:lnTo>
                    <a:pt x="311277" y="7334"/>
                  </a:lnTo>
                  <a:lnTo>
                    <a:pt x="316801" y="8382"/>
                  </a:lnTo>
                  <a:lnTo>
                    <a:pt x="315277" y="10477"/>
                  </a:lnTo>
                  <a:lnTo>
                    <a:pt x="319088" y="11716"/>
                  </a:lnTo>
                  <a:lnTo>
                    <a:pt x="321755" y="4191"/>
                  </a:lnTo>
                  <a:lnTo>
                    <a:pt x="321945" y="5905"/>
                  </a:lnTo>
                  <a:lnTo>
                    <a:pt x="331280" y="21050"/>
                  </a:lnTo>
                  <a:lnTo>
                    <a:pt x="336709" y="20288"/>
                  </a:lnTo>
                  <a:lnTo>
                    <a:pt x="338995" y="23622"/>
                  </a:lnTo>
                  <a:lnTo>
                    <a:pt x="348139" y="9716"/>
                  </a:lnTo>
                  <a:lnTo>
                    <a:pt x="357759" y="13906"/>
                  </a:lnTo>
                  <a:lnTo>
                    <a:pt x="359092" y="10096"/>
                  </a:lnTo>
                  <a:lnTo>
                    <a:pt x="363188" y="13145"/>
                  </a:lnTo>
                  <a:lnTo>
                    <a:pt x="369284" y="17812"/>
                  </a:lnTo>
                  <a:lnTo>
                    <a:pt x="372142" y="12001"/>
                  </a:lnTo>
                  <a:lnTo>
                    <a:pt x="375475" y="9716"/>
                  </a:lnTo>
                  <a:lnTo>
                    <a:pt x="385953" y="19241"/>
                  </a:lnTo>
                  <a:lnTo>
                    <a:pt x="395097" y="19812"/>
                  </a:lnTo>
                  <a:lnTo>
                    <a:pt x="395573" y="23336"/>
                  </a:lnTo>
                  <a:lnTo>
                    <a:pt x="397383" y="23146"/>
                  </a:lnTo>
                  <a:lnTo>
                    <a:pt x="396049" y="26956"/>
                  </a:lnTo>
                  <a:lnTo>
                    <a:pt x="401479" y="26194"/>
                  </a:lnTo>
                  <a:lnTo>
                    <a:pt x="401955" y="29813"/>
                  </a:lnTo>
                  <a:lnTo>
                    <a:pt x="404146" y="33147"/>
                  </a:lnTo>
                  <a:lnTo>
                    <a:pt x="413861" y="37243"/>
                  </a:lnTo>
                  <a:lnTo>
                    <a:pt x="417195" y="35052"/>
                  </a:lnTo>
                  <a:lnTo>
                    <a:pt x="419481" y="38386"/>
                  </a:lnTo>
                  <a:lnTo>
                    <a:pt x="427196" y="40958"/>
                  </a:lnTo>
                  <a:lnTo>
                    <a:pt x="426910" y="39148"/>
                  </a:lnTo>
                  <a:lnTo>
                    <a:pt x="434054" y="38195"/>
                  </a:lnTo>
                  <a:lnTo>
                    <a:pt x="432911" y="29337"/>
                  </a:lnTo>
                  <a:lnTo>
                    <a:pt x="432721" y="27527"/>
                  </a:lnTo>
                  <a:lnTo>
                    <a:pt x="450628" y="25146"/>
                  </a:lnTo>
                  <a:lnTo>
                    <a:pt x="453771" y="21146"/>
                  </a:lnTo>
                  <a:lnTo>
                    <a:pt x="454152" y="10192"/>
                  </a:lnTo>
                  <a:lnTo>
                    <a:pt x="456438" y="13525"/>
                  </a:lnTo>
                  <a:lnTo>
                    <a:pt x="461867" y="12763"/>
                  </a:lnTo>
                  <a:lnTo>
                    <a:pt x="462248" y="16383"/>
                  </a:lnTo>
                  <a:lnTo>
                    <a:pt x="467677" y="15621"/>
                  </a:lnTo>
                  <a:lnTo>
                    <a:pt x="472630" y="11335"/>
                  </a:lnTo>
                  <a:lnTo>
                    <a:pt x="474631" y="12954"/>
                  </a:lnTo>
                  <a:lnTo>
                    <a:pt x="473583" y="18479"/>
                  </a:lnTo>
                  <a:lnTo>
                    <a:pt x="474726" y="27432"/>
                  </a:lnTo>
                  <a:lnTo>
                    <a:pt x="478346" y="26956"/>
                  </a:lnTo>
                  <a:lnTo>
                    <a:pt x="483965" y="28004"/>
                  </a:lnTo>
                  <a:lnTo>
                    <a:pt x="498538" y="27908"/>
                  </a:lnTo>
                  <a:lnTo>
                    <a:pt x="498919" y="16954"/>
                  </a:lnTo>
                  <a:lnTo>
                    <a:pt x="502063" y="12954"/>
                  </a:lnTo>
                  <a:lnTo>
                    <a:pt x="506158" y="16002"/>
                  </a:lnTo>
                  <a:lnTo>
                    <a:pt x="508349" y="19336"/>
                  </a:lnTo>
                  <a:lnTo>
                    <a:pt x="506349" y="17812"/>
                  </a:lnTo>
                  <a:lnTo>
                    <a:pt x="504825" y="19812"/>
                  </a:lnTo>
                  <a:lnTo>
                    <a:pt x="517207" y="30861"/>
                  </a:lnTo>
                  <a:lnTo>
                    <a:pt x="512255" y="35147"/>
                  </a:lnTo>
                  <a:lnTo>
                    <a:pt x="509397" y="40958"/>
                  </a:lnTo>
                  <a:lnTo>
                    <a:pt x="509683" y="42767"/>
                  </a:lnTo>
                  <a:lnTo>
                    <a:pt x="515302" y="43815"/>
                  </a:lnTo>
                  <a:lnTo>
                    <a:pt x="518255" y="52483"/>
                  </a:lnTo>
                  <a:lnTo>
                    <a:pt x="514445" y="51149"/>
                  </a:lnTo>
                  <a:lnTo>
                    <a:pt x="516636" y="54483"/>
                  </a:lnTo>
                  <a:lnTo>
                    <a:pt x="515874" y="61913"/>
                  </a:lnTo>
                  <a:lnTo>
                    <a:pt x="508921" y="64579"/>
                  </a:lnTo>
                  <a:lnTo>
                    <a:pt x="524065" y="82487"/>
                  </a:lnTo>
                  <a:lnTo>
                    <a:pt x="521589" y="91916"/>
                  </a:lnTo>
                  <a:lnTo>
                    <a:pt x="519208" y="101346"/>
                  </a:lnTo>
                  <a:lnTo>
                    <a:pt x="521494" y="104680"/>
                  </a:lnTo>
                  <a:lnTo>
                    <a:pt x="519874" y="106680"/>
                  </a:lnTo>
                  <a:lnTo>
                    <a:pt x="521970" y="108204"/>
                  </a:lnTo>
                  <a:lnTo>
                    <a:pt x="522922" y="115348"/>
                  </a:lnTo>
                  <a:lnTo>
                    <a:pt x="529876" y="112585"/>
                  </a:lnTo>
                  <a:lnTo>
                    <a:pt x="533686" y="113919"/>
                  </a:lnTo>
                  <a:lnTo>
                    <a:pt x="538448" y="122301"/>
                  </a:lnTo>
                  <a:lnTo>
                    <a:pt x="540925" y="127445"/>
                  </a:lnTo>
                  <a:lnTo>
                    <a:pt x="537400" y="127921"/>
                  </a:lnTo>
                  <a:lnTo>
                    <a:pt x="537877" y="131445"/>
                  </a:lnTo>
                  <a:lnTo>
                    <a:pt x="534257" y="131921"/>
                  </a:lnTo>
                  <a:lnTo>
                    <a:pt x="534448" y="133731"/>
                  </a:lnTo>
                  <a:lnTo>
                    <a:pt x="531400" y="137827"/>
                  </a:lnTo>
                  <a:lnTo>
                    <a:pt x="529780" y="139827"/>
                  </a:lnTo>
                  <a:lnTo>
                    <a:pt x="534352" y="146399"/>
                  </a:lnTo>
                  <a:lnTo>
                    <a:pt x="527590" y="150971"/>
                  </a:lnTo>
                  <a:lnTo>
                    <a:pt x="533495" y="153829"/>
                  </a:lnTo>
                  <a:lnTo>
                    <a:pt x="531876" y="155829"/>
                  </a:lnTo>
                  <a:lnTo>
                    <a:pt x="530638" y="159639"/>
                  </a:lnTo>
                  <a:lnTo>
                    <a:pt x="526732" y="158305"/>
                  </a:lnTo>
                  <a:lnTo>
                    <a:pt x="527018" y="160115"/>
                  </a:lnTo>
                  <a:lnTo>
                    <a:pt x="541591" y="160020"/>
                  </a:lnTo>
                  <a:lnTo>
                    <a:pt x="543211" y="157925"/>
                  </a:lnTo>
                  <a:lnTo>
                    <a:pt x="547211" y="161068"/>
                  </a:lnTo>
                  <a:lnTo>
                    <a:pt x="543401" y="159734"/>
                  </a:lnTo>
                  <a:lnTo>
                    <a:pt x="543687" y="161544"/>
                  </a:lnTo>
                  <a:lnTo>
                    <a:pt x="552831" y="162116"/>
                  </a:lnTo>
                  <a:lnTo>
                    <a:pt x="555784" y="170783"/>
                  </a:lnTo>
                  <a:lnTo>
                    <a:pt x="555117" y="165449"/>
                  </a:lnTo>
                  <a:lnTo>
                    <a:pt x="567976" y="165545"/>
                  </a:lnTo>
                  <a:lnTo>
                    <a:pt x="568166" y="167354"/>
                  </a:lnTo>
                  <a:lnTo>
                    <a:pt x="577120" y="166116"/>
                  </a:lnTo>
                  <a:lnTo>
                    <a:pt x="578739" y="164116"/>
                  </a:lnTo>
                  <a:lnTo>
                    <a:pt x="579215" y="167735"/>
                  </a:lnTo>
                  <a:lnTo>
                    <a:pt x="576072" y="171736"/>
                  </a:lnTo>
                  <a:lnTo>
                    <a:pt x="577691" y="184213"/>
                  </a:lnTo>
                  <a:lnTo>
                    <a:pt x="579977" y="187547"/>
                  </a:lnTo>
                  <a:lnTo>
                    <a:pt x="582263" y="190881"/>
                  </a:lnTo>
                  <a:lnTo>
                    <a:pt x="583597" y="187071"/>
                  </a:lnTo>
                  <a:lnTo>
                    <a:pt x="585883" y="190405"/>
                  </a:lnTo>
                  <a:lnTo>
                    <a:pt x="587407" y="188309"/>
                  </a:lnTo>
                  <a:lnTo>
                    <a:pt x="589407" y="189929"/>
                  </a:lnTo>
                  <a:lnTo>
                    <a:pt x="587883" y="191929"/>
                  </a:lnTo>
                  <a:lnTo>
                    <a:pt x="591883" y="195072"/>
                  </a:lnTo>
                  <a:lnTo>
                    <a:pt x="587026" y="199263"/>
                  </a:lnTo>
                  <a:lnTo>
                    <a:pt x="595122" y="205454"/>
                  </a:lnTo>
                  <a:lnTo>
                    <a:pt x="593598" y="207454"/>
                  </a:lnTo>
                  <a:lnTo>
                    <a:pt x="589788" y="206216"/>
                  </a:lnTo>
                  <a:lnTo>
                    <a:pt x="580168" y="216503"/>
                  </a:lnTo>
                  <a:lnTo>
                    <a:pt x="582930" y="223456"/>
                  </a:lnTo>
                  <a:lnTo>
                    <a:pt x="581787" y="228981"/>
                  </a:lnTo>
                  <a:lnTo>
                    <a:pt x="582263" y="232600"/>
                  </a:lnTo>
                  <a:lnTo>
                    <a:pt x="585025" y="239459"/>
                  </a:lnTo>
                  <a:lnTo>
                    <a:pt x="579215" y="251079"/>
                  </a:lnTo>
                  <a:lnTo>
                    <a:pt x="579596" y="267367"/>
                  </a:lnTo>
                  <a:lnTo>
                    <a:pt x="585883" y="273748"/>
                  </a:lnTo>
                  <a:lnTo>
                    <a:pt x="586835" y="280892"/>
                  </a:lnTo>
                  <a:lnTo>
                    <a:pt x="583501" y="283178"/>
                  </a:lnTo>
                  <a:lnTo>
                    <a:pt x="583121" y="294132"/>
                  </a:lnTo>
                  <a:lnTo>
                    <a:pt x="578930" y="303752"/>
                  </a:lnTo>
                  <a:lnTo>
                    <a:pt x="579596" y="309086"/>
                  </a:lnTo>
                  <a:lnTo>
                    <a:pt x="577882" y="323755"/>
                  </a:lnTo>
                  <a:lnTo>
                    <a:pt x="573024" y="328041"/>
                  </a:lnTo>
                  <a:lnTo>
                    <a:pt x="573691" y="333470"/>
                  </a:lnTo>
                  <a:lnTo>
                    <a:pt x="568071" y="332327"/>
                  </a:lnTo>
                  <a:lnTo>
                    <a:pt x="568261" y="334137"/>
                  </a:lnTo>
                  <a:lnTo>
                    <a:pt x="552259" y="323564"/>
                  </a:lnTo>
                  <a:lnTo>
                    <a:pt x="547116" y="326041"/>
                  </a:lnTo>
                  <a:lnTo>
                    <a:pt x="535210" y="318611"/>
                  </a:lnTo>
                  <a:lnTo>
                    <a:pt x="533400" y="318802"/>
                  </a:lnTo>
                  <a:lnTo>
                    <a:pt x="529495" y="317468"/>
                  </a:lnTo>
                  <a:lnTo>
                    <a:pt x="515874" y="324802"/>
                  </a:lnTo>
                  <a:lnTo>
                    <a:pt x="515398" y="321183"/>
                  </a:lnTo>
                  <a:lnTo>
                    <a:pt x="512064" y="323469"/>
                  </a:lnTo>
                  <a:lnTo>
                    <a:pt x="511016" y="328993"/>
                  </a:lnTo>
                  <a:lnTo>
                    <a:pt x="506063" y="333280"/>
                  </a:lnTo>
                  <a:lnTo>
                    <a:pt x="518065" y="340805"/>
                  </a:lnTo>
                  <a:lnTo>
                    <a:pt x="524542" y="348996"/>
                  </a:lnTo>
                  <a:lnTo>
                    <a:pt x="523018" y="350996"/>
                  </a:lnTo>
                  <a:lnTo>
                    <a:pt x="522160" y="358330"/>
                  </a:lnTo>
                  <a:lnTo>
                    <a:pt x="517969" y="368046"/>
                  </a:lnTo>
                  <a:lnTo>
                    <a:pt x="536257" y="381857"/>
                  </a:lnTo>
                  <a:lnTo>
                    <a:pt x="542068" y="384715"/>
                  </a:lnTo>
                  <a:lnTo>
                    <a:pt x="514921" y="386525"/>
                  </a:lnTo>
                  <a:lnTo>
                    <a:pt x="515398" y="390049"/>
                  </a:lnTo>
                  <a:lnTo>
                    <a:pt x="513588" y="390334"/>
                  </a:lnTo>
                  <a:lnTo>
                    <a:pt x="507778" y="387477"/>
                  </a:lnTo>
                  <a:lnTo>
                    <a:pt x="502348" y="388144"/>
                  </a:lnTo>
                  <a:lnTo>
                    <a:pt x="498538" y="386905"/>
                  </a:lnTo>
                  <a:lnTo>
                    <a:pt x="495681" y="392716"/>
                  </a:lnTo>
                  <a:lnTo>
                    <a:pt x="493395" y="389382"/>
                  </a:lnTo>
                  <a:lnTo>
                    <a:pt x="483965" y="387001"/>
                  </a:lnTo>
                  <a:lnTo>
                    <a:pt x="483680" y="385191"/>
                  </a:lnTo>
                  <a:lnTo>
                    <a:pt x="476536" y="386143"/>
                  </a:lnTo>
                  <a:lnTo>
                    <a:pt x="470821" y="385096"/>
                  </a:lnTo>
                  <a:lnTo>
                    <a:pt x="458629" y="375856"/>
                  </a:lnTo>
                  <a:lnTo>
                    <a:pt x="457771" y="368713"/>
                  </a:lnTo>
                  <a:lnTo>
                    <a:pt x="459486" y="368427"/>
                  </a:lnTo>
                  <a:lnTo>
                    <a:pt x="456819" y="361569"/>
                  </a:lnTo>
                  <a:lnTo>
                    <a:pt x="460343" y="361093"/>
                  </a:lnTo>
                  <a:lnTo>
                    <a:pt x="459867" y="357568"/>
                  </a:lnTo>
                  <a:lnTo>
                    <a:pt x="456343" y="358045"/>
                  </a:lnTo>
                  <a:lnTo>
                    <a:pt x="452247" y="354901"/>
                  </a:lnTo>
                  <a:lnTo>
                    <a:pt x="448627" y="355378"/>
                  </a:lnTo>
                  <a:lnTo>
                    <a:pt x="447770" y="362807"/>
                  </a:lnTo>
                  <a:lnTo>
                    <a:pt x="426625" y="381857"/>
                  </a:lnTo>
                  <a:lnTo>
                    <a:pt x="424624" y="394811"/>
                  </a:lnTo>
                  <a:lnTo>
                    <a:pt x="427577" y="403479"/>
                  </a:lnTo>
                  <a:lnTo>
                    <a:pt x="426053" y="405479"/>
                  </a:lnTo>
                  <a:lnTo>
                    <a:pt x="424529" y="407575"/>
                  </a:lnTo>
                  <a:lnTo>
                    <a:pt x="409670" y="405860"/>
                  </a:lnTo>
                  <a:lnTo>
                    <a:pt x="415385" y="421481"/>
                  </a:lnTo>
                  <a:lnTo>
                    <a:pt x="406622" y="424434"/>
                  </a:lnTo>
                  <a:lnTo>
                    <a:pt x="407098" y="427958"/>
                  </a:lnTo>
                  <a:lnTo>
                    <a:pt x="399955" y="428911"/>
                  </a:lnTo>
                  <a:lnTo>
                    <a:pt x="393859" y="424339"/>
                  </a:lnTo>
                  <a:lnTo>
                    <a:pt x="386905" y="427006"/>
                  </a:lnTo>
                  <a:lnTo>
                    <a:pt x="385286" y="429006"/>
                  </a:lnTo>
                  <a:lnTo>
                    <a:pt x="377857" y="428244"/>
                  </a:lnTo>
                  <a:lnTo>
                    <a:pt x="369094" y="416719"/>
                  </a:lnTo>
                  <a:lnTo>
                    <a:pt x="364998" y="413575"/>
                  </a:lnTo>
                  <a:lnTo>
                    <a:pt x="366808" y="413385"/>
                  </a:lnTo>
                  <a:lnTo>
                    <a:pt x="359378" y="412528"/>
                  </a:lnTo>
                  <a:lnTo>
                    <a:pt x="345662" y="405289"/>
                  </a:lnTo>
                  <a:lnTo>
                    <a:pt x="334613" y="405003"/>
                  </a:lnTo>
                  <a:lnTo>
                    <a:pt x="324231" y="395478"/>
                  </a:lnTo>
                  <a:lnTo>
                    <a:pt x="323755" y="391859"/>
                  </a:lnTo>
                  <a:lnTo>
                    <a:pt x="317182" y="383667"/>
                  </a:lnTo>
                  <a:lnTo>
                    <a:pt x="324517" y="370046"/>
                  </a:lnTo>
                  <a:lnTo>
                    <a:pt x="331470" y="367284"/>
                  </a:lnTo>
                  <a:lnTo>
                    <a:pt x="330898" y="349187"/>
                  </a:lnTo>
                  <a:lnTo>
                    <a:pt x="326231" y="355283"/>
                  </a:lnTo>
                  <a:lnTo>
                    <a:pt x="317659" y="360045"/>
                  </a:lnTo>
                  <a:lnTo>
                    <a:pt x="315182" y="354901"/>
                  </a:lnTo>
                  <a:lnTo>
                    <a:pt x="300323" y="353282"/>
                  </a:lnTo>
                  <a:lnTo>
                    <a:pt x="292798" y="337947"/>
                  </a:lnTo>
                  <a:lnTo>
                    <a:pt x="289465" y="340233"/>
                  </a:lnTo>
                  <a:lnTo>
                    <a:pt x="288988" y="336613"/>
                  </a:lnTo>
                  <a:lnTo>
                    <a:pt x="281559" y="335851"/>
                  </a:lnTo>
                  <a:lnTo>
                    <a:pt x="279082" y="330708"/>
                  </a:lnTo>
                  <a:lnTo>
                    <a:pt x="273939" y="333184"/>
                  </a:lnTo>
                  <a:lnTo>
                    <a:pt x="268033" y="330327"/>
                  </a:lnTo>
                  <a:lnTo>
                    <a:pt x="264509" y="330803"/>
                  </a:lnTo>
                  <a:lnTo>
                    <a:pt x="264700" y="332613"/>
                  </a:lnTo>
                  <a:lnTo>
                    <a:pt x="261080" y="333089"/>
                  </a:lnTo>
                  <a:lnTo>
                    <a:pt x="257746" y="335375"/>
                  </a:lnTo>
                  <a:lnTo>
                    <a:pt x="252413" y="336042"/>
                  </a:lnTo>
                  <a:lnTo>
                    <a:pt x="250126" y="332708"/>
                  </a:lnTo>
                  <a:lnTo>
                    <a:pt x="250698" y="323564"/>
                  </a:lnTo>
                  <a:lnTo>
                    <a:pt x="248888" y="323850"/>
                  </a:lnTo>
                  <a:lnTo>
                    <a:pt x="254222" y="308610"/>
                  </a:lnTo>
                  <a:lnTo>
                    <a:pt x="256889" y="300990"/>
                  </a:lnTo>
                  <a:lnTo>
                    <a:pt x="251460" y="301752"/>
                  </a:lnTo>
                  <a:lnTo>
                    <a:pt x="250126" y="305562"/>
                  </a:lnTo>
                  <a:lnTo>
                    <a:pt x="244316" y="302705"/>
                  </a:lnTo>
                  <a:lnTo>
                    <a:pt x="237077" y="303657"/>
                  </a:lnTo>
                  <a:lnTo>
                    <a:pt x="230981" y="298990"/>
                  </a:lnTo>
                  <a:lnTo>
                    <a:pt x="220218" y="300418"/>
                  </a:lnTo>
                  <a:lnTo>
                    <a:pt x="218694" y="302419"/>
                  </a:lnTo>
                  <a:lnTo>
                    <a:pt x="208979" y="298323"/>
                  </a:lnTo>
                  <a:lnTo>
                    <a:pt x="210598" y="296227"/>
                  </a:lnTo>
                  <a:lnTo>
                    <a:pt x="208026" y="291179"/>
                  </a:lnTo>
                  <a:lnTo>
                    <a:pt x="204216" y="289846"/>
                  </a:lnTo>
                  <a:lnTo>
                    <a:pt x="202692" y="291846"/>
                  </a:lnTo>
                  <a:lnTo>
                    <a:pt x="200406" y="288512"/>
                  </a:lnTo>
                  <a:lnTo>
                    <a:pt x="198596" y="288798"/>
                  </a:lnTo>
                  <a:lnTo>
                    <a:pt x="198406" y="286988"/>
                  </a:lnTo>
                  <a:lnTo>
                    <a:pt x="200120" y="286702"/>
                  </a:lnTo>
                  <a:lnTo>
                    <a:pt x="199930" y="284988"/>
                  </a:lnTo>
                  <a:lnTo>
                    <a:pt x="197929" y="283464"/>
                  </a:lnTo>
                  <a:lnTo>
                    <a:pt x="197644" y="281654"/>
                  </a:lnTo>
                  <a:lnTo>
                    <a:pt x="194310" y="283940"/>
                  </a:lnTo>
                  <a:lnTo>
                    <a:pt x="193072" y="274987"/>
                  </a:lnTo>
                  <a:lnTo>
                    <a:pt x="191357" y="275177"/>
                  </a:lnTo>
                  <a:lnTo>
                    <a:pt x="190595" y="269938"/>
                  </a:lnTo>
                  <a:lnTo>
                    <a:pt x="184118" y="276130"/>
                  </a:lnTo>
                  <a:lnTo>
                    <a:pt x="180308" y="274892"/>
                  </a:lnTo>
                  <a:lnTo>
                    <a:pt x="177546" y="268034"/>
                  </a:lnTo>
                  <a:lnTo>
                    <a:pt x="172879" y="274034"/>
                  </a:lnTo>
                  <a:lnTo>
                    <a:pt x="168592" y="269176"/>
                  </a:lnTo>
                  <a:lnTo>
                    <a:pt x="168116" y="265557"/>
                  </a:lnTo>
                  <a:lnTo>
                    <a:pt x="171545" y="263366"/>
                  </a:lnTo>
                  <a:lnTo>
                    <a:pt x="169450" y="261842"/>
                  </a:lnTo>
                  <a:lnTo>
                    <a:pt x="160496" y="262985"/>
                  </a:lnTo>
                  <a:lnTo>
                    <a:pt x="158401" y="261461"/>
                  </a:lnTo>
                  <a:lnTo>
                    <a:pt x="154876" y="261938"/>
                  </a:lnTo>
                  <a:lnTo>
                    <a:pt x="152590" y="258604"/>
                  </a:lnTo>
                  <a:lnTo>
                    <a:pt x="148304" y="253746"/>
                  </a:lnTo>
                  <a:lnTo>
                    <a:pt x="144875" y="255937"/>
                  </a:lnTo>
                  <a:lnTo>
                    <a:pt x="144304" y="265176"/>
                  </a:lnTo>
                  <a:lnTo>
                    <a:pt x="137350" y="267843"/>
                  </a:lnTo>
                  <a:lnTo>
                    <a:pt x="133540" y="266605"/>
                  </a:lnTo>
                  <a:lnTo>
                    <a:pt x="130207" y="268796"/>
                  </a:lnTo>
                  <a:lnTo>
                    <a:pt x="127159" y="260128"/>
                  </a:lnTo>
                  <a:lnTo>
                    <a:pt x="128302" y="254603"/>
                  </a:lnTo>
                  <a:lnTo>
                    <a:pt x="119348" y="255746"/>
                  </a:lnTo>
                  <a:lnTo>
                    <a:pt x="121539" y="259080"/>
                  </a:lnTo>
                  <a:lnTo>
                    <a:pt x="114395" y="260033"/>
                  </a:lnTo>
                  <a:lnTo>
                    <a:pt x="114586" y="261842"/>
                  </a:lnTo>
                  <a:lnTo>
                    <a:pt x="109252" y="262509"/>
                  </a:lnTo>
                  <a:lnTo>
                    <a:pt x="108966" y="260699"/>
                  </a:lnTo>
                  <a:lnTo>
                    <a:pt x="102013" y="263462"/>
                  </a:lnTo>
                  <a:lnTo>
                    <a:pt x="98012" y="260413"/>
                  </a:lnTo>
                  <a:lnTo>
                    <a:pt x="94679" y="262604"/>
                  </a:lnTo>
                  <a:lnTo>
                    <a:pt x="92583" y="261080"/>
                  </a:lnTo>
                  <a:lnTo>
                    <a:pt x="89249" y="263366"/>
                  </a:lnTo>
                  <a:lnTo>
                    <a:pt x="87154" y="261842"/>
                  </a:lnTo>
                  <a:lnTo>
                    <a:pt x="85915" y="265652"/>
                  </a:lnTo>
                  <a:lnTo>
                    <a:pt x="83629" y="262318"/>
                  </a:lnTo>
                  <a:lnTo>
                    <a:pt x="86773" y="258223"/>
                  </a:lnTo>
                  <a:lnTo>
                    <a:pt x="84487" y="254889"/>
                  </a:lnTo>
                  <a:lnTo>
                    <a:pt x="85820" y="251079"/>
                  </a:lnTo>
                  <a:lnTo>
                    <a:pt x="82201" y="251555"/>
                  </a:lnTo>
                  <a:lnTo>
                    <a:pt x="80200" y="250031"/>
                  </a:lnTo>
                  <a:lnTo>
                    <a:pt x="76581" y="250508"/>
                  </a:lnTo>
                  <a:lnTo>
                    <a:pt x="72295" y="245650"/>
                  </a:lnTo>
                  <a:lnTo>
                    <a:pt x="70199" y="244126"/>
                  </a:lnTo>
                  <a:lnTo>
                    <a:pt x="71342" y="238506"/>
                  </a:lnTo>
                  <a:lnTo>
                    <a:pt x="64103" y="239459"/>
                  </a:lnTo>
                  <a:lnTo>
                    <a:pt x="61913" y="236125"/>
                  </a:lnTo>
                  <a:lnTo>
                    <a:pt x="59436" y="231076"/>
                  </a:lnTo>
                  <a:lnTo>
                    <a:pt x="54197" y="233553"/>
                  </a:lnTo>
                  <a:lnTo>
                    <a:pt x="43624" y="222313"/>
                  </a:lnTo>
                  <a:lnTo>
                    <a:pt x="35909" y="219646"/>
                  </a:lnTo>
                  <a:lnTo>
                    <a:pt x="30099" y="216789"/>
                  </a:lnTo>
                  <a:lnTo>
                    <a:pt x="25813" y="211931"/>
                  </a:lnTo>
                  <a:lnTo>
                    <a:pt x="21241" y="205264"/>
                  </a:lnTo>
                  <a:lnTo>
                    <a:pt x="13621" y="202692"/>
                  </a:lnTo>
                  <a:lnTo>
                    <a:pt x="1429" y="193358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  <a:p>
              <a:endParaRPr lang="cs-CZ" dirty="0"/>
            </a:p>
          </p:txBody>
        </p:sp>
        <p:sp>
          <p:nvSpPr>
            <p:cNvPr id="60" name="Volný tvar: obrazec 59">
              <a:extLst>
                <a:ext uri="{FF2B5EF4-FFF2-40B4-BE49-F238E27FC236}">
                  <a16:creationId xmlns:a16="http://schemas.microsoft.com/office/drawing/2014/main" id="{1483E944-CAE7-ED71-21A8-1FF2135BEB01}"/>
                </a:ext>
              </a:extLst>
            </p:cNvPr>
            <p:cNvSpPr/>
            <p:nvPr userDrawn="1"/>
          </p:nvSpPr>
          <p:spPr>
            <a:xfrm>
              <a:off x="6599205" y="3243833"/>
              <a:ext cx="703897" cy="483012"/>
            </a:xfrm>
            <a:custGeom>
              <a:avLst/>
              <a:gdLst>
                <a:gd name="connsiteX0" fmla="*/ 697611 w 703897"/>
                <a:gd name="connsiteY0" fmla="*/ 292608 h 483012"/>
                <a:gd name="connsiteX1" fmla="*/ 699611 w 703897"/>
                <a:gd name="connsiteY1" fmla="*/ 294132 h 483012"/>
                <a:gd name="connsiteX2" fmla="*/ 701135 w 703897"/>
                <a:gd name="connsiteY2" fmla="*/ 292132 h 483012"/>
                <a:gd name="connsiteX3" fmla="*/ 703898 w 703897"/>
                <a:gd name="connsiteY3" fmla="*/ 298990 h 483012"/>
                <a:gd name="connsiteX4" fmla="*/ 699326 w 703897"/>
                <a:gd name="connsiteY4" fmla="*/ 319564 h 483012"/>
                <a:gd name="connsiteX5" fmla="*/ 702088 w 703897"/>
                <a:gd name="connsiteY5" fmla="*/ 326422 h 483012"/>
                <a:gd name="connsiteX6" fmla="*/ 695801 w 703897"/>
                <a:gd name="connsiteY6" fmla="*/ 334518 h 483012"/>
                <a:gd name="connsiteX7" fmla="*/ 690467 w 703897"/>
                <a:gd name="connsiteY7" fmla="*/ 335280 h 483012"/>
                <a:gd name="connsiteX8" fmla="*/ 685514 w 703897"/>
                <a:gd name="connsiteY8" fmla="*/ 339566 h 483012"/>
                <a:gd name="connsiteX9" fmla="*/ 685991 w 703897"/>
                <a:gd name="connsiteY9" fmla="*/ 343091 h 483012"/>
                <a:gd name="connsiteX10" fmla="*/ 686467 w 703897"/>
                <a:gd name="connsiteY10" fmla="*/ 346615 h 483012"/>
                <a:gd name="connsiteX11" fmla="*/ 683133 w 703897"/>
                <a:gd name="connsiteY11" fmla="*/ 348901 h 483012"/>
                <a:gd name="connsiteX12" fmla="*/ 675704 w 703897"/>
                <a:gd name="connsiteY12" fmla="*/ 348044 h 483012"/>
                <a:gd name="connsiteX13" fmla="*/ 669227 w 703897"/>
                <a:gd name="connsiteY13" fmla="*/ 354330 h 483012"/>
                <a:gd name="connsiteX14" fmla="*/ 669893 w 703897"/>
                <a:gd name="connsiteY14" fmla="*/ 359759 h 483012"/>
                <a:gd name="connsiteX15" fmla="*/ 664559 w 703897"/>
                <a:gd name="connsiteY15" fmla="*/ 360426 h 483012"/>
                <a:gd name="connsiteX16" fmla="*/ 666655 w 703897"/>
                <a:gd name="connsiteY16" fmla="*/ 376523 h 483012"/>
                <a:gd name="connsiteX17" fmla="*/ 663035 w 703897"/>
                <a:gd name="connsiteY17" fmla="*/ 376904 h 483012"/>
                <a:gd name="connsiteX18" fmla="*/ 663988 w 703897"/>
                <a:gd name="connsiteY18" fmla="*/ 384048 h 483012"/>
                <a:gd name="connsiteX19" fmla="*/ 673037 w 703897"/>
                <a:gd name="connsiteY19" fmla="*/ 397383 h 483012"/>
                <a:gd name="connsiteX20" fmla="*/ 681419 w 703897"/>
                <a:gd name="connsiteY20" fmla="*/ 405289 h 483012"/>
                <a:gd name="connsiteX21" fmla="*/ 681419 w 703897"/>
                <a:gd name="connsiteY21" fmla="*/ 405289 h 483012"/>
                <a:gd name="connsiteX22" fmla="*/ 675799 w 703897"/>
                <a:gd name="connsiteY22" fmla="*/ 404241 h 483012"/>
                <a:gd name="connsiteX23" fmla="*/ 675132 w 703897"/>
                <a:gd name="connsiteY23" fmla="*/ 398907 h 483012"/>
                <a:gd name="connsiteX24" fmla="*/ 671227 w 703897"/>
                <a:gd name="connsiteY24" fmla="*/ 397574 h 483012"/>
                <a:gd name="connsiteX25" fmla="*/ 673799 w 703897"/>
                <a:gd name="connsiteY25" fmla="*/ 402717 h 483012"/>
                <a:gd name="connsiteX26" fmla="*/ 672179 w 703897"/>
                <a:gd name="connsiteY26" fmla="*/ 404717 h 483012"/>
                <a:gd name="connsiteX27" fmla="*/ 668655 w 703897"/>
                <a:gd name="connsiteY27" fmla="*/ 405194 h 483012"/>
                <a:gd name="connsiteX28" fmla="*/ 667988 w 703897"/>
                <a:gd name="connsiteY28" fmla="*/ 414338 h 483012"/>
                <a:gd name="connsiteX29" fmla="*/ 665131 w 703897"/>
                <a:gd name="connsiteY29" fmla="*/ 420148 h 483012"/>
                <a:gd name="connsiteX30" fmla="*/ 669417 w 703897"/>
                <a:gd name="connsiteY30" fmla="*/ 425005 h 483012"/>
                <a:gd name="connsiteX31" fmla="*/ 666274 w 703897"/>
                <a:gd name="connsiteY31" fmla="*/ 429101 h 483012"/>
                <a:gd name="connsiteX32" fmla="*/ 664750 w 703897"/>
                <a:gd name="connsiteY32" fmla="*/ 431102 h 483012"/>
                <a:gd name="connsiteX33" fmla="*/ 667417 w 703897"/>
                <a:gd name="connsiteY33" fmla="*/ 437959 h 483012"/>
                <a:gd name="connsiteX34" fmla="*/ 647986 w 703897"/>
                <a:gd name="connsiteY34" fmla="*/ 442436 h 483012"/>
                <a:gd name="connsiteX35" fmla="*/ 638461 w 703897"/>
                <a:gd name="connsiteY35" fmla="*/ 440055 h 483012"/>
                <a:gd name="connsiteX36" fmla="*/ 626269 w 703897"/>
                <a:gd name="connsiteY36" fmla="*/ 430721 h 483012"/>
                <a:gd name="connsiteX37" fmla="*/ 620649 w 703897"/>
                <a:gd name="connsiteY37" fmla="*/ 429673 h 483012"/>
                <a:gd name="connsiteX38" fmla="*/ 597218 w 703897"/>
                <a:gd name="connsiteY38" fmla="*/ 418243 h 483012"/>
                <a:gd name="connsiteX39" fmla="*/ 595408 w 703897"/>
                <a:gd name="connsiteY39" fmla="*/ 418529 h 483012"/>
                <a:gd name="connsiteX40" fmla="*/ 590074 w 703897"/>
                <a:gd name="connsiteY40" fmla="*/ 419195 h 483012"/>
                <a:gd name="connsiteX41" fmla="*/ 587121 w 703897"/>
                <a:gd name="connsiteY41" fmla="*/ 410528 h 483012"/>
                <a:gd name="connsiteX42" fmla="*/ 568167 w 703897"/>
                <a:gd name="connsiteY42" fmla="*/ 405860 h 483012"/>
                <a:gd name="connsiteX43" fmla="*/ 569691 w 703897"/>
                <a:gd name="connsiteY43" fmla="*/ 403765 h 483012"/>
                <a:gd name="connsiteX44" fmla="*/ 564833 w 703897"/>
                <a:gd name="connsiteY44" fmla="*/ 408051 h 483012"/>
                <a:gd name="connsiteX45" fmla="*/ 561023 w 703897"/>
                <a:gd name="connsiteY45" fmla="*/ 406717 h 483012"/>
                <a:gd name="connsiteX46" fmla="*/ 557594 w 703897"/>
                <a:gd name="connsiteY46" fmla="*/ 409004 h 483012"/>
                <a:gd name="connsiteX47" fmla="*/ 553784 w 703897"/>
                <a:gd name="connsiteY47" fmla="*/ 407670 h 483012"/>
                <a:gd name="connsiteX48" fmla="*/ 542068 w 703897"/>
                <a:gd name="connsiteY48" fmla="*/ 401955 h 483012"/>
                <a:gd name="connsiteX49" fmla="*/ 540544 w 703897"/>
                <a:gd name="connsiteY49" fmla="*/ 404050 h 483012"/>
                <a:gd name="connsiteX50" fmla="*/ 546164 w 703897"/>
                <a:gd name="connsiteY50" fmla="*/ 405098 h 483012"/>
                <a:gd name="connsiteX51" fmla="*/ 546640 w 703897"/>
                <a:gd name="connsiteY51" fmla="*/ 408718 h 483012"/>
                <a:gd name="connsiteX52" fmla="*/ 537210 w 703897"/>
                <a:gd name="connsiteY52" fmla="*/ 406337 h 483012"/>
                <a:gd name="connsiteX53" fmla="*/ 529114 w 703897"/>
                <a:gd name="connsiteY53" fmla="*/ 414623 h 483012"/>
                <a:gd name="connsiteX54" fmla="*/ 514445 w 703897"/>
                <a:gd name="connsiteY54" fmla="*/ 400241 h 483012"/>
                <a:gd name="connsiteX55" fmla="*/ 501206 w 703897"/>
                <a:gd name="connsiteY55" fmla="*/ 396526 h 483012"/>
                <a:gd name="connsiteX56" fmla="*/ 499586 w 703897"/>
                <a:gd name="connsiteY56" fmla="*/ 398526 h 483012"/>
                <a:gd name="connsiteX57" fmla="*/ 498539 w 703897"/>
                <a:gd name="connsiteY57" fmla="*/ 404146 h 483012"/>
                <a:gd name="connsiteX58" fmla="*/ 500539 w 703897"/>
                <a:gd name="connsiteY58" fmla="*/ 405670 h 483012"/>
                <a:gd name="connsiteX59" fmla="*/ 496919 w 703897"/>
                <a:gd name="connsiteY59" fmla="*/ 406146 h 483012"/>
                <a:gd name="connsiteX60" fmla="*/ 488442 w 703897"/>
                <a:gd name="connsiteY60" fmla="*/ 410909 h 483012"/>
                <a:gd name="connsiteX61" fmla="*/ 486633 w 703897"/>
                <a:gd name="connsiteY61" fmla="*/ 411194 h 483012"/>
                <a:gd name="connsiteX62" fmla="*/ 486442 w 703897"/>
                <a:gd name="connsiteY62" fmla="*/ 409384 h 483012"/>
                <a:gd name="connsiteX63" fmla="*/ 481013 w 703897"/>
                <a:gd name="connsiteY63" fmla="*/ 410051 h 483012"/>
                <a:gd name="connsiteX64" fmla="*/ 476917 w 703897"/>
                <a:gd name="connsiteY64" fmla="*/ 407003 h 483012"/>
                <a:gd name="connsiteX65" fmla="*/ 472059 w 703897"/>
                <a:gd name="connsiteY65" fmla="*/ 411290 h 483012"/>
                <a:gd name="connsiteX66" fmla="*/ 462344 w 703897"/>
                <a:gd name="connsiteY66" fmla="*/ 407099 h 483012"/>
                <a:gd name="connsiteX67" fmla="*/ 459581 w 703897"/>
                <a:gd name="connsiteY67" fmla="*/ 400241 h 483012"/>
                <a:gd name="connsiteX68" fmla="*/ 454724 w 703897"/>
                <a:gd name="connsiteY68" fmla="*/ 404527 h 483012"/>
                <a:gd name="connsiteX69" fmla="*/ 451104 w 703897"/>
                <a:gd name="connsiteY69" fmla="*/ 405003 h 483012"/>
                <a:gd name="connsiteX70" fmla="*/ 448818 w 703897"/>
                <a:gd name="connsiteY70" fmla="*/ 401669 h 483012"/>
                <a:gd name="connsiteX71" fmla="*/ 443484 w 703897"/>
                <a:gd name="connsiteY71" fmla="*/ 402336 h 483012"/>
                <a:gd name="connsiteX72" fmla="*/ 438341 w 703897"/>
                <a:gd name="connsiteY72" fmla="*/ 404908 h 483012"/>
                <a:gd name="connsiteX73" fmla="*/ 440817 w 703897"/>
                <a:gd name="connsiteY73" fmla="*/ 409956 h 483012"/>
                <a:gd name="connsiteX74" fmla="*/ 434054 w 703897"/>
                <a:gd name="connsiteY74" fmla="*/ 414433 h 483012"/>
                <a:gd name="connsiteX75" fmla="*/ 435483 w 703897"/>
                <a:gd name="connsiteY75" fmla="*/ 425196 h 483012"/>
                <a:gd name="connsiteX76" fmla="*/ 436150 w 703897"/>
                <a:gd name="connsiteY76" fmla="*/ 430530 h 483012"/>
                <a:gd name="connsiteX77" fmla="*/ 434626 w 703897"/>
                <a:gd name="connsiteY77" fmla="*/ 432530 h 483012"/>
                <a:gd name="connsiteX78" fmla="*/ 435102 w 703897"/>
                <a:gd name="connsiteY78" fmla="*/ 436150 h 483012"/>
                <a:gd name="connsiteX79" fmla="*/ 430625 w 703897"/>
                <a:gd name="connsiteY79" fmla="*/ 443960 h 483012"/>
                <a:gd name="connsiteX80" fmla="*/ 431387 w 703897"/>
                <a:gd name="connsiteY80" fmla="*/ 449294 h 483012"/>
                <a:gd name="connsiteX81" fmla="*/ 433864 w 703897"/>
                <a:gd name="connsiteY81" fmla="*/ 454342 h 483012"/>
                <a:gd name="connsiteX82" fmla="*/ 430530 w 703897"/>
                <a:gd name="connsiteY82" fmla="*/ 456629 h 483012"/>
                <a:gd name="connsiteX83" fmla="*/ 428244 w 703897"/>
                <a:gd name="connsiteY83" fmla="*/ 453295 h 483012"/>
                <a:gd name="connsiteX84" fmla="*/ 424910 w 703897"/>
                <a:gd name="connsiteY84" fmla="*/ 455581 h 483012"/>
                <a:gd name="connsiteX85" fmla="*/ 410051 w 703897"/>
                <a:gd name="connsiteY85" fmla="*/ 453962 h 483012"/>
                <a:gd name="connsiteX86" fmla="*/ 410528 w 703897"/>
                <a:gd name="connsiteY86" fmla="*/ 457486 h 483012"/>
                <a:gd name="connsiteX87" fmla="*/ 404908 w 703897"/>
                <a:gd name="connsiteY87" fmla="*/ 456438 h 483012"/>
                <a:gd name="connsiteX88" fmla="*/ 402908 w 703897"/>
                <a:gd name="connsiteY88" fmla="*/ 454914 h 483012"/>
                <a:gd name="connsiteX89" fmla="*/ 399479 w 703897"/>
                <a:gd name="connsiteY89" fmla="*/ 457105 h 483012"/>
                <a:gd name="connsiteX90" fmla="*/ 395669 w 703897"/>
                <a:gd name="connsiteY90" fmla="*/ 455867 h 483012"/>
                <a:gd name="connsiteX91" fmla="*/ 386906 w 703897"/>
                <a:gd name="connsiteY91" fmla="*/ 444341 h 483012"/>
                <a:gd name="connsiteX92" fmla="*/ 383286 w 703897"/>
                <a:gd name="connsiteY92" fmla="*/ 444817 h 483012"/>
                <a:gd name="connsiteX93" fmla="*/ 370046 w 703897"/>
                <a:gd name="connsiteY93" fmla="*/ 455581 h 483012"/>
                <a:gd name="connsiteX94" fmla="*/ 360807 w 703897"/>
                <a:gd name="connsiteY94" fmla="*/ 455009 h 483012"/>
                <a:gd name="connsiteX95" fmla="*/ 357759 w 703897"/>
                <a:gd name="connsiteY95" fmla="*/ 459010 h 483012"/>
                <a:gd name="connsiteX96" fmla="*/ 353949 w 703897"/>
                <a:gd name="connsiteY96" fmla="*/ 457676 h 483012"/>
                <a:gd name="connsiteX97" fmla="*/ 348996 w 703897"/>
                <a:gd name="connsiteY97" fmla="*/ 462058 h 483012"/>
                <a:gd name="connsiteX98" fmla="*/ 347186 w 703897"/>
                <a:gd name="connsiteY98" fmla="*/ 462248 h 483012"/>
                <a:gd name="connsiteX99" fmla="*/ 349377 w 703897"/>
                <a:gd name="connsiteY99" fmla="*/ 451104 h 483012"/>
                <a:gd name="connsiteX100" fmla="*/ 341471 w 703897"/>
                <a:gd name="connsiteY100" fmla="*/ 446723 h 483012"/>
                <a:gd name="connsiteX101" fmla="*/ 341757 w 703897"/>
                <a:gd name="connsiteY101" fmla="*/ 448437 h 483012"/>
                <a:gd name="connsiteX102" fmla="*/ 337852 w 703897"/>
                <a:gd name="connsiteY102" fmla="*/ 447199 h 483012"/>
                <a:gd name="connsiteX103" fmla="*/ 334994 w 703897"/>
                <a:gd name="connsiteY103" fmla="*/ 453009 h 483012"/>
                <a:gd name="connsiteX104" fmla="*/ 328041 w 703897"/>
                <a:gd name="connsiteY104" fmla="*/ 455676 h 483012"/>
                <a:gd name="connsiteX105" fmla="*/ 322231 w 703897"/>
                <a:gd name="connsiteY105" fmla="*/ 452819 h 483012"/>
                <a:gd name="connsiteX106" fmla="*/ 319278 w 703897"/>
                <a:gd name="connsiteY106" fmla="*/ 458629 h 483012"/>
                <a:gd name="connsiteX107" fmla="*/ 322231 w 703897"/>
                <a:gd name="connsiteY107" fmla="*/ 467392 h 483012"/>
                <a:gd name="connsiteX108" fmla="*/ 312420 w 703897"/>
                <a:gd name="connsiteY108" fmla="*/ 475869 h 483012"/>
                <a:gd name="connsiteX109" fmla="*/ 313373 w 703897"/>
                <a:gd name="connsiteY109" fmla="*/ 483013 h 483012"/>
                <a:gd name="connsiteX110" fmla="*/ 305943 w 703897"/>
                <a:gd name="connsiteY110" fmla="*/ 482155 h 483012"/>
                <a:gd name="connsiteX111" fmla="*/ 301181 w 703897"/>
                <a:gd name="connsiteY111" fmla="*/ 473774 h 483012"/>
                <a:gd name="connsiteX112" fmla="*/ 297371 w 703897"/>
                <a:gd name="connsiteY112" fmla="*/ 472440 h 483012"/>
                <a:gd name="connsiteX113" fmla="*/ 284226 w 703897"/>
                <a:gd name="connsiteY113" fmla="*/ 456057 h 483012"/>
                <a:gd name="connsiteX114" fmla="*/ 283559 w 703897"/>
                <a:gd name="connsiteY114" fmla="*/ 450723 h 483012"/>
                <a:gd name="connsiteX115" fmla="*/ 277178 w 703897"/>
                <a:gd name="connsiteY115" fmla="*/ 444341 h 483012"/>
                <a:gd name="connsiteX116" fmla="*/ 268224 w 703897"/>
                <a:gd name="connsiteY116" fmla="*/ 445484 h 483012"/>
                <a:gd name="connsiteX117" fmla="*/ 261652 w 703897"/>
                <a:gd name="connsiteY117" fmla="*/ 437293 h 483012"/>
                <a:gd name="connsiteX118" fmla="*/ 258890 w 703897"/>
                <a:gd name="connsiteY118" fmla="*/ 430435 h 483012"/>
                <a:gd name="connsiteX119" fmla="*/ 249460 w 703897"/>
                <a:gd name="connsiteY119" fmla="*/ 428054 h 483012"/>
                <a:gd name="connsiteX120" fmla="*/ 242030 w 703897"/>
                <a:gd name="connsiteY120" fmla="*/ 427196 h 483012"/>
                <a:gd name="connsiteX121" fmla="*/ 230315 w 703897"/>
                <a:gd name="connsiteY121" fmla="*/ 421481 h 483012"/>
                <a:gd name="connsiteX122" fmla="*/ 226695 w 703897"/>
                <a:gd name="connsiteY122" fmla="*/ 421958 h 483012"/>
                <a:gd name="connsiteX123" fmla="*/ 218599 w 703897"/>
                <a:gd name="connsiteY123" fmla="*/ 415766 h 483012"/>
                <a:gd name="connsiteX124" fmla="*/ 213932 w 703897"/>
                <a:gd name="connsiteY124" fmla="*/ 421862 h 483012"/>
                <a:gd name="connsiteX125" fmla="*/ 210312 w 703897"/>
                <a:gd name="connsiteY125" fmla="*/ 422338 h 483012"/>
                <a:gd name="connsiteX126" fmla="*/ 204502 w 703897"/>
                <a:gd name="connsiteY126" fmla="*/ 419481 h 483012"/>
                <a:gd name="connsiteX127" fmla="*/ 199930 w 703897"/>
                <a:gd name="connsiteY127" fmla="*/ 412813 h 483012"/>
                <a:gd name="connsiteX128" fmla="*/ 196120 w 703897"/>
                <a:gd name="connsiteY128" fmla="*/ 411480 h 483012"/>
                <a:gd name="connsiteX129" fmla="*/ 188500 w 703897"/>
                <a:gd name="connsiteY129" fmla="*/ 408908 h 483012"/>
                <a:gd name="connsiteX130" fmla="*/ 190405 w 703897"/>
                <a:gd name="connsiteY130" fmla="*/ 395954 h 483012"/>
                <a:gd name="connsiteX131" fmla="*/ 184500 w 703897"/>
                <a:gd name="connsiteY131" fmla="*/ 393097 h 483012"/>
                <a:gd name="connsiteX132" fmla="*/ 176213 w 703897"/>
                <a:gd name="connsiteY132" fmla="*/ 385191 h 483012"/>
                <a:gd name="connsiteX133" fmla="*/ 164783 w 703897"/>
                <a:gd name="connsiteY133" fmla="*/ 368522 h 483012"/>
                <a:gd name="connsiteX134" fmla="*/ 158687 w 703897"/>
                <a:gd name="connsiteY134" fmla="*/ 363855 h 483012"/>
                <a:gd name="connsiteX135" fmla="*/ 147447 w 703897"/>
                <a:gd name="connsiteY135" fmla="*/ 361759 h 483012"/>
                <a:gd name="connsiteX136" fmla="*/ 141351 w 703897"/>
                <a:gd name="connsiteY136" fmla="*/ 357092 h 483012"/>
                <a:gd name="connsiteX137" fmla="*/ 138017 w 703897"/>
                <a:gd name="connsiteY137" fmla="*/ 359378 h 483012"/>
                <a:gd name="connsiteX138" fmla="*/ 136017 w 703897"/>
                <a:gd name="connsiteY138" fmla="*/ 357854 h 483012"/>
                <a:gd name="connsiteX139" fmla="*/ 130588 w 703897"/>
                <a:gd name="connsiteY139" fmla="*/ 358521 h 483012"/>
                <a:gd name="connsiteX140" fmla="*/ 128111 w 703897"/>
                <a:gd name="connsiteY140" fmla="*/ 353473 h 483012"/>
                <a:gd name="connsiteX141" fmla="*/ 124016 w 703897"/>
                <a:gd name="connsiteY141" fmla="*/ 350330 h 483012"/>
                <a:gd name="connsiteX142" fmla="*/ 119253 w 703897"/>
                <a:gd name="connsiteY142" fmla="*/ 341948 h 483012"/>
                <a:gd name="connsiteX143" fmla="*/ 114110 w 703897"/>
                <a:gd name="connsiteY143" fmla="*/ 344424 h 483012"/>
                <a:gd name="connsiteX144" fmla="*/ 112776 w 703897"/>
                <a:gd name="connsiteY144" fmla="*/ 348234 h 483012"/>
                <a:gd name="connsiteX145" fmla="*/ 110966 w 703897"/>
                <a:gd name="connsiteY145" fmla="*/ 348425 h 483012"/>
                <a:gd name="connsiteX146" fmla="*/ 101060 w 703897"/>
                <a:gd name="connsiteY146" fmla="*/ 342519 h 483012"/>
                <a:gd name="connsiteX147" fmla="*/ 96774 w 703897"/>
                <a:gd name="connsiteY147" fmla="*/ 337661 h 483012"/>
                <a:gd name="connsiteX148" fmla="*/ 87821 w 703897"/>
                <a:gd name="connsiteY148" fmla="*/ 338804 h 483012"/>
                <a:gd name="connsiteX149" fmla="*/ 82868 w 703897"/>
                <a:gd name="connsiteY149" fmla="*/ 343091 h 483012"/>
                <a:gd name="connsiteX150" fmla="*/ 79058 w 703897"/>
                <a:gd name="connsiteY150" fmla="*/ 341757 h 483012"/>
                <a:gd name="connsiteX151" fmla="*/ 80391 w 703897"/>
                <a:gd name="connsiteY151" fmla="*/ 338042 h 483012"/>
                <a:gd name="connsiteX152" fmla="*/ 75819 w 703897"/>
                <a:gd name="connsiteY152" fmla="*/ 331375 h 483012"/>
                <a:gd name="connsiteX153" fmla="*/ 69723 w 703897"/>
                <a:gd name="connsiteY153" fmla="*/ 326708 h 483012"/>
                <a:gd name="connsiteX154" fmla="*/ 59436 w 703897"/>
                <a:gd name="connsiteY154" fmla="*/ 331661 h 483012"/>
                <a:gd name="connsiteX155" fmla="*/ 46673 w 703897"/>
                <a:gd name="connsiteY155" fmla="*/ 331565 h 483012"/>
                <a:gd name="connsiteX156" fmla="*/ 46863 w 703897"/>
                <a:gd name="connsiteY156" fmla="*/ 333375 h 483012"/>
                <a:gd name="connsiteX157" fmla="*/ 43053 w 703897"/>
                <a:gd name="connsiteY157" fmla="*/ 332042 h 483012"/>
                <a:gd name="connsiteX158" fmla="*/ 38100 w 703897"/>
                <a:gd name="connsiteY158" fmla="*/ 336328 h 483012"/>
                <a:gd name="connsiteX159" fmla="*/ 30194 w 703897"/>
                <a:gd name="connsiteY159" fmla="*/ 331946 h 483012"/>
                <a:gd name="connsiteX160" fmla="*/ 27242 w 703897"/>
                <a:gd name="connsiteY160" fmla="*/ 323279 h 483012"/>
                <a:gd name="connsiteX161" fmla="*/ 26099 w 703897"/>
                <a:gd name="connsiteY161" fmla="*/ 314420 h 483012"/>
                <a:gd name="connsiteX162" fmla="*/ 19717 w 703897"/>
                <a:gd name="connsiteY162" fmla="*/ 307943 h 483012"/>
                <a:gd name="connsiteX163" fmla="*/ 19526 w 703897"/>
                <a:gd name="connsiteY163" fmla="*/ 306134 h 483012"/>
                <a:gd name="connsiteX164" fmla="*/ 15145 w 703897"/>
                <a:gd name="connsiteY164" fmla="*/ 301276 h 483012"/>
                <a:gd name="connsiteX165" fmla="*/ 9335 w 703897"/>
                <a:gd name="connsiteY165" fmla="*/ 298418 h 483012"/>
                <a:gd name="connsiteX166" fmla="*/ 8858 w 703897"/>
                <a:gd name="connsiteY166" fmla="*/ 294894 h 483012"/>
                <a:gd name="connsiteX167" fmla="*/ 36004 w 703897"/>
                <a:gd name="connsiteY167" fmla="*/ 293084 h 483012"/>
                <a:gd name="connsiteX168" fmla="*/ 30194 w 703897"/>
                <a:gd name="connsiteY168" fmla="*/ 290227 h 483012"/>
                <a:gd name="connsiteX169" fmla="*/ 11906 w 703897"/>
                <a:gd name="connsiteY169" fmla="*/ 276416 h 483012"/>
                <a:gd name="connsiteX170" fmla="*/ 16097 w 703897"/>
                <a:gd name="connsiteY170" fmla="*/ 266700 h 483012"/>
                <a:gd name="connsiteX171" fmla="*/ 16954 w 703897"/>
                <a:gd name="connsiteY171" fmla="*/ 259366 h 483012"/>
                <a:gd name="connsiteX172" fmla="*/ 18479 w 703897"/>
                <a:gd name="connsiteY172" fmla="*/ 257366 h 483012"/>
                <a:gd name="connsiteX173" fmla="*/ 12002 w 703897"/>
                <a:gd name="connsiteY173" fmla="*/ 249174 h 483012"/>
                <a:gd name="connsiteX174" fmla="*/ 0 w 703897"/>
                <a:gd name="connsiteY174" fmla="*/ 241649 h 483012"/>
                <a:gd name="connsiteX175" fmla="*/ 4953 w 703897"/>
                <a:gd name="connsiteY175" fmla="*/ 237363 h 483012"/>
                <a:gd name="connsiteX176" fmla="*/ 6001 w 703897"/>
                <a:gd name="connsiteY176" fmla="*/ 231838 h 483012"/>
                <a:gd name="connsiteX177" fmla="*/ 9335 w 703897"/>
                <a:gd name="connsiteY177" fmla="*/ 229553 h 483012"/>
                <a:gd name="connsiteX178" fmla="*/ 9811 w 703897"/>
                <a:gd name="connsiteY178" fmla="*/ 233172 h 483012"/>
                <a:gd name="connsiteX179" fmla="*/ 23432 w 703897"/>
                <a:gd name="connsiteY179" fmla="*/ 225838 h 483012"/>
                <a:gd name="connsiteX180" fmla="*/ 27337 w 703897"/>
                <a:gd name="connsiteY180" fmla="*/ 227171 h 483012"/>
                <a:gd name="connsiteX181" fmla="*/ 29147 w 703897"/>
                <a:gd name="connsiteY181" fmla="*/ 226981 h 483012"/>
                <a:gd name="connsiteX182" fmla="*/ 41053 w 703897"/>
                <a:gd name="connsiteY182" fmla="*/ 234410 h 483012"/>
                <a:gd name="connsiteX183" fmla="*/ 46196 w 703897"/>
                <a:gd name="connsiteY183" fmla="*/ 231934 h 483012"/>
                <a:gd name="connsiteX184" fmla="*/ 62198 w 703897"/>
                <a:gd name="connsiteY184" fmla="*/ 242507 h 483012"/>
                <a:gd name="connsiteX185" fmla="*/ 62008 w 703897"/>
                <a:gd name="connsiteY185" fmla="*/ 240697 h 483012"/>
                <a:gd name="connsiteX186" fmla="*/ 67628 w 703897"/>
                <a:gd name="connsiteY186" fmla="*/ 241840 h 483012"/>
                <a:gd name="connsiteX187" fmla="*/ 66961 w 703897"/>
                <a:gd name="connsiteY187" fmla="*/ 236411 h 483012"/>
                <a:gd name="connsiteX188" fmla="*/ 71819 w 703897"/>
                <a:gd name="connsiteY188" fmla="*/ 232124 h 483012"/>
                <a:gd name="connsiteX189" fmla="*/ 73533 w 703897"/>
                <a:gd name="connsiteY189" fmla="*/ 217456 h 483012"/>
                <a:gd name="connsiteX190" fmla="*/ 72866 w 703897"/>
                <a:gd name="connsiteY190" fmla="*/ 212122 h 483012"/>
                <a:gd name="connsiteX191" fmla="*/ 77058 w 703897"/>
                <a:gd name="connsiteY191" fmla="*/ 202502 h 483012"/>
                <a:gd name="connsiteX192" fmla="*/ 77438 w 703897"/>
                <a:gd name="connsiteY192" fmla="*/ 191548 h 483012"/>
                <a:gd name="connsiteX193" fmla="*/ 80772 w 703897"/>
                <a:gd name="connsiteY193" fmla="*/ 189262 h 483012"/>
                <a:gd name="connsiteX194" fmla="*/ 79820 w 703897"/>
                <a:gd name="connsiteY194" fmla="*/ 182118 h 483012"/>
                <a:gd name="connsiteX195" fmla="*/ 73533 w 703897"/>
                <a:gd name="connsiteY195" fmla="*/ 175736 h 483012"/>
                <a:gd name="connsiteX196" fmla="*/ 73152 w 703897"/>
                <a:gd name="connsiteY196" fmla="*/ 159449 h 483012"/>
                <a:gd name="connsiteX197" fmla="*/ 78962 w 703897"/>
                <a:gd name="connsiteY197" fmla="*/ 147828 h 483012"/>
                <a:gd name="connsiteX198" fmla="*/ 76200 w 703897"/>
                <a:gd name="connsiteY198" fmla="*/ 140970 h 483012"/>
                <a:gd name="connsiteX199" fmla="*/ 75724 w 703897"/>
                <a:gd name="connsiteY199" fmla="*/ 137350 h 483012"/>
                <a:gd name="connsiteX200" fmla="*/ 76867 w 703897"/>
                <a:gd name="connsiteY200" fmla="*/ 131826 h 483012"/>
                <a:gd name="connsiteX201" fmla="*/ 74104 w 703897"/>
                <a:gd name="connsiteY201" fmla="*/ 124873 h 483012"/>
                <a:gd name="connsiteX202" fmla="*/ 83725 w 703897"/>
                <a:gd name="connsiteY202" fmla="*/ 114586 h 483012"/>
                <a:gd name="connsiteX203" fmla="*/ 87535 w 703897"/>
                <a:gd name="connsiteY203" fmla="*/ 115824 h 483012"/>
                <a:gd name="connsiteX204" fmla="*/ 89059 w 703897"/>
                <a:gd name="connsiteY204" fmla="*/ 113824 h 483012"/>
                <a:gd name="connsiteX205" fmla="*/ 80963 w 703897"/>
                <a:gd name="connsiteY205" fmla="*/ 107633 h 483012"/>
                <a:gd name="connsiteX206" fmla="*/ 85820 w 703897"/>
                <a:gd name="connsiteY206" fmla="*/ 103442 h 483012"/>
                <a:gd name="connsiteX207" fmla="*/ 81820 w 703897"/>
                <a:gd name="connsiteY207" fmla="*/ 100298 h 483012"/>
                <a:gd name="connsiteX208" fmla="*/ 83344 w 703897"/>
                <a:gd name="connsiteY208" fmla="*/ 98298 h 483012"/>
                <a:gd name="connsiteX209" fmla="*/ 81344 w 703897"/>
                <a:gd name="connsiteY209" fmla="*/ 96679 h 483012"/>
                <a:gd name="connsiteX210" fmla="*/ 79820 w 703897"/>
                <a:gd name="connsiteY210" fmla="*/ 98774 h 483012"/>
                <a:gd name="connsiteX211" fmla="*/ 77534 w 703897"/>
                <a:gd name="connsiteY211" fmla="*/ 95441 h 483012"/>
                <a:gd name="connsiteX212" fmla="*/ 76200 w 703897"/>
                <a:gd name="connsiteY212" fmla="*/ 99250 h 483012"/>
                <a:gd name="connsiteX213" fmla="*/ 73914 w 703897"/>
                <a:gd name="connsiteY213" fmla="*/ 95917 h 483012"/>
                <a:gd name="connsiteX214" fmla="*/ 71628 w 703897"/>
                <a:gd name="connsiteY214" fmla="*/ 92583 h 483012"/>
                <a:gd name="connsiteX215" fmla="*/ 70009 w 703897"/>
                <a:gd name="connsiteY215" fmla="*/ 80105 h 483012"/>
                <a:gd name="connsiteX216" fmla="*/ 73628 w 703897"/>
                <a:gd name="connsiteY216" fmla="*/ 79629 h 483012"/>
                <a:gd name="connsiteX217" fmla="*/ 72295 w 703897"/>
                <a:gd name="connsiteY217" fmla="*/ 83439 h 483012"/>
                <a:gd name="connsiteX218" fmla="*/ 75819 w 703897"/>
                <a:gd name="connsiteY218" fmla="*/ 82963 h 483012"/>
                <a:gd name="connsiteX219" fmla="*/ 75438 w 703897"/>
                <a:gd name="connsiteY219" fmla="*/ 79438 h 483012"/>
                <a:gd name="connsiteX220" fmla="*/ 77153 w 703897"/>
                <a:gd name="connsiteY220" fmla="*/ 79153 h 483012"/>
                <a:gd name="connsiteX221" fmla="*/ 76676 w 703897"/>
                <a:gd name="connsiteY221" fmla="*/ 75629 h 483012"/>
                <a:gd name="connsiteX222" fmla="*/ 81629 w 703897"/>
                <a:gd name="connsiteY222" fmla="*/ 71342 h 483012"/>
                <a:gd name="connsiteX223" fmla="*/ 93536 w 703897"/>
                <a:gd name="connsiteY223" fmla="*/ 64294 h 483012"/>
                <a:gd name="connsiteX224" fmla="*/ 96393 w 703897"/>
                <a:gd name="connsiteY224" fmla="*/ 58483 h 483012"/>
                <a:gd name="connsiteX225" fmla="*/ 100203 w 703897"/>
                <a:gd name="connsiteY225" fmla="*/ 59817 h 483012"/>
                <a:gd name="connsiteX226" fmla="*/ 100679 w 703897"/>
                <a:gd name="connsiteY226" fmla="*/ 63341 h 483012"/>
                <a:gd name="connsiteX227" fmla="*/ 106013 w 703897"/>
                <a:gd name="connsiteY227" fmla="*/ 62675 h 483012"/>
                <a:gd name="connsiteX228" fmla="*/ 104489 w 703897"/>
                <a:gd name="connsiteY228" fmla="*/ 64675 h 483012"/>
                <a:gd name="connsiteX229" fmla="*/ 111252 w 703897"/>
                <a:gd name="connsiteY229" fmla="*/ 60198 h 483012"/>
                <a:gd name="connsiteX230" fmla="*/ 113252 w 703897"/>
                <a:gd name="connsiteY230" fmla="*/ 61722 h 483012"/>
                <a:gd name="connsiteX231" fmla="*/ 112204 w 703897"/>
                <a:gd name="connsiteY231" fmla="*/ 67246 h 483012"/>
                <a:gd name="connsiteX232" fmla="*/ 113729 w 703897"/>
                <a:gd name="connsiteY232" fmla="*/ 65246 h 483012"/>
                <a:gd name="connsiteX233" fmla="*/ 125159 w 703897"/>
                <a:gd name="connsiteY233" fmla="*/ 54674 h 483012"/>
                <a:gd name="connsiteX234" fmla="*/ 128016 w 703897"/>
                <a:gd name="connsiteY234" fmla="*/ 48863 h 483012"/>
                <a:gd name="connsiteX235" fmla="*/ 123920 w 703897"/>
                <a:gd name="connsiteY235" fmla="*/ 45815 h 483012"/>
                <a:gd name="connsiteX236" fmla="*/ 119444 w 703897"/>
                <a:gd name="connsiteY236" fmla="*/ 39148 h 483012"/>
                <a:gd name="connsiteX237" fmla="*/ 124301 w 703897"/>
                <a:gd name="connsiteY237" fmla="*/ 34862 h 483012"/>
                <a:gd name="connsiteX238" fmla="*/ 129445 w 703897"/>
                <a:gd name="connsiteY238" fmla="*/ 32385 h 483012"/>
                <a:gd name="connsiteX239" fmla="*/ 119920 w 703897"/>
                <a:gd name="connsiteY239" fmla="*/ 15526 h 483012"/>
                <a:gd name="connsiteX240" fmla="*/ 128207 w 703897"/>
                <a:gd name="connsiteY240" fmla="*/ 8954 h 483012"/>
                <a:gd name="connsiteX241" fmla="*/ 123444 w 703897"/>
                <a:gd name="connsiteY241" fmla="*/ 476 h 483012"/>
                <a:gd name="connsiteX242" fmla="*/ 127064 w 703897"/>
                <a:gd name="connsiteY242" fmla="*/ 0 h 483012"/>
                <a:gd name="connsiteX243" fmla="*/ 131064 w 703897"/>
                <a:gd name="connsiteY243" fmla="*/ 3143 h 483012"/>
                <a:gd name="connsiteX244" fmla="*/ 144590 w 703897"/>
                <a:gd name="connsiteY244" fmla="*/ 8573 h 483012"/>
                <a:gd name="connsiteX245" fmla="*/ 147257 w 703897"/>
                <a:gd name="connsiteY245" fmla="*/ 1048 h 483012"/>
                <a:gd name="connsiteX246" fmla="*/ 153162 w 703897"/>
                <a:gd name="connsiteY246" fmla="*/ 3810 h 483012"/>
                <a:gd name="connsiteX247" fmla="*/ 157448 w 703897"/>
                <a:gd name="connsiteY247" fmla="*/ 8668 h 483012"/>
                <a:gd name="connsiteX248" fmla="*/ 164878 w 703897"/>
                <a:gd name="connsiteY248" fmla="*/ 9525 h 483012"/>
                <a:gd name="connsiteX249" fmla="*/ 161735 w 703897"/>
                <a:gd name="connsiteY249" fmla="*/ 13621 h 483012"/>
                <a:gd name="connsiteX250" fmla="*/ 171164 w 703897"/>
                <a:gd name="connsiteY250" fmla="*/ 16002 h 483012"/>
                <a:gd name="connsiteX251" fmla="*/ 171926 w 703897"/>
                <a:gd name="connsiteY251" fmla="*/ 21336 h 483012"/>
                <a:gd name="connsiteX252" fmla="*/ 179070 w 703897"/>
                <a:gd name="connsiteY252" fmla="*/ 20383 h 483012"/>
                <a:gd name="connsiteX253" fmla="*/ 181547 w 703897"/>
                <a:gd name="connsiteY253" fmla="*/ 25432 h 483012"/>
                <a:gd name="connsiteX254" fmla="*/ 189452 w 703897"/>
                <a:gd name="connsiteY254" fmla="*/ 29908 h 483012"/>
                <a:gd name="connsiteX255" fmla="*/ 198692 w 703897"/>
                <a:gd name="connsiteY255" fmla="*/ 30480 h 483012"/>
                <a:gd name="connsiteX256" fmla="*/ 202692 w 703897"/>
                <a:gd name="connsiteY256" fmla="*/ 33528 h 483012"/>
                <a:gd name="connsiteX257" fmla="*/ 208407 w 703897"/>
                <a:gd name="connsiteY257" fmla="*/ 34576 h 483012"/>
                <a:gd name="connsiteX258" fmla="*/ 220694 w 703897"/>
                <a:gd name="connsiteY258" fmla="*/ 31147 h 483012"/>
                <a:gd name="connsiteX259" fmla="*/ 228124 w 703897"/>
                <a:gd name="connsiteY259" fmla="*/ 32004 h 483012"/>
                <a:gd name="connsiteX260" fmla="*/ 223171 w 703897"/>
                <a:gd name="connsiteY260" fmla="*/ 36290 h 483012"/>
                <a:gd name="connsiteX261" fmla="*/ 222123 w 703897"/>
                <a:gd name="connsiteY261" fmla="*/ 41910 h 483012"/>
                <a:gd name="connsiteX262" fmla="*/ 232315 w 703897"/>
                <a:gd name="connsiteY262" fmla="*/ 49530 h 483012"/>
                <a:gd name="connsiteX263" fmla="*/ 230981 w 703897"/>
                <a:gd name="connsiteY263" fmla="*/ 53340 h 483012"/>
                <a:gd name="connsiteX264" fmla="*/ 234506 w 703897"/>
                <a:gd name="connsiteY264" fmla="*/ 52864 h 483012"/>
                <a:gd name="connsiteX265" fmla="*/ 244697 w 703897"/>
                <a:gd name="connsiteY265" fmla="*/ 60674 h 483012"/>
                <a:gd name="connsiteX266" fmla="*/ 246221 w 703897"/>
                <a:gd name="connsiteY266" fmla="*/ 58579 h 483012"/>
                <a:gd name="connsiteX267" fmla="*/ 255651 w 703897"/>
                <a:gd name="connsiteY267" fmla="*/ 60960 h 483012"/>
                <a:gd name="connsiteX268" fmla="*/ 255461 w 703897"/>
                <a:gd name="connsiteY268" fmla="*/ 59150 h 483012"/>
                <a:gd name="connsiteX269" fmla="*/ 264414 w 703897"/>
                <a:gd name="connsiteY269" fmla="*/ 58007 h 483012"/>
                <a:gd name="connsiteX270" fmla="*/ 293942 w 703897"/>
                <a:gd name="connsiteY270" fmla="*/ 59531 h 483012"/>
                <a:gd name="connsiteX271" fmla="*/ 300609 w 703897"/>
                <a:gd name="connsiteY271" fmla="*/ 55054 h 483012"/>
                <a:gd name="connsiteX272" fmla="*/ 302705 w 703897"/>
                <a:gd name="connsiteY272" fmla="*/ 56579 h 483012"/>
                <a:gd name="connsiteX273" fmla="*/ 299276 w 703897"/>
                <a:gd name="connsiteY273" fmla="*/ 58865 h 483012"/>
                <a:gd name="connsiteX274" fmla="*/ 303181 w 703897"/>
                <a:gd name="connsiteY274" fmla="*/ 60198 h 483012"/>
                <a:gd name="connsiteX275" fmla="*/ 301847 w 703897"/>
                <a:gd name="connsiteY275" fmla="*/ 63913 h 483012"/>
                <a:gd name="connsiteX276" fmla="*/ 305181 w 703897"/>
                <a:gd name="connsiteY276" fmla="*/ 61722 h 483012"/>
                <a:gd name="connsiteX277" fmla="*/ 303657 w 703897"/>
                <a:gd name="connsiteY277" fmla="*/ 63722 h 483012"/>
                <a:gd name="connsiteX278" fmla="*/ 308134 w 703897"/>
                <a:gd name="connsiteY278" fmla="*/ 70390 h 483012"/>
                <a:gd name="connsiteX279" fmla="*/ 313944 w 703897"/>
                <a:gd name="connsiteY279" fmla="*/ 73247 h 483012"/>
                <a:gd name="connsiteX280" fmla="*/ 315183 w 703897"/>
                <a:gd name="connsiteY280" fmla="*/ 82105 h 483012"/>
                <a:gd name="connsiteX281" fmla="*/ 321755 w 703897"/>
                <a:gd name="connsiteY281" fmla="*/ 90297 h 483012"/>
                <a:gd name="connsiteX282" fmla="*/ 328327 w 703897"/>
                <a:gd name="connsiteY282" fmla="*/ 98488 h 483012"/>
                <a:gd name="connsiteX283" fmla="*/ 334423 w 703897"/>
                <a:gd name="connsiteY283" fmla="*/ 103156 h 483012"/>
                <a:gd name="connsiteX284" fmla="*/ 341091 w 703897"/>
                <a:gd name="connsiteY284" fmla="*/ 98584 h 483012"/>
                <a:gd name="connsiteX285" fmla="*/ 350520 w 703897"/>
                <a:gd name="connsiteY285" fmla="*/ 100965 h 483012"/>
                <a:gd name="connsiteX286" fmla="*/ 357473 w 703897"/>
                <a:gd name="connsiteY286" fmla="*/ 98298 h 483012"/>
                <a:gd name="connsiteX287" fmla="*/ 359759 w 703897"/>
                <a:gd name="connsiteY287" fmla="*/ 101632 h 483012"/>
                <a:gd name="connsiteX288" fmla="*/ 365093 w 703897"/>
                <a:gd name="connsiteY288" fmla="*/ 86392 h 483012"/>
                <a:gd name="connsiteX289" fmla="*/ 368713 w 703897"/>
                <a:gd name="connsiteY289" fmla="*/ 85916 h 483012"/>
                <a:gd name="connsiteX290" fmla="*/ 368903 w 703897"/>
                <a:gd name="connsiteY290" fmla="*/ 87725 h 483012"/>
                <a:gd name="connsiteX291" fmla="*/ 367570 w 703897"/>
                <a:gd name="connsiteY291" fmla="*/ 91535 h 483012"/>
                <a:gd name="connsiteX292" fmla="*/ 367379 w 703897"/>
                <a:gd name="connsiteY292" fmla="*/ 89725 h 483012"/>
                <a:gd name="connsiteX293" fmla="*/ 366046 w 703897"/>
                <a:gd name="connsiteY293" fmla="*/ 93536 h 483012"/>
                <a:gd name="connsiteX294" fmla="*/ 362903 w 703897"/>
                <a:gd name="connsiteY294" fmla="*/ 97536 h 483012"/>
                <a:gd name="connsiteX295" fmla="*/ 363379 w 703897"/>
                <a:gd name="connsiteY295" fmla="*/ 101155 h 483012"/>
                <a:gd name="connsiteX296" fmla="*/ 362236 w 703897"/>
                <a:gd name="connsiteY296" fmla="*/ 106680 h 483012"/>
                <a:gd name="connsiteX297" fmla="*/ 372618 w 703897"/>
                <a:gd name="connsiteY297" fmla="*/ 101727 h 483012"/>
                <a:gd name="connsiteX298" fmla="*/ 383572 w 703897"/>
                <a:gd name="connsiteY298" fmla="*/ 102108 h 483012"/>
                <a:gd name="connsiteX299" fmla="*/ 387001 w 703897"/>
                <a:gd name="connsiteY299" fmla="*/ 99822 h 483012"/>
                <a:gd name="connsiteX300" fmla="*/ 389001 w 703897"/>
                <a:gd name="connsiteY300" fmla="*/ 101346 h 483012"/>
                <a:gd name="connsiteX301" fmla="*/ 388716 w 703897"/>
                <a:gd name="connsiteY301" fmla="*/ 99632 h 483012"/>
                <a:gd name="connsiteX302" fmla="*/ 394145 w 703897"/>
                <a:gd name="connsiteY302" fmla="*/ 98870 h 483012"/>
                <a:gd name="connsiteX303" fmla="*/ 394335 w 703897"/>
                <a:gd name="connsiteY303" fmla="*/ 100679 h 483012"/>
                <a:gd name="connsiteX304" fmla="*/ 405194 w 703897"/>
                <a:gd name="connsiteY304" fmla="*/ 99250 h 483012"/>
                <a:gd name="connsiteX305" fmla="*/ 406527 w 703897"/>
                <a:gd name="connsiteY305" fmla="*/ 95441 h 483012"/>
                <a:gd name="connsiteX306" fmla="*/ 412337 w 703897"/>
                <a:gd name="connsiteY306" fmla="*/ 98298 h 483012"/>
                <a:gd name="connsiteX307" fmla="*/ 416433 w 703897"/>
                <a:gd name="connsiteY307" fmla="*/ 101346 h 483012"/>
                <a:gd name="connsiteX308" fmla="*/ 415100 w 703897"/>
                <a:gd name="connsiteY308" fmla="*/ 105156 h 483012"/>
                <a:gd name="connsiteX309" fmla="*/ 419195 w 703897"/>
                <a:gd name="connsiteY309" fmla="*/ 108299 h 483012"/>
                <a:gd name="connsiteX310" fmla="*/ 418052 w 703897"/>
                <a:gd name="connsiteY310" fmla="*/ 113824 h 483012"/>
                <a:gd name="connsiteX311" fmla="*/ 423767 w 703897"/>
                <a:gd name="connsiteY311" fmla="*/ 129445 h 483012"/>
                <a:gd name="connsiteX312" fmla="*/ 423386 w 703897"/>
                <a:gd name="connsiteY312" fmla="*/ 140303 h 483012"/>
                <a:gd name="connsiteX313" fmla="*/ 422053 w 703897"/>
                <a:gd name="connsiteY313" fmla="*/ 144113 h 483012"/>
                <a:gd name="connsiteX314" fmla="*/ 431292 w 703897"/>
                <a:gd name="connsiteY314" fmla="*/ 144685 h 483012"/>
                <a:gd name="connsiteX315" fmla="*/ 449485 w 703897"/>
                <a:gd name="connsiteY315" fmla="*/ 144113 h 483012"/>
                <a:gd name="connsiteX316" fmla="*/ 448723 w 703897"/>
                <a:gd name="connsiteY316" fmla="*/ 124301 h 483012"/>
                <a:gd name="connsiteX317" fmla="*/ 448437 w 703897"/>
                <a:gd name="connsiteY317" fmla="*/ 122492 h 483012"/>
                <a:gd name="connsiteX318" fmla="*/ 460343 w 703897"/>
                <a:gd name="connsiteY318" fmla="*/ 115443 h 483012"/>
                <a:gd name="connsiteX319" fmla="*/ 465487 w 703897"/>
                <a:gd name="connsiteY319" fmla="*/ 112967 h 483012"/>
                <a:gd name="connsiteX320" fmla="*/ 467011 w 703897"/>
                <a:gd name="connsiteY320" fmla="*/ 110966 h 483012"/>
                <a:gd name="connsiteX321" fmla="*/ 481203 w 703897"/>
                <a:gd name="connsiteY321" fmla="*/ 107252 h 483012"/>
                <a:gd name="connsiteX322" fmla="*/ 484061 w 703897"/>
                <a:gd name="connsiteY322" fmla="*/ 101441 h 483012"/>
                <a:gd name="connsiteX323" fmla="*/ 488442 w 703897"/>
                <a:gd name="connsiteY323" fmla="*/ 93631 h 483012"/>
                <a:gd name="connsiteX324" fmla="*/ 495205 w 703897"/>
                <a:gd name="connsiteY324" fmla="*/ 89154 h 483012"/>
                <a:gd name="connsiteX325" fmla="*/ 499015 w 703897"/>
                <a:gd name="connsiteY325" fmla="*/ 90392 h 483012"/>
                <a:gd name="connsiteX326" fmla="*/ 500348 w 703897"/>
                <a:gd name="connsiteY326" fmla="*/ 86582 h 483012"/>
                <a:gd name="connsiteX327" fmla="*/ 513112 w 703897"/>
                <a:gd name="connsiteY327" fmla="*/ 86773 h 483012"/>
                <a:gd name="connsiteX328" fmla="*/ 527209 w 703897"/>
                <a:gd name="connsiteY328" fmla="*/ 95821 h 483012"/>
                <a:gd name="connsiteX329" fmla="*/ 529400 w 703897"/>
                <a:gd name="connsiteY329" fmla="*/ 99060 h 483012"/>
                <a:gd name="connsiteX330" fmla="*/ 535019 w 703897"/>
                <a:gd name="connsiteY330" fmla="*/ 100203 h 483012"/>
                <a:gd name="connsiteX331" fmla="*/ 534829 w 703897"/>
                <a:gd name="connsiteY331" fmla="*/ 98393 h 483012"/>
                <a:gd name="connsiteX332" fmla="*/ 530733 w 703897"/>
                <a:gd name="connsiteY332" fmla="*/ 95345 h 483012"/>
                <a:gd name="connsiteX333" fmla="*/ 532352 w 703897"/>
                <a:gd name="connsiteY333" fmla="*/ 93250 h 483012"/>
                <a:gd name="connsiteX334" fmla="*/ 557117 w 703897"/>
                <a:gd name="connsiteY334" fmla="*/ 100870 h 483012"/>
                <a:gd name="connsiteX335" fmla="*/ 563975 w 703897"/>
                <a:gd name="connsiteY335" fmla="*/ 98108 h 483012"/>
                <a:gd name="connsiteX336" fmla="*/ 568071 w 703897"/>
                <a:gd name="connsiteY336" fmla="*/ 101251 h 483012"/>
                <a:gd name="connsiteX337" fmla="*/ 573215 w 703897"/>
                <a:gd name="connsiteY337" fmla="*/ 98774 h 483012"/>
                <a:gd name="connsiteX338" fmla="*/ 588359 w 703897"/>
                <a:gd name="connsiteY338" fmla="*/ 102203 h 483012"/>
                <a:gd name="connsiteX339" fmla="*/ 588550 w 703897"/>
                <a:gd name="connsiteY339" fmla="*/ 103918 h 483012"/>
                <a:gd name="connsiteX340" fmla="*/ 595694 w 703897"/>
                <a:gd name="connsiteY340" fmla="*/ 103061 h 483012"/>
                <a:gd name="connsiteX341" fmla="*/ 599123 w 703897"/>
                <a:gd name="connsiteY341" fmla="*/ 100775 h 483012"/>
                <a:gd name="connsiteX342" fmla="*/ 597980 w 703897"/>
                <a:gd name="connsiteY342" fmla="*/ 106299 h 483012"/>
                <a:gd name="connsiteX343" fmla="*/ 600266 w 703897"/>
                <a:gd name="connsiteY343" fmla="*/ 109633 h 483012"/>
                <a:gd name="connsiteX344" fmla="*/ 597884 w 703897"/>
                <a:gd name="connsiteY344" fmla="*/ 119063 h 483012"/>
                <a:gd name="connsiteX345" fmla="*/ 600837 w 703897"/>
                <a:gd name="connsiteY345" fmla="*/ 127730 h 483012"/>
                <a:gd name="connsiteX346" fmla="*/ 606457 w 703897"/>
                <a:gd name="connsiteY346" fmla="*/ 128778 h 483012"/>
                <a:gd name="connsiteX347" fmla="*/ 606647 w 703897"/>
                <a:gd name="connsiteY347" fmla="*/ 130588 h 483012"/>
                <a:gd name="connsiteX348" fmla="*/ 612553 w 703897"/>
                <a:gd name="connsiteY348" fmla="*/ 133445 h 483012"/>
                <a:gd name="connsiteX349" fmla="*/ 615029 w 703897"/>
                <a:gd name="connsiteY349" fmla="*/ 138494 h 483012"/>
                <a:gd name="connsiteX350" fmla="*/ 619125 w 703897"/>
                <a:gd name="connsiteY350" fmla="*/ 141637 h 483012"/>
                <a:gd name="connsiteX351" fmla="*/ 617792 w 703897"/>
                <a:gd name="connsiteY351" fmla="*/ 145447 h 483012"/>
                <a:gd name="connsiteX352" fmla="*/ 618459 w 703897"/>
                <a:gd name="connsiteY352" fmla="*/ 150781 h 483012"/>
                <a:gd name="connsiteX353" fmla="*/ 617887 w 703897"/>
                <a:gd name="connsiteY353" fmla="*/ 159925 h 483012"/>
                <a:gd name="connsiteX354" fmla="*/ 625602 w 703897"/>
                <a:gd name="connsiteY354" fmla="*/ 176975 h 483012"/>
                <a:gd name="connsiteX355" fmla="*/ 642557 w 703897"/>
                <a:gd name="connsiteY355" fmla="*/ 194691 h 483012"/>
                <a:gd name="connsiteX356" fmla="*/ 648748 w 703897"/>
                <a:gd name="connsiteY356" fmla="*/ 199358 h 483012"/>
                <a:gd name="connsiteX357" fmla="*/ 656082 w 703897"/>
                <a:gd name="connsiteY357" fmla="*/ 200216 h 483012"/>
                <a:gd name="connsiteX358" fmla="*/ 660845 w 703897"/>
                <a:gd name="connsiteY358" fmla="*/ 208598 h 483012"/>
                <a:gd name="connsiteX359" fmla="*/ 655701 w 703897"/>
                <a:gd name="connsiteY359" fmla="*/ 211074 h 483012"/>
                <a:gd name="connsiteX360" fmla="*/ 656177 w 703897"/>
                <a:gd name="connsiteY360" fmla="*/ 214694 h 483012"/>
                <a:gd name="connsiteX361" fmla="*/ 656463 w 703897"/>
                <a:gd name="connsiteY361" fmla="*/ 216408 h 483012"/>
                <a:gd name="connsiteX362" fmla="*/ 651320 w 703897"/>
                <a:gd name="connsiteY362" fmla="*/ 218980 h 483012"/>
                <a:gd name="connsiteX363" fmla="*/ 651796 w 703897"/>
                <a:gd name="connsiteY363" fmla="*/ 222504 h 483012"/>
                <a:gd name="connsiteX364" fmla="*/ 662178 w 703897"/>
                <a:gd name="connsiteY364" fmla="*/ 232029 h 483012"/>
                <a:gd name="connsiteX365" fmla="*/ 669798 w 703897"/>
                <a:gd name="connsiteY365" fmla="*/ 234601 h 483012"/>
                <a:gd name="connsiteX366" fmla="*/ 665607 w 703897"/>
                <a:gd name="connsiteY366" fmla="*/ 244221 h 483012"/>
                <a:gd name="connsiteX367" fmla="*/ 660464 w 703897"/>
                <a:gd name="connsiteY367" fmla="*/ 246793 h 483012"/>
                <a:gd name="connsiteX368" fmla="*/ 657511 w 703897"/>
                <a:gd name="connsiteY368" fmla="*/ 252603 h 483012"/>
                <a:gd name="connsiteX369" fmla="*/ 649319 w 703897"/>
                <a:gd name="connsiteY369" fmla="*/ 259080 h 483012"/>
                <a:gd name="connsiteX370" fmla="*/ 653606 w 703897"/>
                <a:gd name="connsiteY370" fmla="*/ 263938 h 483012"/>
                <a:gd name="connsiteX371" fmla="*/ 658940 w 703897"/>
                <a:gd name="connsiteY371" fmla="*/ 263271 h 483012"/>
                <a:gd name="connsiteX372" fmla="*/ 662559 w 703897"/>
                <a:gd name="connsiteY372" fmla="*/ 262795 h 483012"/>
                <a:gd name="connsiteX373" fmla="*/ 663893 w 703897"/>
                <a:gd name="connsiteY373" fmla="*/ 258985 h 483012"/>
                <a:gd name="connsiteX374" fmla="*/ 671036 w 703897"/>
                <a:gd name="connsiteY374" fmla="*/ 258032 h 483012"/>
                <a:gd name="connsiteX375" fmla="*/ 671608 w 703897"/>
                <a:gd name="connsiteY375" fmla="*/ 261557 h 483012"/>
                <a:gd name="connsiteX376" fmla="*/ 675323 w 703897"/>
                <a:gd name="connsiteY376" fmla="*/ 262890 h 483012"/>
                <a:gd name="connsiteX377" fmla="*/ 678752 w 703897"/>
                <a:gd name="connsiteY377" fmla="*/ 260699 h 483012"/>
                <a:gd name="connsiteX378" fmla="*/ 687705 w 703897"/>
                <a:gd name="connsiteY378" fmla="*/ 259461 h 483012"/>
                <a:gd name="connsiteX379" fmla="*/ 692277 w 703897"/>
                <a:gd name="connsiteY379" fmla="*/ 266129 h 483012"/>
                <a:gd name="connsiteX380" fmla="*/ 700183 w 703897"/>
                <a:gd name="connsiteY380" fmla="*/ 270510 h 483012"/>
                <a:gd name="connsiteX381" fmla="*/ 701135 w 703897"/>
                <a:gd name="connsiteY381" fmla="*/ 277654 h 483012"/>
                <a:gd name="connsiteX382" fmla="*/ 695516 w 703897"/>
                <a:gd name="connsiteY382" fmla="*/ 291084 h 483012"/>
                <a:gd name="connsiteX383" fmla="*/ 697611 w 703897"/>
                <a:gd name="connsiteY383" fmla="*/ 292608 h 483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</a:cxnLst>
              <a:rect l="l" t="t" r="r" b="b"/>
              <a:pathLst>
                <a:path w="703897" h="483012">
                  <a:moveTo>
                    <a:pt x="697611" y="292608"/>
                  </a:moveTo>
                  <a:lnTo>
                    <a:pt x="699611" y="294132"/>
                  </a:lnTo>
                  <a:lnTo>
                    <a:pt x="701135" y="292132"/>
                  </a:lnTo>
                  <a:lnTo>
                    <a:pt x="703898" y="298990"/>
                  </a:lnTo>
                  <a:lnTo>
                    <a:pt x="699326" y="319564"/>
                  </a:lnTo>
                  <a:lnTo>
                    <a:pt x="702088" y="326422"/>
                  </a:lnTo>
                  <a:lnTo>
                    <a:pt x="695801" y="334518"/>
                  </a:lnTo>
                  <a:lnTo>
                    <a:pt x="690467" y="335280"/>
                  </a:lnTo>
                  <a:lnTo>
                    <a:pt x="685514" y="339566"/>
                  </a:lnTo>
                  <a:lnTo>
                    <a:pt x="685991" y="343091"/>
                  </a:lnTo>
                  <a:lnTo>
                    <a:pt x="686467" y="346615"/>
                  </a:lnTo>
                  <a:lnTo>
                    <a:pt x="683133" y="348901"/>
                  </a:lnTo>
                  <a:lnTo>
                    <a:pt x="675704" y="348044"/>
                  </a:lnTo>
                  <a:lnTo>
                    <a:pt x="669227" y="354330"/>
                  </a:lnTo>
                  <a:lnTo>
                    <a:pt x="669893" y="359759"/>
                  </a:lnTo>
                  <a:lnTo>
                    <a:pt x="664559" y="360426"/>
                  </a:lnTo>
                  <a:lnTo>
                    <a:pt x="666655" y="376523"/>
                  </a:lnTo>
                  <a:lnTo>
                    <a:pt x="663035" y="376904"/>
                  </a:lnTo>
                  <a:lnTo>
                    <a:pt x="663988" y="384048"/>
                  </a:lnTo>
                  <a:lnTo>
                    <a:pt x="673037" y="397383"/>
                  </a:lnTo>
                  <a:lnTo>
                    <a:pt x="681419" y="405289"/>
                  </a:lnTo>
                  <a:lnTo>
                    <a:pt x="681419" y="405289"/>
                  </a:lnTo>
                  <a:lnTo>
                    <a:pt x="675799" y="404241"/>
                  </a:lnTo>
                  <a:lnTo>
                    <a:pt x="675132" y="398907"/>
                  </a:lnTo>
                  <a:lnTo>
                    <a:pt x="671227" y="397574"/>
                  </a:lnTo>
                  <a:lnTo>
                    <a:pt x="673799" y="402717"/>
                  </a:lnTo>
                  <a:lnTo>
                    <a:pt x="672179" y="404717"/>
                  </a:lnTo>
                  <a:lnTo>
                    <a:pt x="668655" y="405194"/>
                  </a:lnTo>
                  <a:lnTo>
                    <a:pt x="667988" y="414338"/>
                  </a:lnTo>
                  <a:lnTo>
                    <a:pt x="665131" y="420148"/>
                  </a:lnTo>
                  <a:lnTo>
                    <a:pt x="669417" y="425005"/>
                  </a:lnTo>
                  <a:lnTo>
                    <a:pt x="666274" y="429101"/>
                  </a:lnTo>
                  <a:lnTo>
                    <a:pt x="664750" y="431102"/>
                  </a:lnTo>
                  <a:lnTo>
                    <a:pt x="667417" y="437959"/>
                  </a:lnTo>
                  <a:lnTo>
                    <a:pt x="647986" y="442436"/>
                  </a:lnTo>
                  <a:lnTo>
                    <a:pt x="638461" y="440055"/>
                  </a:lnTo>
                  <a:lnTo>
                    <a:pt x="626269" y="430721"/>
                  </a:lnTo>
                  <a:lnTo>
                    <a:pt x="620649" y="429673"/>
                  </a:lnTo>
                  <a:lnTo>
                    <a:pt x="597218" y="418243"/>
                  </a:lnTo>
                  <a:lnTo>
                    <a:pt x="595408" y="418529"/>
                  </a:lnTo>
                  <a:lnTo>
                    <a:pt x="590074" y="419195"/>
                  </a:lnTo>
                  <a:lnTo>
                    <a:pt x="587121" y="410528"/>
                  </a:lnTo>
                  <a:lnTo>
                    <a:pt x="568167" y="405860"/>
                  </a:lnTo>
                  <a:lnTo>
                    <a:pt x="569691" y="403765"/>
                  </a:lnTo>
                  <a:lnTo>
                    <a:pt x="564833" y="408051"/>
                  </a:lnTo>
                  <a:lnTo>
                    <a:pt x="561023" y="406717"/>
                  </a:lnTo>
                  <a:lnTo>
                    <a:pt x="557594" y="409004"/>
                  </a:lnTo>
                  <a:lnTo>
                    <a:pt x="553784" y="407670"/>
                  </a:lnTo>
                  <a:lnTo>
                    <a:pt x="542068" y="401955"/>
                  </a:lnTo>
                  <a:lnTo>
                    <a:pt x="540544" y="404050"/>
                  </a:lnTo>
                  <a:lnTo>
                    <a:pt x="546164" y="405098"/>
                  </a:lnTo>
                  <a:lnTo>
                    <a:pt x="546640" y="408718"/>
                  </a:lnTo>
                  <a:lnTo>
                    <a:pt x="537210" y="406337"/>
                  </a:lnTo>
                  <a:lnTo>
                    <a:pt x="529114" y="414623"/>
                  </a:lnTo>
                  <a:lnTo>
                    <a:pt x="514445" y="400241"/>
                  </a:lnTo>
                  <a:lnTo>
                    <a:pt x="501206" y="396526"/>
                  </a:lnTo>
                  <a:lnTo>
                    <a:pt x="499586" y="398526"/>
                  </a:lnTo>
                  <a:lnTo>
                    <a:pt x="498539" y="404146"/>
                  </a:lnTo>
                  <a:lnTo>
                    <a:pt x="500539" y="405670"/>
                  </a:lnTo>
                  <a:lnTo>
                    <a:pt x="496919" y="406146"/>
                  </a:lnTo>
                  <a:lnTo>
                    <a:pt x="488442" y="410909"/>
                  </a:lnTo>
                  <a:lnTo>
                    <a:pt x="486633" y="411194"/>
                  </a:lnTo>
                  <a:lnTo>
                    <a:pt x="486442" y="409384"/>
                  </a:lnTo>
                  <a:lnTo>
                    <a:pt x="481013" y="410051"/>
                  </a:lnTo>
                  <a:lnTo>
                    <a:pt x="476917" y="407003"/>
                  </a:lnTo>
                  <a:lnTo>
                    <a:pt x="472059" y="411290"/>
                  </a:lnTo>
                  <a:lnTo>
                    <a:pt x="462344" y="407099"/>
                  </a:lnTo>
                  <a:lnTo>
                    <a:pt x="459581" y="400241"/>
                  </a:lnTo>
                  <a:lnTo>
                    <a:pt x="454724" y="404527"/>
                  </a:lnTo>
                  <a:lnTo>
                    <a:pt x="451104" y="405003"/>
                  </a:lnTo>
                  <a:lnTo>
                    <a:pt x="448818" y="401669"/>
                  </a:lnTo>
                  <a:lnTo>
                    <a:pt x="443484" y="402336"/>
                  </a:lnTo>
                  <a:lnTo>
                    <a:pt x="438341" y="404908"/>
                  </a:lnTo>
                  <a:lnTo>
                    <a:pt x="440817" y="409956"/>
                  </a:lnTo>
                  <a:lnTo>
                    <a:pt x="434054" y="414433"/>
                  </a:lnTo>
                  <a:lnTo>
                    <a:pt x="435483" y="425196"/>
                  </a:lnTo>
                  <a:lnTo>
                    <a:pt x="436150" y="430530"/>
                  </a:lnTo>
                  <a:lnTo>
                    <a:pt x="434626" y="432530"/>
                  </a:lnTo>
                  <a:lnTo>
                    <a:pt x="435102" y="436150"/>
                  </a:lnTo>
                  <a:lnTo>
                    <a:pt x="430625" y="443960"/>
                  </a:lnTo>
                  <a:lnTo>
                    <a:pt x="431387" y="449294"/>
                  </a:lnTo>
                  <a:lnTo>
                    <a:pt x="433864" y="454342"/>
                  </a:lnTo>
                  <a:lnTo>
                    <a:pt x="430530" y="456629"/>
                  </a:lnTo>
                  <a:lnTo>
                    <a:pt x="428244" y="453295"/>
                  </a:lnTo>
                  <a:lnTo>
                    <a:pt x="424910" y="455581"/>
                  </a:lnTo>
                  <a:lnTo>
                    <a:pt x="410051" y="453962"/>
                  </a:lnTo>
                  <a:lnTo>
                    <a:pt x="410528" y="457486"/>
                  </a:lnTo>
                  <a:lnTo>
                    <a:pt x="404908" y="456438"/>
                  </a:lnTo>
                  <a:lnTo>
                    <a:pt x="402908" y="454914"/>
                  </a:lnTo>
                  <a:lnTo>
                    <a:pt x="399479" y="457105"/>
                  </a:lnTo>
                  <a:lnTo>
                    <a:pt x="395669" y="455867"/>
                  </a:lnTo>
                  <a:lnTo>
                    <a:pt x="386906" y="444341"/>
                  </a:lnTo>
                  <a:lnTo>
                    <a:pt x="383286" y="444817"/>
                  </a:lnTo>
                  <a:lnTo>
                    <a:pt x="370046" y="455581"/>
                  </a:lnTo>
                  <a:lnTo>
                    <a:pt x="360807" y="455009"/>
                  </a:lnTo>
                  <a:lnTo>
                    <a:pt x="357759" y="459010"/>
                  </a:lnTo>
                  <a:lnTo>
                    <a:pt x="353949" y="457676"/>
                  </a:lnTo>
                  <a:lnTo>
                    <a:pt x="348996" y="462058"/>
                  </a:lnTo>
                  <a:lnTo>
                    <a:pt x="347186" y="462248"/>
                  </a:lnTo>
                  <a:lnTo>
                    <a:pt x="349377" y="451104"/>
                  </a:lnTo>
                  <a:lnTo>
                    <a:pt x="341471" y="446723"/>
                  </a:lnTo>
                  <a:lnTo>
                    <a:pt x="341757" y="448437"/>
                  </a:lnTo>
                  <a:lnTo>
                    <a:pt x="337852" y="447199"/>
                  </a:lnTo>
                  <a:lnTo>
                    <a:pt x="334994" y="453009"/>
                  </a:lnTo>
                  <a:lnTo>
                    <a:pt x="328041" y="455676"/>
                  </a:lnTo>
                  <a:lnTo>
                    <a:pt x="322231" y="452819"/>
                  </a:lnTo>
                  <a:lnTo>
                    <a:pt x="319278" y="458629"/>
                  </a:lnTo>
                  <a:lnTo>
                    <a:pt x="322231" y="467392"/>
                  </a:lnTo>
                  <a:lnTo>
                    <a:pt x="312420" y="475869"/>
                  </a:lnTo>
                  <a:lnTo>
                    <a:pt x="313373" y="483013"/>
                  </a:lnTo>
                  <a:lnTo>
                    <a:pt x="305943" y="482155"/>
                  </a:lnTo>
                  <a:lnTo>
                    <a:pt x="301181" y="473774"/>
                  </a:lnTo>
                  <a:lnTo>
                    <a:pt x="297371" y="472440"/>
                  </a:lnTo>
                  <a:lnTo>
                    <a:pt x="284226" y="456057"/>
                  </a:lnTo>
                  <a:lnTo>
                    <a:pt x="283559" y="450723"/>
                  </a:lnTo>
                  <a:lnTo>
                    <a:pt x="277178" y="444341"/>
                  </a:lnTo>
                  <a:lnTo>
                    <a:pt x="268224" y="445484"/>
                  </a:lnTo>
                  <a:lnTo>
                    <a:pt x="261652" y="437293"/>
                  </a:lnTo>
                  <a:lnTo>
                    <a:pt x="258890" y="430435"/>
                  </a:lnTo>
                  <a:lnTo>
                    <a:pt x="249460" y="428054"/>
                  </a:lnTo>
                  <a:lnTo>
                    <a:pt x="242030" y="427196"/>
                  </a:lnTo>
                  <a:lnTo>
                    <a:pt x="230315" y="421481"/>
                  </a:lnTo>
                  <a:lnTo>
                    <a:pt x="226695" y="421958"/>
                  </a:lnTo>
                  <a:lnTo>
                    <a:pt x="218599" y="415766"/>
                  </a:lnTo>
                  <a:lnTo>
                    <a:pt x="213932" y="421862"/>
                  </a:lnTo>
                  <a:lnTo>
                    <a:pt x="210312" y="422338"/>
                  </a:lnTo>
                  <a:lnTo>
                    <a:pt x="204502" y="419481"/>
                  </a:lnTo>
                  <a:lnTo>
                    <a:pt x="199930" y="412813"/>
                  </a:lnTo>
                  <a:lnTo>
                    <a:pt x="196120" y="411480"/>
                  </a:lnTo>
                  <a:lnTo>
                    <a:pt x="188500" y="408908"/>
                  </a:lnTo>
                  <a:lnTo>
                    <a:pt x="190405" y="395954"/>
                  </a:lnTo>
                  <a:lnTo>
                    <a:pt x="184500" y="393097"/>
                  </a:lnTo>
                  <a:lnTo>
                    <a:pt x="176213" y="385191"/>
                  </a:lnTo>
                  <a:lnTo>
                    <a:pt x="164783" y="368522"/>
                  </a:lnTo>
                  <a:lnTo>
                    <a:pt x="158687" y="363855"/>
                  </a:lnTo>
                  <a:lnTo>
                    <a:pt x="147447" y="361759"/>
                  </a:lnTo>
                  <a:lnTo>
                    <a:pt x="141351" y="357092"/>
                  </a:lnTo>
                  <a:lnTo>
                    <a:pt x="138017" y="359378"/>
                  </a:lnTo>
                  <a:lnTo>
                    <a:pt x="136017" y="357854"/>
                  </a:lnTo>
                  <a:lnTo>
                    <a:pt x="130588" y="358521"/>
                  </a:lnTo>
                  <a:lnTo>
                    <a:pt x="128111" y="353473"/>
                  </a:lnTo>
                  <a:lnTo>
                    <a:pt x="124016" y="350330"/>
                  </a:lnTo>
                  <a:lnTo>
                    <a:pt x="119253" y="341948"/>
                  </a:lnTo>
                  <a:lnTo>
                    <a:pt x="114110" y="344424"/>
                  </a:lnTo>
                  <a:lnTo>
                    <a:pt x="112776" y="348234"/>
                  </a:lnTo>
                  <a:lnTo>
                    <a:pt x="110966" y="348425"/>
                  </a:lnTo>
                  <a:lnTo>
                    <a:pt x="101060" y="342519"/>
                  </a:lnTo>
                  <a:lnTo>
                    <a:pt x="96774" y="337661"/>
                  </a:lnTo>
                  <a:lnTo>
                    <a:pt x="87821" y="338804"/>
                  </a:lnTo>
                  <a:lnTo>
                    <a:pt x="82868" y="343091"/>
                  </a:lnTo>
                  <a:lnTo>
                    <a:pt x="79058" y="341757"/>
                  </a:lnTo>
                  <a:lnTo>
                    <a:pt x="80391" y="338042"/>
                  </a:lnTo>
                  <a:lnTo>
                    <a:pt x="75819" y="331375"/>
                  </a:lnTo>
                  <a:lnTo>
                    <a:pt x="69723" y="326708"/>
                  </a:lnTo>
                  <a:lnTo>
                    <a:pt x="59436" y="331661"/>
                  </a:lnTo>
                  <a:lnTo>
                    <a:pt x="46673" y="331565"/>
                  </a:lnTo>
                  <a:lnTo>
                    <a:pt x="46863" y="333375"/>
                  </a:lnTo>
                  <a:lnTo>
                    <a:pt x="43053" y="332042"/>
                  </a:lnTo>
                  <a:lnTo>
                    <a:pt x="38100" y="336328"/>
                  </a:lnTo>
                  <a:lnTo>
                    <a:pt x="30194" y="331946"/>
                  </a:lnTo>
                  <a:lnTo>
                    <a:pt x="27242" y="323279"/>
                  </a:lnTo>
                  <a:lnTo>
                    <a:pt x="26099" y="314420"/>
                  </a:lnTo>
                  <a:lnTo>
                    <a:pt x="19717" y="307943"/>
                  </a:lnTo>
                  <a:lnTo>
                    <a:pt x="19526" y="306134"/>
                  </a:lnTo>
                  <a:lnTo>
                    <a:pt x="15145" y="301276"/>
                  </a:lnTo>
                  <a:lnTo>
                    <a:pt x="9335" y="298418"/>
                  </a:lnTo>
                  <a:lnTo>
                    <a:pt x="8858" y="294894"/>
                  </a:lnTo>
                  <a:lnTo>
                    <a:pt x="36004" y="293084"/>
                  </a:lnTo>
                  <a:lnTo>
                    <a:pt x="30194" y="290227"/>
                  </a:lnTo>
                  <a:lnTo>
                    <a:pt x="11906" y="276416"/>
                  </a:lnTo>
                  <a:lnTo>
                    <a:pt x="16097" y="266700"/>
                  </a:lnTo>
                  <a:lnTo>
                    <a:pt x="16954" y="259366"/>
                  </a:lnTo>
                  <a:lnTo>
                    <a:pt x="18479" y="257366"/>
                  </a:lnTo>
                  <a:lnTo>
                    <a:pt x="12002" y="249174"/>
                  </a:lnTo>
                  <a:lnTo>
                    <a:pt x="0" y="241649"/>
                  </a:lnTo>
                  <a:lnTo>
                    <a:pt x="4953" y="237363"/>
                  </a:lnTo>
                  <a:lnTo>
                    <a:pt x="6001" y="231838"/>
                  </a:lnTo>
                  <a:lnTo>
                    <a:pt x="9335" y="229553"/>
                  </a:lnTo>
                  <a:lnTo>
                    <a:pt x="9811" y="233172"/>
                  </a:lnTo>
                  <a:lnTo>
                    <a:pt x="23432" y="225838"/>
                  </a:lnTo>
                  <a:lnTo>
                    <a:pt x="27337" y="227171"/>
                  </a:lnTo>
                  <a:lnTo>
                    <a:pt x="29147" y="226981"/>
                  </a:lnTo>
                  <a:lnTo>
                    <a:pt x="41053" y="234410"/>
                  </a:lnTo>
                  <a:lnTo>
                    <a:pt x="46196" y="231934"/>
                  </a:lnTo>
                  <a:lnTo>
                    <a:pt x="62198" y="242507"/>
                  </a:lnTo>
                  <a:lnTo>
                    <a:pt x="62008" y="240697"/>
                  </a:lnTo>
                  <a:lnTo>
                    <a:pt x="67628" y="241840"/>
                  </a:lnTo>
                  <a:lnTo>
                    <a:pt x="66961" y="236411"/>
                  </a:lnTo>
                  <a:lnTo>
                    <a:pt x="71819" y="232124"/>
                  </a:lnTo>
                  <a:lnTo>
                    <a:pt x="73533" y="217456"/>
                  </a:lnTo>
                  <a:lnTo>
                    <a:pt x="72866" y="212122"/>
                  </a:lnTo>
                  <a:lnTo>
                    <a:pt x="77058" y="202502"/>
                  </a:lnTo>
                  <a:lnTo>
                    <a:pt x="77438" y="191548"/>
                  </a:lnTo>
                  <a:lnTo>
                    <a:pt x="80772" y="189262"/>
                  </a:lnTo>
                  <a:lnTo>
                    <a:pt x="79820" y="182118"/>
                  </a:lnTo>
                  <a:lnTo>
                    <a:pt x="73533" y="175736"/>
                  </a:lnTo>
                  <a:lnTo>
                    <a:pt x="73152" y="159449"/>
                  </a:lnTo>
                  <a:lnTo>
                    <a:pt x="78962" y="147828"/>
                  </a:lnTo>
                  <a:lnTo>
                    <a:pt x="76200" y="140970"/>
                  </a:lnTo>
                  <a:lnTo>
                    <a:pt x="75724" y="137350"/>
                  </a:lnTo>
                  <a:lnTo>
                    <a:pt x="76867" y="131826"/>
                  </a:lnTo>
                  <a:lnTo>
                    <a:pt x="74104" y="124873"/>
                  </a:lnTo>
                  <a:lnTo>
                    <a:pt x="83725" y="114586"/>
                  </a:lnTo>
                  <a:lnTo>
                    <a:pt x="87535" y="115824"/>
                  </a:lnTo>
                  <a:lnTo>
                    <a:pt x="89059" y="113824"/>
                  </a:lnTo>
                  <a:lnTo>
                    <a:pt x="80963" y="107633"/>
                  </a:lnTo>
                  <a:lnTo>
                    <a:pt x="85820" y="103442"/>
                  </a:lnTo>
                  <a:lnTo>
                    <a:pt x="81820" y="100298"/>
                  </a:lnTo>
                  <a:lnTo>
                    <a:pt x="83344" y="98298"/>
                  </a:lnTo>
                  <a:lnTo>
                    <a:pt x="81344" y="96679"/>
                  </a:lnTo>
                  <a:lnTo>
                    <a:pt x="79820" y="98774"/>
                  </a:lnTo>
                  <a:lnTo>
                    <a:pt x="77534" y="95441"/>
                  </a:lnTo>
                  <a:lnTo>
                    <a:pt x="76200" y="99250"/>
                  </a:lnTo>
                  <a:lnTo>
                    <a:pt x="73914" y="95917"/>
                  </a:lnTo>
                  <a:lnTo>
                    <a:pt x="71628" y="92583"/>
                  </a:lnTo>
                  <a:lnTo>
                    <a:pt x="70009" y="80105"/>
                  </a:lnTo>
                  <a:lnTo>
                    <a:pt x="73628" y="79629"/>
                  </a:lnTo>
                  <a:lnTo>
                    <a:pt x="72295" y="83439"/>
                  </a:lnTo>
                  <a:lnTo>
                    <a:pt x="75819" y="82963"/>
                  </a:lnTo>
                  <a:lnTo>
                    <a:pt x="75438" y="79438"/>
                  </a:lnTo>
                  <a:lnTo>
                    <a:pt x="77153" y="79153"/>
                  </a:lnTo>
                  <a:lnTo>
                    <a:pt x="76676" y="75629"/>
                  </a:lnTo>
                  <a:lnTo>
                    <a:pt x="81629" y="71342"/>
                  </a:lnTo>
                  <a:lnTo>
                    <a:pt x="93536" y="64294"/>
                  </a:lnTo>
                  <a:lnTo>
                    <a:pt x="96393" y="58483"/>
                  </a:lnTo>
                  <a:lnTo>
                    <a:pt x="100203" y="59817"/>
                  </a:lnTo>
                  <a:lnTo>
                    <a:pt x="100679" y="63341"/>
                  </a:lnTo>
                  <a:lnTo>
                    <a:pt x="106013" y="62675"/>
                  </a:lnTo>
                  <a:lnTo>
                    <a:pt x="104489" y="64675"/>
                  </a:lnTo>
                  <a:lnTo>
                    <a:pt x="111252" y="60198"/>
                  </a:lnTo>
                  <a:lnTo>
                    <a:pt x="113252" y="61722"/>
                  </a:lnTo>
                  <a:lnTo>
                    <a:pt x="112204" y="67246"/>
                  </a:lnTo>
                  <a:lnTo>
                    <a:pt x="113729" y="65246"/>
                  </a:lnTo>
                  <a:lnTo>
                    <a:pt x="125159" y="54674"/>
                  </a:lnTo>
                  <a:lnTo>
                    <a:pt x="128016" y="48863"/>
                  </a:lnTo>
                  <a:lnTo>
                    <a:pt x="123920" y="45815"/>
                  </a:lnTo>
                  <a:lnTo>
                    <a:pt x="119444" y="39148"/>
                  </a:lnTo>
                  <a:lnTo>
                    <a:pt x="124301" y="34862"/>
                  </a:lnTo>
                  <a:lnTo>
                    <a:pt x="129445" y="32385"/>
                  </a:lnTo>
                  <a:lnTo>
                    <a:pt x="119920" y="15526"/>
                  </a:lnTo>
                  <a:lnTo>
                    <a:pt x="128207" y="8954"/>
                  </a:lnTo>
                  <a:lnTo>
                    <a:pt x="123444" y="476"/>
                  </a:lnTo>
                  <a:lnTo>
                    <a:pt x="127064" y="0"/>
                  </a:lnTo>
                  <a:lnTo>
                    <a:pt x="131064" y="3143"/>
                  </a:lnTo>
                  <a:lnTo>
                    <a:pt x="144590" y="8573"/>
                  </a:lnTo>
                  <a:lnTo>
                    <a:pt x="147257" y="1048"/>
                  </a:lnTo>
                  <a:lnTo>
                    <a:pt x="153162" y="3810"/>
                  </a:lnTo>
                  <a:lnTo>
                    <a:pt x="157448" y="8668"/>
                  </a:lnTo>
                  <a:lnTo>
                    <a:pt x="164878" y="9525"/>
                  </a:lnTo>
                  <a:lnTo>
                    <a:pt x="161735" y="13621"/>
                  </a:lnTo>
                  <a:lnTo>
                    <a:pt x="171164" y="16002"/>
                  </a:lnTo>
                  <a:lnTo>
                    <a:pt x="171926" y="21336"/>
                  </a:lnTo>
                  <a:lnTo>
                    <a:pt x="179070" y="20383"/>
                  </a:lnTo>
                  <a:lnTo>
                    <a:pt x="181547" y="25432"/>
                  </a:lnTo>
                  <a:lnTo>
                    <a:pt x="189452" y="29908"/>
                  </a:lnTo>
                  <a:lnTo>
                    <a:pt x="198692" y="30480"/>
                  </a:lnTo>
                  <a:lnTo>
                    <a:pt x="202692" y="33528"/>
                  </a:lnTo>
                  <a:lnTo>
                    <a:pt x="208407" y="34576"/>
                  </a:lnTo>
                  <a:lnTo>
                    <a:pt x="220694" y="31147"/>
                  </a:lnTo>
                  <a:lnTo>
                    <a:pt x="228124" y="32004"/>
                  </a:lnTo>
                  <a:lnTo>
                    <a:pt x="223171" y="36290"/>
                  </a:lnTo>
                  <a:lnTo>
                    <a:pt x="222123" y="41910"/>
                  </a:lnTo>
                  <a:lnTo>
                    <a:pt x="232315" y="49530"/>
                  </a:lnTo>
                  <a:lnTo>
                    <a:pt x="230981" y="53340"/>
                  </a:lnTo>
                  <a:lnTo>
                    <a:pt x="234506" y="52864"/>
                  </a:lnTo>
                  <a:lnTo>
                    <a:pt x="244697" y="60674"/>
                  </a:lnTo>
                  <a:lnTo>
                    <a:pt x="246221" y="58579"/>
                  </a:lnTo>
                  <a:lnTo>
                    <a:pt x="255651" y="60960"/>
                  </a:lnTo>
                  <a:lnTo>
                    <a:pt x="255461" y="59150"/>
                  </a:lnTo>
                  <a:lnTo>
                    <a:pt x="264414" y="58007"/>
                  </a:lnTo>
                  <a:lnTo>
                    <a:pt x="293942" y="59531"/>
                  </a:lnTo>
                  <a:lnTo>
                    <a:pt x="300609" y="55054"/>
                  </a:lnTo>
                  <a:lnTo>
                    <a:pt x="302705" y="56579"/>
                  </a:lnTo>
                  <a:lnTo>
                    <a:pt x="299276" y="58865"/>
                  </a:lnTo>
                  <a:lnTo>
                    <a:pt x="303181" y="60198"/>
                  </a:lnTo>
                  <a:lnTo>
                    <a:pt x="301847" y="63913"/>
                  </a:lnTo>
                  <a:lnTo>
                    <a:pt x="305181" y="61722"/>
                  </a:lnTo>
                  <a:lnTo>
                    <a:pt x="303657" y="63722"/>
                  </a:lnTo>
                  <a:lnTo>
                    <a:pt x="308134" y="70390"/>
                  </a:lnTo>
                  <a:lnTo>
                    <a:pt x="313944" y="73247"/>
                  </a:lnTo>
                  <a:lnTo>
                    <a:pt x="315183" y="82105"/>
                  </a:lnTo>
                  <a:lnTo>
                    <a:pt x="321755" y="90297"/>
                  </a:lnTo>
                  <a:lnTo>
                    <a:pt x="328327" y="98488"/>
                  </a:lnTo>
                  <a:lnTo>
                    <a:pt x="334423" y="103156"/>
                  </a:lnTo>
                  <a:lnTo>
                    <a:pt x="341091" y="98584"/>
                  </a:lnTo>
                  <a:lnTo>
                    <a:pt x="350520" y="100965"/>
                  </a:lnTo>
                  <a:lnTo>
                    <a:pt x="357473" y="98298"/>
                  </a:lnTo>
                  <a:lnTo>
                    <a:pt x="359759" y="101632"/>
                  </a:lnTo>
                  <a:lnTo>
                    <a:pt x="365093" y="86392"/>
                  </a:lnTo>
                  <a:lnTo>
                    <a:pt x="368713" y="85916"/>
                  </a:lnTo>
                  <a:lnTo>
                    <a:pt x="368903" y="87725"/>
                  </a:lnTo>
                  <a:lnTo>
                    <a:pt x="367570" y="91535"/>
                  </a:lnTo>
                  <a:lnTo>
                    <a:pt x="367379" y="89725"/>
                  </a:lnTo>
                  <a:lnTo>
                    <a:pt x="366046" y="93536"/>
                  </a:lnTo>
                  <a:lnTo>
                    <a:pt x="362903" y="97536"/>
                  </a:lnTo>
                  <a:lnTo>
                    <a:pt x="363379" y="101155"/>
                  </a:lnTo>
                  <a:lnTo>
                    <a:pt x="362236" y="106680"/>
                  </a:lnTo>
                  <a:lnTo>
                    <a:pt x="372618" y="101727"/>
                  </a:lnTo>
                  <a:lnTo>
                    <a:pt x="383572" y="102108"/>
                  </a:lnTo>
                  <a:lnTo>
                    <a:pt x="387001" y="99822"/>
                  </a:lnTo>
                  <a:lnTo>
                    <a:pt x="389001" y="101346"/>
                  </a:lnTo>
                  <a:lnTo>
                    <a:pt x="388716" y="99632"/>
                  </a:lnTo>
                  <a:lnTo>
                    <a:pt x="394145" y="98870"/>
                  </a:lnTo>
                  <a:lnTo>
                    <a:pt x="394335" y="100679"/>
                  </a:lnTo>
                  <a:lnTo>
                    <a:pt x="405194" y="99250"/>
                  </a:lnTo>
                  <a:lnTo>
                    <a:pt x="406527" y="95441"/>
                  </a:lnTo>
                  <a:lnTo>
                    <a:pt x="412337" y="98298"/>
                  </a:lnTo>
                  <a:lnTo>
                    <a:pt x="416433" y="101346"/>
                  </a:lnTo>
                  <a:lnTo>
                    <a:pt x="415100" y="105156"/>
                  </a:lnTo>
                  <a:lnTo>
                    <a:pt x="419195" y="108299"/>
                  </a:lnTo>
                  <a:lnTo>
                    <a:pt x="418052" y="113824"/>
                  </a:lnTo>
                  <a:lnTo>
                    <a:pt x="423767" y="129445"/>
                  </a:lnTo>
                  <a:lnTo>
                    <a:pt x="423386" y="140303"/>
                  </a:lnTo>
                  <a:lnTo>
                    <a:pt x="422053" y="144113"/>
                  </a:lnTo>
                  <a:lnTo>
                    <a:pt x="431292" y="144685"/>
                  </a:lnTo>
                  <a:lnTo>
                    <a:pt x="449485" y="144113"/>
                  </a:lnTo>
                  <a:lnTo>
                    <a:pt x="448723" y="124301"/>
                  </a:lnTo>
                  <a:lnTo>
                    <a:pt x="448437" y="122492"/>
                  </a:lnTo>
                  <a:lnTo>
                    <a:pt x="460343" y="115443"/>
                  </a:lnTo>
                  <a:lnTo>
                    <a:pt x="465487" y="112967"/>
                  </a:lnTo>
                  <a:lnTo>
                    <a:pt x="467011" y="110966"/>
                  </a:lnTo>
                  <a:lnTo>
                    <a:pt x="481203" y="107252"/>
                  </a:lnTo>
                  <a:lnTo>
                    <a:pt x="484061" y="101441"/>
                  </a:lnTo>
                  <a:lnTo>
                    <a:pt x="488442" y="93631"/>
                  </a:lnTo>
                  <a:lnTo>
                    <a:pt x="495205" y="89154"/>
                  </a:lnTo>
                  <a:lnTo>
                    <a:pt x="499015" y="90392"/>
                  </a:lnTo>
                  <a:lnTo>
                    <a:pt x="500348" y="86582"/>
                  </a:lnTo>
                  <a:lnTo>
                    <a:pt x="513112" y="86773"/>
                  </a:lnTo>
                  <a:lnTo>
                    <a:pt x="527209" y="95821"/>
                  </a:lnTo>
                  <a:lnTo>
                    <a:pt x="529400" y="99060"/>
                  </a:lnTo>
                  <a:lnTo>
                    <a:pt x="535019" y="100203"/>
                  </a:lnTo>
                  <a:lnTo>
                    <a:pt x="534829" y="98393"/>
                  </a:lnTo>
                  <a:lnTo>
                    <a:pt x="530733" y="95345"/>
                  </a:lnTo>
                  <a:lnTo>
                    <a:pt x="532352" y="93250"/>
                  </a:lnTo>
                  <a:lnTo>
                    <a:pt x="557117" y="100870"/>
                  </a:lnTo>
                  <a:lnTo>
                    <a:pt x="563975" y="98108"/>
                  </a:lnTo>
                  <a:lnTo>
                    <a:pt x="568071" y="101251"/>
                  </a:lnTo>
                  <a:lnTo>
                    <a:pt x="573215" y="98774"/>
                  </a:lnTo>
                  <a:lnTo>
                    <a:pt x="588359" y="102203"/>
                  </a:lnTo>
                  <a:lnTo>
                    <a:pt x="588550" y="103918"/>
                  </a:lnTo>
                  <a:lnTo>
                    <a:pt x="595694" y="103061"/>
                  </a:lnTo>
                  <a:lnTo>
                    <a:pt x="599123" y="100775"/>
                  </a:lnTo>
                  <a:lnTo>
                    <a:pt x="597980" y="106299"/>
                  </a:lnTo>
                  <a:lnTo>
                    <a:pt x="600266" y="109633"/>
                  </a:lnTo>
                  <a:lnTo>
                    <a:pt x="597884" y="119063"/>
                  </a:lnTo>
                  <a:lnTo>
                    <a:pt x="600837" y="127730"/>
                  </a:lnTo>
                  <a:lnTo>
                    <a:pt x="606457" y="128778"/>
                  </a:lnTo>
                  <a:lnTo>
                    <a:pt x="606647" y="130588"/>
                  </a:lnTo>
                  <a:lnTo>
                    <a:pt x="612553" y="133445"/>
                  </a:lnTo>
                  <a:lnTo>
                    <a:pt x="615029" y="138494"/>
                  </a:lnTo>
                  <a:lnTo>
                    <a:pt x="619125" y="141637"/>
                  </a:lnTo>
                  <a:lnTo>
                    <a:pt x="617792" y="145447"/>
                  </a:lnTo>
                  <a:lnTo>
                    <a:pt x="618459" y="150781"/>
                  </a:lnTo>
                  <a:lnTo>
                    <a:pt x="617887" y="159925"/>
                  </a:lnTo>
                  <a:lnTo>
                    <a:pt x="625602" y="176975"/>
                  </a:lnTo>
                  <a:lnTo>
                    <a:pt x="642557" y="194691"/>
                  </a:lnTo>
                  <a:lnTo>
                    <a:pt x="648748" y="199358"/>
                  </a:lnTo>
                  <a:lnTo>
                    <a:pt x="656082" y="200216"/>
                  </a:lnTo>
                  <a:lnTo>
                    <a:pt x="660845" y="208598"/>
                  </a:lnTo>
                  <a:lnTo>
                    <a:pt x="655701" y="211074"/>
                  </a:lnTo>
                  <a:lnTo>
                    <a:pt x="656177" y="214694"/>
                  </a:lnTo>
                  <a:lnTo>
                    <a:pt x="656463" y="216408"/>
                  </a:lnTo>
                  <a:lnTo>
                    <a:pt x="651320" y="218980"/>
                  </a:lnTo>
                  <a:lnTo>
                    <a:pt x="651796" y="222504"/>
                  </a:lnTo>
                  <a:lnTo>
                    <a:pt x="662178" y="232029"/>
                  </a:lnTo>
                  <a:lnTo>
                    <a:pt x="669798" y="234601"/>
                  </a:lnTo>
                  <a:lnTo>
                    <a:pt x="665607" y="244221"/>
                  </a:lnTo>
                  <a:lnTo>
                    <a:pt x="660464" y="246793"/>
                  </a:lnTo>
                  <a:lnTo>
                    <a:pt x="657511" y="252603"/>
                  </a:lnTo>
                  <a:lnTo>
                    <a:pt x="649319" y="259080"/>
                  </a:lnTo>
                  <a:lnTo>
                    <a:pt x="653606" y="263938"/>
                  </a:lnTo>
                  <a:lnTo>
                    <a:pt x="658940" y="263271"/>
                  </a:lnTo>
                  <a:lnTo>
                    <a:pt x="662559" y="262795"/>
                  </a:lnTo>
                  <a:lnTo>
                    <a:pt x="663893" y="258985"/>
                  </a:lnTo>
                  <a:lnTo>
                    <a:pt x="671036" y="258032"/>
                  </a:lnTo>
                  <a:lnTo>
                    <a:pt x="671608" y="261557"/>
                  </a:lnTo>
                  <a:lnTo>
                    <a:pt x="675323" y="262890"/>
                  </a:lnTo>
                  <a:lnTo>
                    <a:pt x="678752" y="260699"/>
                  </a:lnTo>
                  <a:lnTo>
                    <a:pt x="687705" y="259461"/>
                  </a:lnTo>
                  <a:lnTo>
                    <a:pt x="692277" y="266129"/>
                  </a:lnTo>
                  <a:lnTo>
                    <a:pt x="700183" y="270510"/>
                  </a:lnTo>
                  <a:lnTo>
                    <a:pt x="701135" y="277654"/>
                  </a:lnTo>
                  <a:lnTo>
                    <a:pt x="695516" y="291084"/>
                  </a:lnTo>
                  <a:lnTo>
                    <a:pt x="697611" y="292608"/>
                  </a:lnTo>
                </a:path>
              </a:pathLst>
            </a:custGeom>
            <a:grpFill/>
            <a:ln w="127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266362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30">
          <p15:clr>
            <a:srgbClr val="FBAE40"/>
          </p15:clr>
        </p15:guide>
        <p15:guide id="2" pos="34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5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347605E1-604F-4661-8EEB-564973C25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6" name="Logo MZ CR">
            <a:extLst>
              <a:ext uri="{FF2B5EF4-FFF2-40B4-BE49-F238E27FC236}">
                <a16:creationId xmlns:a16="http://schemas.microsoft.com/office/drawing/2014/main" id="{0A674D63-7E08-40FA-BBE8-52A456EE32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09" y="6593923"/>
            <a:ext cx="2303581" cy="198318"/>
          </a:xfrm>
          <a:prstGeom prst="rect">
            <a:avLst/>
          </a:prstGeom>
        </p:spPr>
      </p:pic>
      <p:pic>
        <p:nvPicPr>
          <p:cNvPr id="9" name="Logo UZIS">
            <a:extLst>
              <a:ext uri="{FF2B5EF4-FFF2-40B4-BE49-F238E27FC236}">
                <a16:creationId xmlns:a16="http://schemas.microsoft.com/office/drawing/2014/main" id="{14527FAE-EF2D-4E64-BD3F-E8E8C7BCC2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5" y="6508808"/>
            <a:ext cx="503419" cy="330529"/>
          </a:xfrm>
          <a:prstGeom prst="rect">
            <a:avLst/>
          </a:prstGeom>
        </p:spPr>
      </p:pic>
      <p:cxnSp>
        <p:nvCxnSpPr>
          <p:cNvPr id="4" name="Přímá spojnice 3"/>
          <p:cNvCxnSpPr/>
          <p:nvPr userDrawn="1"/>
        </p:nvCxnSpPr>
        <p:spPr>
          <a:xfrm>
            <a:off x="1326763" y="6460191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/>
          <p:cNvSpPr/>
          <p:nvPr userDrawn="1"/>
        </p:nvSpPr>
        <p:spPr>
          <a:xfrm>
            <a:off x="922421" y="6549098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analytická studie pro regiony ČR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45277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Volný tvar 17">
            <a:extLst>
              <a:ext uri="{FF2B5EF4-FFF2-40B4-BE49-F238E27FC236}">
                <a16:creationId xmlns:a16="http://schemas.microsoft.com/office/drawing/2014/main" id="{C6950E5D-066F-4F9D-8148-1C9FAED80D4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Volný tvar 19">
            <a:extLst>
              <a:ext uri="{FF2B5EF4-FFF2-40B4-BE49-F238E27FC236}">
                <a16:creationId xmlns:a16="http://schemas.microsoft.com/office/drawing/2014/main" id="{7E089960-77FA-4589-B1F3-D16FE0681675}"/>
              </a:ext>
            </a:extLst>
          </p:cNvPr>
          <p:cNvSpPr/>
          <p:nvPr userDrawn="1"/>
        </p:nvSpPr>
        <p:spPr>
          <a:xfrm>
            <a:off x="10158897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">
            <a:extLst>
              <a:ext uri="{FF2B5EF4-FFF2-40B4-BE49-F238E27FC236}">
                <a16:creationId xmlns:a16="http://schemas.microsoft.com/office/drawing/2014/main" id="{FC05729B-E1CF-45CD-8144-1D976BC64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1" y="160258"/>
            <a:ext cx="10515600" cy="538364"/>
          </a:xfrm>
        </p:spPr>
        <p:txBody>
          <a:bodyPr anchor="t">
            <a:noAutofit/>
          </a:bodyPr>
          <a:lstStyle>
            <a:lvl1pPr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cs-CZ" dirty="0"/>
              <a:t>Kliknutím lze upravit styl.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969B5D67-C7D9-32FC-5EAF-06D67A4B6B9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63120" y="216000"/>
            <a:ext cx="1195804" cy="401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94059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92FFD67-0C21-45FD-BEB1-1762A7EC0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63705"/>
            <a:ext cx="10515600" cy="1325563"/>
          </a:xfrm>
        </p:spPr>
        <p:txBody>
          <a:bodyPr/>
          <a:lstStyle>
            <a:lvl1pPr>
              <a:defRPr>
                <a:solidFill>
                  <a:srgbClr val="31688F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5E47C18C-EE53-4FDE-890C-932757BFDA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982ACB-12C3-413B-B4A8-58126EA7DF73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948AFB4-2781-4B4B-8592-C92C45B724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66D81536-D387-4237-B73B-85E7B90FC8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D2E12E-E527-401A-9042-2E0AA82B8841}" type="slidenum">
              <a:rPr lang="cs-CZ" smtClean="0"/>
              <a:t>‹#›</a:t>
            </a:fld>
            <a:endParaRPr lang="cs-CZ"/>
          </a:p>
        </p:txBody>
      </p:sp>
      <p:sp>
        <p:nvSpPr>
          <p:cNvPr id="18" name="Nadpis 1">
            <a:extLst>
              <a:ext uri="{FF2B5EF4-FFF2-40B4-BE49-F238E27FC236}">
                <a16:creationId xmlns:a16="http://schemas.microsoft.com/office/drawing/2014/main" id="{5FBB7098-A511-4169-A8F5-7BE624F19786}"/>
              </a:ext>
            </a:extLst>
          </p:cNvPr>
          <p:cNvSpPr txBox="1">
            <a:spLocks/>
          </p:cNvSpPr>
          <p:nvPr userDrawn="1"/>
        </p:nvSpPr>
        <p:spPr>
          <a:xfrm>
            <a:off x="1182177" y="96172"/>
            <a:ext cx="307323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cs-CZ" sz="1600" dirty="0">
                <a:solidFill>
                  <a:schemeClr val="bg2">
                    <a:lumMod val="75000"/>
                  </a:schemeClr>
                </a:solidFill>
                <a:effectLst/>
                <a:latin typeface="Calibri" panose="020F0502020204030204"/>
                <a:ea typeface="+mn-ea"/>
                <a:cs typeface="+mn-cs"/>
              </a:rPr>
              <a:t>ELEKTRONICKÉ ZDRAVOTNICTVÍ ČR</a:t>
            </a:r>
            <a:endParaRPr lang="cs-CZ" sz="1600" dirty="0">
              <a:solidFill>
                <a:schemeClr val="bg2">
                  <a:lumMod val="75000"/>
                </a:schemeClr>
              </a:solidFill>
              <a:effectLst/>
            </a:endParaRPr>
          </a:p>
        </p:txBody>
      </p:sp>
      <p:sp>
        <p:nvSpPr>
          <p:cNvPr id="19" name="Kosočtverec 18">
            <a:extLst>
              <a:ext uri="{FF2B5EF4-FFF2-40B4-BE49-F238E27FC236}">
                <a16:creationId xmlns:a16="http://schemas.microsoft.com/office/drawing/2014/main" id="{0B7D91C6-C4AC-4687-831A-BC44FCABC31D}"/>
              </a:ext>
            </a:extLst>
          </p:cNvPr>
          <p:cNvSpPr/>
          <p:nvPr userDrawn="1"/>
        </p:nvSpPr>
        <p:spPr>
          <a:xfrm>
            <a:off x="4304437" y="169895"/>
            <a:ext cx="221559" cy="221559"/>
          </a:xfrm>
          <a:prstGeom prst="diamond">
            <a:avLst/>
          </a:prstGeom>
          <a:solidFill>
            <a:schemeClr val="bg2">
              <a:lumMod val="90000"/>
              <a:alpha val="9215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Kosočtverec 19">
            <a:extLst>
              <a:ext uri="{FF2B5EF4-FFF2-40B4-BE49-F238E27FC236}">
                <a16:creationId xmlns:a16="http://schemas.microsoft.com/office/drawing/2014/main" id="{9BD66DC4-37DB-4BF5-9749-1C65D6AFAC2E}"/>
              </a:ext>
            </a:extLst>
          </p:cNvPr>
          <p:cNvSpPr/>
          <p:nvPr userDrawn="1"/>
        </p:nvSpPr>
        <p:spPr>
          <a:xfrm>
            <a:off x="4605388" y="169895"/>
            <a:ext cx="221559" cy="221559"/>
          </a:xfrm>
          <a:prstGeom prst="diamond">
            <a:avLst/>
          </a:prstGeom>
          <a:solidFill>
            <a:srgbClr val="69F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" name="Kosočtverec 20">
            <a:extLst>
              <a:ext uri="{FF2B5EF4-FFF2-40B4-BE49-F238E27FC236}">
                <a16:creationId xmlns:a16="http://schemas.microsoft.com/office/drawing/2014/main" id="{889EC06B-DACB-4891-8C4C-40530DE9134E}"/>
              </a:ext>
            </a:extLst>
          </p:cNvPr>
          <p:cNvSpPr/>
          <p:nvPr userDrawn="1"/>
        </p:nvSpPr>
        <p:spPr>
          <a:xfrm>
            <a:off x="4906339" y="169895"/>
            <a:ext cx="221559" cy="221559"/>
          </a:xfrm>
          <a:prstGeom prst="diamond">
            <a:avLst/>
          </a:prstGeom>
          <a:solidFill>
            <a:srgbClr val="69FFDB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A29F6628-2574-4BFC-A4C4-519FF12EEB4B}"/>
              </a:ext>
            </a:extLst>
          </p:cNvPr>
          <p:cNvSpPr/>
          <p:nvPr userDrawn="1"/>
        </p:nvSpPr>
        <p:spPr>
          <a:xfrm flipV="1">
            <a:off x="5291251" y="257810"/>
            <a:ext cx="4827318" cy="45719"/>
          </a:xfrm>
          <a:prstGeom prst="rect">
            <a:avLst/>
          </a:prstGeom>
          <a:solidFill>
            <a:srgbClr val="69FFDB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23" name="Logo MZ CR">
            <a:extLst>
              <a:ext uri="{FF2B5EF4-FFF2-40B4-BE49-F238E27FC236}">
                <a16:creationId xmlns:a16="http://schemas.microsoft.com/office/drawing/2014/main" id="{B244F3F6-3F0B-460D-87E1-1105207BAC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341"/>
          <a:stretch/>
        </p:blipFill>
        <p:spPr>
          <a:xfrm>
            <a:off x="10281922" y="178340"/>
            <a:ext cx="942846" cy="204669"/>
          </a:xfrm>
          <a:prstGeom prst="rect">
            <a:avLst/>
          </a:prstGeom>
        </p:spPr>
      </p:pic>
      <p:pic>
        <p:nvPicPr>
          <p:cNvPr id="24" name="Logo UZIS">
            <a:extLst>
              <a:ext uri="{FF2B5EF4-FFF2-40B4-BE49-F238E27FC236}">
                <a16:creationId xmlns:a16="http://schemas.microsoft.com/office/drawing/2014/main" id="{11823E82-2C07-4168-B86E-1B2D87A5B5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8121" y="82857"/>
            <a:ext cx="519543" cy="341116"/>
          </a:xfrm>
          <a:prstGeom prst="rect">
            <a:avLst/>
          </a:prstGeom>
        </p:spPr>
      </p:pic>
      <p:sp>
        <p:nvSpPr>
          <p:cNvPr id="25" name="Kosočtverec 24">
            <a:extLst>
              <a:ext uri="{FF2B5EF4-FFF2-40B4-BE49-F238E27FC236}">
                <a16:creationId xmlns:a16="http://schemas.microsoft.com/office/drawing/2014/main" id="{4FE545B5-6D92-4448-B9AD-B066568B9BA4}"/>
              </a:ext>
            </a:extLst>
          </p:cNvPr>
          <p:cNvSpPr/>
          <p:nvPr userDrawn="1"/>
        </p:nvSpPr>
        <p:spPr>
          <a:xfrm flipH="1">
            <a:off x="930253" y="169895"/>
            <a:ext cx="221559" cy="221559"/>
          </a:xfrm>
          <a:prstGeom prst="diamond">
            <a:avLst/>
          </a:prstGeom>
          <a:solidFill>
            <a:schemeClr val="bg2">
              <a:lumMod val="90000"/>
              <a:alpha val="92157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6" name="Kosočtverec 25">
            <a:extLst>
              <a:ext uri="{FF2B5EF4-FFF2-40B4-BE49-F238E27FC236}">
                <a16:creationId xmlns:a16="http://schemas.microsoft.com/office/drawing/2014/main" id="{9646806F-0303-4055-940D-E719413FCB7F}"/>
              </a:ext>
            </a:extLst>
          </p:cNvPr>
          <p:cNvSpPr/>
          <p:nvPr userDrawn="1"/>
        </p:nvSpPr>
        <p:spPr>
          <a:xfrm flipH="1">
            <a:off x="629302" y="169895"/>
            <a:ext cx="221559" cy="221559"/>
          </a:xfrm>
          <a:prstGeom prst="diamond">
            <a:avLst/>
          </a:prstGeom>
          <a:solidFill>
            <a:srgbClr val="69FF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7" name="Kosočtverec 26">
            <a:extLst>
              <a:ext uri="{FF2B5EF4-FFF2-40B4-BE49-F238E27FC236}">
                <a16:creationId xmlns:a16="http://schemas.microsoft.com/office/drawing/2014/main" id="{B1FAF806-3DF5-445E-AF9F-66AEE5CE99C8}"/>
              </a:ext>
            </a:extLst>
          </p:cNvPr>
          <p:cNvSpPr/>
          <p:nvPr userDrawn="1"/>
        </p:nvSpPr>
        <p:spPr>
          <a:xfrm flipH="1">
            <a:off x="328351" y="169895"/>
            <a:ext cx="221559" cy="221559"/>
          </a:xfrm>
          <a:prstGeom prst="diamond">
            <a:avLst/>
          </a:prstGeom>
          <a:solidFill>
            <a:srgbClr val="69FFDB">
              <a:alpha val="2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37245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image" Target="../media/image21.emf"/><Relationship Id="rId2" Type="http://schemas.openxmlformats.org/officeDocument/2006/relationships/slideLayout" Target="../slideLayouts/slideLayout79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image" Target="../media/image19.png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3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95.xml"/><Relationship Id="rId4" Type="http://schemas.openxmlformats.org/officeDocument/2006/relationships/slideLayout" Target="../slideLayouts/slideLayout9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21.emf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image" Target="../media/image21.emf"/><Relationship Id="rId5" Type="http://schemas.openxmlformats.org/officeDocument/2006/relationships/slideLayout" Target="../slideLayouts/slideLayout54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53.xml"/><Relationship Id="rId9" Type="http://schemas.openxmlformats.org/officeDocument/2006/relationships/image" Target="../media/image19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2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5" Type="http://schemas.openxmlformats.org/officeDocument/2006/relationships/slideLayout" Target="../slideLayouts/slideLayout74.xml"/><Relationship Id="rId4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AB32BF6-713C-4E30-BCDD-2637B3BB54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91A704A-9B47-48B0-A765-F3A2A741EE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81590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4" r:id="rId4"/>
    <p:sldLayoutId id="2147483655" r:id="rId5"/>
    <p:sldLayoutId id="2147483669" r:id="rId6"/>
    <p:sldLayoutId id="2147483913" r:id="rId7"/>
    <p:sldLayoutId id="2147483964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996E8-D44D-4D29-B5B3-6A5042537ABD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2029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4" r:id="rId1"/>
    <p:sldLayoutId id="2147484265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1" name="Volný tvar 17">
            <a:extLst>
              <a:ext uri="{FF2B5EF4-FFF2-40B4-BE49-F238E27FC236}">
                <a16:creationId xmlns:a16="http://schemas.microsoft.com/office/drawing/2014/main" id="{4AEDF47B-C123-947F-E36B-05B80DD8FBC9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sp>
        <p:nvSpPr>
          <p:cNvPr id="12" name="Volný tvar 19">
            <a:extLst>
              <a:ext uri="{FF2B5EF4-FFF2-40B4-BE49-F238E27FC236}">
                <a16:creationId xmlns:a16="http://schemas.microsoft.com/office/drawing/2014/main" id="{7A46EEFE-08DA-BFF4-9A92-2651CA7B7A98}"/>
              </a:ext>
            </a:extLst>
          </p:cNvPr>
          <p:cNvSpPr/>
          <p:nvPr userDrawn="1"/>
        </p:nvSpPr>
        <p:spPr>
          <a:xfrm>
            <a:off x="10158898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pic>
        <p:nvPicPr>
          <p:cNvPr id="13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C991D29D-A25C-9D29-41BF-94957D57257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14" name="Logo MZ CR">
            <a:extLst>
              <a:ext uri="{FF2B5EF4-FFF2-40B4-BE49-F238E27FC236}">
                <a16:creationId xmlns:a16="http://schemas.microsoft.com/office/drawing/2014/main" id="{1E8E6EB3-F5F3-9B39-5D9F-6E8B13874DDB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10" y="6593923"/>
            <a:ext cx="2303581" cy="198318"/>
          </a:xfrm>
          <a:prstGeom prst="rect">
            <a:avLst/>
          </a:prstGeom>
        </p:spPr>
      </p:pic>
      <p:pic>
        <p:nvPicPr>
          <p:cNvPr id="15" name="Logo UZIS">
            <a:extLst>
              <a:ext uri="{FF2B5EF4-FFF2-40B4-BE49-F238E27FC236}">
                <a16:creationId xmlns:a16="http://schemas.microsoft.com/office/drawing/2014/main" id="{2052BA40-2BDD-9D1F-C691-4A8780189EFA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6" y="6508809"/>
            <a:ext cx="503419" cy="330529"/>
          </a:xfrm>
          <a:prstGeom prst="rect">
            <a:avLst/>
          </a:prstGeom>
        </p:spPr>
      </p:pic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98752B4C-2D4C-FD0E-F292-E4C54484D88B}"/>
              </a:ext>
            </a:extLst>
          </p:cNvPr>
          <p:cNvCxnSpPr/>
          <p:nvPr userDrawn="1"/>
        </p:nvCxnSpPr>
        <p:spPr>
          <a:xfrm>
            <a:off x="1326763" y="6460192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délník 16">
            <a:extLst>
              <a:ext uri="{FF2B5EF4-FFF2-40B4-BE49-F238E27FC236}">
                <a16:creationId xmlns:a16="http://schemas.microsoft.com/office/drawing/2014/main" id="{1923FC13-4383-CF1B-7CC3-EB1C6498EE90}"/>
              </a:ext>
            </a:extLst>
          </p:cNvPr>
          <p:cNvSpPr/>
          <p:nvPr userDrawn="1"/>
        </p:nvSpPr>
        <p:spPr>
          <a:xfrm>
            <a:off x="922421" y="6549099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optimalizace personálních kapacit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047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9" r:id="rId1"/>
    <p:sldLayoutId id="2147484270" r:id="rId2"/>
    <p:sldLayoutId id="2147484271" r:id="rId3"/>
    <p:sldLayoutId id="2147484272" r:id="rId4"/>
    <p:sldLayoutId id="2147484273" r:id="rId5"/>
    <p:sldLayoutId id="2147484274" r:id="rId6"/>
    <p:sldLayoutId id="2147484275" r:id="rId7"/>
    <p:sldLayoutId id="2147484276" r:id="rId8"/>
    <p:sldLayoutId id="2147484277" r:id="rId9"/>
    <p:sldLayoutId id="2147484278" r:id="rId10"/>
    <p:sldLayoutId id="2147484279" r:id="rId11"/>
    <p:sldLayoutId id="2147484280" r:id="rId12"/>
    <p:sldLayoutId id="214748428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124D1CE7-99A5-59D1-D71F-50454BF44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BB025E9-7E49-1131-B8B0-7EE150AE78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47E6E07-5EF3-BB08-9FD6-BF5F979515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BF43EB-2E3E-4643-B8B9-DA9E5C8705F0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32682A7-8695-DF37-F06E-6B04D8ECC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765AB07-76F8-C621-B064-9A3DC6E2D2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883482-ADB2-404D-AAFB-407D1911DBE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9391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3" r:id="rId1"/>
    <p:sldLayoutId id="2147484284" r:id="rId2"/>
    <p:sldLayoutId id="2147484285" r:id="rId3"/>
    <p:sldLayoutId id="2147484286" r:id="rId4"/>
    <p:sldLayoutId id="2147484287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7535631C-4CDD-42C2-A7AD-9AA51AFBB8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010DE45-F4C7-4C3F-B3D7-F5ED14ED00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18A5DE6-F4CE-43D4-9B38-F7564481CD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3550C1-90E3-48F0-81D4-692D92D9D800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9B68E6B-3635-4F98-86A1-C42C823AD9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ADC5EA2-659F-491D-ACEB-F665442B1D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181511-F24E-4788-83D8-296E9F7D633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0879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2" r:id="rId1"/>
    <p:sldLayoutId id="2147484183" r:id="rId2"/>
    <p:sldLayoutId id="2147484184" r:id="rId3"/>
    <p:sldLayoutId id="2147484185" r:id="rId4"/>
    <p:sldLayoutId id="2147484186" r:id="rId5"/>
    <p:sldLayoutId id="2147484187" r:id="rId6"/>
    <p:sldLayoutId id="2147484188" r:id="rId7"/>
    <p:sldLayoutId id="2147484189" r:id="rId8"/>
    <p:sldLayoutId id="2147484190" r:id="rId9"/>
    <p:sldLayoutId id="2147484191" r:id="rId10"/>
    <p:sldLayoutId id="2147484192" r:id="rId11"/>
    <p:sldLayoutId id="2147484193" r:id="rId12"/>
    <p:sldLayoutId id="2147484194" r:id="rId13"/>
    <p:sldLayoutId id="2147484195" r:id="rId14"/>
    <p:sldLayoutId id="2147484196" r:id="rId15"/>
    <p:sldLayoutId id="2147484197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4FB28308-2F96-42C4-9DA2-B541B59DB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C988A46-CE27-4DD1-8941-4063D0537C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478D5A5-E6E8-410D-ADC6-3787EF1AC3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F0D3E5-4E9A-4DCE-8614-48FB4F7B8011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FAF42C8-2DBB-46DC-98D8-D0A7C82AAB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99E91CD-0448-4B08-8D5A-484D0D9185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74FF0AB-9EB6-4B5E-BF90-3086A01136E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8797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9" r:id="rId1"/>
    <p:sldLayoutId id="2147484200" r:id="rId2"/>
    <p:sldLayoutId id="2147484201" r:id="rId3"/>
    <p:sldLayoutId id="2147484202" r:id="rId4"/>
    <p:sldLayoutId id="2147484203" r:id="rId5"/>
    <p:sldLayoutId id="2147484204" r:id="rId6"/>
    <p:sldLayoutId id="2147484205" r:id="rId7"/>
    <p:sldLayoutId id="2147484235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EB0000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1" name="Volný tvar 17">
            <a:extLst>
              <a:ext uri="{FF2B5EF4-FFF2-40B4-BE49-F238E27FC236}">
                <a16:creationId xmlns:a16="http://schemas.microsoft.com/office/drawing/2014/main" id="{4AEDF47B-C123-947F-E36B-05B80DD8FBC9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sp>
        <p:nvSpPr>
          <p:cNvPr id="12" name="Volný tvar 19">
            <a:extLst>
              <a:ext uri="{FF2B5EF4-FFF2-40B4-BE49-F238E27FC236}">
                <a16:creationId xmlns:a16="http://schemas.microsoft.com/office/drawing/2014/main" id="{7A46EEFE-08DA-BFF4-9A92-2651CA7B7A98}"/>
              </a:ext>
            </a:extLst>
          </p:cNvPr>
          <p:cNvSpPr/>
          <p:nvPr userDrawn="1"/>
        </p:nvSpPr>
        <p:spPr>
          <a:xfrm>
            <a:off x="10158898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pic>
        <p:nvPicPr>
          <p:cNvPr id="15" name="Logo UZIS">
            <a:extLst>
              <a:ext uri="{FF2B5EF4-FFF2-40B4-BE49-F238E27FC236}">
                <a16:creationId xmlns:a16="http://schemas.microsoft.com/office/drawing/2014/main" id="{2052BA40-2BDD-9D1F-C691-4A8780189EF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6456" y="6404034"/>
            <a:ext cx="503419" cy="33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248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9" r:id="rId1"/>
    <p:sldLayoutId id="2147484210" r:id="rId2"/>
    <p:sldLayoutId id="2147484211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8D3025AB-2E16-4A48-BDB9-41D303206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80C11-DFFA-4F66-9458-68BE0DFBDD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8D22997-4F24-49AF-A58E-7D60FF3D60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DC7EE7C-85E8-4755-A3AF-44ABB70E26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F8545C4-5766-4E89-93BF-FC1AD4A5B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31904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9" r:id="rId1"/>
    <p:sldLayoutId id="2147484220" r:id="rId2"/>
    <p:sldLayoutId id="2147484221" r:id="rId3"/>
    <p:sldLayoutId id="2147484222" r:id="rId4"/>
    <p:sldLayoutId id="2147484223" r:id="rId5"/>
    <p:sldLayoutId id="2147484224" r:id="rId6"/>
    <p:sldLayoutId id="2147484225" r:id="rId7"/>
    <p:sldLayoutId id="2147484226" r:id="rId8"/>
    <p:sldLayoutId id="2147484227" r:id="rId9"/>
    <p:sldLayoutId id="2147484228" r:id="rId10"/>
    <p:sldLayoutId id="2147484229" r:id="rId11"/>
    <p:sldLayoutId id="214748423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996E8-D44D-4D29-B5B3-6A5042537ABD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22973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2" r:id="rId1"/>
    <p:sldLayoutId id="214748423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AB32BF6-713C-4E30-BCDD-2637B3BB54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91A704A-9B47-48B0-A765-F3A2A741EE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8" name="Volný tvar 17">
            <a:extLst>
              <a:ext uri="{FF2B5EF4-FFF2-40B4-BE49-F238E27FC236}">
                <a16:creationId xmlns:a16="http://schemas.microsoft.com/office/drawing/2014/main" id="{02880974-5424-EA5E-C013-E81AA97BCF90}"/>
              </a:ext>
            </a:extLst>
          </p:cNvPr>
          <p:cNvSpPr/>
          <p:nvPr userDrawn="1"/>
        </p:nvSpPr>
        <p:spPr>
          <a:xfrm rot="10800000">
            <a:off x="-9428" y="5759777"/>
            <a:ext cx="1960776" cy="110764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D7144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sp>
        <p:nvSpPr>
          <p:cNvPr id="9" name="Volný tvar 19">
            <a:extLst>
              <a:ext uri="{FF2B5EF4-FFF2-40B4-BE49-F238E27FC236}">
                <a16:creationId xmlns:a16="http://schemas.microsoft.com/office/drawing/2014/main" id="{66367885-8844-12B3-D4D4-E745E90D831A}"/>
              </a:ext>
            </a:extLst>
          </p:cNvPr>
          <p:cNvSpPr/>
          <p:nvPr userDrawn="1"/>
        </p:nvSpPr>
        <p:spPr>
          <a:xfrm>
            <a:off x="10158898" y="-9427"/>
            <a:ext cx="2051957" cy="1306286"/>
          </a:xfrm>
          <a:custGeom>
            <a:avLst/>
            <a:gdLst>
              <a:gd name="connsiteX0" fmla="*/ 0 w 5070021"/>
              <a:gd name="connsiteY0" fmla="*/ 0 h 3755571"/>
              <a:gd name="connsiteX1" fmla="*/ 3584121 w 5070021"/>
              <a:gd name="connsiteY1" fmla="*/ 187778 h 3755571"/>
              <a:gd name="connsiteX2" fmla="*/ 3535135 w 5070021"/>
              <a:gd name="connsiteY2" fmla="*/ 767443 h 3755571"/>
              <a:gd name="connsiteX3" fmla="*/ 4229100 w 5070021"/>
              <a:gd name="connsiteY3" fmla="*/ 563336 h 3755571"/>
              <a:gd name="connsiteX4" fmla="*/ 4180114 w 5070021"/>
              <a:gd name="connsiteY4" fmla="*/ 1175657 h 3755571"/>
              <a:gd name="connsiteX5" fmla="*/ 4629150 w 5070021"/>
              <a:gd name="connsiteY5" fmla="*/ 881743 h 3755571"/>
              <a:gd name="connsiteX6" fmla="*/ 5070021 w 5070021"/>
              <a:gd name="connsiteY6" fmla="*/ 3755571 h 3755571"/>
              <a:gd name="connsiteX7" fmla="*/ 5070021 w 5070021"/>
              <a:gd name="connsiteY7" fmla="*/ 3755571 h 3755571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0 w 5086350"/>
              <a:gd name="connsiteY8" fmla="*/ 0 h 3829050"/>
              <a:gd name="connsiteX0" fmla="*/ 0 w 5086350"/>
              <a:gd name="connsiteY0" fmla="*/ 0 h 3829050"/>
              <a:gd name="connsiteX1" fmla="*/ 3600450 w 5086350"/>
              <a:gd name="connsiteY1" fmla="*/ 261257 h 3829050"/>
              <a:gd name="connsiteX2" fmla="*/ 3551464 w 5086350"/>
              <a:gd name="connsiteY2" fmla="*/ 840922 h 3829050"/>
              <a:gd name="connsiteX3" fmla="*/ 4245429 w 5086350"/>
              <a:gd name="connsiteY3" fmla="*/ 636815 h 3829050"/>
              <a:gd name="connsiteX4" fmla="*/ 4196443 w 5086350"/>
              <a:gd name="connsiteY4" fmla="*/ 1249136 h 3829050"/>
              <a:gd name="connsiteX5" fmla="*/ 4645479 w 5086350"/>
              <a:gd name="connsiteY5" fmla="*/ 955222 h 3829050"/>
              <a:gd name="connsiteX6" fmla="*/ 5086350 w 5086350"/>
              <a:gd name="connsiteY6" fmla="*/ 3829050 h 3829050"/>
              <a:gd name="connsiteX7" fmla="*/ 5086350 w 5086350"/>
              <a:gd name="connsiteY7" fmla="*/ 3829050 h 3829050"/>
              <a:gd name="connsiteX8" fmla="*/ 2579914 w 5086350"/>
              <a:gd name="connsiteY8" fmla="*/ 1951265 h 3829050"/>
              <a:gd name="connsiteX9" fmla="*/ 0 w 5086350"/>
              <a:gd name="connsiteY9" fmla="*/ 0 h 3829050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3551464 w 5102679"/>
              <a:gd name="connsiteY2" fmla="*/ 849086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196443 w 5102679"/>
              <a:gd name="connsiteY4" fmla="*/ 12573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735286 w 5102679"/>
              <a:gd name="connsiteY4" fmla="*/ 457200 h 3837214"/>
              <a:gd name="connsiteX5" fmla="*/ 4645479 w 5102679"/>
              <a:gd name="connsiteY5" fmla="*/ 963386 h 3837214"/>
              <a:gd name="connsiteX6" fmla="*/ 5086350 w 5102679"/>
              <a:gd name="connsiteY6" fmla="*/ 3837214 h 3837214"/>
              <a:gd name="connsiteX7" fmla="*/ 5086350 w 5102679"/>
              <a:gd name="connsiteY7" fmla="*/ 3837214 h 3837214"/>
              <a:gd name="connsiteX8" fmla="*/ 5102679 w 5102679"/>
              <a:gd name="connsiteY8" fmla="*/ 0 h 3837214"/>
              <a:gd name="connsiteX9" fmla="*/ 0 w 5102679"/>
              <a:gd name="connsiteY9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245429 w 5102679"/>
              <a:gd name="connsiteY3" fmla="*/ 644979 h 3837214"/>
              <a:gd name="connsiteX4" fmla="*/ 4645479 w 5102679"/>
              <a:gd name="connsiteY4" fmla="*/ 963386 h 3837214"/>
              <a:gd name="connsiteX5" fmla="*/ 5086350 w 5102679"/>
              <a:gd name="connsiteY5" fmla="*/ 3837214 h 3837214"/>
              <a:gd name="connsiteX6" fmla="*/ 5086350 w 5102679"/>
              <a:gd name="connsiteY6" fmla="*/ 3837214 h 3837214"/>
              <a:gd name="connsiteX7" fmla="*/ 5102679 w 5102679"/>
              <a:gd name="connsiteY7" fmla="*/ 0 h 3837214"/>
              <a:gd name="connsiteX8" fmla="*/ 0 w 5102679"/>
              <a:gd name="connsiteY8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408714 w 5102679"/>
              <a:gd name="connsiteY2" fmla="*/ 261258 h 3837214"/>
              <a:gd name="connsiteX3" fmla="*/ 4645479 w 5102679"/>
              <a:gd name="connsiteY3" fmla="*/ 963386 h 3837214"/>
              <a:gd name="connsiteX4" fmla="*/ 5086350 w 5102679"/>
              <a:gd name="connsiteY4" fmla="*/ 3837214 h 3837214"/>
              <a:gd name="connsiteX5" fmla="*/ 5086350 w 5102679"/>
              <a:gd name="connsiteY5" fmla="*/ 3837214 h 3837214"/>
              <a:gd name="connsiteX6" fmla="*/ 5102679 w 5102679"/>
              <a:gd name="connsiteY6" fmla="*/ 0 h 3837214"/>
              <a:gd name="connsiteX7" fmla="*/ 0 w 5102679"/>
              <a:gd name="connsiteY7" fmla="*/ 8164 h 3837214"/>
              <a:gd name="connsiteX0" fmla="*/ 0 w 5102679"/>
              <a:gd name="connsiteY0" fmla="*/ 8164 h 3837214"/>
              <a:gd name="connsiteX1" fmla="*/ 3600450 w 5102679"/>
              <a:gd name="connsiteY1" fmla="*/ 269421 h 3837214"/>
              <a:gd name="connsiteX2" fmla="*/ 4645479 w 5102679"/>
              <a:gd name="connsiteY2" fmla="*/ 963386 h 3837214"/>
              <a:gd name="connsiteX3" fmla="*/ 5086350 w 5102679"/>
              <a:gd name="connsiteY3" fmla="*/ 3837214 h 3837214"/>
              <a:gd name="connsiteX4" fmla="*/ 5086350 w 5102679"/>
              <a:gd name="connsiteY4" fmla="*/ 3837214 h 3837214"/>
              <a:gd name="connsiteX5" fmla="*/ 5102679 w 5102679"/>
              <a:gd name="connsiteY5" fmla="*/ 0 h 3837214"/>
              <a:gd name="connsiteX6" fmla="*/ 0 w 5102679"/>
              <a:gd name="connsiteY6" fmla="*/ 8164 h 3837214"/>
              <a:gd name="connsiteX0" fmla="*/ 1108 w 5185049"/>
              <a:gd name="connsiteY0" fmla="*/ 8164 h 3837214"/>
              <a:gd name="connsiteX1" fmla="*/ 4646587 w 5185049"/>
              <a:gd name="connsiteY1" fmla="*/ 963386 h 3837214"/>
              <a:gd name="connsiteX2" fmla="*/ 5087458 w 5185049"/>
              <a:gd name="connsiteY2" fmla="*/ 3837214 h 3837214"/>
              <a:gd name="connsiteX3" fmla="*/ 5087458 w 5185049"/>
              <a:gd name="connsiteY3" fmla="*/ 3837214 h 3837214"/>
              <a:gd name="connsiteX4" fmla="*/ 5103787 w 5185049"/>
              <a:gd name="connsiteY4" fmla="*/ 0 h 3837214"/>
              <a:gd name="connsiteX5" fmla="*/ 1108 w 5185049"/>
              <a:gd name="connsiteY5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2 w 5102681"/>
              <a:gd name="connsiteY0" fmla="*/ 8164 h 3837214"/>
              <a:gd name="connsiteX1" fmla="*/ 5086352 w 5102681"/>
              <a:gd name="connsiteY1" fmla="*/ 3837214 h 3837214"/>
              <a:gd name="connsiteX2" fmla="*/ 5086352 w 5102681"/>
              <a:gd name="connsiteY2" fmla="*/ 3837214 h 3837214"/>
              <a:gd name="connsiteX3" fmla="*/ 5102681 w 5102681"/>
              <a:gd name="connsiteY3" fmla="*/ 0 h 3837214"/>
              <a:gd name="connsiteX4" fmla="*/ 2 w 5102681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  <a:gd name="connsiteX0" fmla="*/ 0 w 5102679"/>
              <a:gd name="connsiteY0" fmla="*/ 8164 h 3837214"/>
              <a:gd name="connsiteX1" fmla="*/ 5086350 w 5102679"/>
              <a:gd name="connsiteY1" fmla="*/ 3837214 h 3837214"/>
              <a:gd name="connsiteX2" fmla="*/ 5086350 w 5102679"/>
              <a:gd name="connsiteY2" fmla="*/ 3837214 h 3837214"/>
              <a:gd name="connsiteX3" fmla="*/ 5102679 w 5102679"/>
              <a:gd name="connsiteY3" fmla="*/ 0 h 3837214"/>
              <a:gd name="connsiteX4" fmla="*/ 0 w 5102679"/>
              <a:gd name="connsiteY4" fmla="*/ 8164 h 3837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679" h="3837214">
                <a:moveTo>
                  <a:pt x="0" y="8164"/>
                </a:moveTo>
                <a:cubicBezTo>
                  <a:pt x="5891892" y="223157"/>
                  <a:pt x="4881081" y="-248665"/>
                  <a:pt x="5086350" y="3837214"/>
                </a:cubicBezTo>
                <a:lnTo>
                  <a:pt x="5086350" y="3837214"/>
                </a:lnTo>
                <a:lnTo>
                  <a:pt x="5102679" y="0"/>
                </a:lnTo>
                <a:lnTo>
                  <a:pt x="0" y="8164"/>
                </a:lnTo>
                <a:close/>
              </a:path>
            </a:pathLst>
          </a:custGeom>
          <a:solidFill>
            <a:srgbClr val="2E598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4000"/>
          </a:p>
        </p:txBody>
      </p:sp>
      <p:pic>
        <p:nvPicPr>
          <p:cNvPr id="10" name="Logo Zdravi 2030" descr="Obsah obrázku objekt&#10;&#10;Popis byl vytvořen automaticky">
            <a:extLst>
              <a:ext uri="{FF2B5EF4-FFF2-40B4-BE49-F238E27FC236}">
                <a16:creationId xmlns:a16="http://schemas.microsoft.com/office/drawing/2014/main" id="{042FC28B-711B-6223-98FC-4831D7CEBE6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751" y="6272815"/>
            <a:ext cx="778907" cy="303178"/>
          </a:xfrm>
          <a:prstGeom prst="rect">
            <a:avLst/>
          </a:prstGeom>
        </p:spPr>
      </p:pic>
      <p:pic>
        <p:nvPicPr>
          <p:cNvPr id="11" name="Logo MZ CR">
            <a:extLst>
              <a:ext uri="{FF2B5EF4-FFF2-40B4-BE49-F238E27FC236}">
                <a16:creationId xmlns:a16="http://schemas.microsoft.com/office/drawing/2014/main" id="{61CFCFC5-D361-3AFC-C5C7-45739ADCD3E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8610" y="6593923"/>
            <a:ext cx="2303581" cy="198318"/>
          </a:xfrm>
          <a:prstGeom prst="rect">
            <a:avLst/>
          </a:prstGeom>
        </p:spPr>
      </p:pic>
      <p:pic>
        <p:nvPicPr>
          <p:cNvPr id="12" name="Logo UZIS">
            <a:extLst>
              <a:ext uri="{FF2B5EF4-FFF2-40B4-BE49-F238E27FC236}">
                <a16:creationId xmlns:a16="http://schemas.microsoft.com/office/drawing/2014/main" id="{1FAEE1A9-99FA-06D3-6300-80337C9D6D3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506" y="6508809"/>
            <a:ext cx="503419" cy="330529"/>
          </a:xfrm>
          <a:prstGeom prst="rect">
            <a:avLst/>
          </a:prstGeom>
        </p:spPr>
      </p:pic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6E494D16-775F-C6C1-86C4-06414570F839}"/>
              </a:ext>
            </a:extLst>
          </p:cNvPr>
          <p:cNvCxnSpPr/>
          <p:nvPr userDrawn="1"/>
        </p:nvCxnSpPr>
        <p:spPr>
          <a:xfrm>
            <a:off x="1326763" y="6460192"/>
            <a:ext cx="10332000" cy="796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bdélník 13">
            <a:extLst>
              <a:ext uri="{FF2B5EF4-FFF2-40B4-BE49-F238E27FC236}">
                <a16:creationId xmlns:a16="http://schemas.microsoft.com/office/drawing/2014/main" id="{89CD861F-2234-09CD-9723-DE9365ED33BE}"/>
              </a:ext>
            </a:extLst>
          </p:cNvPr>
          <p:cNvSpPr/>
          <p:nvPr userDrawn="1"/>
        </p:nvSpPr>
        <p:spPr>
          <a:xfrm>
            <a:off x="922421" y="6549099"/>
            <a:ext cx="8225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200" b="1" i="0" dirty="0">
                <a:solidFill>
                  <a:schemeClr val="accent5">
                    <a:lumMod val="50000"/>
                  </a:schemeClr>
                </a:solidFill>
              </a:rPr>
              <a:t>Strategický rámec rozvoje péče o zdraví v České republice do roku 2030: optimalizace personálních kapacit</a:t>
            </a:r>
            <a:endParaRPr lang="en-US" sz="1200" b="1" i="0" dirty="0">
              <a:solidFill>
                <a:schemeClr val="accent5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07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7" r:id="rId1"/>
    <p:sldLayoutId id="2147484238" r:id="rId2"/>
    <p:sldLayoutId id="2147484239" r:id="rId3"/>
    <p:sldLayoutId id="2147484240" r:id="rId4"/>
    <p:sldLayoutId id="2147484241" r:id="rId5"/>
    <p:sldLayoutId id="2147484242" r:id="rId6"/>
    <p:sldLayoutId id="2147484243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8D3025AB-2E16-4A48-BDB9-41D303206D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80C11-DFFA-4F66-9458-68BE0DFBDD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8D22997-4F24-49AF-A58E-7D60FF3D606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D4C4EA-BBB6-4509-82FD-6C1C4C05004B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DC7EE7C-85E8-4755-A3AF-44ABB70E26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F8545C4-5766-4E89-93BF-FC1AD4A5B8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BA2347-4413-44E4-972F-4B947EE9AB0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42915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5" r:id="rId1"/>
    <p:sldLayoutId id="2147484246" r:id="rId2"/>
    <p:sldLayoutId id="2147484247" r:id="rId3"/>
    <p:sldLayoutId id="2147484248" r:id="rId4"/>
    <p:sldLayoutId id="2147484249" r:id="rId5"/>
    <p:sldLayoutId id="2147484250" r:id="rId6"/>
    <p:sldLayoutId id="2147484251" r:id="rId7"/>
    <p:sldLayoutId id="2147484252" r:id="rId8"/>
    <p:sldLayoutId id="2147484253" r:id="rId9"/>
    <p:sldLayoutId id="2147484254" r:id="rId10"/>
    <p:sldLayoutId id="2147484255" r:id="rId11"/>
    <p:sldLayoutId id="2147484256" r:id="rId12"/>
    <p:sldLayoutId id="214748425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996E8-D44D-4D29-B5B3-6A5042537ABD}" type="datetimeFigureOut">
              <a:rPr lang="cs-CZ" smtClean="0"/>
              <a:t>24.04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88581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9" r:id="rId1"/>
    <p:sldLayoutId id="2147484260" r:id="rId2"/>
    <p:sldLayoutId id="2147484261" r:id="rId3"/>
    <p:sldLayoutId id="2147484262" r:id="rId4"/>
    <p:sldLayoutId id="2147484266" r:id="rId5"/>
    <p:sldLayoutId id="214748426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45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slideLayout" Target="../slideLayouts/slideLayout38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7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4" Type="http://schemas.openxmlformats.org/officeDocument/2006/relationships/chart" Target="../charts/char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52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slideLayout" Target="../slideLayouts/slideLayout38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chart" Target="../charts/char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chart" Target="../charts/chart5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slideLayout" Target="../slideLayouts/slideLayout76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9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70.xml"/><Relationship Id="rId4" Type="http://schemas.openxmlformats.org/officeDocument/2006/relationships/tags" Target="../tags/tag7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79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Layout" Target="../slideLayouts/slideLayout60.xml"/><Relationship Id="rId5" Type="http://schemas.openxmlformats.org/officeDocument/2006/relationships/tags" Target="../tags/tag81.xml"/><Relationship Id="rId4" Type="http://schemas.openxmlformats.org/officeDocument/2006/relationships/tags" Target="../tags/tag80.xml"/><Relationship Id="rId9" Type="http://schemas.openxmlformats.org/officeDocument/2006/relationships/chart" Target="../charts/chart7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84.xml"/><Relationship Id="rId7" Type="http://schemas.openxmlformats.org/officeDocument/2006/relationships/chart" Target="../charts/chart8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60.xml"/><Relationship Id="rId4" Type="http://schemas.openxmlformats.org/officeDocument/2006/relationships/tags" Target="../tags/tag8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88.xml"/><Relationship Id="rId7" Type="http://schemas.openxmlformats.org/officeDocument/2006/relationships/chart" Target="../charts/chart10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60.xml"/><Relationship Id="rId4" Type="http://schemas.openxmlformats.org/officeDocument/2006/relationships/tags" Target="../tags/tag8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tags" Target="../tags/tag92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slideLayout" Target="../slideLayouts/slideLayout60.xml"/><Relationship Id="rId5" Type="http://schemas.openxmlformats.org/officeDocument/2006/relationships/tags" Target="../tags/tag94.xml"/><Relationship Id="rId4" Type="http://schemas.openxmlformats.org/officeDocument/2006/relationships/tags" Target="../tags/tag93.xml"/><Relationship Id="rId9" Type="http://schemas.openxmlformats.org/officeDocument/2006/relationships/image" Target="../media/image5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97.xml"/><Relationship Id="rId7" Type="http://schemas.openxmlformats.org/officeDocument/2006/relationships/slideLayout" Target="../slideLayouts/slideLayout60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5" Type="http://schemas.openxmlformats.org/officeDocument/2006/relationships/tags" Target="../tags/tag99.xml"/><Relationship Id="rId10" Type="http://schemas.openxmlformats.org/officeDocument/2006/relationships/image" Target="../media/image59.png"/><Relationship Id="rId4" Type="http://schemas.openxmlformats.org/officeDocument/2006/relationships/tags" Target="../tags/tag98.xml"/><Relationship Id="rId9" Type="http://schemas.openxmlformats.org/officeDocument/2006/relationships/chart" Target="../charts/chart13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103.xml"/><Relationship Id="rId7" Type="http://schemas.openxmlformats.org/officeDocument/2006/relationships/slideLayout" Target="../slideLayouts/slideLayout60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10" Type="http://schemas.openxmlformats.org/officeDocument/2006/relationships/chart" Target="../charts/chart14.xml"/><Relationship Id="rId4" Type="http://schemas.openxmlformats.org/officeDocument/2006/relationships/tags" Target="../tags/tag104.xml"/><Relationship Id="rId9" Type="http://schemas.openxmlformats.org/officeDocument/2006/relationships/image" Target="../media/image60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tags" Target="../tags/tag109.xml"/><Relationship Id="rId7" Type="http://schemas.openxmlformats.org/officeDocument/2006/relationships/chart" Target="../charts/chart15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60.xml"/><Relationship Id="rId4" Type="http://schemas.openxmlformats.org/officeDocument/2006/relationships/tags" Target="../tags/tag1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slideLayout" Target="../slideLayouts/slideLayout50.xml"/><Relationship Id="rId1" Type="http://schemas.openxmlformats.org/officeDocument/2006/relationships/tags" Target="../tags/tag11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4" Type="http://schemas.openxmlformats.org/officeDocument/2006/relationships/slideLayout" Target="../slideLayouts/slideLayout5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1.xml"/><Relationship Id="rId1" Type="http://schemas.openxmlformats.org/officeDocument/2006/relationships/tags" Target="../tags/tag11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5.xml"/><Relationship Id="rId1" Type="http://schemas.openxmlformats.org/officeDocument/2006/relationships/tags" Target="../tags/tag11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chart" Target="../charts/chart16.xml"/><Relationship Id="rId5" Type="http://schemas.openxmlformats.org/officeDocument/2006/relationships/slideLayout" Target="../slideLayouts/slideLayout75.xml"/><Relationship Id="rId4" Type="http://schemas.openxmlformats.org/officeDocument/2006/relationships/tags" Target="../tags/tag12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7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7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jpeg"/><Relationship Id="rId5" Type="http://schemas.openxmlformats.org/officeDocument/2006/relationships/image" Target="../media/image53.png"/><Relationship Id="rId4" Type="http://schemas.openxmlformats.org/officeDocument/2006/relationships/image" Target="../media/image52.jpe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9.xml"/><Relationship Id="rId1" Type="http://schemas.openxmlformats.org/officeDocument/2006/relationships/tags" Target="../tags/tag12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9.xml"/><Relationship Id="rId1" Type="http://schemas.openxmlformats.org/officeDocument/2006/relationships/tags" Target="../tags/tag12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9.xml"/><Relationship Id="rId1" Type="http://schemas.openxmlformats.org/officeDocument/2006/relationships/tags" Target="../tags/tag12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9.xml"/><Relationship Id="rId1" Type="http://schemas.openxmlformats.org/officeDocument/2006/relationships/tags" Target="../tags/tag12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slideLayout" Target="../slideLayouts/slideLayout79.xml"/><Relationship Id="rId1" Type="http://schemas.openxmlformats.org/officeDocument/2006/relationships/tags" Target="../tags/tag125.xml"/><Relationship Id="rId4" Type="http://schemas.openxmlformats.org/officeDocument/2006/relationships/chart" Target="../charts/chart20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slideLayout" Target="../slideLayouts/slideLayout79.xml"/><Relationship Id="rId1" Type="http://schemas.openxmlformats.org/officeDocument/2006/relationships/tags" Target="../tags/tag126.xml"/><Relationship Id="rId4" Type="http://schemas.openxmlformats.org/officeDocument/2006/relationships/chart" Target="../charts/chart2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8.xml"/><Relationship Id="rId1" Type="http://schemas.openxmlformats.org/officeDocument/2006/relationships/tags" Target="../tags/tag12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véPole 1">
            <a:extLst>
              <a:ext uri="{FF2B5EF4-FFF2-40B4-BE49-F238E27FC236}">
                <a16:creationId xmlns:a16="http://schemas.microsoft.com/office/drawing/2014/main" id="{F6E7AE88-0F5A-4EE3-6F61-7C222D02B370}"/>
              </a:ext>
            </a:extLst>
          </p:cNvPr>
          <p:cNvSpPr txBox="1"/>
          <p:nvPr/>
        </p:nvSpPr>
        <p:spPr>
          <a:xfrm>
            <a:off x="200024" y="1259498"/>
            <a:ext cx="5895976" cy="95410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cs-CZ" sz="2800" b="1" dirty="0">
                <a:solidFill>
                  <a:schemeClr val="bg1"/>
                </a:solidFill>
              </a:rPr>
              <a:t>Personální kapacity ZZS se zaměřením na zdravotnické záchranáře</a:t>
            </a:r>
          </a:p>
        </p:txBody>
      </p:sp>
    </p:spTree>
    <p:extLst>
      <p:ext uri="{BB962C8B-B14F-4D97-AF65-F5344CB8AC3E}">
        <p14:creationId xmlns:p14="http://schemas.microsoft.com/office/powerpoint/2010/main" val="2831349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9" name="Text Box 17">
            <a:extLst>
              <a:ext uri="{FF2B5EF4-FFF2-40B4-BE49-F238E27FC236}">
                <a16:creationId xmlns:a16="http://schemas.microsoft.com/office/drawing/2014/main" id="{B60B11B2-BD39-4805-BBE0-E32344FC7B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81295" y="4526734"/>
            <a:ext cx="219219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árodní registr zdravotnických pracovníků </a:t>
            </a:r>
          </a:p>
        </p:txBody>
      </p:sp>
      <p:pic>
        <p:nvPicPr>
          <p:cNvPr id="60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EE6A886-1662-48A4-AF2F-70F111D08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694" y="3138087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3" name="Nadpis 1">
            <a:extLst>
              <a:ext uri="{FF2B5EF4-FFF2-40B4-BE49-F238E27FC236}">
                <a16:creationId xmlns:a16="http://schemas.microsoft.com/office/drawing/2014/main" id="{473E9B45-49B3-E061-AF23-6F7082688126}"/>
              </a:ext>
            </a:extLst>
          </p:cNvPr>
          <p:cNvSpPr txBox="1">
            <a:spLocks/>
          </p:cNvSpPr>
          <p:nvPr/>
        </p:nvSpPr>
        <p:spPr>
          <a:xfrm>
            <a:off x="22412" y="-981"/>
            <a:ext cx="12150538" cy="6623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C22728"/>
                </a:solidFill>
                <a:effectLst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22728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ový informační systém pro hodnocení personálních kapacit</a:t>
            </a:r>
          </a:p>
        </p:txBody>
      </p:sp>
      <p:pic>
        <p:nvPicPr>
          <p:cNvPr id="2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7A3E1B2D-395E-AFBD-2CCC-CA04243213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676" y="4374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59FEA232-F0B7-7CAA-3DA1-59BFF0E216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676" y="4374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BA82A3F6-81CD-2FED-6798-17AF267566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076" y="45266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31B5375B-59AC-D6FB-C772-A168CDCB14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6476" y="46790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Přímá spojnice se šipkou 5">
            <a:extLst>
              <a:ext uri="{FF2B5EF4-FFF2-40B4-BE49-F238E27FC236}">
                <a16:creationId xmlns:a16="http://schemas.microsoft.com/office/drawing/2014/main" id="{6AB1AF6B-B735-6E42-5518-3901F07AB185}"/>
              </a:ext>
            </a:extLst>
          </p:cNvPr>
          <p:cNvCxnSpPr>
            <a:cxnSpLocks/>
          </p:cNvCxnSpPr>
          <p:nvPr/>
        </p:nvCxnSpPr>
        <p:spPr>
          <a:xfrm flipV="1">
            <a:off x="1907756" y="3882888"/>
            <a:ext cx="2347163" cy="79615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E1140B13-0209-E199-ADFB-49240DA96BCF}"/>
              </a:ext>
            </a:extLst>
          </p:cNvPr>
          <p:cNvSpPr txBox="1"/>
          <p:nvPr/>
        </p:nvSpPr>
        <p:spPr>
          <a:xfrm rot="20485565">
            <a:off x="2245088" y="4320227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Vzdělavatelé</a:t>
            </a:r>
          </a:p>
        </p:txBody>
      </p:sp>
      <p:pic>
        <p:nvPicPr>
          <p:cNvPr id="8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89ECC3F-C200-3FD7-DAE3-88EC63365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301" y="19358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9E0DF4F6-AFF1-6882-38CC-0A0478141F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301" y="19358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C46DAEA3-3880-4660-4ADD-39A2E4AE1E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2701" y="2088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4DD6B4F7-80B6-382E-88AD-5C60F8E20A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5101" y="22406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FA6BD963-3AB0-34EE-0947-9368AFAE9FA3}"/>
              </a:ext>
            </a:extLst>
          </p:cNvPr>
          <p:cNvCxnSpPr>
            <a:cxnSpLocks/>
          </p:cNvCxnSpPr>
          <p:nvPr/>
        </p:nvCxnSpPr>
        <p:spPr>
          <a:xfrm>
            <a:off x="2345896" y="2625543"/>
            <a:ext cx="1909023" cy="76868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6C48A44A-A91A-7649-08EE-DE4BA9BBD96F}"/>
              </a:ext>
            </a:extLst>
          </p:cNvPr>
          <p:cNvSpPr txBox="1"/>
          <p:nvPr/>
        </p:nvSpPr>
        <p:spPr>
          <a:xfrm rot="1246759">
            <a:off x="2374794" y="2632444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skytovatelé</a:t>
            </a:r>
          </a:p>
        </p:txBody>
      </p:sp>
      <p:pic>
        <p:nvPicPr>
          <p:cNvPr id="14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AFDC562-526F-CA06-E7E1-9D4F4FD13E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3919" y="3138087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 Box 17">
            <a:extLst>
              <a:ext uri="{FF2B5EF4-FFF2-40B4-BE49-F238E27FC236}">
                <a16:creationId xmlns:a16="http://schemas.microsoft.com/office/drawing/2014/main" id="{BFEEA97F-46B4-0F67-E4F6-9C2494DCE5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40524" y="4516956"/>
            <a:ext cx="3157122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árodní registr hrazených zdravotních služeb</a:t>
            </a:r>
          </a:p>
        </p:txBody>
      </p:sp>
      <p:pic>
        <p:nvPicPr>
          <p:cNvPr id="16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ECDD743B-BD8B-174C-CCC5-B0DC7DEE84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3426" y="32407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3C718F4-F2A3-4C50-1F05-E5D2EE9DB8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3426" y="32407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EEDE2688-3E0A-361A-1961-F67368CD59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5826" y="33931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E62C0A01-370D-5A4E-FB0F-6225AD8305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8226" y="35455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DF78C12E-3DA7-E272-AB48-D4068DED899F}"/>
              </a:ext>
            </a:extLst>
          </p:cNvPr>
          <p:cNvCxnSpPr>
            <a:cxnSpLocks/>
          </p:cNvCxnSpPr>
          <p:nvPr/>
        </p:nvCxnSpPr>
        <p:spPr>
          <a:xfrm flipH="1">
            <a:off x="9281754" y="3632203"/>
            <a:ext cx="1839272" cy="2074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2F6B9FA7-8464-50EF-5D60-BB3B972DE61E}"/>
              </a:ext>
            </a:extLst>
          </p:cNvPr>
          <p:cNvSpPr txBox="1"/>
          <p:nvPr/>
        </p:nvSpPr>
        <p:spPr>
          <a:xfrm>
            <a:off x="9483361" y="3306789"/>
            <a:ext cx="17811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Zdravotní pojišťovny</a:t>
            </a:r>
          </a:p>
        </p:txBody>
      </p:sp>
      <p:sp>
        <p:nvSpPr>
          <p:cNvPr id="23" name="Text Box 17">
            <a:extLst>
              <a:ext uri="{FF2B5EF4-FFF2-40B4-BE49-F238E27FC236}">
                <a16:creationId xmlns:a16="http://schemas.microsoft.com/office/drawing/2014/main" id="{1EB918E0-BE1A-F57B-98BF-2CCADE8F48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09268" y="740913"/>
            <a:ext cx="429081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árodní registr poskytovatelů zdravotních služeb</a:t>
            </a:r>
          </a:p>
        </p:txBody>
      </p:sp>
      <p:pic>
        <p:nvPicPr>
          <p:cNvPr id="24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D32A882D-405A-E6BC-6D88-186068A3E1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1230" y="1800024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6F19D827-4672-9253-95D8-5ABDFB7377B1}"/>
              </a:ext>
            </a:extLst>
          </p:cNvPr>
          <p:cNvCxnSpPr>
            <a:cxnSpLocks/>
          </p:cNvCxnSpPr>
          <p:nvPr/>
        </p:nvCxnSpPr>
        <p:spPr>
          <a:xfrm>
            <a:off x="2345896" y="2070233"/>
            <a:ext cx="3962947" cy="29704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977A100-92C6-9CAE-3785-607389DA97DA}"/>
              </a:ext>
            </a:extLst>
          </p:cNvPr>
          <p:cNvSpPr txBox="1"/>
          <p:nvPr/>
        </p:nvSpPr>
        <p:spPr>
          <a:xfrm rot="276719">
            <a:off x="3501382" y="1831278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skytovatelé</a:t>
            </a:r>
          </a:p>
        </p:txBody>
      </p:sp>
      <p:cxnSp>
        <p:nvCxnSpPr>
          <p:cNvPr id="33" name="Přímá spojnice 32">
            <a:extLst>
              <a:ext uri="{FF2B5EF4-FFF2-40B4-BE49-F238E27FC236}">
                <a16:creationId xmlns:a16="http://schemas.microsoft.com/office/drawing/2014/main" id="{15026368-4806-61E1-132F-3F359C074D83}"/>
              </a:ext>
            </a:extLst>
          </p:cNvPr>
          <p:cNvCxnSpPr>
            <a:cxnSpLocks/>
          </p:cNvCxnSpPr>
          <p:nvPr/>
        </p:nvCxnSpPr>
        <p:spPr>
          <a:xfrm flipV="1">
            <a:off x="5294522" y="2891770"/>
            <a:ext cx="1358384" cy="689730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Přímá spojnice 33">
            <a:extLst>
              <a:ext uri="{FF2B5EF4-FFF2-40B4-BE49-F238E27FC236}">
                <a16:creationId xmlns:a16="http://schemas.microsoft.com/office/drawing/2014/main" id="{9D60B0F9-5D92-B0AC-4397-C95D9E6C9F2A}"/>
              </a:ext>
            </a:extLst>
          </p:cNvPr>
          <p:cNvCxnSpPr>
            <a:cxnSpLocks/>
          </p:cNvCxnSpPr>
          <p:nvPr/>
        </p:nvCxnSpPr>
        <p:spPr>
          <a:xfrm>
            <a:off x="5306420" y="3772909"/>
            <a:ext cx="2895099" cy="28575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Přímá spojnice 34">
            <a:extLst>
              <a:ext uri="{FF2B5EF4-FFF2-40B4-BE49-F238E27FC236}">
                <a16:creationId xmlns:a16="http://schemas.microsoft.com/office/drawing/2014/main" id="{AE74F4ED-4184-19C5-94F2-E0E1A5E23F74}"/>
              </a:ext>
            </a:extLst>
          </p:cNvPr>
          <p:cNvCxnSpPr>
            <a:cxnSpLocks/>
          </p:cNvCxnSpPr>
          <p:nvPr/>
        </p:nvCxnSpPr>
        <p:spPr>
          <a:xfrm>
            <a:off x="6894875" y="2895061"/>
            <a:ext cx="1336619" cy="722633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306F03DF-65A7-1A87-DADA-C050748328E4}"/>
              </a:ext>
            </a:extLst>
          </p:cNvPr>
          <p:cNvSpPr txBox="1"/>
          <p:nvPr/>
        </p:nvSpPr>
        <p:spPr>
          <a:xfrm>
            <a:off x="6010275" y="3095690"/>
            <a:ext cx="1514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i="1" dirty="0">
                <a:solidFill>
                  <a:srgbClr val="FF0000"/>
                </a:solidFill>
              </a:rPr>
              <a:t>Vzájemné kontroly</a:t>
            </a:r>
          </a:p>
        </p:txBody>
      </p:sp>
      <p:pic>
        <p:nvPicPr>
          <p:cNvPr id="37" name="Obrázek 36">
            <a:extLst>
              <a:ext uri="{FF2B5EF4-FFF2-40B4-BE49-F238E27FC236}">
                <a16:creationId xmlns:a16="http://schemas.microsoft.com/office/drawing/2014/main" id="{1762A82A-8732-A12E-D997-25D5D39844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9807" y="5038473"/>
            <a:ext cx="1904400" cy="1381053"/>
          </a:xfrm>
          <a:prstGeom prst="rect">
            <a:avLst/>
          </a:prstGeom>
        </p:spPr>
      </p:pic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0B14AA7F-704D-7612-19A9-D42E80382254}"/>
              </a:ext>
            </a:extLst>
          </p:cNvPr>
          <p:cNvCxnSpPr>
            <a:cxnSpLocks/>
          </p:cNvCxnSpPr>
          <p:nvPr/>
        </p:nvCxnSpPr>
        <p:spPr>
          <a:xfrm>
            <a:off x="9111903" y="4106934"/>
            <a:ext cx="952782" cy="1019964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CD7CAD46-74D4-4769-DB68-E802CAAFCE19}"/>
              </a:ext>
            </a:extLst>
          </p:cNvPr>
          <p:cNvCxnSpPr>
            <a:cxnSpLocks/>
          </p:cNvCxnSpPr>
          <p:nvPr/>
        </p:nvCxnSpPr>
        <p:spPr>
          <a:xfrm flipH="1">
            <a:off x="11169286" y="4116054"/>
            <a:ext cx="697810" cy="1133230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DE844FE4-E61D-7ABC-4510-1854BD39FD5F}"/>
              </a:ext>
            </a:extLst>
          </p:cNvPr>
          <p:cNvSpPr txBox="1"/>
          <p:nvPr/>
        </p:nvSpPr>
        <p:spPr>
          <a:xfrm>
            <a:off x="9907812" y="4285164"/>
            <a:ext cx="1514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i="1" dirty="0">
                <a:solidFill>
                  <a:srgbClr val="FF0000"/>
                </a:solidFill>
              </a:rPr>
              <a:t>Akutní lůžková péče</a:t>
            </a:r>
          </a:p>
        </p:txBody>
      </p:sp>
      <p:cxnSp>
        <p:nvCxnSpPr>
          <p:cNvPr id="42" name="Přímá spojnice 41">
            <a:extLst>
              <a:ext uri="{FF2B5EF4-FFF2-40B4-BE49-F238E27FC236}">
                <a16:creationId xmlns:a16="http://schemas.microsoft.com/office/drawing/2014/main" id="{A2FCFEDB-D616-D28A-B80E-DC834C6B2D4E}"/>
              </a:ext>
            </a:extLst>
          </p:cNvPr>
          <p:cNvCxnSpPr>
            <a:cxnSpLocks/>
          </p:cNvCxnSpPr>
          <p:nvPr/>
        </p:nvCxnSpPr>
        <p:spPr>
          <a:xfrm>
            <a:off x="11169286" y="1896484"/>
            <a:ext cx="23771" cy="1507442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Přímá spojnice 43">
            <a:extLst>
              <a:ext uri="{FF2B5EF4-FFF2-40B4-BE49-F238E27FC236}">
                <a16:creationId xmlns:a16="http://schemas.microsoft.com/office/drawing/2014/main" id="{3FF5C2E3-AFAC-B28B-14B3-AEEAC08C7110}"/>
              </a:ext>
            </a:extLst>
          </p:cNvPr>
          <p:cNvCxnSpPr>
            <a:cxnSpLocks/>
          </p:cNvCxnSpPr>
          <p:nvPr/>
        </p:nvCxnSpPr>
        <p:spPr>
          <a:xfrm>
            <a:off x="1695100" y="2903887"/>
            <a:ext cx="23771" cy="1507442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ovéPole 44">
            <a:extLst>
              <a:ext uri="{FF2B5EF4-FFF2-40B4-BE49-F238E27FC236}">
                <a16:creationId xmlns:a16="http://schemas.microsoft.com/office/drawing/2014/main" id="{76300FFA-7CBF-17C0-717C-E7DD43A09231}"/>
              </a:ext>
            </a:extLst>
          </p:cNvPr>
          <p:cNvSpPr txBox="1"/>
          <p:nvPr/>
        </p:nvSpPr>
        <p:spPr>
          <a:xfrm rot="16200000">
            <a:off x="10957156" y="2414135"/>
            <a:ext cx="1514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i="1" dirty="0">
                <a:solidFill>
                  <a:srgbClr val="FF0000"/>
                </a:solidFill>
              </a:rPr>
              <a:t>Místa poskytování</a:t>
            </a:r>
          </a:p>
        </p:txBody>
      </p:sp>
      <p:sp>
        <p:nvSpPr>
          <p:cNvPr id="46" name="TextovéPole 45">
            <a:extLst>
              <a:ext uri="{FF2B5EF4-FFF2-40B4-BE49-F238E27FC236}">
                <a16:creationId xmlns:a16="http://schemas.microsoft.com/office/drawing/2014/main" id="{DDB4A466-E5AA-5CD6-F5AE-B0668BEEE8F6}"/>
              </a:ext>
            </a:extLst>
          </p:cNvPr>
          <p:cNvSpPr txBox="1"/>
          <p:nvPr/>
        </p:nvSpPr>
        <p:spPr>
          <a:xfrm rot="16200000">
            <a:off x="591131" y="3217642"/>
            <a:ext cx="1514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i="1" dirty="0">
                <a:solidFill>
                  <a:srgbClr val="FF0000"/>
                </a:solidFill>
              </a:rPr>
              <a:t>Trajektorie absolventů</a:t>
            </a:r>
          </a:p>
        </p:txBody>
      </p:sp>
      <p:pic>
        <p:nvPicPr>
          <p:cNvPr id="41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97D8D0F8-DBDB-A113-775E-6F3C0F6725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08686" y="141934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BDE44CD9-4FC0-555A-A5B4-AAD2544108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08686" y="141934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8255BCB5-6FBB-72BC-7F1B-F4EBEF39D3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1086" y="157174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BF0F2C03-EA7C-C494-4FAF-BD5453D6B0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3486" y="172414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9" name="Přímá spojnice se šipkou 48">
            <a:extLst>
              <a:ext uri="{FF2B5EF4-FFF2-40B4-BE49-F238E27FC236}">
                <a16:creationId xmlns:a16="http://schemas.microsoft.com/office/drawing/2014/main" id="{DDF474E2-E9C8-D0FA-4C64-0D1953C2296E}"/>
              </a:ext>
            </a:extLst>
          </p:cNvPr>
          <p:cNvCxnSpPr>
            <a:cxnSpLocks/>
          </p:cNvCxnSpPr>
          <p:nvPr/>
        </p:nvCxnSpPr>
        <p:spPr>
          <a:xfrm flipH="1">
            <a:off x="7548880" y="1896484"/>
            <a:ext cx="3212905" cy="37513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9BE8DDE2-79F4-0B52-3F72-35A869B7BD18}"/>
              </a:ext>
            </a:extLst>
          </p:cNvPr>
          <p:cNvSpPr txBox="1"/>
          <p:nvPr/>
        </p:nvSpPr>
        <p:spPr>
          <a:xfrm rot="21152574">
            <a:off x="8129769" y="1614948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Krajské úřady</a:t>
            </a:r>
          </a:p>
        </p:txBody>
      </p:sp>
    </p:spTree>
    <p:extLst>
      <p:ext uri="{BB962C8B-B14F-4D97-AF65-F5344CB8AC3E}">
        <p14:creationId xmlns:p14="http://schemas.microsoft.com/office/powerpoint/2010/main" val="29131128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9" name="Text Box 17">
            <a:extLst>
              <a:ext uri="{FF2B5EF4-FFF2-40B4-BE49-F238E27FC236}">
                <a16:creationId xmlns:a16="http://schemas.microsoft.com/office/drawing/2014/main" id="{B60B11B2-BD39-4805-BBE0-E32344FC7B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81295" y="4526734"/>
            <a:ext cx="219219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árodní registr zdravotnických pracovníků </a:t>
            </a:r>
          </a:p>
        </p:txBody>
      </p:sp>
      <p:pic>
        <p:nvPicPr>
          <p:cNvPr id="60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EE6A886-1662-48A4-AF2F-70F111D08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694" y="3138087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BB3D3BEE-ABC5-1D66-6A8E-41AC7A201E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676" y="4374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F40B3733-5924-3628-8682-7E0AF0D5F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676" y="4374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798B6303-53C0-D56B-F9FB-43363E35D5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076" y="45266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3E7598B6-F179-D3FA-2DCA-BB5FE20CA7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6476" y="46790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35DD7A49-AE08-BA02-F7B2-005DC04DC1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301" y="19358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50E7A62D-C256-19C6-8FDC-501FCE7643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301" y="19358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2C3B6C1E-B695-68C7-6CEF-6C9945E4D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2701" y="2088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D3E2DE7E-E6ED-B748-C7F4-895D924716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5101" y="22406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7A9FA903-0A71-7DB1-EE2C-0E534D683BB8}"/>
              </a:ext>
            </a:extLst>
          </p:cNvPr>
          <p:cNvCxnSpPr>
            <a:cxnSpLocks/>
          </p:cNvCxnSpPr>
          <p:nvPr/>
        </p:nvCxnSpPr>
        <p:spPr>
          <a:xfrm flipV="1">
            <a:off x="1907756" y="3882888"/>
            <a:ext cx="2347163" cy="79615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E0D980B3-6D9C-53B0-797F-8BE82B9035AC}"/>
              </a:ext>
            </a:extLst>
          </p:cNvPr>
          <p:cNvCxnSpPr>
            <a:cxnSpLocks/>
          </p:cNvCxnSpPr>
          <p:nvPr/>
        </p:nvCxnSpPr>
        <p:spPr>
          <a:xfrm>
            <a:off x="2345896" y="2625543"/>
            <a:ext cx="1909023" cy="76868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F4DA6ACB-F361-5B62-305E-B2615B1FC02C}"/>
              </a:ext>
            </a:extLst>
          </p:cNvPr>
          <p:cNvSpPr txBox="1"/>
          <p:nvPr/>
        </p:nvSpPr>
        <p:spPr>
          <a:xfrm rot="20485565">
            <a:off x="2245088" y="4320227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Vzdělavatelé</a:t>
            </a:r>
          </a:p>
        </p:txBody>
      </p:sp>
      <p:pic>
        <p:nvPicPr>
          <p:cNvPr id="19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DE9E7F1F-227F-B1D0-4543-C166BA9BE0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3919" y="3138087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 Box 17">
            <a:extLst>
              <a:ext uri="{FF2B5EF4-FFF2-40B4-BE49-F238E27FC236}">
                <a16:creationId xmlns:a16="http://schemas.microsoft.com/office/drawing/2014/main" id="{9267B9FA-F9B3-1E3B-B749-CCDF00A995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40524" y="4516956"/>
            <a:ext cx="3157122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árodní registr hrazených zdravotních služeb</a:t>
            </a:r>
          </a:p>
        </p:txBody>
      </p:sp>
      <p:pic>
        <p:nvPicPr>
          <p:cNvPr id="21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4A427A0A-F45E-1CDD-587E-3A31EF447E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3426" y="32407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4D6F5402-FC3F-D1B7-8B56-0D592027F1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3426" y="32407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3B82AE91-5EC0-7B83-F875-75B32ACE27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5826" y="33931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EF83E187-6DDE-9DE2-CDB0-68DB821711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8226" y="35455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96F29923-570D-95AF-CEA1-88D297F5B884}"/>
              </a:ext>
            </a:extLst>
          </p:cNvPr>
          <p:cNvCxnSpPr>
            <a:cxnSpLocks/>
          </p:cNvCxnSpPr>
          <p:nvPr/>
        </p:nvCxnSpPr>
        <p:spPr>
          <a:xfrm flipH="1">
            <a:off x="9281754" y="3632203"/>
            <a:ext cx="1839272" cy="2074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35B83011-FD3D-7FF8-1475-F7452E341AEA}"/>
              </a:ext>
            </a:extLst>
          </p:cNvPr>
          <p:cNvSpPr txBox="1"/>
          <p:nvPr/>
        </p:nvSpPr>
        <p:spPr>
          <a:xfrm>
            <a:off x="9483361" y="3306789"/>
            <a:ext cx="17811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Zdravotní pojišťovny</a:t>
            </a:r>
          </a:p>
        </p:txBody>
      </p:sp>
      <p:sp>
        <p:nvSpPr>
          <p:cNvPr id="29" name="Text Box 17">
            <a:extLst>
              <a:ext uri="{FF2B5EF4-FFF2-40B4-BE49-F238E27FC236}">
                <a16:creationId xmlns:a16="http://schemas.microsoft.com/office/drawing/2014/main" id="{EE20E87F-C71C-89E0-0BED-A12E1C6CFB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09268" y="740913"/>
            <a:ext cx="429081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árodní registr poskytovatelů zdravotních služeb</a:t>
            </a:r>
          </a:p>
        </p:txBody>
      </p:sp>
      <p:pic>
        <p:nvPicPr>
          <p:cNvPr id="3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AB3994B2-8766-8810-6860-039CCE79D4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1230" y="1800024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D15C25E0-5637-6004-9303-D72728550109}"/>
              </a:ext>
            </a:extLst>
          </p:cNvPr>
          <p:cNvCxnSpPr>
            <a:cxnSpLocks/>
          </p:cNvCxnSpPr>
          <p:nvPr/>
        </p:nvCxnSpPr>
        <p:spPr>
          <a:xfrm>
            <a:off x="2345896" y="2070233"/>
            <a:ext cx="3962947" cy="29704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1631037E-3993-6D77-8789-C747F31B0129}"/>
              </a:ext>
            </a:extLst>
          </p:cNvPr>
          <p:cNvSpPr txBox="1"/>
          <p:nvPr/>
        </p:nvSpPr>
        <p:spPr>
          <a:xfrm rot="1246759">
            <a:off x="2374794" y="2632444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skytovatelé</a:t>
            </a:r>
          </a:p>
        </p:txBody>
      </p: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5DC24572-2FAE-0214-116E-81972F0198A1}"/>
              </a:ext>
            </a:extLst>
          </p:cNvPr>
          <p:cNvSpPr txBox="1"/>
          <p:nvPr/>
        </p:nvSpPr>
        <p:spPr>
          <a:xfrm rot="276719">
            <a:off x="3501382" y="1831278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skytovatelé</a:t>
            </a:r>
          </a:p>
        </p:txBody>
      </p: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1A92AB00-C8FF-C83B-64DF-BCDF17F3C8DC}"/>
              </a:ext>
            </a:extLst>
          </p:cNvPr>
          <p:cNvCxnSpPr>
            <a:cxnSpLocks/>
          </p:cNvCxnSpPr>
          <p:nvPr/>
        </p:nvCxnSpPr>
        <p:spPr>
          <a:xfrm flipV="1">
            <a:off x="5294522" y="2891770"/>
            <a:ext cx="1358384" cy="689730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Přímá spojnice 50">
            <a:extLst>
              <a:ext uri="{FF2B5EF4-FFF2-40B4-BE49-F238E27FC236}">
                <a16:creationId xmlns:a16="http://schemas.microsoft.com/office/drawing/2014/main" id="{102881A7-DDE1-7851-F79D-D783AE3A63CB}"/>
              </a:ext>
            </a:extLst>
          </p:cNvPr>
          <p:cNvCxnSpPr>
            <a:cxnSpLocks/>
          </p:cNvCxnSpPr>
          <p:nvPr/>
        </p:nvCxnSpPr>
        <p:spPr>
          <a:xfrm>
            <a:off x="5306420" y="3772909"/>
            <a:ext cx="2895099" cy="28575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Přímá spojnice 53">
            <a:extLst>
              <a:ext uri="{FF2B5EF4-FFF2-40B4-BE49-F238E27FC236}">
                <a16:creationId xmlns:a16="http://schemas.microsoft.com/office/drawing/2014/main" id="{3849E32C-1514-C59B-D6AF-A52933B4FA91}"/>
              </a:ext>
            </a:extLst>
          </p:cNvPr>
          <p:cNvCxnSpPr>
            <a:cxnSpLocks/>
          </p:cNvCxnSpPr>
          <p:nvPr/>
        </p:nvCxnSpPr>
        <p:spPr>
          <a:xfrm>
            <a:off x="6894875" y="2895061"/>
            <a:ext cx="1336619" cy="722633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F9D2AC79-97CE-7B13-0979-B9472624FC59}"/>
              </a:ext>
            </a:extLst>
          </p:cNvPr>
          <p:cNvSpPr txBox="1"/>
          <p:nvPr/>
        </p:nvSpPr>
        <p:spPr>
          <a:xfrm>
            <a:off x="6010275" y="3095690"/>
            <a:ext cx="1514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i="1" dirty="0">
                <a:solidFill>
                  <a:srgbClr val="FF0000"/>
                </a:solidFill>
              </a:rPr>
              <a:t>Vzájemné kontroly</a:t>
            </a:r>
          </a:p>
        </p:txBody>
      </p:sp>
      <p:sp>
        <p:nvSpPr>
          <p:cNvPr id="62" name="Text Box 17">
            <a:extLst>
              <a:ext uri="{FF2B5EF4-FFF2-40B4-BE49-F238E27FC236}">
                <a16:creationId xmlns:a16="http://schemas.microsoft.com/office/drawing/2014/main" id="{D55E397F-1B49-4E24-3CE9-8D9AE6B203AA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1794768" y="3004028"/>
            <a:ext cx="461709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highlight>
                  <a:srgbClr val="FFFF00"/>
                </a:highlight>
                <a:latin typeface="+mn-lt"/>
              </a:rPr>
              <a:t>Nově budovaný systém </a:t>
            </a:r>
            <a:r>
              <a:rPr kumimoji="0" lang="cs-CZ" altLang="cs-CZ" i="1" u="sng" dirty="0">
                <a:solidFill>
                  <a:srgbClr val="0000FF"/>
                </a:solidFill>
                <a:highlight>
                  <a:srgbClr val="FFFF00"/>
                </a:highlight>
                <a:latin typeface="+mn-lt"/>
              </a:rPr>
              <a:t>ADMINISTRÁTOR</a:t>
            </a:r>
          </a:p>
        </p:txBody>
      </p:sp>
      <p:pic>
        <p:nvPicPr>
          <p:cNvPr id="759" name="Obrázek 758">
            <a:extLst>
              <a:ext uri="{FF2B5EF4-FFF2-40B4-BE49-F238E27FC236}">
                <a16:creationId xmlns:a16="http://schemas.microsoft.com/office/drawing/2014/main" id="{50E1E228-3FBA-0B95-0BF4-8DD626F740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9807" y="5038473"/>
            <a:ext cx="1904400" cy="1381053"/>
          </a:xfrm>
          <a:prstGeom prst="rect">
            <a:avLst/>
          </a:prstGeom>
        </p:spPr>
      </p:pic>
      <p:cxnSp>
        <p:nvCxnSpPr>
          <p:cNvPr id="763" name="Přímá spojnice 762">
            <a:extLst>
              <a:ext uri="{FF2B5EF4-FFF2-40B4-BE49-F238E27FC236}">
                <a16:creationId xmlns:a16="http://schemas.microsoft.com/office/drawing/2014/main" id="{99F571B9-1273-9DE8-29BD-DA3D5A0FEA22}"/>
              </a:ext>
            </a:extLst>
          </p:cNvPr>
          <p:cNvCxnSpPr>
            <a:cxnSpLocks/>
          </p:cNvCxnSpPr>
          <p:nvPr/>
        </p:nvCxnSpPr>
        <p:spPr>
          <a:xfrm>
            <a:off x="9111903" y="4106934"/>
            <a:ext cx="952782" cy="1019964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6" name="Přímá spojnice 765">
            <a:extLst>
              <a:ext uri="{FF2B5EF4-FFF2-40B4-BE49-F238E27FC236}">
                <a16:creationId xmlns:a16="http://schemas.microsoft.com/office/drawing/2014/main" id="{A2355B10-C295-A5C4-E7CD-C73BD6DEC8D9}"/>
              </a:ext>
            </a:extLst>
          </p:cNvPr>
          <p:cNvCxnSpPr>
            <a:cxnSpLocks/>
          </p:cNvCxnSpPr>
          <p:nvPr/>
        </p:nvCxnSpPr>
        <p:spPr>
          <a:xfrm flipH="1">
            <a:off x="11169286" y="4116054"/>
            <a:ext cx="697810" cy="1133230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4" name="TextovéPole 773">
            <a:extLst>
              <a:ext uri="{FF2B5EF4-FFF2-40B4-BE49-F238E27FC236}">
                <a16:creationId xmlns:a16="http://schemas.microsoft.com/office/drawing/2014/main" id="{D95E5B5A-959F-E625-BFFC-B35F06785C1E}"/>
              </a:ext>
            </a:extLst>
          </p:cNvPr>
          <p:cNvSpPr txBox="1"/>
          <p:nvPr/>
        </p:nvSpPr>
        <p:spPr>
          <a:xfrm>
            <a:off x="9907812" y="4285164"/>
            <a:ext cx="1514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i="1" dirty="0">
                <a:solidFill>
                  <a:srgbClr val="FF0000"/>
                </a:solidFill>
              </a:rPr>
              <a:t>Akutní lůžková péče</a:t>
            </a:r>
          </a:p>
        </p:txBody>
      </p:sp>
      <p:sp>
        <p:nvSpPr>
          <p:cNvPr id="783" name="Nadpis 1">
            <a:extLst>
              <a:ext uri="{FF2B5EF4-FFF2-40B4-BE49-F238E27FC236}">
                <a16:creationId xmlns:a16="http://schemas.microsoft.com/office/drawing/2014/main" id="{473E9B45-49B3-E061-AF23-6F7082688126}"/>
              </a:ext>
            </a:extLst>
          </p:cNvPr>
          <p:cNvSpPr txBox="1">
            <a:spLocks/>
          </p:cNvSpPr>
          <p:nvPr/>
        </p:nvSpPr>
        <p:spPr>
          <a:xfrm>
            <a:off x="22412" y="-981"/>
            <a:ext cx="12150538" cy="6623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C22728"/>
                </a:solidFill>
                <a:effectLst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22728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ový informační systém pro hodnocení personálních kapacit</a:t>
            </a:r>
          </a:p>
        </p:txBody>
      </p: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F2EF5215-504E-233A-179C-CFE5B9AA2068}"/>
              </a:ext>
            </a:extLst>
          </p:cNvPr>
          <p:cNvCxnSpPr>
            <a:cxnSpLocks/>
          </p:cNvCxnSpPr>
          <p:nvPr/>
        </p:nvCxnSpPr>
        <p:spPr>
          <a:xfrm>
            <a:off x="1695100" y="2903887"/>
            <a:ext cx="23771" cy="1507442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99DD393-DAE2-49D0-D96D-0885650F5602}"/>
              </a:ext>
            </a:extLst>
          </p:cNvPr>
          <p:cNvSpPr txBox="1"/>
          <p:nvPr/>
        </p:nvSpPr>
        <p:spPr>
          <a:xfrm rot="16200000">
            <a:off x="591131" y="3217642"/>
            <a:ext cx="1514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i="1" dirty="0">
                <a:solidFill>
                  <a:srgbClr val="FF0000"/>
                </a:solidFill>
              </a:rPr>
              <a:t>Trajektorie absolventů</a:t>
            </a:r>
          </a:p>
        </p:txBody>
      </p:sp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B6341DD4-6F97-9849-4B6D-CEAF61155BD5}"/>
              </a:ext>
            </a:extLst>
          </p:cNvPr>
          <p:cNvCxnSpPr>
            <a:cxnSpLocks/>
          </p:cNvCxnSpPr>
          <p:nvPr/>
        </p:nvCxnSpPr>
        <p:spPr>
          <a:xfrm>
            <a:off x="11169286" y="1896484"/>
            <a:ext cx="23771" cy="1507442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100C11A3-5C3A-03FF-6119-F3D519D6C913}"/>
              </a:ext>
            </a:extLst>
          </p:cNvPr>
          <p:cNvSpPr txBox="1"/>
          <p:nvPr/>
        </p:nvSpPr>
        <p:spPr>
          <a:xfrm rot="16200000">
            <a:off x="10957156" y="2414135"/>
            <a:ext cx="1514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i="1" dirty="0">
                <a:solidFill>
                  <a:srgbClr val="FF0000"/>
                </a:solidFill>
              </a:rPr>
              <a:t>Místa poskytování</a:t>
            </a:r>
          </a:p>
        </p:txBody>
      </p:sp>
      <p:pic>
        <p:nvPicPr>
          <p:cNvPr id="27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8F80864C-EC87-F57D-71C9-7BA2A841C7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08686" y="141934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26AAFA70-6805-69D7-B2A8-97F767BC16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08686" y="141934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75108CCD-0C13-E96A-3474-716184EB62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1086" y="157174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53FF332F-51A8-C0AC-5813-E23BDBFFB2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3486" y="172414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1" name="Přímá spojnice se šipkou 40">
            <a:extLst>
              <a:ext uri="{FF2B5EF4-FFF2-40B4-BE49-F238E27FC236}">
                <a16:creationId xmlns:a16="http://schemas.microsoft.com/office/drawing/2014/main" id="{11721498-85B9-F457-2ABF-B90F136EAC13}"/>
              </a:ext>
            </a:extLst>
          </p:cNvPr>
          <p:cNvCxnSpPr>
            <a:cxnSpLocks/>
          </p:cNvCxnSpPr>
          <p:nvPr/>
        </p:nvCxnSpPr>
        <p:spPr>
          <a:xfrm flipH="1">
            <a:off x="7548880" y="1896484"/>
            <a:ext cx="3212905" cy="37513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243A04AE-197A-A8BC-72A0-5EDCFADF3E1C}"/>
              </a:ext>
            </a:extLst>
          </p:cNvPr>
          <p:cNvSpPr txBox="1"/>
          <p:nvPr/>
        </p:nvSpPr>
        <p:spPr>
          <a:xfrm rot="21152574">
            <a:off x="8129769" y="1614948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Krajské úřady</a:t>
            </a:r>
          </a:p>
        </p:txBody>
      </p:sp>
    </p:spTree>
    <p:extLst>
      <p:ext uri="{BB962C8B-B14F-4D97-AF65-F5344CB8AC3E}">
        <p14:creationId xmlns:p14="http://schemas.microsoft.com/office/powerpoint/2010/main" val="883489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6B6FA412-445B-1BEA-C67E-7FF481A69D8A}"/>
              </a:ext>
            </a:extLst>
          </p:cNvPr>
          <p:cNvCxnSpPr>
            <a:cxnSpLocks/>
          </p:cNvCxnSpPr>
          <p:nvPr/>
        </p:nvCxnSpPr>
        <p:spPr>
          <a:xfrm>
            <a:off x="11123021" y="1797389"/>
            <a:ext cx="23771" cy="1507442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F5F87721-E91F-4970-529E-EE802EF7BC06}"/>
              </a:ext>
            </a:extLst>
          </p:cNvPr>
          <p:cNvCxnSpPr>
            <a:cxnSpLocks/>
          </p:cNvCxnSpPr>
          <p:nvPr/>
        </p:nvCxnSpPr>
        <p:spPr>
          <a:xfrm>
            <a:off x="1695100" y="2903887"/>
            <a:ext cx="23771" cy="1507442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761C77E7-EF02-568D-35A6-AD3C462753AF}"/>
              </a:ext>
            </a:extLst>
          </p:cNvPr>
          <p:cNvSpPr txBox="1"/>
          <p:nvPr/>
        </p:nvSpPr>
        <p:spPr>
          <a:xfrm rot="16200000">
            <a:off x="10811441" y="2259278"/>
            <a:ext cx="1514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i="1" dirty="0">
                <a:solidFill>
                  <a:srgbClr val="FF0000"/>
                </a:solidFill>
              </a:rPr>
              <a:t>Místa poskytování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28AE1820-2A6D-EA44-A901-CF76E9ECE28A}"/>
              </a:ext>
            </a:extLst>
          </p:cNvPr>
          <p:cNvSpPr txBox="1"/>
          <p:nvPr/>
        </p:nvSpPr>
        <p:spPr>
          <a:xfrm rot="16200000">
            <a:off x="591131" y="3217642"/>
            <a:ext cx="1514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i="1" dirty="0">
                <a:solidFill>
                  <a:srgbClr val="FF0000"/>
                </a:solidFill>
              </a:rPr>
              <a:t>Trajektorie absolventů</a:t>
            </a:r>
          </a:p>
        </p:txBody>
      </p:sp>
      <p:sp>
        <p:nvSpPr>
          <p:cNvPr id="599" name="Text Box 17">
            <a:extLst>
              <a:ext uri="{FF2B5EF4-FFF2-40B4-BE49-F238E27FC236}">
                <a16:creationId xmlns:a16="http://schemas.microsoft.com/office/drawing/2014/main" id="{B60B11B2-BD39-4805-BBE0-E32344FC7B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81295" y="4526734"/>
            <a:ext cx="219219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árodní registr zdravotnických pracovníků </a:t>
            </a:r>
          </a:p>
        </p:txBody>
      </p:sp>
      <p:pic>
        <p:nvPicPr>
          <p:cNvPr id="60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EE6A886-1662-48A4-AF2F-70F111D08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694" y="3138087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BB3D3BEE-ABC5-1D66-6A8E-41AC7A201E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676" y="4374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F40B3733-5924-3628-8682-7E0AF0D5F6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676" y="4374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798B6303-53C0-D56B-F9FB-43363E35D5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076" y="45266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3E7598B6-F179-D3FA-2DCA-BB5FE20CA7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6476" y="46790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35DD7A49-AE08-BA02-F7B2-005DC04DC1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301" y="19358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50E7A62D-C256-19C6-8FDC-501FCE7643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301" y="19358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2C3B6C1E-B695-68C7-6CEF-6C9945E4D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2701" y="2088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D3E2DE7E-E6ED-B748-C7F4-895D924716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5101" y="22406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7A9FA903-0A71-7DB1-EE2C-0E534D683BB8}"/>
              </a:ext>
            </a:extLst>
          </p:cNvPr>
          <p:cNvCxnSpPr>
            <a:cxnSpLocks/>
          </p:cNvCxnSpPr>
          <p:nvPr/>
        </p:nvCxnSpPr>
        <p:spPr>
          <a:xfrm flipV="1">
            <a:off x="1907756" y="3882888"/>
            <a:ext cx="2347163" cy="79615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E0D980B3-6D9C-53B0-797F-8BE82B9035AC}"/>
              </a:ext>
            </a:extLst>
          </p:cNvPr>
          <p:cNvCxnSpPr>
            <a:cxnSpLocks/>
          </p:cNvCxnSpPr>
          <p:nvPr/>
        </p:nvCxnSpPr>
        <p:spPr>
          <a:xfrm>
            <a:off x="2345896" y="2625543"/>
            <a:ext cx="1909023" cy="76868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F4DA6ACB-F361-5B62-305E-B2615B1FC02C}"/>
              </a:ext>
            </a:extLst>
          </p:cNvPr>
          <p:cNvSpPr txBox="1"/>
          <p:nvPr/>
        </p:nvSpPr>
        <p:spPr>
          <a:xfrm rot="20485565">
            <a:off x="2245088" y="4320227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Vzdělavatelé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68815854-CACA-33D7-5808-DE9D67B3C465}"/>
              </a:ext>
            </a:extLst>
          </p:cNvPr>
          <p:cNvSpPr txBox="1"/>
          <p:nvPr/>
        </p:nvSpPr>
        <p:spPr>
          <a:xfrm rot="21047465">
            <a:off x="8129769" y="1614948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Krajské úřady</a:t>
            </a:r>
          </a:p>
        </p:txBody>
      </p:sp>
      <p:pic>
        <p:nvPicPr>
          <p:cNvPr id="19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DE9E7F1F-227F-B1D0-4543-C166BA9BE0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3919" y="3138087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 Box 17">
            <a:extLst>
              <a:ext uri="{FF2B5EF4-FFF2-40B4-BE49-F238E27FC236}">
                <a16:creationId xmlns:a16="http://schemas.microsoft.com/office/drawing/2014/main" id="{9267B9FA-F9B3-1E3B-B749-CCDF00A995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40524" y="4516956"/>
            <a:ext cx="3157122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árodní registr hrazených zdravotních služeb</a:t>
            </a:r>
          </a:p>
        </p:txBody>
      </p:sp>
      <p:pic>
        <p:nvPicPr>
          <p:cNvPr id="21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4A427A0A-F45E-1CDD-587E-3A31EF447E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3426" y="32407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4D6F5402-FC3F-D1B7-8B56-0D592027F1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3426" y="32407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3B82AE91-5EC0-7B83-F875-75B32ACE27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5826" y="33931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EF83E187-6DDE-9DE2-CDB0-68DB821711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8226" y="35455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96F29923-570D-95AF-CEA1-88D297F5B884}"/>
              </a:ext>
            </a:extLst>
          </p:cNvPr>
          <p:cNvCxnSpPr>
            <a:cxnSpLocks/>
          </p:cNvCxnSpPr>
          <p:nvPr/>
        </p:nvCxnSpPr>
        <p:spPr>
          <a:xfrm flipH="1">
            <a:off x="9281754" y="3632203"/>
            <a:ext cx="1839272" cy="2074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35B83011-FD3D-7FF8-1475-F7452E341AEA}"/>
              </a:ext>
            </a:extLst>
          </p:cNvPr>
          <p:cNvSpPr txBox="1"/>
          <p:nvPr/>
        </p:nvSpPr>
        <p:spPr>
          <a:xfrm>
            <a:off x="9483361" y="3306789"/>
            <a:ext cx="17811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Zdravotní pojišťovny</a:t>
            </a:r>
          </a:p>
        </p:txBody>
      </p:sp>
      <p:sp>
        <p:nvSpPr>
          <p:cNvPr id="29" name="Text Box 17">
            <a:extLst>
              <a:ext uri="{FF2B5EF4-FFF2-40B4-BE49-F238E27FC236}">
                <a16:creationId xmlns:a16="http://schemas.microsoft.com/office/drawing/2014/main" id="{EE20E87F-C71C-89E0-0BED-A12E1C6CFB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09268" y="740913"/>
            <a:ext cx="429081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árodní registr poskytovatelů zdravotních služeb</a:t>
            </a:r>
          </a:p>
        </p:txBody>
      </p:sp>
      <p:pic>
        <p:nvPicPr>
          <p:cNvPr id="3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AB3994B2-8766-8810-6860-039CCE79D4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1230" y="1800024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1" name="Přímá spojnice se šipkou 30">
            <a:extLst>
              <a:ext uri="{FF2B5EF4-FFF2-40B4-BE49-F238E27FC236}">
                <a16:creationId xmlns:a16="http://schemas.microsoft.com/office/drawing/2014/main" id="{D15C25E0-5637-6004-9303-D72728550109}"/>
              </a:ext>
            </a:extLst>
          </p:cNvPr>
          <p:cNvCxnSpPr>
            <a:cxnSpLocks/>
          </p:cNvCxnSpPr>
          <p:nvPr/>
        </p:nvCxnSpPr>
        <p:spPr>
          <a:xfrm>
            <a:off x="2345896" y="2070233"/>
            <a:ext cx="3962947" cy="29704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1631037E-3993-6D77-8789-C747F31B0129}"/>
              </a:ext>
            </a:extLst>
          </p:cNvPr>
          <p:cNvSpPr txBox="1"/>
          <p:nvPr/>
        </p:nvSpPr>
        <p:spPr>
          <a:xfrm rot="1246759">
            <a:off x="2374794" y="2632444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skytovatelé</a:t>
            </a:r>
          </a:p>
        </p:txBody>
      </p:sp>
      <p:pic>
        <p:nvPicPr>
          <p:cNvPr id="35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A5175DC1-69F0-9193-ED5E-E0A25B5391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16886" y="1079856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E942C28A-644C-87CE-74A7-311DF787B6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16886" y="1079856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C2701C52-D700-F3C2-066B-AD4E58CF67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9286" y="1232256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DA00FF0-535F-5D3F-3AED-11E8D65F5F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21686" y="1384656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Přímá spojnice se šipkou 38">
            <a:extLst>
              <a:ext uri="{FF2B5EF4-FFF2-40B4-BE49-F238E27FC236}">
                <a16:creationId xmlns:a16="http://schemas.microsoft.com/office/drawing/2014/main" id="{19DB7960-6A4B-DFE9-E75F-2DDEDF98E8CB}"/>
              </a:ext>
            </a:extLst>
          </p:cNvPr>
          <p:cNvCxnSpPr>
            <a:cxnSpLocks/>
          </p:cNvCxnSpPr>
          <p:nvPr/>
        </p:nvCxnSpPr>
        <p:spPr>
          <a:xfrm flipH="1">
            <a:off x="7396710" y="1728920"/>
            <a:ext cx="3414165" cy="52935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ovéPole 47">
            <a:extLst>
              <a:ext uri="{FF2B5EF4-FFF2-40B4-BE49-F238E27FC236}">
                <a16:creationId xmlns:a16="http://schemas.microsoft.com/office/drawing/2014/main" id="{5DC24572-2FAE-0214-116E-81972F0198A1}"/>
              </a:ext>
            </a:extLst>
          </p:cNvPr>
          <p:cNvSpPr txBox="1"/>
          <p:nvPr/>
        </p:nvSpPr>
        <p:spPr>
          <a:xfrm rot="276719">
            <a:off x="3501382" y="1831278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skytovatelé</a:t>
            </a:r>
          </a:p>
        </p:txBody>
      </p:sp>
      <p:cxnSp>
        <p:nvCxnSpPr>
          <p:cNvPr id="50" name="Přímá spojnice 49">
            <a:extLst>
              <a:ext uri="{FF2B5EF4-FFF2-40B4-BE49-F238E27FC236}">
                <a16:creationId xmlns:a16="http://schemas.microsoft.com/office/drawing/2014/main" id="{1A92AB00-C8FF-C83B-64DF-BCDF17F3C8DC}"/>
              </a:ext>
            </a:extLst>
          </p:cNvPr>
          <p:cNvCxnSpPr>
            <a:cxnSpLocks/>
          </p:cNvCxnSpPr>
          <p:nvPr/>
        </p:nvCxnSpPr>
        <p:spPr>
          <a:xfrm flipV="1">
            <a:off x="5294522" y="2891770"/>
            <a:ext cx="1358384" cy="689730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Přímá spojnice 50">
            <a:extLst>
              <a:ext uri="{FF2B5EF4-FFF2-40B4-BE49-F238E27FC236}">
                <a16:creationId xmlns:a16="http://schemas.microsoft.com/office/drawing/2014/main" id="{102881A7-DDE1-7851-F79D-D783AE3A63CB}"/>
              </a:ext>
            </a:extLst>
          </p:cNvPr>
          <p:cNvCxnSpPr>
            <a:cxnSpLocks/>
          </p:cNvCxnSpPr>
          <p:nvPr/>
        </p:nvCxnSpPr>
        <p:spPr>
          <a:xfrm>
            <a:off x="5306420" y="3772909"/>
            <a:ext cx="2895099" cy="28575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Přímá spojnice 53">
            <a:extLst>
              <a:ext uri="{FF2B5EF4-FFF2-40B4-BE49-F238E27FC236}">
                <a16:creationId xmlns:a16="http://schemas.microsoft.com/office/drawing/2014/main" id="{3849E32C-1514-C59B-D6AF-A52933B4FA91}"/>
              </a:ext>
            </a:extLst>
          </p:cNvPr>
          <p:cNvCxnSpPr>
            <a:cxnSpLocks/>
          </p:cNvCxnSpPr>
          <p:nvPr/>
        </p:nvCxnSpPr>
        <p:spPr>
          <a:xfrm>
            <a:off x="6894875" y="2895061"/>
            <a:ext cx="1336619" cy="722633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ovéPole 60">
            <a:extLst>
              <a:ext uri="{FF2B5EF4-FFF2-40B4-BE49-F238E27FC236}">
                <a16:creationId xmlns:a16="http://schemas.microsoft.com/office/drawing/2014/main" id="{F9D2AC79-97CE-7B13-0979-B9472624FC59}"/>
              </a:ext>
            </a:extLst>
          </p:cNvPr>
          <p:cNvSpPr txBox="1"/>
          <p:nvPr/>
        </p:nvSpPr>
        <p:spPr>
          <a:xfrm>
            <a:off x="6010275" y="3095690"/>
            <a:ext cx="1514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i="1" dirty="0">
                <a:solidFill>
                  <a:srgbClr val="FF0000"/>
                </a:solidFill>
              </a:rPr>
              <a:t>Vzájemné kontroly</a:t>
            </a:r>
          </a:p>
        </p:txBody>
      </p:sp>
      <p:sp>
        <p:nvSpPr>
          <p:cNvPr id="62" name="Text Box 17">
            <a:extLst>
              <a:ext uri="{FF2B5EF4-FFF2-40B4-BE49-F238E27FC236}">
                <a16:creationId xmlns:a16="http://schemas.microsoft.com/office/drawing/2014/main" id="{D55E397F-1B49-4E24-3CE9-8D9AE6B203AA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1794768" y="3004028"/>
            <a:ext cx="461709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ově budovaný systém </a:t>
            </a:r>
            <a:r>
              <a:rPr kumimoji="0" lang="cs-CZ" altLang="cs-CZ" i="1" u="sng" dirty="0">
                <a:solidFill>
                  <a:srgbClr val="0000FF"/>
                </a:solidFill>
                <a:latin typeface="+mn-lt"/>
              </a:rPr>
              <a:t>ADMINISTRÁTOR</a:t>
            </a:r>
          </a:p>
        </p:txBody>
      </p:sp>
      <p:pic>
        <p:nvPicPr>
          <p:cNvPr id="759" name="Obrázek 758">
            <a:extLst>
              <a:ext uri="{FF2B5EF4-FFF2-40B4-BE49-F238E27FC236}">
                <a16:creationId xmlns:a16="http://schemas.microsoft.com/office/drawing/2014/main" id="{50E1E228-3FBA-0B95-0BF4-8DD626F740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9807" y="5038473"/>
            <a:ext cx="1904400" cy="1381053"/>
          </a:xfrm>
          <a:prstGeom prst="rect">
            <a:avLst/>
          </a:prstGeom>
        </p:spPr>
      </p:pic>
      <p:cxnSp>
        <p:nvCxnSpPr>
          <p:cNvPr id="763" name="Přímá spojnice 762">
            <a:extLst>
              <a:ext uri="{FF2B5EF4-FFF2-40B4-BE49-F238E27FC236}">
                <a16:creationId xmlns:a16="http://schemas.microsoft.com/office/drawing/2014/main" id="{99F571B9-1273-9DE8-29BD-DA3D5A0FEA22}"/>
              </a:ext>
            </a:extLst>
          </p:cNvPr>
          <p:cNvCxnSpPr>
            <a:cxnSpLocks/>
          </p:cNvCxnSpPr>
          <p:nvPr/>
        </p:nvCxnSpPr>
        <p:spPr>
          <a:xfrm>
            <a:off x="9111903" y="4106934"/>
            <a:ext cx="952782" cy="1019964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6" name="Přímá spojnice 765">
            <a:extLst>
              <a:ext uri="{FF2B5EF4-FFF2-40B4-BE49-F238E27FC236}">
                <a16:creationId xmlns:a16="http://schemas.microsoft.com/office/drawing/2014/main" id="{A2355B10-C295-A5C4-E7CD-C73BD6DEC8D9}"/>
              </a:ext>
            </a:extLst>
          </p:cNvPr>
          <p:cNvCxnSpPr>
            <a:cxnSpLocks/>
          </p:cNvCxnSpPr>
          <p:nvPr/>
        </p:nvCxnSpPr>
        <p:spPr>
          <a:xfrm flipH="1">
            <a:off x="11169286" y="4116054"/>
            <a:ext cx="697810" cy="1133230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4" name="TextovéPole 773">
            <a:extLst>
              <a:ext uri="{FF2B5EF4-FFF2-40B4-BE49-F238E27FC236}">
                <a16:creationId xmlns:a16="http://schemas.microsoft.com/office/drawing/2014/main" id="{D95E5B5A-959F-E625-BFFC-B35F06785C1E}"/>
              </a:ext>
            </a:extLst>
          </p:cNvPr>
          <p:cNvSpPr txBox="1"/>
          <p:nvPr/>
        </p:nvSpPr>
        <p:spPr>
          <a:xfrm>
            <a:off x="9907812" y="4285164"/>
            <a:ext cx="15144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i="1" dirty="0">
                <a:solidFill>
                  <a:srgbClr val="FF0000"/>
                </a:solidFill>
              </a:rPr>
              <a:t>Akutní lůžková péče</a:t>
            </a:r>
          </a:p>
        </p:txBody>
      </p:sp>
      <p:sp>
        <p:nvSpPr>
          <p:cNvPr id="776" name="TextovéPole 775">
            <a:extLst>
              <a:ext uri="{FF2B5EF4-FFF2-40B4-BE49-F238E27FC236}">
                <a16:creationId xmlns:a16="http://schemas.microsoft.com/office/drawing/2014/main" id="{C43BC59D-A4EF-5431-13F2-2CE133A589CC}"/>
              </a:ext>
            </a:extLst>
          </p:cNvPr>
          <p:cNvSpPr txBox="1"/>
          <p:nvPr/>
        </p:nvSpPr>
        <p:spPr>
          <a:xfrm rot="19519048">
            <a:off x="1209592" y="4389155"/>
            <a:ext cx="2654144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/>
              <a:t>Produkce škol</a:t>
            </a:r>
          </a:p>
        </p:txBody>
      </p:sp>
      <p:sp>
        <p:nvSpPr>
          <p:cNvPr id="777" name="TextovéPole 776">
            <a:extLst>
              <a:ext uri="{FF2B5EF4-FFF2-40B4-BE49-F238E27FC236}">
                <a16:creationId xmlns:a16="http://schemas.microsoft.com/office/drawing/2014/main" id="{387C9E62-5EC7-05DE-7F07-BCFFD0FA9D04}"/>
              </a:ext>
            </a:extLst>
          </p:cNvPr>
          <p:cNvSpPr txBox="1"/>
          <p:nvPr/>
        </p:nvSpPr>
        <p:spPr>
          <a:xfrm rot="19519048">
            <a:off x="-132546" y="4615391"/>
            <a:ext cx="2654143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/>
              <a:t>Zájem o studium</a:t>
            </a:r>
          </a:p>
        </p:txBody>
      </p:sp>
      <p:sp>
        <p:nvSpPr>
          <p:cNvPr id="778" name="TextovéPole 777">
            <a:extLst>
              <a:ext uri="{FF2B5EF4-FFF2-40B4-BE49-F238E27FC236}">
                <a16:creationId xmlns:a16="http://schemas.microsoft.com/office/drawing/2014/main" id="{D79EC2C3-699C-A12C-0F5C-1E7241ECFB23}"/>
              </a:ext>
            </a:extLst>
          </p:cNvPr>
          <p:cNvSpPr txBox="1"/>
          <p:nvPr/>
        </p:nvSpPr>
        <p:spPr>
          <a:xfrm rot="19519048">
            <a:off x="1286424" y="1986475"/>
            <a:ext cx="2654143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/>
              <a:t>Uplatnění v praxi</a:t>
            </a:r>
          </a:p>
        </p:txBody>
      </p:sp>
      <p:sp>
        <p:nvSpPr>
          <p:cNvPr id="779" name="TextovéPole 778">
            <a:extLst>
              <a:ext uri="{FF2B5EF4-FFF2-40B4-BE49-F238E27FC236}">
                <a16:creationId xmlns:a16="http://schemas.microsoft.com/office/drawing/2014/main" id="{728D1E46-1C92-76E8-D45E-5A0962DF5797}"/>
              </a:ext>
            </a:extLst>
          </p:cNvPr>
          <p:cNvSpPr txBox="1"/>
          <p:nvPr/>
        </p:nvSpPr>
        <p:spPr>
          <a:xfrm rot="19519048">
            <a:off x="4563341" y="2597493"/>
            <a:ext cx="2654143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/>
              <a:t>Distribuce kapacit</a:t>
            </a:r>
          </a:p>
        </p:txBody>
      </p:sp>
      <p:sp>
        <p:nvSpPr>
          <p:cNvPr id="780" name="TextovéPole 779">
            <a:extLst>
              <a:ext uri="{FF2B5EF4-FFF2-40B4-BE49-F238E27FC236}">
                <a16:creationId xmlns:a16="http://schemas.microsoft.com/office/drawing/2014/main" id="{F6C5ADC9-07EA-C6A1-22AF-6204F96E26C3}"/>
              </a:ext>
            </a:extLst>
          </p:cNvPr>
          <p:cNvSpPr txBox="1"/>
          <p:nvPr/>
        </p:nvSpPr>
        <p:spPr>
          <a:xfrm rot="19519048">
            <a:off x="8435302" y="1568342"/>
            <a:ext cx="2654143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/>
              <a:t>Regionální mapování</a:t>
            </a:r>
          </a:p>
        </p:txBody>
      </p:sp>
      <p:sp>
        <p:nvSpPr>
          <p:cNvPr id="781" name="TextovéPole 780">
            <a:extLst>
              <a:ext uri="{FF2B5EF4-FFF2-40B4-BE49-F238E27FC236}">
                <a16:creationId xmlns:a16="http://schemas.microsoft.com/office/drawing/2014/main" id="{ED0B3AD4-F77D-833B-E26A-EF77812A555C}"/>
              </a:ext>
            </a:extLst>
          </p:cNvPr>
          <p:cNvSpPr txBox="1"/>
          <p:nvPr/>
        </p:nvSpPr>
        <p:spPr>
          <a:xfrm rot="19519048">
            <a:off x="6721938" y="3842975"/>
            <a:ext cx="2654143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/>
              <a:t>Úvazková kapacita</a:t>
            </a:r>
          </a:p>
        </p:txBody>
      </p:sp>
      <p:sp>
        <p:nvSpPr>
          <p:cNvPr id="782" name="TextovéPole 781">
            <a:extLst>
              <a:ext uri="{FF2B5EF4-FFF2-40B4-BE49-F238E27FC236}">
                <a16:creationId xmlns:a16="http://schemas.microsoft.com/office/drawing/2014/main" id="{9B584336-4ABF-34BC-7AE9-770CF598A5B1}"/>
              </a:ext>
            </a:extLst>
          </p:cNvPr>
          <p:cNvSpPr txBox="1"/>
          <p:nvPr/>
        </p:nvSpPr>
        <p:spPr>
          <a:xfrm rot="19519048">
            <a:off x="9384442" y="4976821"/>
            <a:ext cx="2654143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sz="2200" b="1" dirty="0"/>
              <a:t>Systemizace míst</a:t>
            </a:r>
          </a:p>
        </p:txBody>
      </p:sp>
      <p:sp>
        <p:nvSpPr>
          <p:cNvPr id="783" name="Nadpis 1">
            <a:extLst>
              <a:ext uri="{FF2B5EF4-FFF2-40B4-BE49-F238E27FC236}">
                <a16:creationId xmlns:a16="http://schemas.microsoft.com/office/drawing/2014/main" id="{473E9B45-49B3-E061-AF23-6F7082688126}"/>
              </a:ext>
            </a:extLst>
          </p:cNvPr>
          <p:cNvSpPr txBox="1">
            <a:spLocks/>
          </p:cNvSpPr>
          <p:nvPr/>
        </p:nvSpPr>
        <p:spPr>
          <a:xfrm>
            <a:off x="22412" y="-981"/>
            <a:ext cx="12150538" cy="6623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C22728"/>
                </a:solidFill>
                <a:effectLst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22728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ový informační systém pro hodnocení personálních kapacit</a:t>
            </a:r>
          </a:p>
        </p:txBody>
      </p:sp>
    </p:spTree>
    <p:extLst>
      <p:ext uri="{BB962C8B-B14F-4D97-AF65-F5344CB8AC3E}">
        <p14:creationId xmlns:p14="http://schemas.microsoft.com/office/powerpoint/2010/main" val="1869225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A56862-14FE-4D33-9C4C-767F9CD7C3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80" y="122993"/>
            <a:ext cx="11302314" cy="691916"/>
          </a:xfrm>
        </p:spPr>
        <p:txBody>
          <a:bodyPr>
            <a:normAutofit/>
          </a:bodyPr>
          <a:lstStyle/>
          <a:p>
            <a:pPr algn="ctr"/>
            <a:r>
              <a:rPr lang="cs-CZ" dirty="0">
                <a:solidFill>
                  <a:srgbClr val="D71440"/>
                </a:solidFill>
              </a:rPr>
              <a:t>Nová datová základna pro mapování kapacit ZP</a:t>
            </a:r>
          </a:p>
        </p:txBody>
      </p:sp>
      <p:pic>
        <p:nvPicPr>
          <p:cNvPr id="6" name="Obrázek 2">
            <a:extLst>
              <a:ext uri="{FF2B5EF4-FFF2-40B4-BE49-F238E27FC236}">
                <a16:creationId xmlns:a16="http://schemas.microsoft.com/office/drawing/2014/main" id="{93EA8FA1-4703-4A0D-81F2-A132FCC4EB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015" y="2999104"/>
            <a:ext cx="3395256" cy="317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Obrázek 1">
            <a:extLst>
              <a:ext uri="{FF2B5EF4-FFF2-40B4-BE49-F238E27FC236}">
                <a16:creationId xmlns:a16="http://schemas.microsoft.com/office/drawing/2014/main" id="{BF66D7C7-B971-4CCD-A738-28253DB7EB9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3790" y="2968784"/>
            <a:ext cx="3096762" cy="3202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ovéPole 2">
            <a:extLst>
              <a:ext uri="{FF2B5EF4-FFF2-40B4-BE49-F238E27FC236}">
                <a16:creationId xmlns:a16="http://schemas.microsoft.com/office/drawing/2014/main" id="{BA7D4801-DB8E-4991-65AB-C76C00FA04BD}"/>
              </a:ext>
            </a:extLst>
          </p:cNvPr>
          <p:cNvSpPr txBox="1"/>
          <p:nvPr/>
        </p:nvSpPr>
        <p:spPr>
          <a:xfrm rot="20244239">
            <a:off x="100947" y="1751960"/>
            <a:ext cx="4774043" cy="1015663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ximální vytěžování již existujících dat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73FE31E0-48FC-5EA8-F62A-EC77C1D8352F}"/>
              </a:ext>
            </a:extLst>
          </p:cNvPr>
          <p:cNvSpPr txBox="1"/>
          <p:nvPr/>
        </p:nvSpPr>
        <p:spPr>
          <a:xfrm rot="20244239">
            <a:off x="5354340" y="1751960"/>
            <a:ext cx="4774043" cy="1015663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izace již existujících informačních systémů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0F60F6C1-8C94-7E14-0AD8-CF9AE331AECE}"/>
              </a:ext>
            </a:extLst>
          </p:cNvPr>
          <p:cNvSpPr txBox="1"/>
          <p:nvPr/>
        </p:nvSpPr>
        <p:spPr>
          <a:xfrm>
            <a:off x="2745643" y="6234551"/>
            <a:ext cx="683287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1" u="none" strike="noStrike" kern="1200" cap="none" spc="0" normalizeH="0" baseline="0" noProof="0" dirty="0">
                <a:ln>
                  <a:noFill/>
                </a:ln>
                <a:solidFill>
                  <a:srgbClr val="1E3C7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se zadávají POUZE jednou</a:t>
            </a:r>
            <a:endParaRPr kumimoji="0" lang="en-US" sz="3600" b="1" i="1" u="none" strike="noStrike" kern="1200" cap="none" spc="0" normalizeH="0" baseline="0" noProof="0" dirty="0">
              <a:ln>
                <a:noFill/>
              </a:ln>
              <a:solidFill>
                <a:srgbClr val="1E3C7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10288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textu 4">
            <a:extLst>
              <a:ext uri="{FF2B5EF4-FFF2-40B4-BE49-F238E27FC236}">
                <a16:creationId xmlns:a16="http://schemas.microsoft.com/office/drawing/2014/main" id="{85DF8549-49A9-4045-9440-3C137B807487}"/>
              </a:ext>
            </a:extLst>
          </p:cNvPr>
          <p:cNvSpPr txBox="1">
            <a:spLocks/>
          </p:cNvSpPr>
          <p:nvPr/>
        </p:nvSpPr>
        <p:spPr>
          <a:xfrm>
            <a:off x="257264" y="4642338"/>
            <a:ext cx="8876688" cy="110667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braná data o ZZS = proč je důležité plánovat personální kapacity </a:t>
            </a:r>
          </a:p>
        </p:txBody>
      </p:sp>
    </p:spTree>
    <p:extLst>
      <p:ext uri="{BB962C8B-B14F-4D97-AF65-F5344CB8AC3E}">
        <p14:creationId xmlns:p14="http://schemas.microsoft.com/office/powerpoint/2010/main" val="21842198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Nadpis 1">
            <a:extLst>
              <a:ext uri="{FF2B5EF4-FFF2-40B4-BE49-F238E27FC236}">
                <a16:creationId xmlns:a16="http://schemas.microsoft.com/office/drawing/2014/main" id="{EA328CEC-C272-456D-B936-D7E722870E2A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7558" y="156024"/>
            <a:ext cx="11510889" cy="774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  <a:t>Vývoj počtu zásahů: časová řada</a:t>
            </a:r>
          </a:p>
        </p:txBody>
      </p:sp>
      <p:sp>
        <p:nvSpPr>
          <p:cNvPr id="97" name="TextBox 6"/>
          <p:cNvSpPr txBox="1"/>
          <p:nvPr>
            <p:custDataLst>
              <p:tags r:id="rId2"/>
            </p:custDataLst>
          </p:nvPr>
        </p:nvSpPr>
        <p:spPr>
          <a:xfrm>
            <a:off x="257558" y="653725"/>
            <a:ext cx="19979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RHZS 2010–2023</a:t>
            </a:r>
          </a:p>
        </p:txBody>
      </p:sp>
      <p:sp>
        <p:nvSpPr>
          <p:cNvPr id="8" name="TextBox 2"/>
          <p:cNvSpPr txBox="1"/>
          <p:nvPr>
            <p:custDataLst>
              <p:tags r:id="rId3"/>
            </p:custDataLst>
          </p:nvPr>
        </p:nvSpPr>
        <p:spPr>
          <a:xfrm>
            <a:off x="218624" y="1019400"/>
            <a:ext cx="94082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pacientů ošetřených ZZS v jednotlivých věkových kategoriích dle dat NRHZS v letech 2010–2023:</a:t>
            </a:r>
          </a:p>
        </p:txBody>
      </p:sp>
      <p:graphicFrame>
        <p:nvGraphicFramePr>
          <p:cNvPr id="6" name="Object 3">
            <a:extLst>
              <a:ext uri="{FF2B5EF4-FFF2-40B4-BE49-F238E27FC236}">
                <a16:creationId xmlns:a16="http://schemas.microsoft.com/office/drawing/2014/main" id="{B6E01F45-8EA1-F682-AA14-BFFEA50C0B80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2168257"/>
          <a:ext cx="11992880" cy="44992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Tabulka 9">
            <a:extLst>
              <a:ext uri="{FF2B5EF4-FFF2-40B4-BE49-F238E27FC236}">
                <a16:creationId xmlns:a16="http://schemas.microsoft.com/office/drawing/2014/main" id="{18A3DA2C-7D60-678E-0888-762D846760DF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585200" y="1479695"/>
          <a:ext cx="10604611" cy="6200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77005">
                  <a:extLst>
                    <a:ext uri="{9D8B030D-6E8A-4147-A177-3AD203B41FA5}">
                      <a16:colId xmlns:a16="http://schemas.microsoft.com/office/drawing/2014/main" val="3677595034"/>
                    </a:ext>
                  </a:extLst>
                </a:gridCol>
                <a:gridCol w="701972">
                  <a:extLst>
                    <a:ext uri="{9D8B030D-6E8A-4147-A177-3AD203B41FA5}">
                      <a16:colId xmlns:a16="http://schemas.microsoft.com/office/drawing/2014/main" val="1151384095"/>
                    </a:ext>
                  </a:extLst>
                </a:gridCol>
                <a:gridCol w="701972">
                  <a:extLst>
                    <a:ext uri="{9D8B030D-6E8A-4147-A177-3AD203B41FA5}">
                      <a16:colId xmlns:a16="http://schemas.microsoft.com/office/drawing/2014/main" val="2477258138"/>
                    </a:ext>
                  </a:extLst>
                </a:gridCol>
                <a:gridCol w="701972">
                  <a:extLst>
                    <a:ext uri="{9D8B030D-6E8A-4147-A177-3AD203B41FA5}">
                      <a16:colId xmlns:a16="http://schemas.microsoft.com/office/drawing/2014/main" val="4119175122"/>
                    </a:ext>
                  </a:extLst>
                </a:gridCol>
                <a:gridCol w="701972">
                  <a:extLst>
                    <a:ext uri="{9D8B030D-6E8A-4147-A177-3AD203B41FA5}">
                      <a16:colId xmlns:a16="http://schemas.microsoft.com/office/drawing/2014/main" val="1232082883"/>
                    </a:ext>
                  </a:extLst>
                </a:gridCol>
                <a:gridCol w="701972">
                  <a:extLst>
                    <a:ext uri="{9D8B030D-6E8A-4147-A177-3AD203B41FA5}">
                      <a16:colId xmlns:a16="http://schemas.microsoft.com/office/drawing/2014/main" val="4102811824"/>
                    </a:ext>
                  </a:extLst>
                </a:gridCol>
                <a:gridCol w="701972">
                  <a:extLst>
                    <a:ext uri="{9D8B030D-6E8A-4147-A177-3AD203B41FA5}">
                      <a16:colId xmlns:a16="http://schemas.microsoft.com/office/drawing/2014/main" val="756918173"/>
                    </a:ext>
                  </a:extLst>
                </a:gridCol>
                <a:gridCol w="701972">
                  <a:extLst>
                    <a:ext uri="{9D8B030D-6E8A-4147-A177-3AD203B41FA5}">
                      <a16:colId xmlns:a16="http://schemas.microsoft.com/office/drawing/2014/main" val="3598569608"/>
                    </a:ext>
                  </a:extLst>
                </a:gridCol>
                <a:gridCol w="701972">
                  <a:extLst>
                    <a:ext uri="{9D8B030D-6E8A-4147-A177-3AD203B41FA5}">
                      <a16:colId xmlns:a16="http://schemas.microsoft.com/office/drawing/2014/main" val="1607500774"/>
                    </a:ext>
                  </a:extLst>
                </a:gridCol>
                <a:gridCol w="701972">
                  <a:extLst>
                    <a:ext uri="{9D8B030D-6E8A-4147-A177-3AD203B41FA5}">
                      <a16:colId xmlns:a16="http://schemas.microsoft.com/office/drawing/2014/main" val="2399593164"/>
                    </a:ext>
                  </a:extLst>
                </a:gridCol>
                <a:gridCol w="701972">
                  <a:extLst>
                    <a:ext uri="{9D8B030D-6E8A-4147-A177-3AD203B41FA5}">
                      <a16:colId xmlns:a16="http://schemas.microsoft.com/office/drawing/2014/main" val="3150772837"/>
                    </a:ext>
                  </a:extLst>
                </a:gridCol>
                <a:gridCol w="701972">
                  <a:extLst>
                    <a:ext uri="{9D8B030D-6E8A-4147-A177-3AD203B41FA5}">
                      <a16:colId xmlns:a16="http://schemas.microsoft.com/office/drawing/2014/main" val="1445249518"/>
                    </a:ext>
                  </a:extLst>
                </a:gridCol>
                <a:gridCol w="701972">
                  <a:extLst>
                    <a:ext uri="{9D8B030D-6E8A-4147-A177-3AD203B41FA5}">
                      <a16:colId xmlns:a16="http://schemas.microsoft.com/office/drawing/2014/main" val="2159396149"/>
                    </a:ext>
                  </a:extLst>
                </a:gridCol>
                <a:gridCol w="756636">
                  <a:extLst>
                    <a:ext uri="{9D8B030D-6E8A-4147-A177-3AD203B41FA5}">
                      <a16:colId xmlns:a16="http://schemas.microsoft.com/office/drawing/2014/main" val="1041405210"/>
                    </a:ext>
                  </a:extLst>
                </a:gridCol>
                <a:gridCol w="647306">
                  <a:extLst>
                    <a:ext uri="{9D8B030D-6E8A-4147-A177-3AD203B41FA5}">
                      <a16:colId xmlns:a16="http://schemas.microsoft.com/office/drawing/2014/main" val="1221249196"/>
                    </a:ext>
                  </a:extLst>
                </a:gridCol>
              </a:tblGrid>
              <a:tr h="31001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53927114"/>
                  </a:ext>
                </a:extLst>
              </a:tr>
              <a:tr h="31001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8 234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9 110 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7 059 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0 722 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4 069 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3 017 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8 613 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0 995 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1 397 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9 686 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08 379 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2 382 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18 713 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 808 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54765623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CBE93D67-8041-C33F-F6C8-D53E2CEFC38B}"/>
              </a:ext>
            </a:extLst>
          </p:cNvPr>
          <p:cNvSpPr txBox="1"/>
          <p:nvPr/>
        </p:nvSpPr>
        <p:spPr>
          <a:xfrm>
            <a:off x="10339754" y="3010062"/>
            <a:ext cx="58280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500" dirty="0">
                <a:solidFill>
                  <a:srgbClr val="FF0000"/>
                </a:solidFill>
                <a:latin typeface="Arial Black" panose="020B0A04020102020204" pitchFamily="34" charset="0"/>
              </a:rPr>
              <a:t>!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F6F0D8A3-9DCD-FAD1-424D-B4C157E402AC}"/>
              </a:ext>
            </a:extLst>
          </p:cNvPr>
          <p:cNvSpPr txBox="1"/>
          <p:nvPr/>
        </p:nvSpPr>
        <p:spPr>
          <a:xfrm>
            <a:off x="11701478" y="5021407"/>
            <a:ext cx="58280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500" dirty="0">
                <a:solidFill>
                  <a:srgbClr val="FF0000"/>
                </a:solidFill>
                <a:latin typeface="Arial Black" panose="020B0A04020102020204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40340605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Nadpis 2">
            <a:extLst>
              <a:ext uri="{FF2B5EF4-FFF2-40B4-BE49-F238E27FC236}">
                <a16:creationId xmlns:a16="http://schemas.microsoft.com/office/drawing/2014/main" id="{71D29E70-2E4A-4AB2-AB1D-48C7B9CF5103}"/>
              </a:ext>
            </a:extLst>
          </p:cNvPr>
          <p:cNvSpPr txBox="1">
            <a:spLocks/>
          </p:cNvSpPr>
          <p:nvPr/>
        </p:nvSpPr>
        <p:spPr>
          <a:xfrm>
            <a:off x="87746" y="161754"/>
            <a:ext cx="12016508" cy="34422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21324B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Zdravotnický systém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800" b="1" i="0" u="none" strike="noStrike" kern="1200" cap="none" spc="0" normalizeH="0" baseline="0" noProof="0" dirty="0">
              <a:ln>
                <a:noFill/>
              </a:ln>
              <a:solidFill>
                <a:srgbClr val="21324B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21324B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se musí koncepčně připravovat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4800" b="1" i="0" u="none" strike="noStrike" kern="1200" cap="none" spc="0" normalizeH="0" baseline="0" noProof="0" dirty="0">
              <a:ln>
                <a:noFill/>
              </a:ln>
              <a:solidFill>
                <a:srgbClr val="21324B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800" b="1" i="0" u="none" strike="noStrike" kern="1200" cap="none" spc="0" normalizeH="0" baseline="0" noProof="0" dirty="0">
                <a:ln>
                  <a:noFill/>
                </a:ln>
                <a:solidFill>
                  <a:srgbClr val="21324B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a demografické stárnutí populace</a:t>
            </a:r>
          </a:p>
        </p:txBody>
      </p:sp>
      <p:sp>
        <p:nvSpPr>
          <p:cNvPr id="2" name="Šipka: dolů 1">
            <a:extLst>
              <a:ext uri="{FF2B5EF4-FFF2-40B4-BE49-F238E27FC236}">
                <a16:creationId xmlns:a16="http://schemas.microsoft.com/office/drawing/2014/main" id="{68E214EF-3BB4-417F-932B-858B277FF984}"/>
              </a:ext>
            </a:extLst>
          </p:cNvPr>
          <p:cNvSpPr/>
          <p:nvPr/>
        </p:nvSpPr>
        <p:spPr>
          <a:xfrm>
            <a:off x="5317253" y="3954506"/>
            <a:ext cx="1557494" cy="79451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Object 3">
            <a:extLst>
              <a:ext uri="{FF2B5EF4-FFF2-40B4-BE49-F238E27FC236}">
                <a16:creationId xmlns:a16="http://schemas.microsoft.com/office/drawing/2014/main" id="{AC8B0636-69B5-69E7-3319-7317A914EDA0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2936515" y="4749019"/>
          <a:ext cx="4120480" cy="1896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id="{A0696A5C-772B-C6EC-75AA-6C934CA276B4}"/>
              </a:ext>
            </a:extLst>
          </p:cNvPr>
          <p:cNvSpPr txBox="1"/>
          <p:nvPr/>
        </p:nvSpPr>
        <p:spPr>
          <a:xfrm>
            <a:off x="8006315" y="5420526"/>
            <a:ext cx="3506874" cy="461665"/>
          </a:xfrm>
          <a:prstGeom prst="rect">
            <a:avLst/>
          </a:prstGeom>
          <a:solidFill>
            <a:srgbClr val="D7144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 roku 2010: + 72%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BC4D562D-BB5C-F9B9-37BF-ADC21563933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53218" y="5005027"/>
            <a:ext cx="2381459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elkový počet ošetřených ZZS ve věku 75+</a:t>
            </a:r>
          </a:p>
        </p:txBody>
      </p: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394FC6A0-3BC6-56D9-C53E-5B464E4FA888}"/>
              </a:ext>
            </a:extLst>
          </p:cNvPr>
          <p:cNvCxnSpPr/>
          <p:nvPr/>
        </p:nvCxnSpPr>
        <p:spPr>
          <a:xfrm>
            <a:off x="182880" y="4527640"/>
            <a:ext cx="121107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15936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Nadpis 1">
            <a:extLst>
              <a:ext uri="{FF2B5EF4-FFF2-40B4-BE49-F238E27FC236}">
                <a16:creationId xmlns:a16="http://schemas.microsoft.com/office/drawing/2014/main" id="{EA328CEC-C272-456D-B936-D7E722870E2A}"/>
              </a:ext>
            </a:extLst>
          </p:cNvPr>
          <p:cNvSpPr txBox="1">
            <a:spLocks/>
          </p:cNvSpPr>
          <p:nvPr/>
        </p:nvSpPr>
        <p:spPr>
          <a:xfrm>
            <a:off x="257558" y="156024"/>
            <a:ext cx="11510889" cy="774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  <a:t>Demografická struktura pacientů v péči ZZS </a:t>
            </a:r>
          </a:p>
        </p:txBody>
      </p:sp>
      <p:sp>
        <p:nvSpPr>
          <p:cNvPr id="97" name="TextBox 6"/>
          <p:cNvSpPr txBox="1"/>
          <p:nvPr>
            <p:custDataLst>
              <p:tags r:id="rId1"/>
            </p:custDataLst>
          </p:nvPr>
        </p:nvSpPr>
        <p:spPr>
          <a:xfrm>
            <a:off x="257558" y="653725"/>
            <a:ext cx="39839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RHZS, ošetření pacienti v období 2019–2023</a:t>
            </a:r>
          </a:p>
        </p:txBody>
      </p:sp>
      <p:graphicFrame>
        <p:nvGraphicFramePr>
          <p:cNvPr id="5" name="Chart 7"/>
          <p:cNvGraphicFramePr/>
          <p:nvPr>
            <p:custDataLst>
              <p:tags r:id="rId2"/>
            </p:custDataLst>
          </p:nvPr>
        </p:nvGraphicFramePr>
        <p:xfrm>
          <a:off x="4957011" y="1323474"/>
          <a:ext cx="6811435" cy="49209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" name="Tabulka 1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505325" y="4441909"/>
          <a:ext cx="4006516" cy="99250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6595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95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568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568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7371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n-lt"/>
                        </a:rPr>
                        <a:t>N/rok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n-lt"/>
                        </a:rPr>
                        <a:t>% pohlaví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n-lt"/>
                        </a:rPr>
                        <a:t>Věk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n-lt"/>
                        </a:rPr>
                        <a:t>průměr (SD)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n-lt"/>
                        </a:rPr>
                        <a:t>medián (IQR)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n-lt"/>
                        </a:rPr>
                        <a:t>Celkem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959 343 </a:t>
                      </a:r>
                    </a:p>
                  </a:txBody>
                  <a:tcPr marL="6350" marR="6350" marT="6350" marB="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  <a:latin typeface="+mn-lt"/>
                        </a:rPr>
                        <a:t>100,0 %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  <a:latin typeface="+mn-lt"/>
                        </a:rPr>
                        <a:t>59 (24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 (42; 78)</a:t>
                      </a:r>
                    </a:p>
                  </a:txBody>
                  <a:tcPr marL="6350" marR="6350" marT="6350" marB="0" anchor="b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n-lt"/>
                        </a:rPr>
                        <a:t>Muži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478 703 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  <a:latin typeface="+mn-lt"/>
                        </a:rPr>
                        <a:t>49,9 %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  <a:latin typeface="+mn-lt"/>
                        </a:rPr>
                        <a:t>57 (23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(41; 75)</a:t>
                      </a: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  <a:latin typeface="+mn-lt"/>
                        </a:rPr>
                        <a:t>Ženy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480 641 </a:t>
                      </a:r>
                    </a:p>
                  </a:txBody>
                  <a:tcPr marL="6350" marR="6350" marT="6350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  <a:latin typeface="+mn-lt"/>
                        </a:rPr>
                        <a:t>50,1 %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u="none" strike="noStrike" dirty="0">
                          <a:effectLst/>
                          <a:latin typeface="+mn-lt"/>
                        </a:rPr>
                        <a:t>62 (25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 (44; 81)</a:t>
                      </a:r>
                    </a:p>
                  </a:txBody>
                  <a:tcPr marL="6350" marR="6350" marT="6350" marB="0" anchor="b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8" name="Chart 24"/>
          <p:cNvGraphicFramePr/>
          <p:nvPr>
            <p:custDataLst>
              <p:tags r:id="rId4"/>
            </p:custDataLst>
          </p:nvPr>
        </p:nvGraphicFramePr>
        <p:xfrm>
          <a:off x="859017" y="1732139"/>
          <a:ext cx="3299132" cy="26916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" name="TextBox 2"/>
          <p:cNvSpPr txBox="1"/>
          <p:nvPr>
            <p:custDataLst>
              <p:tags r:id="rId5"/>
            </p:custDataLst>
          </p:nvPr>
        </p:nvSpPr>
        <p:spPr>
          <a:xfrm>
            <a:off x="288249" y="1074707"/>
            <a:ext cx="77488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stoupení pohlaví a věková struktura osob ošetřených ZZS v recentním 5letém období 2019–2023:</a:t>
            </a:r>
          </a:p>
        </p:txBody>
      </p:sp>
    </p:spTree>
    <p:extLst>
      <p:ext uri="{BB962C8B-B14F-4D97-AF65-F5344CB8AC3E}">
        <p14:creationId xmlns:p14="http://schemas.microsoft.com/office/powerpoint/2010/main" val="35879520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>
            <a:off x="-1074113" y="2715661"/>
            <a:ext cx="31686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 </a:t>
            </a:r>
            <a:r>
              <a:rPr kumimoji="1" lang="en-US" altLang="cs-CZ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sob</a:t>
            </a:r>
            <a:r>
              <a:rPr kumimoji="1" lang="cs-CZ" alt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ve věkové kategorii</a:t>
            </a:r>
          </a:p>
        </p:txBody>
      </p:sp>
      <p:sp>
        <p:nvSpPr>
          <p:cNvPr id="15" name="TextovéPole 14"/>
          <p:cNvSpPr txBox="1"/>
          <p:nvPr>
            <p:custDataLst>
              <p:tags r:id="rId2"/>
            </p:custDataLst>
          </p:nvPr>
        </p:nvSpPr>
        <p:spPr>
          <a:xfrm>
            <a:off x="3394183" y="1087999"/>
            <a:ext cx="4765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2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7" name="Obdélník 16"/>
          <p:cNvSpPr/>
          <p:nvPr>
            <p:custDataLst>
              <p:tags r:id="rId3"/>
            </p:custDataLst>
          </p:nvPr>
        </p:nvSpPr>
        <p:spPr>
          <a:xfrm>
            <a:off x="7519780" y="1372253"/>
            <a:ext cx="403407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15 let očekávatelný nárůst nemocnosti v souvislosti s chorobami vyššího věku a seniorů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20 – 25 let prudký nárůst nemocnosti v souvislosti s chorobami vyššího věku a seniorů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žší zastoupení mladších věkových skupin jako riziko poklesu porodnosti v následujících 10 – 15 letech. </a:t>
            </a:r>
          </a:p>
        </p:txBody>
      </p:sp>
      <p:sp>
        <p:nvSpPr>
          <p:cNvPr id="18" name="TextovéPole 17"/>
          <p:cNvSpPr txBox="1"/>
          <p:nvPr/>
        </p:nvSpPr>
        <p:spPr>
          <a:xfrm>
            <a:off x="7127451" y="1415771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9" name="TextovéPole 18"/>
          <p:cNvSpPr txBox="1"/>
          <p:nvPr/>
        </p:nvSpPr>
        <p:spPr>
          <a:xfrm>
            <a:off x="7171327" y="2546514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2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20" name="TextovéPole 19"/>
          <p:cNvSpPr txBox="1"/>
          <p:nvPr/>
        </p:nvSpPr>
        <p:spPr>
          <a:xfrm>
            <a:off x="7181626" y="3618827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3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22" name="TextBox 6"/>
          <p:cNvSpPr txBox="1"/>
          <p:nvPr>
            <p:custDataLst>
              <p:tags r:id="rId4"/>
            </p:custDataLst>
          </p:nvPr>
        </p:nvSpPr>
        <p:spPr>
          <a:xfrm>
            <a:off x="5503951" y="594922"/>
            <a:ext cx="668804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Český statistický úřad – ISDEM, https://www.czso.cz/csu/czso/projekce-obyvatelstva-ceske-republiky-2018-2100</a:t>
            </a:r>
            <a:endParaRPr kumimoji="0" lang="cs-CZ" sz="10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11818" y="120065"/>
            <a:ext cx="10515600" cy="631595"/>
          </a:xfrm>
        </p:spPr>
        <p:txBody>
          <a:bodyPr>
            <a:normAutofit/>
          </a:bodyPr>
          <a:lstStyle/>
          <a:p>
            <a:r>
              <a:rPr lang="en-US" dirty="0" err="1"/>
              <a:t>Věková</a:t>
            </a:r>
            <a:r>
              <a:rPr lang="en-US" dirty="0"/>
              <a:t> </a:t>
            </a:r>
            <a:r>
              <a:rPr lang="en-US" dirty="0" err="1"/>
              <a:t>struktura</a:t>
            </a:r>
            <a:r>
              <a:rPr lang="en-US" dirty="0"/>
              <a:t> </a:t>
            </a:r>
            <a:r>
              <a:rPr lang="en-US" dirty="0" err="1"/>
              <a:t>obyvatelstva</a:t>
            </a:r>
            <a:r>
              <a:rPr lang="en-US" dirty="0"/>
              <a:t> </a:t>
            </a:r>
            <a:r>
              <a:rPr lang="cs-CZ" dirty="0"/>
              <a:t>ČR a její očekávaný vývoj</a:t>
            </a:r>
            <a:endParaRPr lang="en-US" dirty="0"/>
          </a:p>
        </p:txBody>
      </p:sp>
      <p:sp>
        <p:nvSpPr>
          <p:cNvPr id="30" name="Šipka doprava 22">
            <a:extLst>
              <a:ext uri="{FF2B5EF4-FFF2-40B4-BE49-F238E27FC236}">
                <a16:creationId xmlns:a16="http://schemas.microsoft.com/office/drawing/2014/main" id="{345FCAEC-6CF0-43F9-949E-2D62D60404E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865633" y="1120905"/>
            <a:ext cx="1270975" cy="17970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5" name="Object 2">
            <a:extLst>
              <a:ext uri="{FF2B5EF4-FFF2-40B4-BE49-F238E27FC236}">
                <a16:creationId xmlns:a16="http://schemas.microsoft.com/office/drawing/2014/main" id="{3B844226-B148-46AF-B709-45C8336F8FB4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452623" y="1137084"/>
          <a:ext cx="5737225" cy="4032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6" name="TextovéPole 15"/>
          <p:cNvSpPr txBox="1"/>
          <p:nvPr>
            <p:custDataLst>
              <p:tags r:id="rId8"/>
            </p:custDataLst>
          </p:nvPr>
        </p:nvSpPr>
        <p:spPr>
          <a:xfrm>
            <a:off x="2032262" y="3016133"/>
            <a:ext cx="6183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3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29" name="Šipka doprava 11">
            <a:extLst>
              <a:ext uri="{FF2B5EF4-FFF2-40B4-BE49-F238E27FC236}">
                <a16:creationId xmlns:a16="http://schemas.microsoft.com/office/drawing/2014/main" id="{8F6A335A-1DCD-429F-A403-6897CF8E3A3B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280454" y="1889067"/>
            <a:ext cx="682906" cy="17362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/>
          <p:cNvSpPr txBox="1"/>
          <p:nvPr>
            <p:custDataLst>
              <p:tags r:id="rId10"/>
            </p:custDataLst>
          </p:nvPr>
        </p:nvSpPr>
        <p:spPr>
          <a:xfrm>
            <a:off x="3847437" y="1783992"/>
            <a:ext cx="5324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1.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graphicFrame>
        <p:nvGraphicFramePr>
          <p:cNvPr id="23" name="Tabulka 22">
            <a:extLst>
              <a:ext uri="{FF2B5EF4-FFF2-40B4-BE49-F238E27FC236}">
                <a16:creationId xmlns:a16="http://schemas.microsoft.com/office/drawing/2014/main" id="{E56E155A-1D5F-4207-B62E-8A19590F0259}"/>
              </a:ext>
            </a:extLst>
          </p:cNvPr>
          <p:cNvGraphicFramePr>
            <a:graphicFrameLocks noGrp="1"/>
          </p:cNvGraphicFramePr>
          <p:nvPr>
            <p:custDataLst>
              <p:tags r:id="rId11"/>
            </p:custDataLst>
          </p:nvPr>
        </p:nvGraphicFramePr>
        <p:xfrm>
          <a:off x="452622" y="5230674"/>
          <a:ext cx="11334094" cy="1463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24769">
                  <a:extLst>
                    <a:ext uri="{9D8B030D-6E8A-4147-A177-3AD203B41FA5}">
                      <a16:colId xmlns:a16="http://schemas.microsoft.com/office/drawing/2014/main" val="2765753559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2950578564"/>
                    </a:ext>
                  </a:extLst>
                </a:gridCol>
                <a:gridCol w="1672316">
                  <a:extLst>
                    <a:ext uri="{9D8B030D-6E8A-4147-A177-3AD203B41FA5}">
                      <a16:colId xmlns:a16="http://schemas.microsoft.com/office/drawing/2014/main" val="4027662802"/>
                    </a:ext>
                  </a:extLst>
                </a:gridCol>
                <a:gridCol w="1755103">
                  <a:extLst>
                    <a:ext uri="{9D8B030D-6E8A-4147-A177-3AD203B41FA5}">
                      <a16:colId xmlns:a16="http://schemas.microsoft.com/office/drawing/2014/main" val="2984655169"/>
                    </a:ext>
                  </a:extLst>
                </a:gridCol>
                <a:gridCol w="1672313">
                  <a:extLst>
                    <a:ext uri="{9D8B030D-6E8A-4147-A177-3AD203B41FA5}">
                      <a16:colId xmlns:a16="http://schemas.microsoft.com/office/drawing/2014/main" val="3874475901"/>
                    </a:ext>
                  </a:extLst>
                </a:gridCol>
                <a:gridCol w="1637277">
                  <a:extLst>
                    <a:ext uri="{9D8B030D-6E8A-4147-A177-3AD203B41FA5}">
                      <a16:colId xmlns:a16="http://schemas.microsoft.com/office/drawing/2014/main" val="1823650083"/>
                    </a:ext>
                  </a:extLst>
                </a:gridCol>
              </a:tblGrid>
              <a:tr h="286627">
                <a:tc>
                  <a:txBody>
                    <a:bodyPr/>
                    <a:lstStyle/>
                    <a:p>
                      <a:pPr algn="l" fontAlgn="b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 31. 12. 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3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4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k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50</a:t>
                      </a:r>
                      <a:endParaRPr lang="cs-CZ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3161172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algn="r" fontAlgn="t"/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6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158 3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169 10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403 27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2 698 76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3 075 58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5685866"/>
                  </a:ext>
                </a:extLst>
              </a:tr>
              <a:tr h="335270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7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64 72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94 23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246 7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effectLst/>
                          <a:latin typeface="Arial" panose="020B0604020202020204" pitchFamily="34" charset="0"/>
                        </a:rPr>
                        <a:t>1 372 41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 591 66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657658"/>
                  </a:ext>
                </a:extLst>
              </a:tr>
              <a:tr h="230409">
                <a:tc>
                  <a:txBody>
                    <a:bodyPr/>
                    <a:lstStyle/>
                    <a:p>
                      <a:pPr marL="0" marR="0" lvl="0" indent="0" algn="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yvatelé ve věku 85+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3 38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8 47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3 68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70 46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05 38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2511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070866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887B98D-45B7-480F-BE61-61734212EF40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21421" y="1129228"/>
          <a:ext cx="8222053" cy="1148949"/>
        </p:xfrm>
        <a:graphic>
          <a:graphicData uri="http://schemas.openxmlformats.org/drawingml/2006/table">
            <a:tbl>
              <a:tblPr firstRow="1" bandRow="1"/>
              <a:tblGrid>
                <a:gridCol w="19864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42025">
                  <a:extLst>
                    <a:ext uri="{9D8B030D-6E8A-4147-A177-3AD203B41FA5}">
                      <a16:colId xmlns:a16="http://schemas.microsoft.com/office/drawing/2014/main" val="2083713745"/>
                    </a:ext>
                  </a:extLst>
                </a:gridCol>
                <a:gridCol w="2037023">
                  <a:extLst>
                    <a:ext uri="{9D8B030D-6E8A-4147-A177-3AD203B41FA5}">
                      <a16:colId xmlns:a16="http://schemas.microsoft.com/office/drawing/2014/main" val="2851716476"/>
                    </a:ext>
                  </a:extLst>
                </a:gridCol>
                <a:gridCol w="2156506">
                  <a:extLst>
                    <a:ext uri="{9D8B030D-6E8A-4147-A177-3AD203B41FA5}">
                      <a16:colId xmlns:a16="http://schemas.microsoft.com/office/drawing/2014/main" val="2098660654"/>
                    </a:ext>
                  </a:extLst>
                </a:gridCol>
              </a:tblGrid>
              <a:tr h="341112">
                <a:tc rowSpan="3">
                  <a:txBody>
                    <a:bodyPr/>
                    <a:lstStyle/>
                    <a:p>
                      <a:pPr algn="ctr"/>
                      <a:r>
                        <a:rPr lang="cs-CZ" sz="2400" b="1" noProof="0" dirty="0">
                          <a:solidFill>
                            <a:schemeClr val="tx1"/>
                          </a:solidFill>
                        </a:rPr>
                        <a:t>Diabetes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noProof="0" dirty="0">
                          <a:solidFill>
                            <a:schemeClr val="tx1"/>
                          </a:solidFill>
                        </a:rPr>
                        <a:t>Predikce prevalence</a:t>
                      </a:r>
                      <a:r>
                        <a:rPr lang="cs-CZ" sz="1400" baseline="0" noProof="0" dirty="0">
                          <a:solidFill>
                            <a:schemeClr val="tx1"/>
                          </a:solidFill>
                        </a:rPr>
                        <a:t> (včetně 95% intervalů spolehlivosti)</a:t>
                      </a:r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1585697"/>
                  </a:ext>
                </a:extLst>
              </a:tr>
              <a:tr h="341112">
                <a:tc vMerge="1">
                  <a:txBody>
                    <a:bodyPr/>
                    <a:lstStyle/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 202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 202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</a:t>
                      </a:r>
                      <a:r>
                        <a:rPr lang="cs-CZ" sz="1600" b="1" baseline="0" noProof="0" dirty="0">
                          <a:solidFill>
                            <a:schemeClr val="tx1"/>
                          </a:solidFill>
                        </a:rPr>
                        <a:t> 2030</a:t>
                      </a:r>
                      <a:endParaRPr lang="cs-CZ" sz="16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81349"/>
                  </a:ext>
                </a:extLst>
              </a:tr>
              <a:tr h="341112">
                <a:tc vMerge="1">
                  <a:txBody>
                    <a:bodyPr/>
                    <a:lstStyle/>
                    <a:p>
                      <a:pPr algn="ctr"/>
                      <a:endParaRPr lang="cs-CZ" sz="14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070 075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184 812 </a:t>
                      </a:r>
                      <a:br>
                        <a:rPr lang="cs-CZ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1 175 186</a:t>
                      </a:r>
                      <a:r>
                        <a:rPr lang="cs-CZ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4 439)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288 600 </a:t>
                      </a:r>
                      <a:br>
                        <a:rPr lang="cs-CZ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1 275 757</a:t>
                      </a:r>
                      <a:r>
                        <a:rPr lang="cs-CZ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301 442)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869597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72591" y="160258"/>
            <a:ext cx="10515600" cy="538364"/>
          </a:xfrm>
        </p:spPr>
        <p:txBody>
          <a:bodyPr>
            <a:noAutofit/>
          </a:bodyPr>
          <a:lstStyle/>
          <a:p>
            <a:r>
              <a:rPr lang="cs-CZ" dirty="0"/>
              <a:t>ČR: </a:t>
            </a:r>
            <a:r>
              <a:rPr lang="pt-BR" dirty="0"/>
              <a:t>Statistická predikce </a:t>
            </a:r>
            <a:r>
              <a:rPr lang="cs-CZ" dirty="0"/>
              <a:t>prevalence vybraných chorob </a:t>
            </a:r>
            <a:r>
              <a:rPr lang="pt-BR" dirty="0"/>
              <a:t>do roku 2030</a:t>
            </a:r>
            <a:endParaRPr lang="en-US" dirty="0"/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D2FE3F8B-5EEA-4429-8299-0532BD10AA43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88000" y="540000"/>
            <a:ext cx="111533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 dat: NRHZS 2010–2022, Český statistický úřad – Projekce obyvatelstva Č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Metodika: Poissonův zobecněný lineární model, predikční báze 2010–2018</a:t>
            </a: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9B794956-5129-441A-BBA2-32650A35A128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425889" y="4947152"/>
          <a:ext cx="8217583" cy="1279873"/>
        </p:xfrm>
        <a:graphic>
          <a:graphicData uri="http://schemas.openxmlformats.org/drawingml/2006/table">
            <a:tbl>
              <a:tblPr firstRow="1" bandRow="1"/>
              <a:tblGrid>
                <a:gridCol w="19820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15250">
                  <a:extLst>
                    <a:ext uri="{9D8B030D-6E8A-4147-A177-3AD203B41FA5}">
                      <a16:colId xmlns:a16="http://schemas.microsoft.com/office/drawing/2014/main" val="2083713745"/>
                    </a:ext>
                  </a:extLst>
                </a:gridCol>
                <a:gridCol w="2050028">
                  <a:extLst>
                    <a:ext uri="{9D8B030D-6E8A-4147-A177-3AD203B41FA5}">
                      <a16:colId xmlns:a16="http://schemas.microsoft.com/office/drawing/2014/main" val="2851716476"/>
                    </a:ext>
                  </a:extLst>
                </a:gridCol>
                <a:gridCol w="2170274">
                  <a:extLst>
                    <a:ext uri="{9D8B030D-6E8A-4147-A177-3AD203B41FA5}">
                      <a16:colId xmlns:a16="http://schemas.microsoft.com/office/drawing/2014/main" val="2098660654"/>
                    </a:ext>
                  </a:extLst>
                </a:gridCol>
              </a:tblGrid>
              <a:tr h="472036">
                <a:tc rowSpan="3">
                  <a:txBody>
                    <a:bodyPr/>
                    <a:lstStyle/>
                    <a:p>
                      <a:pPr algn="ctr"/>
                      <a:r>
                        <a:rPr lang="cs-CZ" sz="2400" b="1" noProof="0" dirty="0">
                          <a:solidFill>
                            <a:schemeClr val="tx1"/>
                          </a:solidFill>
                        </a:rPr>
                        <a:t>Alzheimerova choroba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noProof="0" dirty="0">
                          <a:solidFill>
                            <a:schemeClr val="tx1"/>
                          </a:solidFill>
                        </a:rPr>
                        <a:t>Predikce prevalence</a:t>
                      </a:r>
                      <a:r>
                        <a:rPr lang="cs-CZ" sz="1400" baseline="0" noProof="0" dirty="0">
                          <a:solidFill>
                            <a:schemeClr val="tx1"/>
                          </a:solidFill>
                        </a:rPr>
                        <a:t>  (včetně 95% intervalů spolehlivosti)</a:t>
                      </a:r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1585697"/>
                  </a:ext>
                </a:extLst>
              </a:tr>
              <a:tr h="341112">
                <a:tc vMerge="1">
                  <a:txBody>
                    <a:bodyPr/>
                    <a:lstStyle/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 202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 202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</a:t>
                      </a:r>
                      <a:r>
                        <a:rPr lang="cs-CZ" sz="1600" b="1" baseline="0" noProof="0" dirty="0">
                          <a:solidFill>
                            <a:schemeClr val="tx1"/>
                          </a:solidFill>
                        </a:rPr>
                        <a:t> 2030</a:t>
                      </a:r>
                      <a:endParaRPr lang="cs-CZ" sz="16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81349"/>
                  </a:ext>
                </a:extLst>
              </a:tr>
              <a:tr h="341112">
                <a:tc vMerge="1">
                  <a:txBody>
                    <a:bodyPr/>
                    <a:lstStyle/>
                    <a:p>
                      <a:pPr algn="ctr"/>
                      <a:endParaRPr lang="cs-CZ" sz="14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 780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443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22 987; 117 89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4 343 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78 313; 170 37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869597"/>
                  </a:ext>
                </a:extLst>
              </a:tr>
            </a:tbl>
          </a:graphicData>
        </a:graphic>
      </p:graphicFrame>
      <p:sp>
        <p:nvSpPr>
          <p:cNvPr id="3" name="TextovéPole 2">
            <a:extLst>
              <a:ext uri="{FF2B5EF4-FFF2-40B4-BE49-F238E27FC236}">
                <a16:creationId xmlns:a16="http://schemas.microsoft.com/office/drawing/2014/main" id="{844EB7D2-3318-4D53-95EC-EE0D1F348EAC}"/>
              </a:ext>
            </a:extLst>
          </p:cNvPr>
          <p:cNvSpPr txBox="1"/>
          <p:nvPr/>
        </p:nvSpPr>
        <p:spPr>
          <a:xfrm>
            <a:off x="8816179" y="1403716"/>
            <a:ext cx="2939591" cy="58477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20% za 10 let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CC077F78-05A2-47F4-A5F8-8A0DCA83669A}"/>
              </a:ext>
            </a:extLst>
          </p:cNvPr>
          <p:cNvSpPr txBox="1"/>
          <p:nvPr/>
        </p:nvSpPr>
        <p:spPr>
          <a:xfrm>
            <a:off x="8816178" y="5284366"/>
            <a:ext cx="2939591" cy="58477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115% za 10 let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70B5B117-2F41-4A4D-97FB-3D22FF42D4FB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421422" y="3701979"/>
          <a:ext cx="8222050" cy="1188720"/>
        </p:xfrm>
        <a:graphic>
          <a:graphicData uri="http://schemas.openxmlformats.org/drawingml/2006/table">
            <a:tbl>
              <a:tblPr firstRow="1" bandRow="1"/>
              <a:tblGrid>
                <a:gridCol w="19864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98262">
                  <a:extLst>
                    <a:ext uri="{9D8B030D-6E8A-4147-A177-3AD203B41FA5}">
                      <a16:colId xmlns:a16="http://schemas.microsoft.com/office/drawing/2014/main" val="2083713745"/>
                    </a:ext>
                  </a:extLst>
                </a:gridCol>
                <a:gridCol w="2118645">
                  <a:extLst>
                    <a:ext uri="{9D8B030D-6E8A-4147-A177-3AD203B41FA5}">
                      <a16:colId xmlns:a16="http://schemas.microsoft.com/office/drawing/2014/main" val="2083113405"/>
                    </a:ext>
                  </a:extLst>
                </a:gridCol>
                <a:gridCol w="2118645">
                  <a:extLst>
                    <a:ext uri="{9D8B030D-6E8A-4147-A177-3AD203B41FA5}">
                      <a16:colId xmlns:a16="http://schemas.microsoft.com/office/drawing/2014/main" val="2851716476"/>
                    </a:ext>
                  </a:extLst>
                </a:gridCol>
              </a:tblGrid>
              <a:tr h="341112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400" b="1" noProof="0" dirty="0">
                          <a:solidFill>
                            <a:schemeClr val="tx1"/>
                          </a:solidFill>
                        </a:rPr>
                        <a:t>Zhoubné nádory (bez C44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400" noProof="0" dirty="0">
                          <a:solidFill>
                            <a:schemeClr val="tx1"/>
                          </a:solidFill>
                        </a:rPr>
                        <a:t>Predikce prevalence</a:t>
                      </a:r>
                      <a:r>
                        <a:rPr lang="cs-CZ" sz="1400" baseline="0" noProof="0" dirty="0">
                          <a:solidFill>
                            <a:schemeClr val="tx1"/>
                          </a:solidFill>
                        </a:rPr>
                        <a:t> (včetně 9</a:t>
                      </a:r>
                      <a:r>
                        <a:rPr lang="en-US" sz="1400" baseline="0" noProof="0" dirty="0">
                          <a:solidFill>
                            <a:schemeClr val="tx1"/>
                          </a:solidFill>
                        </a:rPr>
                        <a:t>0</a:t>
                      </a:r>
                      <a:r>
                        <a:rPr lang="cs-CZ" sz="1400" baseline="0" noProof="0" dirty="0">
                          <a:solidFill>
                            <a:schemeClr val="tx1"/>
                          </a:solidFill>
                        </a:rPr>
                        <a:t>% intervalů spolehlivosti)</a:t>
                      </a:r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1585697"/>
                  </a:ext>
                </a:extLst>
              </a:tr>
              <a:tr h="341112">
                <a:tc vMerge="1">
                  <a:txBody>
                    <a:bodyPr/>
                    <a:lstStyle/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 202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 202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 </a:t>
                      </a:r>
                      <a:r>
                        <a:rPr lang="en-US" sz="1600" b="1" noProof="0" dirty="0">
                          <a:solidFill>
                            <a:schemeClr val="tx1"/>
                          </a:solidFill>
                        </a:rPr>
                        <a:t>2030</a:t>
                      </a:r>
                      <a:endParaRPr lang="cs-CZ" sz="16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81349"/>
                  </a:ext>
                </a:extLst>
              </a:tr>
              <a:tr h="341112">
                <a:tc vMerge="1">
                  <a:txBody>
                    <a:bodyPr/>
                    <a:lstStyle/>
                    <a:p>
                      <a:pPr algn="ctr"/>
                      <a:endParaRPr lang="cs-CZ" sz="14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6 8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3 698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562 463; 564 933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7 336</a:t>
                      </a:r>
                    </a:p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626 033; 628 639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7869597"/>
                  </a:ext>
                </a:extLst>
              </a:tr>
            </a:tbl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8E88C64D-8F1A-4654-9697-1CC36FE2F6F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816179" y="4116048"/>
            <a:ext cx="2939591" cy="58477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26% za 10 let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Tabulka 2">
            <a:extLst>
              <a:ext uri="{FF2B5EF4-FFF2-40B4-BE49-F238E27FC236}">
                <a16:creationId xmlns:a16="http://schemas.microsoft.com/office/drawing/2014/main" id="{EFF73424-DF02-DD45-4458-7558697843AC}"/>
              </a:ext>
            </a:extLst>
          </p:cNvPr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421421" y="2419476"/>
          <a:ext cx="8217584" cy="1143117"/>
        </p:xfrm>
        <a:graphic>
          <a:graphicData uri="http://schemas.openxmlformats.org/drawingml/2006/table">
            <a:tbl>
              <a:tblPr firstRow="1" bandRow="1"/>
              <a:tblGrid>
                <a:gridCol w="19763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11680">
                  <a:extLst>
                    <a:ext uri="{9D8B030D-6E8A-4147-A177-3AD203B41FA5}">
                      <a16:colId xmlns:a16="http://schemas.microsoft.com/office/drawing/2014/main" val="2943807555"/>
                    </a:ext>
                  </a:extLst>
                </a:gridCol>
                <a:gridCol w="2154189">
                  <a:extLst>
                    <a:ext uri="{9D8B030D-6E8A-4147-A177-3AD203B41FA5}">
                      <a16:colId xmlns:a16="http://schemas.microsoft.com/office/drawing/2014/main" val="4190011973"/>
                    </a:ext>
                  </a:extLst>
                </a:gridCol>
                <a:gridCol w="2075376">
                  <a:extLst>
                    <a:ext uri="{9D8B030D-6E8A-4147-A177-3AD203B41FA5}">
                      <a16:colId xmlns:a16="http://schemas.microsoft.com/office/drawing/2014/main" val="2851716476"/>
                    </a:ext>
                  </a:extLst>
                </a:gridCol>
              </a:tblGrid>
              <a:tr h="341112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400" b="1" dirty="0">
                          <a:solidFill>
                            <a:schemeClr val="tx1"/>
                          </a:solidFill>
                        </a:rPr>
                        <a:t>Srdeční selhání </a:t>
                      </a:r>
                      <a:endParaRPr lang="en-GB" sz="24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noProof="0" dirty="0">
                          <a:solidFill>
                            <a:schemeClr val="tx1"/>
                          </a:solidFill>
                        </a:rPr>
                        <a:t>Predikce prevalence</a:t>
                      </a:r>
                      <a:r>
                        <a:rPr lang="cs-CZ" sz="1400" baseline="0" noProof="0" dirty="0">
                          <a:solidFill>
                            <a:schemeClr val="tx1"/>
                          </a:solidFill>
                        </a:rPr>
                        <a:t> (včetně 95% intervalů spolehlivosti)</a:t>
                      </a:r>
                      <a:endParaRPr lang="cs-CZ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cs-CZ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1585697"/>
                  </a:ext>
                </a:extLst>
              </a:tr>
              <a:tr h="328052">
                <a:tc vMerge="1">
                  <a:txBody>
                    <a:bodyPr/>
                    <a:lstStyle/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Rok 2020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noProof="0" dirty="0">
                          <a:solidFill>
                            <a:schemeClr val="tx1"/>
                          </a:solidFill>
                        </a:rPr>
                        <a:t>202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600" b="1" noProof="0" dirty="0">
                          <a:solidFill>
                            <a:schemeClr val="tx1"/>
                          </a:solidFill>
                        </a:rPr>
                        <a:t>2030</a:t>
                      </a:r>
                      <a:endParaRPr lang="cs-CZ" sz="16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981349"/>
                  </a:ext>
                </a:extLst>
              </a:tr>
              <a:tr h="341112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endParaRPr lang="cs-CZ" sz="12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61 28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71 406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448 307; 702 394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07 518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cs-CZ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(577 450; 905 202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14821"/>
                  </a:ext>
                </a:extLst>
              </a:tr>
            </a:tbl>
          </a:graphicData>
        </a:graphic>
      </p:graphicFrame>
      <p:sp>
        <p:nvSpPr>
          <p:cNvPr id="5" name="TextovéPole 4">
            <a:extLst>
              <a:ext uri="{FF2B5EF4-FFF2-40B4-BE49-F238E27FC236}">
                <a16:creationId xmlns:a16="http://schemas.microsoft.com/office/drawing/2014/main" id="{BF6B9810-17C2-17F6-8E5B-09D1DABAAEF6}"/>
              </a:ext>
            </a:extLst>
          </p:cNvPr>
          <p:cNvSpPr txBox="1"/>
          <p:nvPr/>
        </p:nvSpPr>
        <p:spPr>
          <a:xfrm>
            <a:off x="8810355" y="2778425"/>
            <a:ext cx="2939591" cy="58477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68% za 10 let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6401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B72CAF3B-DAAC-8E41-DA67-06DB614957B9}"/>
              </a:ext>
            </a:extLst>
          </p:cNvPr>
          <p:cNvSpPr txBox="1"/>
          <p:nvPr/>
        </p:nvSpPr>
        <p:spPr>
          <a:xfrm>
            <a:off x="631892" y="162497"/>
            <a:ext cx="11084483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ah prezentace </a:t>
            </a:r>
            <a:endParaRPr kumimoji="0" lang="cs-CZ" sz="3800" b="1" i="0" u="sng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0AF4B6FD-32AB-00CD-9515-9D299B2A5577}"/>
              </a:ext>
            </a:extLst>
          </p:cNvPr>
          <p:cNvSpPr txBox="1"/>
          <p:nvPr/>
        </p:nvSpPr>
        <p:spPr>
          <a:xfrm>
            <a:off x="631892" y="1343025"/>
            <a:ext cx="10950508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cs-CZ" sz="3400" b="1" dirty="0"/>
              <a:t>Nový informační systém pro mapování a plánování personálních kapacit ve zdravotnictví 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cs-CZ" sz="3400" b="1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cs-CZ" sz="3400" b="1" dirty="0"/>
              <a:t>Vybraná data o ZZS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cs-CZ" sz="3400" b="1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cs-CZ" sz="3400" b="1" dirty="0"/>
              <a:t>Současné kapacity ZZ a produkce vzdělavatelů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cs-CZ" sz="3400" b="1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cs-CZ" sz="3400" b="1" dirty="0"/>
              <a:t>Připravovaný program vládní podpory vzdělávání NLZP</a:t>
            </a:r>
          </a:p>
        </p:txBody>
      </p:sp>
    </p:spTree>
    <p:extLst>
      <p:ext uri="{BB962C8B-B14F-4D97-AF65-F5344CB8AC3E}">
        <p14:creationId xmlns:p14="http://schemas.microsoft.com/office/powerpoint/2010/main" val="16601740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91FC336D-8129-4D53-8F9C-520EC60AD4F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72590" y="160258"/>
            <a:ext cx="11835673" cy="538364"/>
          </a:xfrm>
        </p:spPr>
        <p:txBody>
          <a:bodyPr>
            <a:noAutofit/>
          </a:bodyPr>
          <a:lstStyle/>
          <a:p>
            <a:pPr lvl="0"/>
            <a:r>
              <a:rPr lang="cs-CZ" sz="3000" noProof="0" dirty="0"/>
              <a:t>Dlouhodobý trend v objemu akutní lůžkové péče: </a:t>
            </a:r>
            <a:r>
              <a:rPr lang="cs-CZ" sz="3000" u="sng" noProof="0" dirty="0"/>
              <a:t>hospitalizační případy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1B53D1AA-A6AA-39FD-EB74-1FFBC91C25B9}"/>
              </a:ext>
            </a:extLst>
          </p:cNvPr>
          <p:cNvSpPr txBox="1"/>
          <p:nvPr/>
        </p:nvSpPr>
        <p:spPr>
          <a:xfrm>
            <a:off x="430722" y="951348"/>
            <a:ext cx="3505720" cy="369332"/>
          </a:xfrm>
          <a:prstGeom prst="rect">
            <a:avLst/>
          </a:prstGeom>
          <a:solidFill>
            <a:srgbClr val="203B7C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ichni pacienti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Group 744">
            <a:extLst>
              <a:ext uri="{FF2B5EF4-FFF2-40B4-BE49-F238E27FC236}">
                <a16:creationId xmlns:a16="http://schemas.microsoft.com/office/drawing/2014/main" id="{4EB5D23F-D944-5F30-3FB6-C2B25FA1397A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430722" y="1528296"/>
          <a:ext cx="3505720" cy="2935349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</a:t>
                      </a:r>
                      <a:r>
                        <a:rPr kumimoji="0" lang="en-US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hospitali</a:t>
                      </a: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zací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HP s operací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982 19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90 71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969 47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88 29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 014 13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02 931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987 84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88 838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 017 62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98 10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984 70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86 18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980 64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89 404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951 165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82 00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931 22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76 770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918 988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76 63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650 70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74 62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660 18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63 56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 714 70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32 65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F0F66A41-89C1-2E0D-715D-C9A00074BA6A}"/>
              </a:ext>
            </a:extLst>
          </p:cNvPr>
          <p:cNvSpPr txBox="1"/>
          <p:nvPr/>
        </p:nvSpPr>
        <p:spPr>
          <a:xfrm>
            <a:off x="4401500" y="951348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věk 65 – 84 let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Group 744">
            <a:extLst>
              <a:ext uri="{FF2B5EF4-FFF2-40B4-BE49-F238E27FC236}">
                <a16:creationId xmlns:a16="http://schemas.microsoft.com/office/drawing/2014/main" id="{E0837500-694A-0089-C2BE-87B2025F8CDC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4401500" y="1528296"/>
          <a:ext cx="3505720" cy="2935349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</a:t>
                      </a:r>
                      <a:r>
                        <a:rPr kumimoji="0" lang="en-US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hospitali</a:t>
                      </a: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zací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HP s operací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89 350</a:t>
                      </a:r>
                    </a:p>
                  </a:txBody>
                  <a:tcPr marL="7620" marR="7620" marT="7620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3 139</a:t>
                      </a:r>
                    </a:p>
                  </a:txBody>
                  <a:tcPr marL="7620" marR="7620" marT="762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98 120</a:t>
                      </a:r>
                    </a:p>
                  </a:txBody>
                  <a:tcPr marL="7620" marR="7620" marT="7620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7 859</a:t>
                      </a:r>
                    </a:p>
                  </a:txBody>
                  <a:tcPr marL="7620" marR="7620" marT="762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31 675</a:t>
                      </a:r>
                    </a:p>
                  </a:txBody>
                  <a:tcPr marL="7620" marR="7620" marT="7620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6 844</a:t>
                      </a:r>
                    </a:p>
                  </a:txBody>
                  <a:tcPr marL="7620" marR="7620" marT="762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37 041</a:t>
                      </a:r>
                    </a:p>
                  </a:txBody>
                  <a:tcPr marL="7620" marR="7620" marT="7620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8 955</a:t>
                      </a:r>
                    </a:p>
                  </a:txBody>
                  <a:tcPr marL="7620" marR="7620" marT="762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59 560</a:t>
                      </a:r>
                    </a:p>
                  </a:txBody>
                  <a:tcPr marL="7620" marR="7620" marT="7620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66 214</a:t>
                      </a:r>
                    </a:p>
                  </a:txBody>
                  <a:tcPr marL="7620" marR="7620" marT="762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60 454</a:t>
                      </a:r>
                    </a:p>
                  </a:txBody>
                  <a:tcPr marL="7620" marR="7620" marT="7620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66 472</a:t>
                      </a:r>
                    </a:p>
                  </a:txBody>
                  <a:tcPr marL="7620" marR="7620" marT="762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65 426</a:t>
                      </a:r>
                    </a:p>
                  </a:txBody>
                  <a:tcPr marL="7620" marR="7620" marT="7620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72 571</a:t>
                      </a:r>
                    </a:p>
                  </a:txBody>
                  <a:tcPr marL="7620" marR="7620" marT="762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68 756</a:t>
                      </a:r>
                    </a:p>
                  </a:txBody>
                  <a:tcPr marL="7620" marR="7620" marT="7620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76 084</a:t>
                      </a:r>
                    </a:p>
                  </a:txBody>
                  <a:tcPr marL="7620" marR="7620" marT="762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72 004</a:t>
                      </a:r>
                    </a:p>
                  </a:txBody>
                  <a:tcPr marL="7620" marR="7620" marT="7620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78 338</a:t>
                      </a:r>
                    </a:p>
                  </a:txBody>
                  <a:tcPr marL="7620" marR="7620" marT="762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71 715</a:t>
                      </a:r>
                    </a:p>
                  </a:txBody>
                  <a:tcPr marL="7620" marR="7620" marT="7620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80 992</a:t>
                      </a:r>
                    </a:p>
                  </a:txBody>
                  <a:tcPr marL="7620" marR="7620" marT="762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03 595</a:t>
                      </a:r>
                    </a:p>
                  </a:txBody>
                  <a:tcPr marL="7620" marR="7620" marT="7620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5 172</a:t>
                      </a:r>
                    </a:p>
                  </a:txBody>
                  <a:tcPr marL="7620" marR="7620" marT="762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09 211</a:t>
                      </a:r>
                    </a:p>
                  </a:txBody>
                  <a:tcPr marL="7620" marR="7620" marT="7620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2 809</a:t>
                      </a:r>
                    </a:p>
                  </a:txBody>
                  <a:tcPr marL="7620" marR="7620" marT="762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28 892</a:t>
                      </a:r>
                    </a:p>
                  </a:txBody>
                  <a:tcPr marL="7620" marR="7620" marT="7620" marB="0" anchor="b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78 531</a:t>
                      </a:r>
                    </a:p>
                  </a:txBody>
                  <a:tcPr marL="7620" marR="7620" marT="762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3B5636F3-31AB-BCFE-CD24-AF72FE902493}"/>
              </a:ext>
            </a:extLst>
          </p:cNvPr>
          <p:cNvSpPr txBox="1"/>
          <p:nvPr/>
        </p:nvSpPr>
        <p:spPr>
          <a:xfrm>
            <a:off x="8332076" y="951348"/>
            <a:ext cx="350572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ve věku 85+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9" name="Group 744">
            <a:extLst>
              <a:ext uri="{FF2B5EF4-FFF2-40B4-BE49-F238E27FC236}">
                <a16:creationId xmlns:a16="http://schemas.microsoft.com/office/drawing/2014/main" id="{B3DA00AB-C014-7ED1-F885-C8A952359C1A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8332076" y="1528296"/>
          <a:ext cx="3505720" cy="2935349"/>
        </p:xfrm>
        <a:graphic>
          <a:graphicData uri="http://schemas.openxmlformats.org/drawingml/2006/table">
            <a:tbl>
              <a:tblPr/>
              <a:tblGrid>
                <a:gridCol w="1191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7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63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1311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endParaRPr kumimoji="0" lang="cs-CZ" altLang="cs-CZ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Celkový počet </a:t>
                      </a:r>
                      <a:r>
                        <a:rPr kumimoji="0" lang="en-US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hospitali</a:t>
                      </a:r>
                      <a:r>
                        <a:rPr kumimoji="0" lang="cs-CZ" altLang="cs-CZ" sz="1400" b="1" i="0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zací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s-CZ" altLang="cs-CZ" sz="12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10000"/>
                          </a:schemeClr>
                        </a:solidFill>
                        <a:effectLst/>
                        <a:latin typeface="+mj-lt"/>
                        <a:ea typeface="+mn-ea"/>
                        <a:cs typeface="Arial" charset="0"/>
                      </a:endParaRPr>
                    </a:p>
                  </a:txBody>
                  <a:tcPr marL="36000" marR="36000" marT="0" marB="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724">
                <a:tc>
                  <a:txBody>
                    <a:bodyPr/>
                    <a:lstStyle>
                      <a:lvl1pPr ea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20002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384175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566738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749300" ea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12065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16637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21209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2578100" eaLnBrk="0" fontAlgn="base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buNone/>
                        <a:tabLst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Arial" charset="0"/>
                        </a:rPr>
                        <a:t>Rok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200"/>
                        </a:spcAft>
                        <a:buClr>
                          <a:schemeClr val="accent1"/>
                        </a:buClr>
                        <a:buSzPct val="100000"/>
                        <a:buFont typeface="Calibri" pitchFamily="34" charset="0"/>
                        <a:defRPr sz="18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1pPr>
                      <a:lvl2pPr marL="4572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6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2pPr>
                      <a:lvl3pPr marL="9144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3pPr>
                      <a:lvl4pPr marL="13716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4pPr>
                      <a:lvl5pPr marL="1828800" algn="l" defTabSz="914400" rtl="0" eaLnBrk="0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5pPr>
                      <a:lvl6pPr marL="22860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6pPr>
                      <a:lvl7pPr marL="27432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7pPr>
                      <a:lvl8pPr marL="32004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8pPr>
                      <a:lvl9pPr marL="365760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ts val="200"/>
                        </a:spcBef>
                        <a:spcAft>
                          <a:spcPts val="400"/>
                        </a:spcAft>
                        <a:buClr>
                          <a:schemeClr val="accent1"/>
                        </a:buClr>
                        <a:buFont typeface="Calibri" pitchFamily="34" charset="0"/>
                        <a:defRPr sz="1200" kern="1200">
                          <a:solidFill>
                            <a:srgbClr val="404040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altLang="cs-CZ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6">
                              <a:lumMod val="1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Arial" charset="0"/>
                        </a:rPr>
                        <a:t>Akutní HP</a:t>
                      </a:r>
                    </a:p>
                  </a:txBody>
                  <a:tcPr marL="36000" marR="3600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cs-CZ" sz="1400" b="1" i="0" u="none" strike="noStrike" dirty="0">
                          <a:solidFill>
                            <a:srgbClr val="0B1107"/>
                          </a:solidFill>
                          <a:effectLst/>
                          <a:latin typeface="Calibri" panose="020F0502020204030204" pitchFamily="34" charset="0"/>
                        </a:rPr>
                        <a:t>HP s operací</a:t>
                      </a:r>
                    </a:p>
                  </a:txBody>
                  <a:tcPr marL="0" marR="0" marT="0" marB="0" anchor="b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2 38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 79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6 38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 582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52688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4 16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 29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9 00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 64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4 686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 12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8 18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 415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627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9 619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 51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826765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0 92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 04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310103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9 90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 01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0 351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 07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8 177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 679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3 112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 953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2666484"/>
                  </a:ext>
                </a:extLst>
              </a:tr>
              <a:tr h="192182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6 984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 176</a:t>
                      </a: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6418559"/>
                  </a:ext>
                </a:extLst>
              </a:tr>
            </a:tbl>
          </a:graphicData>
        </a:graphic>
      </p:graphicFrame>
      <p:sp>
        <p:nvSpPr>
          <p:cNvPr id="10" name="Rovnoramenný trojúhelník 9">
            <a:extLst>
              <a:ext uri="{FF2B5EF4-FFF2-40B4-BE49-F238E27FC236}">
                <a16:creationId xmlns:a16="http://schemas.microsoft.com/office/drawing/2014/main" id="{A7D28265-EA10-246E-F60A-493FC4040663}"/>
              </a:ext>
            </a:extLst>
          </p:cNvPr>
          <p:cNvSpPr/>
          <p:nvPr/>
        </p:nvSpPr>
        <p:spPr>
          <a:xfrm rot="10800000">
            <a:off x="723481" y="4550679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ovnoramenný trojúhelník 10">
            <a:extLst>
              <a:ext uri="{FF2B5EF4-FFF2-40B4-BE49-F238E27FC236}">
                <a16:creationId xmlns:a16="http://schemas.microsoft.com/office/drawing/2014/main" id="{9044BFF5-8EAB-42BC-9E8C-3B0CFA4836FF}"/>
              </a:ext>
            </a:extLst>
          </p:cNvPr>
          <p:cNvSpPr/>
          <p:nvPr/>
        </p:nvSpPr>
        <p:spPr>
          <a:xfrm rot="10800000">
            <a:off x="4673124" y="4550679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ovnoramenný trojúhelník 11">
            <a:extLst>
              <a:ext uri="{FF2B5EF4-FFF2-40B4-BE49-F238E27FC236}">
                <a16:creationId xmlns:a16="http://schemas.microsoft.com/office/drawing/2014/main" id="{24E1ADE7-CCD4-7502-5467-F2E3ABBD725A}"/>
              </a:ext>
            </a:extLst>
          </p:cNvPr>
          <p:cNvSpPr/>
          <p:nvPr/>
        </p:nvSpPr>
        <p:spPr>
          <a:xfrm rot="10800000">
            <a:off x="8567634" y="4550679"/>
            <a:ext cx="3034603" cy="267502"/>
          </a:xfrm>
          <a:prstGeom prst="triangle">
            <a:avLst/>
          </a:prstGeom>
          <a:solidFill>
            <a:srgbClr val="203B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DEDC6BCE-F0F1-86A3-69FA-0B90A6EF9570}"/>
              </a:ext>
            </a:extLst>
          </p:cNvPr>
          <p:cNvSpPr txBox="1"/>
          <p:nvPr/>
        </p:nvSpPr>
        <p:spPr>
          <a:xfrm>
            <a:off x="699615" y="4965503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2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13% / - 10%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586D687F-0C31-EEC0-16D5-90040848A50A}"/>
              </a:ext>
            </a:extLst>
          </p:cNvPr>
          <p:cNvSpPr txBox="1"/>
          <p:nvPr/>
        </p:nvSpPr>
        <p:spPr>
          <a:xfrm>
            <a:off x="4673123" y="4965503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2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7% / + 25%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25A90E6-33B1-9871-898F-BE4DD7B4B63F}"/>
              </a:ext>
            </a:extLst>
          </p:cNvPr>
          <p:cNvSpPr txBox="1"/>
          <p:nvPr/>
        </p:nvSpPr>
        <p:spPr>
          <a:xfrm>
            <a:off x="8533720" y="4965503"/>
            <a:ext cx="31024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0 -&gt; 2022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15% / + 12%</a:t>
            </a:r>
          </a:p>
        </p:txBody>
      </p:sp>
    </p:spTree>
    <p:extLst>
      <p:ext uri="{BB962C8B-B14F-4D97-AF65-F5344CB8AC3E}">
        <p14:creationId xmlns:p14="http://schemas.microsoft.com/office/powerpoint/2010/main" val="32495908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textu 4">
            <a:extLst>
              <a:ext uri="{FF2B5EF4-FFF2-40B4-BE49-F238E27FC236}">
                <a16:creationId xmlns:a16="http://schemas.microsoft.com/office/drawing/2014/main" id="{85DF8549-49A9-4045-9440-3C137B807487}"/>
              </a:ext>
            </a:extLst>
          </p:cNvPr>
          <p:cNvSpPr txBox="1">
            <a:spLocks/>
          </p:cNvSpPr>
          <p:nvPr/>
        </p:nvSpPr>
        <p:spPr>
          <a:xfrm>
            <a:off x="237167" y="4903596"/>
            <a:ext cx="7098130" cy="110667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cs-CZ" sz="3600" dirty="0">
                <a:solidFill>
                  <a:srgbClr val="D71440"/>
                </a:solidFill>
                <a:latin typeface="Calibri" panose="020F0502020204030204"/>
              </a:rPr>
              <a:t>Vybraná data o ZZS</a:t>
            </a:r>
            <a:endParaRPr kumimoji="0" lang="cs-CZ" sz="3600" b="1" i="0" u="none" strike="noStrike" kern="1200" cap="none" spc="0" normalizeH="0" baseline="0" noProof="0" dirty="0">
              <a:ln>
                <a:noFill/>
              </a:ln>
              <a:solidFill>
                <a:srgbClr val="D714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45357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1">
            <a:extLst>
              <a:ext uri="{FF2B5EF4-FFF2-40B4-BE49-F238E27FC236}">
                <a16:creationId xmlns:a16="http://schemas.microsoft.com/office/drawing/2014/main" id="{EA328CEC-C272-456D-B936-D7E722870E2A}"/>
              </a:ext>
            </a:extLst>
          </p:cNvPr>
          <p:cNvSpPr txBox="1">
            <a:spLocks/>
          </p:cNvSpPr>
          <p:nvPr/>
        </p:nvSpPr>
        <p:spPr>
          <a:xfrm>
            <a:off x="257558" y="156024"/>
            <a:ext cx="11297133" cy="774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Personál ZZS v krajích pro rok 2022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57558" y="653725"/>
            <a:ext cx="91460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E (MZ) 4-01 - Roční výkaz o zaměstnavatelích, evidenčním počtu zaměstnanců, smluvních pracovnících a odměňování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448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9EA09452-E42A-B201-372A-D734D9AF22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1453349"/>
              </p:ext>
            </p:extLst>
          </p:nvPr>
        </p:nvGraphicFramePr>
        <p:xfrm>
          <a:off x="330323" y="973539"/>
          <a:ext cx="11647317" cy="496595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10459">
                  <a:extLst>
                    <a:ext uri="{9D8B030D-6E8A-4147-A177-3AD203B41FA5}">
                      <a16:colId xmlns:a16="http://schemas.microsoft.com/office/drawing/2014/main" val="305202575"/>
                    </a:ext>
                  </a:extLst>
                </a:gridCol>
                <a:gridCol w="961273">
                  <a:extLst>
                    <a:ext uri="{9D8B030D-6E8A-4147-A177-3AD203B41FA5}">
                      <a16:colId xmlns:a16="http://schemas.microsoft.com/office/drawing/2014/main" val="1805693513"/>
                    </a:ext>
                  </a:extLst>
                </a:gridCol>
                <a:gridCol w="585039">
                  <a:extLst>
                    <a:ext uri="{9D8B030D-6E8A-4147-A177-3AD203B41FA5}">
                      <a16:colId xmlns:a16="http://schemas.microsoft.com/office/drawing/2014/main" val="1422585400"/>
                    </a:ext>
                  </a:extLst>
                </a:gridCol>
                <a:gridCol w="585039">
                  <a:extLst>
                    <a:ext uri="{9D8B030D-6E8A-4147-A177-3AD203B41FA5}">
                      <a16:colId xmlns:a16="http://schemas.microsoft.com/office/drawing/2014/main" val="69410244"/>
                    </a:ext>
                  </a:extLst>
                </a:gridCol>
                <a:gridCol w="585039">
                  <a:extLst>
                    <a:ext uri="{9D8B030D-6E8A-4147-A177-3AD203B41FA5}">
                      <a16:colId xmlns:a16="http://schemas.microsoft.com/office/drawing/2014/main" val="3571413554"/>
                    </a:ext>
                  </a:extLst>
                </a:gridCol>
                <a:gridCol w="585039">
                  <a:extLst>
                    <a:ext uri="{9D8B030D-6E8A-4147-A177-3AD203B41FA5}">
                      <a16:colId xmlns:a16="http://schemas.microsoft.com/office/drawing/2014/main" val="2965440666"/>
                    </a:ext>
                  </a:extLst>
                </a:gridCol>
                <a:gridCol w="585039">
                  <a:extLst>
                    <a:ext uri="{9D8B030D-6E8A-4147-A177-3AD203B41FA5}">
                      <a16:colId xmlns:a16="http://schemas.microsoft.com/office/drawing/2014/main" val="996872141"/>
                    </a:ext>
                  </a:extLst>
                </a:gridCol>
                <a:gridCol w="585039">
                  <a:extLst>
                    <a:ext uri="{9D8B030D-6E8A-4147-A177-3AD203B41FA5}">
                      <a16:colId xmlns:a16="http://schemas.microsoft.com/office/drawing/2014/main" val="4146421433"/>
                    </a:ext>
                  </a:extLst>
                </a:gridCol>
                <a:gridCol w="585039">
                  <a:extLst>
                    <a:ext uri="{9D8B030D-6E8A-4147-A177-3AD203B41FA5}">
                      <a16:colId xmlns:a16="http://schemas.microsoft.com/office/drawing/2014/main" val="2981084355"/>
                    </a:ext>
                  </a:extLst>
                </a:gridCol>
                <a:gridCol w="585039">
                  <a:extLst>
                    <a:ext uri="{9D8B030D-6E8A-4147-A177-3AD203B41FA5}">
                      <a16:colId xmlns:a16="http://schemas.microsoft.com/office/drawing/2014/main" val="3726381741"/>
                    </a:ext>
                  </a:extLst>
                </a:gridCol>
                <a:gridCol w="585039">
                  <a:extLst>
                    <a:ext uri="{9D8B030D-6E8A-4147-A177-3AD203B41FA5}">
                      <a16:colId xmlns:a16="http://schemas.microsoft.com/office/drawing/2014/main" val="1872369694"/>
                    </a:ext>
                  </a:extLst>
                </a:gridCol>
                <a:gridCol w="585039">
                  <a:extLst>
                    <a:ext uri="{9D8B030D-6E8A-4147-A177-3AD203B41FA5}">
                      <a16:colId xmlns:a16="http://schemas.microsoft.com/office/drawing/2014/main" val="1504262011"/>
                    </a:ext>
                  </a:extLst>
                </a:gridCol>
                <a:gridCol w="585039">
                  <a:extLst>
                    <a:ext uri="{9D8B030D-6E8A-4147-A177-3AD203B41FA5}">
                      <a16:colId xmlns:a16="http://schemas.microsoft.com/office/drawing/2014/main" val="1794454183"/>
                    </a:ext>
                  </a:extLst>
                </a:gridCol>
                <a:gridCol w="585039">
                  <a:extLst>
                    <a:ext uri="{9D8B030D-6E8A-4147-A177-3AD203B41FA5}">
                      <a16:colId xmlns:a16="http://schemas.microsoft.com/office/drawing/2014/main" val="133082881"/>
                    </a:ext>
                  </a:extLst>
                </a:gridCol>
                <a:gridCol w="585039">
                  <a:extLst>
                    <a:ext uri="{9D8B030D-6E8A-4147-A177-3AD203B41FA5}">
                      <a16:colId xmlns:a16="http://schemas.microsoft.com/office/drawing/2014/main" val="2541318781"/>
                    </a:ext>
                  </a:extLst>
                </a:gridCol>
                <a:gridCol w="436543">
                  <a:extLst>
                    <a:ext uri="{9D8B030D-6E8A-4147-A177-3AD203B41FA5}">
                      <a16:colId xmlns:a16="http://schemas.microsoft.com/office/drawing/2014/main" val="1200954204"/>
                    </a:ext>
                  </a:extLst>
                </a:gridCol>
                <a:gridCol w="733535">
                  <a:extLst>
                    <a:ext uri="{9D8B030D-6E8A-4147-A177-3AD203B41FA5}">
                      <a16:colId xmlns:a16="http://schemas.microsoft.com/office/drawing/2014/main" val="2319188615"/>
                    </a:ext>
                  </a:extLst>
                </a:gridCol>
              </a:tblGrid>
              <a:tr h="606711">
                <a:tc gridSpan="2"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u="none" strike="noStrike" dirty="0">
                          <a:effectLst/>
                        </a:rPr>
                        <a:t>Hl. m. Praha</a:t>
                      </a:r>
                      <a:endParaRPr lang="cs-CZ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u="none" strike="noStrike" dirty="0">
                          <a:effectLst/>
                        </a:rPr>
                        <a:t>Středočeský kraj</a:t>
                      </a:r>
                      <a:endParaRPr lang="cs-CZ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u="none" strike="noStrike" dirty="0">
                          <a:effectLst/>
                        </a:rPr>
                        <a:t>Jihočeský kraj</a:t>
                      </a:r>
                      <a:endParaRPr lang="cs-CZ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u="none" strike="noStrike" dirty="0">
                          <a:effectLst/>
                        </a:rPr>
                        <a:t>Plzeňský kraj</a:t>
                      </a:r>
                      <a:endParaRPr lang="cs-CZ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u="none" strike="noStrike" dirty="0">
                          <a:effectLst/>
                        </a:rPr>
                        <a:t>Karlovarský kraj</a:t>
                      </a:r>
                      <a:endParaRPr lang="cs-CZ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u="none" strike="noStrike">
                          <a:effectLst/>
                        </a:rPr>
                        <a:t>Ústecký kraj</a:t>
                      </a:r>
                      <a:endParaRPr lang="cs-CZ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u="none" strike="noStrike" dirty="0">
                          <a:effectLst/>
                        </a:rPr>
                        <a:t>Liberecký kraj</a:t>
                      </a:r>
                      <a:endParaRPr lang="cs-CZ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u="none" strike="noStrike" dirty="0">
                          <a:effectLst/>
                        </a:rPr>
                        <a:t>Královéhradecký kraj</a:t>
                      </a:r>
                      <a:endParaRPr lang="cs-CZ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u="none" strike="noStrike" dirty="0">
                          <a:effectLst/>
                        </a:rPr>
                        <a:t>Pardubický kraj</a:t>
                      </a:r>
                      <a:endParaRPr lang="cs-CZ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u="none" strike="noStrike" dirty="0">
                          <a:effectLst/>
                        </a:rPr>
                        <a:t>Kraj Vysočina</a:t>
                      </a:r>
                      <a:endParaRPr lang="cs-CZ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u="none" strike="noStrike" dirty="0">
                          <a:effectLst/>
                        </a:rPr>
                        <a:t>Jihomoravský kraj</a:t>
                      </a:r>
                      <a:endParaRPr lang="cs-CZ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u="none" strike="noStrike" dirty="0">
                          <a:effectLst/>
                        </a:rPr>
                        <a:t>Olomoucký kraj</a:t>
                      </a:r>
                      <a:endParaRPr lang="cs-CZ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u="none" strike="noStrike" dirty="0">
                          <a:effectLst/>
                        </a:rPr>
                        <a:t>Zlínský kraj</a:t>
                      </a:r>
                      <a:endParaRPr lang="cs-CZ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1" u="none" strike="noStrike" dirty="0">
                          <a:effectLst/>
                        </a:rPr>
                        <a:t>Moravskoslezský kraj</a:t>
                      </a:r>
                      <a:endParaRPr lang="cs-CZ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u="none" strike="noStrike" dirty="0">
                          <a:effectLst/>
                        </a:rPr>
                        <a:t>CELKEM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7617630"/>
                  </a:ext>
                </a:extLst>
              </a:tr>
              <a:tr h="225543">
                <a:tc rowSpan="3"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Lékaři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celkem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33,9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79,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75,0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54,6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30,6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53,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47,3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42,6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44,5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45,3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75,5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42,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42,3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78,7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744,8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5691355"/>
                  </a:ext>
                </a:extLst>
              </a:tr>
              <a:tr h="225543">
                <a:tc vMerge="1"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HPP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31,7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71,5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43,3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50,5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20,8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44,8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41,2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30,3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30,5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42,7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65,4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34,4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33,8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54,0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594,9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8475161"/>
                  </a:ext>
                </a:extLst>
              </a:tr>
              <a:tr h="225543">
                <a:tc vMerge="1"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DPP+DPČ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2,2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7,7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31,7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4,0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9,8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8,4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6,1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2,3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4,0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2,5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0,1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7,8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8,6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24,7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150,0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2864757"/>
                  </a:ext>
                </a:extLst>
              </a:tr>
              <a:tr h="22554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Zubní lékař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celkem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0,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0,2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84005635"/>
                  </a:ext>
                </a:extLst>
              </a:tr>
              <a:tr h="225543">
                <a:tc rowSpan="3"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dirty="0">
                          <a:effectLst/>
                        </a:rPr>
                        <a:t>Zdravotnický záchranář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dirty="0">
                          <a:effectLst/>
                        </a:rPr>
                        <a:t>celkem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 dirty="0">
                          <a:effectLst/>
                        </a:rPr>
                        <a:t>284,2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 dirty="0">
                          <a:effectLst/>
                        </a:rPr>
                        <a:t>376,6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 dirty="0">
                          <a:effectLst/>
                        </a:rPr>
                        <a:t>320,3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139,8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48,2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250,9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140,1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290,9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120,2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197,5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183,9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87,1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153,5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176,9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u="none" strike="noStrike" dirty="0">
                          <a:effectLst/>
                        </a:rPr>
                        <a:t>2770,1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2762731"/>
                  </a:ext>
                </a:extLst>
              </a:tr>
              <a:tr h="225543">
                <a:tc vMerge="1"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u="none" strike="noStrike" dirty="0">
                          <a:effectLst/>
                        </a:rPr>
                        <a:t>HPP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279,3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366,4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314,3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136,1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46,5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248,6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132,2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270,1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115,1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192,0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177,6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82,4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149,5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167,1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2677,2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4900832"/>
                  </a:ext>
                </a:extLst>
              </a:tr>
              <a:tr h="225543">
                <a:tc vMerge="1"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u="none" strike="noStrike" dirty="0">
                          <a:effectLst/>
                        </a:rPr>
                        <a:t>DPP+DPČ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4,9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10,2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6,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3,7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1,7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2,3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8,0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20,7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5,2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5,5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6,3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4,7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4,0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9,8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92,8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113719"/>
                  </a:ext>
                </a:extLst>
              </a:tr>
              <a:tr h="225543">
                <a:tc rowSpan="3"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 dirty="0">
                          <a:effectLst/>
                        </a:rPr>
                        <a:t>Všeobecná sestra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u="none" strike="noStrike">
                          <a:effectLst/>
                        </a:rPr>
                        <a:t>celkem</a:t>
                      </a:r>
                      <a:endParaRPr lang="cs-CZ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2,0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 dirty="0">
                          <a:effectLst/>
                        </a:rPr>
                        <a:t>1,0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 dirty="0">
                          <a:effectLst/>
                        </a:rPr>
                        <a:t>8,4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 dirty="0">
                          <a:effectLst/>
                        </a:rPr>
                        <a:t>114,3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84,0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0,8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101,8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 dirty="0">
                          <a:effectLst/>
                        </a:rPr>
                        <a:t>22,8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 dirty="0">
                          <a:effectLst/>
                        </a:rPr>
                        <a:t>122,7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81,2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28,6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>
                          <a:effectLst/>
                        </a:rPr>
                        <a:t>181,9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u="none" strike="noStrike" dirty="0">
                          <a:effectLst/>
                        </a:rPr>
                        <a:t>749,5</a:t>
                      </a:r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438372"/>
                  </a:ext>
                </a:extLst>
              </a:tr>
              <a:tr h="225543">
                <a:tc vMerge="1"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u="none" strike="noStrike" dirty="0">
                          <a:effectLst/>
                        </a:rPr>
                        <a:t>HPP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2,0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1,0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5,6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112,8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80,1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0,8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100,0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22,2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119,2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79,3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25,4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176,7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725,1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0594706"/>
                  </a:ext>
                </a:extLst>
              </a:tr>
              <a:tr h="225543">
                <a:tc vMerge="1"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u="none" strike="noStrike">
                          <a:effectLst/>
                        </a:rPr>
                        <a:t>DPP+DPČ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2,8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1,5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3,9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1,8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0,6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3,5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1,9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3,3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5,1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u="none" strike="noStrike" dirty="0">
                          <a:effectLst/>
                        </a:rPr>
                        <a:t>24,4</a:t>
                      </a:r>
                      <a:endParaRPr lang="cs-CZ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5489758"/>
                  </a:ext>
                </a:extLst>
              </a:tr>
              <a:tr h="225543">
                <a:tc rowSpan="3"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Řidič ZZS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109,1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271,4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162,1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159,3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91,0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214,5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150,7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30,1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96,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73,8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199,8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131,5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141,3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259,6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2090,5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5616254"/>
                  </a:ext>
                </a:extLst>
              </a:tr>
              <a:tr h="225543">
                <a:tc vMerge="1"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HPP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08,3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266,3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62,0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57,8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89,5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213,1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44,2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29,0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90,6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72,5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97,1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26,4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40,0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239,3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2035,9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0229028"/>
                  </a:ext>
                </a:extLst>
              </a:tr>
              <a:tr h="225543">
                <a:tc vMerge="1"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DPP+DPČ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0,8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5,2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0,1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,5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,5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,4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6,5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,1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5,6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,3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2,7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5,2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,4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20,3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54,6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8628595"/>
                  </a:ext>
                </a:extLst>
              </a:tr>
              <a:tr h="22554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Řidič zdravotnické dopravní služby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celkem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3,1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13,1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1369332"/>
                  </a:ext>
                </a:extLst>
              </a:tr>
              <a:tr h="22554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>
                          <a:effectLst/>
                        </a:rPr>
                        <a:t>Ostatní NLZP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u="none" strike="noStrike" dirty="0">
                          <a:effectLst/>
                        </a:rPr>
                        <a:t>celkem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,0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5,6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0,0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>
                          <a:effectLst/>
                        </a:rPr>
                        <a:t>1,0</a:t>
                      </a:r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7,7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7354951"/>
                  </a:ext>
                </a:extLst>
              </a:tr>
              <a:tr h="22554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THP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92,8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48,1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45,8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28,6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25,6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35,0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23,7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23,3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18,8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26,3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68,1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27,6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24,4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49,0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537,0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482387"/>
                  </a:ext>
                </a:extLst>
              </a:tr>
              <a:tr h="22554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>
                          <a:effectLst/>
                        </a:rPr>
                        <a:t>Dělníci a provozní pracovníci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14,0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19,6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12,6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6,3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6,1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16,8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5,6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11,4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5,4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12,9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0,1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22,3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12,9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145,8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3768908"/>
                  </a:ext>
                </a:extLst>
              </a:tr>
              <a:tr h="225543"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1" u="none" strike="noStrike" dirty="0">
                          <a:effectLst/>
                        </a:rPr>
                        <a:t>CELKEM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537,0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796,0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643,1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502,8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285,5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570,4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368,2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398,3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386,9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378,4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650,1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369,5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412,5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>
                          <a:effectLst/>
                        </a:rPr>
                        <a:t>759,9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effectLst/>
                        </a:rPr>
                        <a:t>7058,7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067" marR="7067" marT="706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705768"/>
                  </a:ext>
                </a:extLst>
              </a:tr>
            </a:tbl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140888AA-F72D-B4A2-3D54-0E4BE6228A65}"/>
              </a:ext>
            </a:extLst>
          </p:cNvPr>
          <p:cNvSpPr txBox="1"/>
          <p:nvPr/>
        </p:nvSpPr>
        <p:spPr>
          <a:xfrm rot="1087542">
            <a:off x="9841653" y="398001"/>
            <a:ext cx="1889760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>
              <a:tabLst>
                <a:tab pos="806450" algn="l"/>
              </a:tabLst>
            </a:pPr>
            <a:r>
              <a:rPr lang="cs-CZ" b="1" dirty="0">
                <a:solidFill>
                  <a:schemeClr val="bg1"/>
                </a:solidFill>
              </a:rPr>
              <a:t>Úvazky: výkazy</a:t>
            </a:r>
          </a:p>
        </p:txBody>
      </p:sp>
    </p:spTree>
    <p:extLst>
      <p:ext uri="{BB962C8B-B14F-4D97-AF65-F5344CB8AC3E}">
        <p14:creationId xmlns:p14="http://schemas.microsoft.com/office/powerpoint/2010/main" val="9807353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Nadpis 1">
            <a:extLst>
              <a:ext uri="{FF2B5EF4-FFF2-40B4-BE49-F238E27FC236}">
                <a16:creationId xmlns:a16="http://schemas.microsoft.com/office/drawing/2014/main" id="{EA328CEC-C272-456D-B936-D7E722870E2A}"/>
              </a:ext>
            </a:extLst>
          </p:cNvPr>
          <p:cNvSpPr txBox="1">
            <a:spLocks/>
          </p:cNvSpPr>
          <p:nvPr/>
        </p:nvSpPr>
        <p:spPr>
          <a:xfrm>
            <a:off x="257558" y="156024"/>
            <a:ext cx="11510889" cy="774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  <a:t>Věk a pohlaví lékařů u ZZS</a:t>
            </a:r>
          </a:p>
        </p:txBody>
      </p:sp>
      <p:sp>
        <p:nvSpPr>
          <p:cNvPr id="97" name="TextBox 6"/>
          <p:cNvSpPr txBox="1"/>
          <p:nvPr>
            <p:custDataLst>
              <p:tags r:id="rId1"/>
            </p:custDataLst>
          </p:nvPr>
        </p:nvSpPr>
        <p:spPr>
          <a:xfrm>
            <a:off x="257558" y="653725"/>
            <a:ext cx="24390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RZP, NRHZS 30. 9. 2023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2448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3" name="Obdélník 102"/>
          <p:cNvSpPr/>
          <p:nvPr/>
        </p:nvSpPr>
        <p:spPr>
          <a:xfrm>
            <a:off x="2312783" y="5823873"/>
            <a:ext cx="41883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</a:t>
            </a:r>
          </a:p>
        </p:txBody>
      </p:sp>
      <p:sp>
        <p:nvSpPr>
          <p:cNvPr id="104" name="Obdélník 103"/>
          <p:cNvSpPr/>
          <p:nvPr/>
        </p:nvSpPr>
        <p:spPr>
          <a:xfrm rot="16200000">
            <a:off x="-318484" y="3882458"/>
            <a:ext cx="11959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graphicFrame>
        <p:nvGraphicFramePr>
          <p:cNvPr id="106" name="Zástupný symbol pro obsah 8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5269194" y="1269312"/>
          <a:ext cx="4551110" cy="47470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07" name="TextBox 3">
            <a:extLst>
              <a:ext uri="{FF2B5EF4-FFF2-40B4-BE49-F238E27FC236}">
                <a16:creationId xmlns:a16="http://schemas.microsoft.com/office/drawing/2014/main" id="{2E490483-0C36-45E4-97DB-090D4F126F58}"/>
              </a:ext>
            </a:extLst>
          </p:cNvPr>
          <p:cNvSpPr txBox="1"/>
          <p:nvPr/>
        </p:nvSpPr>
        <p:spPr>
          <a:xfrm>
            <a:off x="5269193" y="1163740"/>
            <a:ext cx="11591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ZZ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448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8" name="TextovéPole 107"/>
          <p:cNvSpPr txBox="1"/>
          <p:nvPr/>
        </p:nvSpPr>
        <p:spPr>
          <a:xfrm>
            <a:off x="6756249" y="1009852"/>
            <a:ext cx="29375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věk lékařů</a:t>
            </a:r>
          </a:p>
        </p:txBody>
      </p:sp>
      <p:sp>
        <p:nvSpPr>
          <p:cNvPr id="111" name="TextovéPole 110"/>
          <p:cNvSpPr txBox="1"/>
          <p:nvPr/>
        </p:nvSpPr>
        <p:spPr>
          <a:xfrm>
            <a:off x="9773132" y="1190116"/>
            <a:ext cx="126998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1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1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em (muži / ženy)</a:t>
            </a:r>
          </a:p>
        </p:txBody>
      </p:sp>
      <p:graphicFrame>
        <p:nvGraphicFramePr>
          <p:cNvPr id="99" name="Tabulka 98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9820351" y="1686315"/>
          <a:ext cx="2242695" cy="4176000"/>
        </p:xfrm>
        <a:graphic>
          <a:graphicData uri="http://schemas.openxmlformats.org/drawingml/2006/table">
            <a:tbl>
              <a:tblPr/>
              <a:tblGrid>
                <a:gridCol w="12227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99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99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1 (16/15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3.5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4.5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(2/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0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6.7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0 (30/1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5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0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7 (69/4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7.3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9.9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61 (150/11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7.9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0.3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38 (786/45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1.9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3.3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78 (119/5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2.8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.2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0 (33/1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6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4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2 (84/3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8.4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9.7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59 (112/4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8.4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.1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8 (61/3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8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4.3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5 (54/2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4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 (9/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1.7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.3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4 (58/3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1.5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7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6 (38/3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2.9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.2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16" name="TextovéPole 15"/>
          <p:cNvSpPr txBox="1"/>
          <p:nvPr/>
        </p:nvSpPr>
        <p:spPr>
          <a:xfrm>
            <a:off x="11078288" y="1197691"/>
            <a:ext cx="468000" cy="1704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 a více let</a:t>
            </a:r>
          </a:p>
        </p:txBody>
      </p:sp>
      <p:sp>
        <p:nvSpPr>
          <p:cNvPr id="17" name="TextovéPole 16"/>
          <p:cNvSpPr txBox="1"/>
          <p:nvPr/>
        </p:nvSpPr>
        <p:spPr>
          <a:xfrm>
            <a:off x="11573576" y="1197691"/>
            <a:ext cx="468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 a více let</a:t>
            </a:r>
          </a:p>
        </p:txBody>
      </p:sp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6F782AA6-B0BF-1666-377C-1E890BA76E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2179246"/>
              </p:ext>
            </p:extLst>
          </p:nvPr>
        </p:nvGraphicFramePr>
        <p:xfrm>
          <a:off x="373143" y="2555897"/>
          <a:ext cx="4140000" cy="345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430B94A5-99DC-E51F-300A-C97AFE20355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407811188"/>
              </p:ext>
            </p:extLst>
          </p:nvPr>
        </p:nvGraphicFramePr>
        <p:xfrm>
          <a:off x="482321" y="1078840"/>
          <a:ext cx="3861078" cy="1318531"/>
        </p:xfrm>
        <a:graphic>
          <a:graphicData uri="http://schemas.openxmlformats.org/drawingml/2006/table">
            <a:tbl>
              <a:tblPr/>
              <a:tblGrid>
                <a:gridCol w="1083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60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60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260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38219">
                <a:tc>
                  <a:txBody>
                    <a:bodyPr/>
                    <a:lstStyle/>
                    <a:p>
                      <a:pPr algn="l" fontAlgn="b"/>
                      <a:endParaRPr lang="cs-CZ" sz="1200" b="1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/>
                        </a:rPr>
                        <a:t>Muž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/>
                        </a:rPr>
                        <a:t>Žen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/>
                        </a:rPr>
                        <a:t>Celkem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8219">
                <a:tc>
                  <a:txBody>
                    <a:bodyPr/>
                    <a:lstStyle/>
                    <a:p>
                      <a:pPr algn="l" fontAlgn="b"/>
                      <a:endParaRPr lang="cs-CZ" sz="1200" b="1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86</a:t>
                      </a:r>
                    </a:p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63,5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452</a:t>
                      </a:r>
                    </a:p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36,5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23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564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Průmě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564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60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94 (24,7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4 (20,8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88 (23,3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5644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60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16 (14,8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0 (11,1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66 (13,4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Obdélník 4">
            <a:extLst>
              <a:ext uri="{FF2B5EF4-FFF2-40B4-BE49-F238E27FC236}">
                <a16:creationId xmlns:a16="http://schemas.microsoft.com/office/drawing/2014/main" id="{EB712200-EFFC-B054-15F2-710329AAFB99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1686560" y="1119484"/>
            <a:ext cx="144000" cy="144000"/>
          </a:xfrm>
          <a:prstGeom prst="rect">
            <a:avLst/>
          </a:prstGeom>
          <a:solidFill>
            <a:srgbClr val="66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89D1EE13-B2B8-5422-A332-FFA16243AC85}"/>
              </a:ext>
            </a:extLst>
          </p:cNvPr>
          <p:cNvSpPr/>
          <p:nvPr/>
        </p:nvSpPr>
        <p:spPr>
          <a:xfrm>
            <a:off x="2613519" y="1119484"/>
            <a:ext cx="144000" cy="144000"/>
          </a:xfrm>
          <a:prstGeom prst="rect">
            <a:avLst/>
          </a:prstGeom>
          <a:solidFill>
            <a:srgbClr val="FF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5F9D4218-E9C8-6B8E-1FD4-6FA9564BC856}"/>
              </a:ext>
            </a:extLst>
          </p:cNvPr>
          <p:cNvSpPr txBox="1"/>
          <p:nvPr/>
        </p:nvSpPr>
        <p:spPr>
          <a:xfrm>
            <a:off x="4131953" y="6240311"/>
            <a:ext cx="54843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400" b="1" dirty="0">
                <a:solidFill>
                  <a:srgbClr val="FF0000"/>
                </a:solidFill>
              </a:rPr>
              <a:t>50+: 642 lékařů / 55+: 452 lékařů</a:t>
            </a:r>
          </a:p>
        </p:txBody>
      </p:sp>
      <p:sp>
        <p:nvSpPr>
          <p:cNvPr id="7" name="Šipka: doprava 6">
            <a:extLst>
              <a:ext uri="{FF2B5EF4-FFF2-40B4-BE49-F238E27FC236}">
                <a16:creationId xmlns:a16="http://schemas.microsoft.com/office/drawing/2014/main" id="{1A8DA4F0-1C1E-8B2E-8815-E5013334FA43}"/>
              </a:ext>
            </a:extLst>
          </p:cNvPr>
          <p:cNvSpPr/>
          <p:nvPr/>
        </p:nvSpPr>
        <p:spPr>
          <a:xfrm>
            <a:off x="3536654" y="6207185"/>
            <a:ext cx="462224" cy="548960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cs-CZ">
              <a:solidFill>
                <a:srgbClr val="FF0000"/>
              </a:solidFill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186428E8-1B1B-F1B8-FCCC-8D09E9218C1D}"/>
              </a:ext>
            </a:extLst>
          </p:cNvPr>
          <p:cNvSpPr txBox="1"/>
          <p:nvPr/>
        </p:nvSpPr>
        <p:spPr>
          <a:xfrm rot="1087542">
            <a:off x="9830866" y="453694"/>
            <a:ext cx="1889760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>
              <a:tabLst>
                <a:tab pos="806450" algn="l"/>
              </a:tabLst>
            </a:pPr>
            <a:r>
              <a:rPr lang="cs-CZ" b="1" dirty="0">
                <a:solidFill>
                  <a:schemeClr val="bg1"/>
                </a:solidFill>
              </a:rPr>
              <a:t>Fyzické osoby</a:t>
            </a:r>
          </a:p>
        </p:txBody>
      </p:sp>
    </p:spTree>
    <p:extLst>
      <p:ext uri="{BB962C8B-B14F-4D97-AF65-F5344CB8AC3E}">
        <p14:creationId xmlns:p14="http://schemas.microsoft.com/office/powerpoint/2010/main" val="28438238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Nadpis 1">
            <a:extLst>
              <a:ext uri="{FF2B5EF4-FFF2-40B4-BE49-F238E27FC236}">
                <a16:creationId xmlns:a16="http://schemas.microsoft.com/office/drawing/2014/main" id="{EA328CEC-C272-456D-B936-D7E722870E2A}"/>
              </a:ext>
            </a:extLst>
          </p:cNvPr>
          <p:cNvSpPr txBox="1">
            <a:spLocks/>
          </p:cNvSpPr>
          <p:nvPr/>
        </p:nvSpPr>
        <p:spPr>
          <a:xfrm>
            <a:off x="257558" y="156024"/>
            <a:ext cx="11510889" cy="774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  <a:t>Věk a pohlaví zdravotnických záchranářů (§ 18) u ZZS</a:t>
            </a:r>
          </a:p>
        </p:txBody>
      </p:sp>
      <p:sp>
        <p:nvSpPr>
          <p:cNvPr id="103" name="Obdélník 102"/>
          <p:cNvSpPr/>
          <p:nvPr/>
        </p:nvSpPr>
        <p:spPr>
          <a:xfrm>
            <a:off x="2312783" y="5823873"/>
            <a:ext cx="41883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</a:t>
            </a:r>
          </a:p>
        </p:txBody>
      </p:sp>
      <p:sp>
        <p:nvSpPr>
          <p:cNvPr id="104" name="Obdélník 103"/>
          <p:cNvSpPr/>
          <p:nvPr/>
        </p:nvSpPr>
        <p:spPr>
          <a:xfrm rot="16200000">
            <a:off x="-318484" y="3882458"/>
            <a:ext cx="11959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graphicFrame>
        <p:nvGraphicFramePr>
          <p:cNvPr id="106" name="Zástupný symbol pro obsah 8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5269194" y="1269312"/>
          <a:ext cx="4551110" cy="47470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7" name="TextBox 3">
            <a:extLst>
              <a:ext uri="{FF2B5EF4-FFF2-40B4-BE49-F238E27FC236}">
                <a16:creationId xmlns:a16="http://schemas.microsoft.com/office/drawing/2014/main" id="{2E490483-0C36-45E4-97DB-090D4F126F58}"/>
              </a:ext>
            </a:extLst>
          </p:cNvPr>
          <p:cNvSpPr txBox="1"/>
          <p:nvPr/>
        </p:nvSpPr>
        <p:spPr>
          <a:xfrm>
            <a:off x="5269193" y="1163740"/>
            <a:ext cx="11591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ZZ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448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8" name="TextovéPole 107"/>
          <p:cNvSpPr txBox="1"/>
          <p:nvPr/>
        </p:nvSpPr>
        <p:spPr>
          <a:xfrm>
            <a:off x="6756249" y="1009852"/>
            <a:ext cx="29375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věk lékařů</a:t>
            </a:r>
          </a:p>
        </p:txBody>
      </p:sp>
      <p:sp>
        <p:nvSpPr>
          <p:cNvPr id="14" name="Obdélník 13"/>
          <p:cNvSpPr/>
          <p:nvPr/>
        </p:nvSpPr>
        <p:spPr>
          <a:xfrm>
            <a:off x="1686560" y="1119484"/>
            <a:ext cx="144000" cy="144000"/>
          </a:xfrm>
          <a:prstGeom prst="rect">
            <a:avLst/>
          </a:prstGeom>
          <a:solidFill>
            <a:srgbClr val="66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bdélník 14"/>
          <p:cNvSpPr/>
          <p:nvPr/>
        </p:nvSpPr>
        <p:spPr>
          <a:xfrm>
            <a:off x="2613519" y="1119484"/>
            <a:ext cx="144000" cy="144000"/>
          </a:xfrm>
          <a:prstGeom prst="rect">
            <a:avLst/>
          </a:prstGeom>
          <a:solidFill>
            <a:srgbClr val="FF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/>
          <p:cNvSpPr txBox="1"/>
          <p:nvPr/>
        </p:nvSpPr>
        <p:spPr>
          <a:xfrm>
            <a:off x="9773132" y="1190116"/>
            <a:ext cx="126998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1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1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em (muži / ženy)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9820351" y="1686315"/>
          <a:ext cx="2242695" cy="4176000"/>
        </p:xfrm>
        <a:graphic>
          <a:graphicData uri="http://schemas.openxmlformats.org/drawingml/2006/table">
            <a:tbl>
              <a:tblPr/>
              <a:tblGrid>
                <a:gridCol w="12227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99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99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71 (170/30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5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6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53 (73/8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2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4.2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63 (59/10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9.4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.2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9 (126/8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3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5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90 (106/18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6.6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43 (169/17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3.3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.8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079 (1781/129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.5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3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6 (158/2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4.5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.8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54 (232/12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7.8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.3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97 (240/57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.8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.4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3 (42/2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.8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2 (89/3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.2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.6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91 (178/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.2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.7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70 (128/4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.1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.4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96 (114/8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.6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3.6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18" name="TextovéPole 17"/>
          <p:cNvSpPr txBox="1"/>
          <p:nvPr/>
        </p:nvSpPr>
        <p:spPr>
          <a:xfrm>
            <a:off x="11078288" y="1197691"/>
            <a:ext cx="468000" cy="1704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 a více let</a:t>
            </a:r>
          </a:p>
        </p:txBody>
      </p:sp>
      <p:sp>
        <p:nvSpPr>
          <p:cNvPr id="19" name="TextovéPole 18"/>
          <p:cNvSpPr txBox="1"/>
          <p:nvPr/>
        </p:nvSpPr>
        <p:spPr>
          <a:xfrm>
            <a:off x="11573576" y="1197691"/>
            <a:ext cx="468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 a více let</a:t>
            </a:r>
          </a:p>
        </p:txBody>
      </p:sp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9C1BD041-250E-3E29-9D7E-01CDFA17BD4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74635933"/>
              </p:ext>
            </p:extLst>
          </p:nvPr>
        </p:nvGraphicFramePr>
        <p:xfrm>
          <a:off x="373143" y="2555897"/>
          <a:ext cx="4140000" cy="345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C665232D-CF57-72A5-A4C0-FAF6991E49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0952501"/>
              </p:ext>
            </p:extLst>
          </p:nvPr>
        </p:nvGraphicFramePr>
        <p:xfrm>
          <a:off x="474785" y="1078840"/>
          <a:ext cx="3868614" cy="1318531"/>
        </p:xfrm>
        <a:graphic>
          <a:graphicData uri="http://schemas.openxmlformats.org/drawingml/2006/table">
            <a:tbl>
              <a:tblPr/>
              <a:tblGrid>
                <a:gridCol w="10905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60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60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260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38219">
                <a:tc>
                  <a:txBody>
                    <a:bodyPr/>
                    <a:lstStyle/>
                    <a:p>
                      <a:pPr algn="l" fontAlgn="b"/>
                      <a:endParaRPr lang="cs-CZ" sz="1200" b="1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/>
                        </a:rPr>
                        <a:t>Muž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/>
                        </a:rPr>
                        <a:t>Žen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/>
                        </a:rPr>
                        <a:t>Celkem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8219">
                <a:tc>
                  <a:txBody>
                    <a:bodyPr/>
                    <a:lstStyle/>
                    <a:p>
                      <a:pPr algn="l" fontAlgn="b"/>
                      <a:endParaRPr lang="cs-CZ" sz="1200" b="1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781 (57,8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298 (42,2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3 079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564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Průmě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564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60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 (1,2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3 (6,4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05 (3,4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5644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60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(0,1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6 (1,2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7 (0,6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Box 6">
            <a:extLst>
              <a:ext uri="{FF2B5EF4-FFF2-40B4-BE49-F238E27FC236}">
                <a16:creationId xmlns:a16="http://schemas.microsoft.com/office/drawing/2014/main" id="{FA509A24-226E-516E-2355-DA24B8832E9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7558" y="653725"/>
            <a:ext cx="24390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RZP, NRHZS 30. 9. 2023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2448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5FAFE733-EDB6-FCEC-8082-A9CBA182E6DE}"/>
              </a:ext>
            </a:extLst>
          </p:cNvPr>
          <p:cNvSpPr txBox="1"/>
          <p:nvPr/>
        </p:nvSpPr>
        <p:spPr>
          <a:xfrm>
            <a:off x="4131953" y="6240311"/>
            <a:ext cx="54843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400" b="1" dirty="0">
                <a:solidFill>
                  <a:srgbClr val="FF0000"/>
                </a:solidFill>
              </a:rPr>
              <a:t>50+: 630 ZZ / 55+: 298 ZZ</a:t>
            </a:r>
          </a:p>
        </p:txBody>
      </p:sp>
      <p:sp>
        <p:nvSpPr>
          <p:cNvPr id="6" name="Šipka: doprava 5">
            <a:extLst>
              <a:ext uri="{FF2B5EF4-FFF2-40B4-BE49-F238E27FC236}">
                <a16:creationId xmlns:a16="http://schemas.microsoft.com/office/drawing/2014/main" id="{D7662D80-41A7-6F15-95B8-50B4619541AF}"/>
              </a:ext>
            </a:extLst>
          </p:cNvPr>
          <p:cNvSpPr/>
          <p:nvPr/>
        </p:nvSpPr>
        <p:spPr>
          <a:xfrm>
            <a:off x="3536654" y="6207185"/>
            <a:ext cx="462224" cy="548960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cs-CZ">
              <a:solidFill>
                <a:srgbClr val="FF0000"/>
              </a:solidFill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76DDBBA-6538-711E-BA33-EC023D2C4977}"/>
              </a:ext>
            </a:extLst>
          </p:cNvPr>
          <p:cNvSpPr txBox="1"/>
          <p:nvPr/>
        </p:nvSpPr>
        <p:spPr>
          <a:xfrm rot="1087542">
            <a:off x="9830866" y="453694"/>
            <a:ext cx="1889760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>
              <a:tabLst>
                <a:tab pos="806450" algn="l"/>
              </a:tabLst>
            </a:pPr>
            <a:r>
              <a:rPr lang="cs-CZ" b="1" dirty="0">
                <a:solidFill>
                  <a:schemeClr val="bg1"/>
                </a:solidFill>
              </a:rPr>
              <a:t>Fyzické osoby</a:t>
            </a:r>
          </a:p>
        </p:txBody>
      </p:sp>
    </p:spTree>
    <p:extLst>
      <p:ext uri="{BB962C8B-B14F-4D97-AF65-F5344CB8AC3E}">
        <p14:creationId xmlns:p14="http://schemas.microsoft.com/office/powerpoint/2010/main" val="21755582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Nadpis 1">
            <a:extLst>
              <a:ext uri="{FF2B5EF4-FFF2-40B4-BE49-F238E27FC236}">
                <a16:creationId xmlns:a16="http://schemas.microsoft.com/office/drawing/2014/main" id="{EA328CEC-C272-456D-B936-D7E722870E2A}"/>
              </a:ext>
            </a:extLst>
          </p:cNvPr>
          <p:cNvSpPr txBox="1">
            <a:spLocks/>
          </p:cNvSpPr>
          <p:nvPr/>
        </p:nvSpPr>
        <p:spPr>
          <a:xfrm>
            <a:off x="257558" y="156024"/>
            <a:ext cx="11510889" cy="774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  <a:t>Věk a pohlaví všeobecných sester (§ 5) u ZZS</a:t>
            </a:r>
          </a:p>
        </p:txBody>
      </p:sp>
      <p:sp>
        <p:nvSpPr>
          <p:cNvPr id="103" name="Obdélník 102"/>
          <p:cNvSpPr/>
          <p:nvPr/>
        </p:nvSpPr>
        <p:spPr>
          <a:xfrm>
            <a:off x="2312783" y="5823873"/>
            <a:ext cx="41883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</a:t>
            </a:r>
          </a:p>
        </p:txBody>
      </p:sp>
      <p:sp>
        <p:nvSpPr>
          <p:cNvPr id="104" name="Obdélník 103"/>
          <p:cNvSpPr/>
          <p:nvPr/>
        </p:nvSpPr>
        <p:spPr>
          <a:xfrm rot="16200000">
            <a:off x="-318484" y="3882458"/>
            <a:ext cx="119596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bsolutní počet</a:t>
            </a:r>
          </a:p>
        </p:txBody>
      </p:sp>
      <p:graphicFrame>
        <p:nvGraphicFramePr>
          <p:cNvPr id="106" name="Zástupný symbol pro obsah 8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5269194" y="1269312"/>
          <a:ext cx="4551110" cy="47470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7" name="TextBox 3">
            <a:extLst>
              <a:ext uri="{FF2B5EF4-FFF2-40B4-BE49-F238E27FC236}">
                <a16:creationId xmlns:a16="http://schemas.microsoft.com/office/drawing/2014/main" id="{2E490483-0C36-45E4-97DB-090D4F126F58}"/>
              </a:ext>
            </a:extLst>
          </p:cNvPr>
          <p:cNvSpPr txBox="1"/>
          <p:nvPr/>
        </p:nvSpPr>
        <p:spPr>
          <a:xfrm>
            <a:off x="5269193" y="1163740"/>
            <a:ext cx="11591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ZZ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2448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8" name="TextovéPole 107"/>
          <p:cNvSpPr txBox="1"/>
          <p:nvPr/>
        </p:nvSpPr>
        <p:spPr>
          <a:xfrm>
            <a:off x="6756249" y="1009852"/>
            <a:ext cx="29375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ůměrný věk lékařů</a:t>
            </a:r>
          </a:p>
        </p:txBody>
      </p:sp>
      <p:sp>
        <p:nvSpPr>
          <p:cNvPr id="14" name="Obdélník 13"/>
          <p:cNvSpPr/>
          <p:nvPr/>
        </p:nvSpPr>
        <p:spPr>
          <a:xfrm>
            <a:off x="1686560" y="1119484"/>
            <a:ext cx="144000" cy="144000"/>
          </a:xfrm>
          <a:prstGeom prst="rect">
            <a:avLst/>
          </a:prstGeom>
          <a:solidFill>
            <a:srgbClr val="66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bdélník 14"/>
          <p:cNvSpPr/>
          <p:nvPr/>
        </p:nvSpPr>
        <p:spPr>
          <a:xfrm>
            <a:off x="2613519" y="1119484"/>
            <a:ext cx="144000" cy="144000"/>
          </a:xfrm>
          <a:prstGeom prst="rect">
            <a:avLst/>
          </a:prstGeom>
          <a:solidFill>
            <a:srgbClr val="FF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/>
          <p:cNvSpPr txBox="1"/>
          <p:nvPr/>
        </p:nvSpPr>
        <p:spPr>
          <a:xfrm>
            <a:off x="9773132" y="1190116"/>
            <a:ext cx="1269988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1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1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em (muži / ženy)</a:t>
            </a: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9820351" y="1686315"/>
          <a:ext cx="2242695" cy="4176000"/>
        </p:xfrm>
        <a:graphic>
          <a:graphicData uri="http://schemas.openxmlformats.org/drawingml/2006/table">
            <a:tbl>
              <a:tblPr/>
              <a:tblGrid>
                <a:gridCol w="12227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99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99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8 (2/2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6.4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4.3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 (0/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3.3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0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 (2/18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5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(1/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6.7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33.3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4 (10/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8.6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1.4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4 (5/89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1.7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.3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42 (29/213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2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0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56 (126/630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9.9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.5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4 (2/6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7.8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4.4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94 (38/56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9.6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.1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8 (27/6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8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.5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 (0/4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5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75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9 (8/71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0.5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2.7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5 (3/22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6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1" u="none" strike="noStrike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12 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8400">
                <a:tc>
                  <a:txBody>
                    <a:bodyPr/>
                    <a:lstStyle/>
                    <a:p>
                      <a:pPr algn="ctr" fontAlgn="b"/>
                      <a:endParaRPr lang="cs-CZ" sz="1100" b="0" i="1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1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100" b="0" i="1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18" name="TextovéPole 17"/>
          <p:cNvSpPr txBox="1"/>
          <p:nvPr/>
        </p:nvSpPr>
        <p:spPr>
          <a:xfrm>
            <a:off x="11078288" y="1197691"/>
            <a:ext cx="468000" cy="1704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0 a více let</a:t>
            </a:r>
          </a:p>
        </p:txBody>
      </p:sp>
      <p:sp>
        <p:nvSpPr>
          <p:cNvPr id="19" name="TextovéPole 18"/>
          <p:cNvSpPr txBox="1"/>
          <p:nvPr/>
        </p:nvSpPr>
        <p:spPr>
          <a:xfrm>
            <a:off x="11573576" y="1197691"/>
            <a:ext cx="46800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 a více let</a:t>
            </a:r>
          </a:p>
        </p:txBody>
      </p:sp>
      <p:graphicFrame>
        <p:nvGraphicFramePr>
          <p:cNvPr id="2" name="Graf 1">
            <a:extLst>
              <a:ext uri="{FF2B5EF4-FFF2-40B4-BE49-F238E27FC236}">
                <a16:creationId xmlns:a16="http://schemas.microsoft.com/office/drawing/2014/main" id="{948A3979-C68F-D452-6C18-1D01A705E97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3036251"/>
              </p:ext>
            </p:extLst>
          </p:nvPr>
        </p:nvGraphicFramePr>
        <p:xfrm>
          <a:off x="373143" y="2555897"/>
          <a:ext cx="4140000" cy="345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141FC8C2-320D-81AD-DBBD-152B3E2EC8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5068184"/>
              </p:ext>
            </p:extLst>
          </p:nvPr>
        </p:nvGraphicFramePr>
        <p:xfrm>
          <a:off x="474785" y="1078840"/>
          <a:ext cx="3868614" cy="1318531"/>
        </p:xfrm>
        <a:graphic>
          <a:graphicData uri="http://schemas.openxmlformats.org/drawingml/2006/table">
            <a:tbl>
              <a:tblPr/>
              <a:tblGrid>
                <a:gridCol w="10905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60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60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260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38219">
                <a:tc>
                  <a:txBody>
                    <a:bodyPr/>
                    <a:lstStyle/>
                    <a:p>
                      <a:pPr algn="l" fontAlgn="b"/>
                      <a:endParaRPr lang="cs-CZ" sz="1200" b="1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/>
                        </a:rPr>
                        <a:t>Muž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/>
                        </a:rPr>
                        <a:t>Ženy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"/>
                        </a:rPr>
                        <a:t>Celkem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8219">
                <a:tc>
                  <a:txBody>
                    <a:bodyPr/>
                    <a:lstStyle/>
                    <a:p>
                      <a:pPr algn="l" fontAlgn="b"/>
                      <a:endParaRPr lang="cs-CZ" sz="1200" b="1" i="0" u="none" strike="noStrike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26 </a:t>
                      </a:r>
                    </a:p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16,7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630 </a:t>
                      </a:r>
                    </a:p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83,3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5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564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Průměr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5644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60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2 (9,5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43 (22,7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55 (20,5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5644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b="1" i="0" u="none" strike="noStrike" dirty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60 a více let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 (0,8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2 (8,3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3 (7,0 %)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TextBox 6">
            <a:extLst>
              <a:ext uri="{FF2B5EF4-FFF2-40B4-BE49-F238E27FC236}">
                <a16:creationId xmlns:a16="http://schemas.microsoft.com/office/drawing/2014/main" id="{163A93D2-CB36-1600-A6E5-66D3ACC6FEC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7558" y="653725"/>
            <a:ext cx="24390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RZP, NRHZS 30. 9. 2023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24486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D118091B-216F-AAF0-E537-E6FAD8A9AC9B}"/>
              </a:ext>
            </a:extLst>
          </p:cNvPr>
          <p:cNvSpPr txBox="1"/>
          <p:nvPr/>
        </p:nvSpPr>
        <p:spPr>
          <a:xfrm>
            <a:off x="4131953" y="6240311"/>
            <a:ext cx="54843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400" b="1" dirty="0">
                <a:solidFill>
                  <a:srgbClr val="FF0000"/>
                </a:solidFill>
              </a:rPr>
              <a:t>50+: 453 ZZ / 55+: 267 ZZ</a:t>
            </a:r>
          </a:p>
        </p:txBody>
      </p:sp>
      <p:sp>
        <p:nvSpPr>
          <p:cNvPr id="6" name="Šipka: doprava 5">
            <a:extLst>
              <a:ext uri="{FF2B5EF4-FFF2-40B4-BE49-F238E27FC236}">
                <a16:creationId xmlns:a16="http://schemas.microsoft.com/office/drawing/2014/main" id="{5EB3981C-A9B8-EE74-6B27-1574B2F2692C}"/>
              </a:ext>
            </a:extLst>
          </p:cNvPr>
          <p:cNvSpPr/>
          <p:nvPr/>
        </p:nvSpPr>
        <p:spPr>
          <a:xfrm>
            <a:off x="3536654" y="6207185"/>
            <a:ext cx="462224" cy="548960"/>
          </a:xfrm>
          <a:prstGeom prst="rightArrow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cs-CZ">
              <a:solidFill>
                <a:srgbClr val="FF0000"/>
              </a:solidFill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B157BE15-FA8C-CC7D-17B7-D21F72C1813D}"/>
              </a:ext>
            </a:extLst>
          </p:cNvPr>
          <p:cNvSpPr txBox="1"/>
          <p:nvPr/>
        </p:nvSpPr>
        <p:spPr>
          <a:xfrm rot="1087542">
            <a:off x="9830866" y="453694"/>
            <a:ext cx="1889760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>
              <a:tabLst>
                <a:tab pos="806450" algn="l"/>
              </a:tabLst>
            </a:pPr>
            <a:r>
              <a:rPr lang="cs-CZ" b="1" dirty="0">
                <a:solidFill>
                  <a:schemeClr val="bg1"/>
                </a:solidFill>
              </a:rPr>
              <a:t>Fyzické osoby</a:t>
            </a:r>
          </a:p>
        </p:txBody>
      </p:sp>
    </p:spTree>
    <p:extLst>
      <p:ext uri="{BB962C8B-B14F-4D97-AF65-F5344CB8AC3E}">
        <p14:creationId xmlns:p14="http://schemas.microsoft.com/office/powerpoint/2010/main" val="33064708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1" name="Tabulka 100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98060" y="1537659"/>
          <a:ext cx="5450048" cy="45782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74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62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629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</a:t>
                      </a:r>
                    </a:p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vazk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výjezd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03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,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49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84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39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59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23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83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17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,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64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0,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 80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54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,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75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,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19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60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45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2" name="Zástupný symbol pro obsah 8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57558" y="1484722"/>
          <a:ext cx="4551110" cy="47470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E490483-0C36-45E4-97DB-090D4F126F58}"/>
              </a:ext>
            </a:extLst>
          </p:cNvPr>
          <p:cNvSpPr txBox="1"/>
          <p:nvPr/>
        </p:nvSpPr>
        <p:spPr>
          <a:xfrm rot="16200000">
            <a:off x="-996216" y="3764215"/>
            <a:ext cx="25075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ZZ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4486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1744613" y="961502"/>
            <a:ext cx="29375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úvazků lékařů ZZ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100tis. výjezdů daného kraje</a:t>
            </a:r>
          </a:p>
        </p:txBody>
      </p:sp>
      <p:sp>
        <p:nvSpPr>
          <p:cNvPr id="96" name="Nadpis 1">
            <a:extLst>
              <a:ext uri="{FF2B5EF4-FFF2-40B4-BE49-F238E27FC236}">
                <a16:creationId xmlns:a16="http://schemas.microsoft.com/office/drawing/2014/main" id="{EA328CEC-C272-456D-B936-D7E722870E2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7558" y="156024"/>
            <a:ext cx="11510889" cy="774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F9113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  <a:t>Počet úvazků lékařů ZZS na 100tis. výjezdů daného kraje</a:t>
            </a:r>
          </a:p>
        </p:txBody>
      </p:sp>
      <p:sp>
        <p:nvSpPr>
          <p:cNvPr id="97" name="TextBox 6"/>
          <p:cNvSpPr txBox="1"/>
          <p:nvPr/>
        </p:nvSpPr>
        <p:spPr>
          <a:xfrm>
            <a:off x="257558" y="653725"/>
            <a:ext cx="97247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 (MZ) 4-01 -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ční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kaz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městnavatelí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videnční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tu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městnanců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luvní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covnícíc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měňování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; NRHZS</a:t>
            </a:r>
          </a:p>
        </p:txBody>
      </p:sp>
      <p:pic>
        <p:nvPicPr>
          <p:cNvPr id="98" name="Obrázek 97" descr="Obsah obrázku mapa, text, atlas&#10;&#10;Popis byl vytvořen automaticky">
            <a:extLst>
              <a:ext uri="{FF2B5EF4-FFF2-40B4-BE49-F238E27FC236}">
                <a16:creationId xmlns:a16="http://schemas.microsoft.com/office/drawing/2014/main" id="{B7680430-EDB3-B270-6072-BCD37ACB49C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9257" y="1977081"/>
            <a:ext cx="4320000" cy="2913925"/>
          </a:xfrm>
          <a:prstGeom prst="rect">
            <a:avLst/>
          </a:prstGeom>
        </p:spPr>
      </p:pic>
      <p:sp>
        <p:nvSpPr>
          <p:cNvPr id="102" name="TextovéPole 101"/>
          <p:cNvSpPr txBox="1"/>
          <p:nvPr>
            <p:custDataLst>
              <p:tags r:id="rId5"/>
            </p:custDataLst>
          </p:nvPr>
        </p:nvSpPr>
        <p:spPr>
          <a:xfrm>
            <a:off x="411446" y="6137104"/>
            <a:ext cx="4688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výjezdů je k roku 2023.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EC824BD6-DE91-ED5F-209F-E3EBE30B3B10}"/>
              </a:ext>
            </a:extLst>
          </p:cNvPr>
          <p:cNvSpPr txBox="1"/>
          <p:nvPr/>
        </p:nvSpPr>
        <p:spPr>
          <a:xfrm rot="1087542">
            <a:off x="9841653" y="398001"/>
            <a:ext cx="1889760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>
              <a:tabLst>
                <a:tab pos="806450" algn="l"/>
              </a:tabLst>
            </a:pPr>
            <a:r>
              <a:rPr lang="cs-CZ" b="1" dirty="0">
                <a:solidFill>
                  <a:schemeClr val="bg1"/>
                </a:solidFill>
              </a:rPr>
              <a:t>Úvazky: výkazy</a:t>
            </a:r>
          </a:p>
        </p:txBody>
      </p:sp>
    </p:spTree>
    <p:extLst>
      <p:ext uri="{BB962C8B-B14F-4D97-AF65-F5344CB8AC3E}">
        <p14:creationId xmlns:p14="http://schemas.microsoft.com/office/powerpoint/2010/main" val="369954273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1" name="Tabulka 100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25065" y="1537659"/>
          <a:ext cx="5529856" cy="45782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231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987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</a:t>
                      </a:r>
                    </a:p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vazk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a km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5 56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,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89 41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,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55 70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6 05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9 79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11 90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1 23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2 77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,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86 11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0,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646 78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57 64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30 67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99 43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6 13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,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74 34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2" name="Zástupný symbol pro obsah 8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09025" y="1484722"/>
          <a:ext cx="4551110" cy="47470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E490483-0C36-45E4-97DB-090D4F126F58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-1055485" y="3764215"/>
            <a:ext cx="25075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ZZ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4486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ovéPole 4"/>
          <p:cNvSpPr txBox="1"/>
          <p:nvPr>
            <p:custDataLst>
              <p:tags r:id="rId4"/>
            </p:custDataLst>
          </p:nvPr>
        </p:nvSpPr>
        <p:spPr>
          <a:xfrm>
            <a:off x="1744613" y="961502"/>
            <a:ext cx="29375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úvazků lékařů ZZ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100tis. km dojezdové vzdálenosti </a:t>
            </a:r>
          </a:p>
        </p:txBody>
      </p:sp>
      <p:sp>
        <p:nvSpPr>
          <p:cNvPr id="96" name="Nadpis 1">
            <a:extLst>
              <a:ext uri="{FF2B5EF4-FFF2-40B4-BE49-F238E27FC236}">
                <a16:creationId xmlns:a16="http://schemas.microsoft.com/office/drawing/2014/main" id="{EA328CEC-C272-456D-B936-D7E722870E2A}"/>
              </a:ext>
            </a:extLst>
          </p:cNvPr>
          <p:cNvSpPr txBox="1">
            <a:spLocks/>
          </p:cNvSpPr>
          <p:nvPr/>
        </p:nvSpPr>
        <p:spPr>
          <a:xfrm>
            <a:off x="257558" y="156024"/>
            <a:ext cx="11510889" cy="774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  <a:t>Počet úvazků lékařů ZZS na 100tis. km výjezdů</a:t>
            </a:r>
          </a:p>
        </p:txBody>
      </p:sp>
      <p:sp>
        <p:nvSpPr>
          <p:cNvPr id="97" name="TextBox 6"/>
          <p:cNvSpPr txBox="1"/>
          <p:nvPr/>
        </p:nvSpPr>
        <p:spPr>
          <a:xfrm>
            <a:off x="257558" y="653725"/>
            <a:ext cx="97247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 (MZ) 4-01 - Roční výkaz o zaměstnavatelích, evidenčním počtu zaměstnanců, smluvních pracovnících a odměňování; NRHZS</a:t>
            </a:r>
          </a:p>
        </p:txBody>
      </p:sp>
      <p:pic>
        <p:nvPicPr>
          <p:cNvPr id="99" name="Obrázek 98" descr="Obsah obrázku mapa, text, atlas&#10;&#10;Popis byl vytvořen automaticky">
            <a:extLst>
              <a:ext uri="{FF2B5EF4-FFF2-40B4-BE49-F238E27FC236}">
                <a16:creationId xmlns:a16="http://schemas.microsoft.com/office/drawing/2014/main" id="{C268EF35-3A0B-8760-EC58-91DF97D26C8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9257" y="1981562"/>
            <a:ext cx="4320000" cy="2913925"/>
          </a:xfrm>
          <a:prstGeom prst="rect">
            <a:avLst/>
          </a:prstGeom>
        </p:spPr>
      </p:pic>
      <p:sp>
        <p:nvSpPr>
          <p:cNvPr id="102" name="TextovéPole 101"/>
          <p:cNvSpPr txBox="1"/>
          <p:nvPr>
            <p:custDataLst>
              <p:tags r:id="rId6"/>
            </p:custDataLst>
          </p:nvPr>
        </p:nvSpPr>
        <p:spPr>
          <a:xfrm>
            <a:off x="411446" y="6137104"/>
            <a:ext cx="4688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výjezdů je k roku 2023.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4884DC41-0700-739D-2BBB-66EBA36C375D}"/>
              </a:ext>
            </a:extLst>
          </p:cNvPr>
          <p:cNvSpPr txBox="1"/>
          <p:nvPr/>
        </p:nvSpPr>
        <p:spPr>
          <a:xfrm rot="1087542">
            <a:off x="9841653" y="398001"/>
            <a:ext cx="1889760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>
              <a:tabLst>
                <a:tab pos="806450" algn="l"/>
              </a:tabLst>
            </a:pPr>
            <a:r>
              <a:rPr lang="cs-CZ" b="1" dirty="0">
                <a:solidFill>
                  <a:schemeClr val="bg1"/>
                </a:solidFill>
              </a:rPr>
              <a:t>Úvazky: výkazy</a:t>
            </a:r>
          </a:p>
        </p:txBody>
      </p:sp>
    </p:spTree>
    <p:extLst>
      <p:ext uri="{BB962C8B-B14F-4D97-AF65-F5344CB8AC3E}">
        <p14:creationId xmlns:p14="http://schemas.microsoft.com/office/powerpoint/2010/main" val="38791647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" name="Obrázek 93" descr="Obsah obrázku text, mapa&#10;&#10;Popis byl vytvořen automaticky">
            <a:extLst>
              <a:ext uri="{FF2B5EF4-FFF2-40B4-BE49-F238E27FC236}">
                <a16:creationId xmlns:a16="http://schemas.microsoft.com/office/drawing/2014/main" id="{1E7663B4-CAA4-CD85-958A-5992F89C9B1F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4725" y="1972038"/>
            <a:ext cx="4320000" cy="2913925"/>
          </a:xfrm>
          <a:prstGeom prst="rect">
            <a:avLst/>
          </a:prstGeom>
        </p:spPr>
      </p:pic>
      <p:graphicFrame>
        <p:nvGraphicFramePr>
          <p:cNvPr id="101" name="Tabulka 100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92140" y="1528084"/>
          <a:ext cx="5635776" cy="45782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439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41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77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</a:t>
                      </a:r>
                    </a:p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vazk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výjezd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,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 23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,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 49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84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,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03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,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 60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6,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 80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,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39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,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 59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,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17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,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19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,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 45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,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54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,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83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,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64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,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 75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2" name="Zástupný symbol pro obsah 8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257558" y="1484722"/>
          <a:ext cx="4551110" cy="47470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E490483-0C36-45E4-97DB-090D4F126F58}"/>
              </a:ext>
            </a:extLst>
          </p:cNvPr>
          <p:cNvSpPr txBox="1"/>
          <p:nvPr/>
        </p:nvSpPr>
        <p:spPr>
          <a:xfrm rot="16200000">
            <a:off x="-996216" y="3764215"/>
            <a:ext cx="25075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ZZ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4486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ovéPole 4"/>
          <p:cNvSpPr txBox="1"/>
          <p:nvPr>
            <p:custDataLst>
              <p:tags r:id="rId4"/>
            </p:custDataLst>
          </p:nvPr>
        </p:nvSpPr>
        <p:spPr>
          <a:xfrm>
            <a:off x="1225510" y="1043536"/>
            <a:ext cx="40927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úvazků zdravotnických záchranářů ZZ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100tis. výjezdů daného kraje</a:t>
            </a:r>
          </a:p>
        </p:txBody>
      </p:sp>
      <p:sp>
        <p:nvSpPr>
          <p:cNvPr id="96" name="Nadpis 1">
            <a:extLst>
              <a:ext uri="{FF2B5EF4-FFF2-40B4-BE49-F238E27FC236}">
                <a16:creationId xmlns:a16="http://schemas.microsoft.com/office/drawing/2014/main" id="{EA328CEC-C272-456D-B936-D7E722870E2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57558" y="156024"/>
            <a:ext cx="11510889" cy="774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F9113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  <a:t>Počet úvazků zdravot. záchranářů ZZS na 100tis. výjezdů daného kraje</a:t>
            </a:r>
          </a:p>
        </p:txBody>
      </p:sp>
      <p:sp>
        <p:nvSpPr>
          <p:cNvPr id="97" name="TextBox 6"/>
          <p:cNvSpPr txBox="1"/>
          <p:nvPr/>
        </p:nvSpPr>
        <p:spPr>
          <a:xfrm>
            <a:off x="257558" y="653725"/>
            <a:ext cx="100902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 (MZ) 4-01 - Roční výkaz o zaměstnavatelích, evidenčním počtu zaměstnanců, smluvních pracovnících a odměňování; NRHZS</a:t>
            </a:r>
          </a:p>
        </p:txBody>
      </p:sp>
      <p:sp>
        <p:nvSpPr>
          <p:cNvPr id="99" name="TextovéPole 98"/>
          <p:cNvSpPr txBox="1"/>
          <p:nvPr>
            <p:custDataLst>
              <p:tags r:id="rId6"/>
            </p:custDataLst>
          </p:nvPr>
        </p:nvSpPr>
        <p:spPr>
          <a:xfrm>
            <a:off x="411446" y="6137104"/>
            <a:ext cx="4688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výjezdů je k roku 2023.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70D84B91-335C-0484-F124-CCA32ED7A146}"/>
              </a:ext>
            </a:extLst>
          </p:cNvPr>
          <p:cNvSpPr txBox="1"/>
          <p:nvPr/>
        </p:nvSpPr>
        <p:spPr>
          <a:xfrm rot="1087542">
            <a:off x="10021609" y="941293"/>
            <a:ext cx="1889760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>
              <a:tabLst>
                <a:tab pos="806450" algn="l"/>
              </a:tabLst>
            </a:pPr>
            <a:r>
              <a:rPr lang="cs-CZ" b="1" dirty="0">
                <a:solidFill>
                  <a:schemeClr val="bg1"/>
                </a:solidFill>
              </a:rPr>
              <a:t>Úvazky: výkazy</a:t>
            </a:r>
          </a:p>
        </p:txBody>
      </p:sp>
    </p:spTree>
    <p:extLst>
      <p:ext uri="{BB962C8B-B14F-4D97-AF65-F5344CB8AC3E}">
        <p14:creationId xmlns:p14="http://schemas.microsoft.com/office/powerpoint/2010/main" val="365878628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1" name="Tabulka 100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63074" y="1528084"/>
          <a:ext cx="5737567" cy="45782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306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82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43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</a:t>
                      </a:r>
                    </a:p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vazků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a km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9,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41 23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,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62 77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,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55 70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2,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30 67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,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9 79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66,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646 784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,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95 565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,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6 05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7,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11 903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,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99 430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,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57 646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,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74 349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,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89 411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,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86 11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80196">
                <a:tc>
                  <a:txBody>
                    <a:bodyPr/>
                    <a:lstStyle/>
                    <a:p>
                      <a:pPr algn="ct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,8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86 137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2" name="Zástupný symbol pro obsah 8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57558" y="1484722"/>
          <a:ext cx="4551110" cy="47470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E490483-0C36-45E4-97DB-090D4F126F58}"/>
              </a:ext>
            </a:extLst>
          </p:cNvPr>
          <p:cNvSpPr txBox="1"/>
          <p:nvPr/>
        </p:nvSpPr>
        <p:spPr>
          <a:xfrm rot="16200000">
            <a:off x="-996216" y="3764215"/>
            <a:ext cx="25075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j ZZ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24486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1225510" y="1043536"/>
            <a:ext cx="40927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úvazků zdravotnických záchranářů ZZ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 100tis. km dojezdové vzdálenosti </a:t>
            </a:r>
            <a:endParaRPr kumimoji="0" lang="pl-PL" sz="1400" b="0" i="0" u="none" strike="noStrike" kern="1200" cap="none" spc="0" normalizeH="0" baseline="0" noProof="0" dirty="0">
              <a:ln>
                <a:noFill/>
              </a:ln>
              <a:solidFill>
                <a:srgbClr val="24486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6" name="Nadpis 1">
            <a:extLst>
              <a:ext uri="{FF2B5EF4-FFF2-40B4-BE49-F238E27FC236}">
                <a16:creationId xmlns:a16="http://schemas.microsoft.com/office/drawing/2014/main" id="{EA328CEC-C272-456D-B936-D7E722870E2A}"/>
              </a:ext>
            </a:extLst>
          </p:cNvPr>
          <p:cNvSpPr txBox="1">
            <a:spLocks/>
          </p:cNvSpPr>
          <p:nvPr/>
        </p:nvSpPr>
        <p:spPr>
          <a:xfrm>
            <a:off x="257558" y="156024"/>
            <a:ext cx="11510889" cy="7747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F606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anose="020F0302020204030204"/>
                <a:ea typeface="+mj-ea"/>
                <a:cs typeface="+mj-cs"/>
              </a:rPr>
              <a:t>Počet úvazků zdravot. záchranářů ZZS na 100tis. km výjezdů</a:t>
            </a:r>
          </a:p>
        </p:txBody>
      </p:sp>
      <p:sp>
        <p:nvSpPr>
          <p:cNvPr id="99" name="TextovéPole 98"/>
          <p:cNvSpPr txBox="1"/>
          <p:nvPr>
            <p:custDataLst>
              <p:tags r:id="rId3"/>
            </p:custDataLst>
          </p:nvPr>
        </p:nvSpPr>
        <p:spPr>
          <a:xfrm>
            <a:off x="411446" y="6137104"/>
            <a:ext cx="46889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výjezdů je k roku 2023.</a:t>
            </a:r>
          </a:p>
        </p:txBody>
      </p:sp>
      <p:pic>
        <p:nvPicPr>
          <p:cNvPr id="94" name="Obrázek 93" descr="Obsah obrázku mapa, text, atlas&#10;&#10;Popis byl vytvořen automaticky">
            <a:extLst>
              <a:ext uri="{FF2B5EF4-FFF2-40B4-BE49-F238E27FC236}">
                <a16:creationId xmlns:a16="http://schemas.microsoft.com/office/drawing/2014/main" id="{B29E916A-909C-C474-DE06-5C6560ED942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9257" y="1984150"/>
            <a:ext cx="4320000" cy="2913925"/>
          </a:xfrm>
          <a:prstGeom prst="rect">
            <a:avLst/>
          </a:prstGeom>
        </p:spPr>
      </p:pic>
      <p:sp>
        <p:nvSpPr>
          <p:cNvPr id="98" name="TextBox 6"/>
          <p:cNvSpPr txBox="1"/>
          <p:nvPr/>
        </p:nvSpPr>
        <p:spPr>
          <a:xfrm>
            <a:off x="257558" y="653725"/>
            <a:ext cx="97247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24486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 (MZ) 4-01 - Roční výkaz o zaměstnavatelích, evidenčním počtu zaměstnanců, smluvních pracovnících a odměňování; NRHZS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4F0DA2C1-113B-5A47-467F-E28CDC6F49D1}"/>
              </a:ext>
            </a:extLst>
          </p:cNvPr>
          <p:cNvSpPr txBox="1"/>
          <p:nvPr/>
        </p:nvSpPr>
        <p:spPr>
          <a:xfrm rot="1087542">
            <a:off x="10021609" y="941293"/>
            <a:ext cx="1889760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>
              <a:tabLst>
                <a:tab pos="806450" algn="l"/>
              </a:tabLst>
            </a:pPr>
            <a:r>
              <a:rPr lang="cs-CZ" b="1" dirty="0">
                <a:solidFill>
                  <a:schemeClr val="bg1"/>
                </a:solidFill>
              </a:rPr>
              <a:t>Úvazky: výkazy</a:t>
            </a:r>
          </a:p>
        </p:txBody>
      </p:sp>
    </p:spTree>
    <p:extLst>
      <p:ext uri="{BB962C8B-B14F-4D97-AF65-F5344CB8AC3E}">
        <p14:creationId xmlns:p14="http://schemas.microsoft.com/office/powerpoint/2010/main" val="22129600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textu 4">
            <a:extLst>
              <a:ext uri="{FF2B5EF4-FFF2-40B4-BE49-F238E27FC236}">
                <a16:creationId xmlns:a16="http://schemas.microsoft.com/office/drawing/2014/main" id="{85DF8549-49A9-4045-9440-3C137B807487}"/>
              </a:ext>
            </a:extLst>
          </p:cNvPr>
          <p:cNvSpPr txBox="1">
            <a:spLocks/>
          </p:cNvSpPr>
          <p:nvPr/>
        </p:nvSpPr>
        <p:spPr>
          <a:xfrm>
            <a:off x="237167" y="4586863"/>
            <a:ext cx="9602158" cy="1423411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ý informační systém pro mapování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lánování personálních kapacit ve zdravotnictví </a:t>
            </a:r>
          </a:p>
        </p:txBody>
      </p:sp>
    </p:spTree>
    <p:extLst>
      <p:ext uri="{BB962C8B-B14F-4D97-AF65-F5344CB8AC3E}">
        <p14:creationId xmlns:p14="http://schemas.microsoft.com/office/powerpoint/2010/main" val="13789462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textu 4">
            <a:extLst>
              <a:ext uri="{FF2B5EF4-FFF2-40B4-BE49-F238E27FC236}">
                <a16:creationId xmlns:a16="http://schemas.microsoft.com/office/drawing/2014/main" id="{85DF8549-49A9-4045-9440-3C137B807487}"/>
              </a:ext>
            </a:extLst>
          </p:cNvPr>
          <p:cNvSpPr txBox="1">
            <a:spLocks/>
          </p:cNvSpPr>
          <p:nvPr/>
        </p:nvSpPr>
        <p:spPr>
          <a:xfrm>
            <a:off x="237167" y="4903596"/>
            <a:ext cx="7098130" cy="110667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ávající kapacity ZZ</a:t>
            </a:r>
          </a:p>
        </p:txBody>
      </p:sp>
    </p:spTree>
    <p:extLst>
      <p:ext uri="{BB962C8B-B14F-4D97-AF65-F5344CB8AC3E}">
        <p14:creationId xmlns:p14="http://schemas.microsoft.com/office/powerpoint/2010/main" val="253926106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E6FB153-99F9-4A25-A906-FF8C5818F7AA}"/>
              </a:ext>
            </a:extLst>
          </p:cNvPr>
          <p:cNvSpPr txBox="1">
            <a:spLocks/>
          </p:cNvSpPr>
          <p:nvPr/>
        </p:nvSpPr>
        <p:spPr>
          <a:xfrm>
            <a:off x="257558" y="106693"/>
            <a:ext cx="11724892" cy="96010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ovolání zdravotnický záchranář</a:t>
            </a:r>
            <a:b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</a:b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odle § 18 zákona č. 96/2004 Sb. o nelékařských zdravotnických povoláních</a:t>
            </a:r>
          </a:p>
        </p:txBody>
      </p:sp>
      <p:graphicFrame>
        <p:nvGraphicFramePr>
          <p:cNvPr id="17" name="Tabulka 16">
            <a:extLst>
              <a:ext uri="{FF2B5EF4-FFF2-40B4-BE49-F238E27FC236}">
                <a16:creationId xmlns:a16="http://schemas.microsoft.com/office/drawing/2014/main" id="{3EDE7CEE-3E09-4E0B-8BDA-6248039D37FF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5415142"/>
              </p:ext>
            </p:extLst>
          </p:nvPr>
        </p:nvGraphicFramePr>
        <p:xfrm>
          <a:off x="257558" y="2225663"/>
          <a:ext cx="6784103" cy="207620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5433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75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3253">
                  <a:extLst>
                    <a:ext uri="{9D8B030D-6E8A-4147-A177-3AD203B41FA5}">
                      <a16:colId xmlns:a16="http://schemas.microsoft.com/office/drawing/2014/main" val="1346161286"/>
                    </a:ext>
                  </a:extLst>
                </a:gridCol>
              </a:tblGrid>
              <a:tr h="415241">
                <a:tc>
                  <a:txBody>
                    <a:bodyPr/>
                    <a:lstStyle/>
                    <a:p>
                      <a:pPr algn="l" fontAlgn="b"/>
                      <a:endParaRPr lang="cs-CZ" sz="22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6000" marR="3600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u="none" strike="noStrike" dirty="0">
                          <a:effectLst/>
                        </a:rPr>
                        <a:t>N</a:t>
                      </a:r>
                      <a:endParaRPr lang="cs-CZ" sz="2200" b="1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%</a:t>
                      </a:r>
                    </a:p>
                  </a:txBody>
                  <a:tcPr marL="36000" marR="3600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52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2200" i="1" u="none" strike="noStrike" dirty="0">
                          <a:effectLst/>
                        </a:rPr>
                        <a:t>Celkový počet evidovaných pracovníků</a:t>
                      </a:r>
                      <a:endParaRPr lang="cs-CZ" sz="2200" b="1" i="1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r>
                        <a:rPr lang="en-US" sz="2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cs-CZ" sz="22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52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2200" u="none" strike="noStrike" dirty="0">
                          <a:effectLst/>
                        </a:rPr>
                        <a:t>Počet aktivních pracovníků</a:t>
                      </a:r>
                      <a:endParaRPr lang="cs-CZ" sz="22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4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52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2200" u="none" strike="noStrike" dirty="0">
                          <a:effectLst/>
                        </a:rPr>
                        <a:t> - z toho v ZZS</a:t>
                      </a:r>
                      <a:endParaRPr lang="cs-CZ" sz="22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,9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5241">
                <a:tc>
                  <a:txBody>
                    <a:bodyPr/>
                    <a:lstStyle/>
                    <a:p>
                      <a:pPr algn="l" fontAlgn="ctr"/>
                      <a:r>
                        <a:rPr lang="cs-CZ" sz="2200" u="none" strike="noStrike" dirty="0">
                          <a:effectLst/>
                        </a:rPr>
                        <a:t> - z toho v jiném typu zařízení</a:t>
                      </a:r>
                      <a:endParaRPr lang="cs-CZ" sz="22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36000" marR="3600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6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7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A3F4B3FB-1448-8F02-A237-71F1AEFA2ADD}"/>
              </a:ext>
            </a:extLst>
          </p:cNvPr>
          <p:cNvSpPr txBox="1"/>
          <p:nvPr/>
        </p:nvSpPr>
        <p:spPr>
          <a:xfrm>
            <a:off x="257558" y="1066800"/>
            <a:ext cx="72231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k 30. </a:t>
            </a:r>
            <a:r>
              <a:rPr lang="cs-CZ" sz="1800" dirty="0">
                <a:solidFill>
                  <a:prstClr val="black"/>
                </a:solidFill>
                <a:latin typeface="Calibri" panose="020F0502020204030204"/>
              </a:rPr>
              <a:t>9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3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F3A641F0-4674-8597-52C3-DB44066AFF7C}"/>
              </a:ext>
            </a:extLst>
          </p:cNvPr>
          <p:cNvSpPr txBox="1"/>
          <p:nvPr/>
        </p:nvSpPr>
        <p:spPr>
          <a:xfrm>
            <a:off x="257558" y="5152168"/>
            <a:ext cx="1151911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cs-CZ" sz="2000" b="1" dirty="0"/>
              <a:t>Dle dostupných dat tvoří kapacita zdravotnických záchranářů v českém zdravotnictví 4 075 úvazků. Průměrný úvazek nutričního terapeuta činí 0,86. </a:t>
            </a:r>
            <a:endParaRPr lang="cs-CZ" sz="2000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35266D2E-9487-6C1D-B9C3-9DE6ABAC22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2503" y="1642826"/>
            <a:ext cx="4930479" cy="3241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48024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8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7200" y="176805"/>
            <a:ext cx="11144250" cy="569598"/>
          </a:xfrm>
        </p:spPr>
        <p:txBody>
          <a:bodyPr anchor="t">
            <a:noAutofit/>
          </a:bodyPr>
          <a:lstStyle/>
          <a:p>
            <a:r>
              <a:rPr lang="cs-CZ" sz="2800" b="1" dirty="0">
                <a:solidFill>
                  <a:srgbClr val="C00000"/>
                </a:solidFill>
                <a:latin typeface="+mn-lt"/>
              </a:rPr>
              <a:t>Úvazky zdravotnických záchranářů v krajích</a:t>
            </a:r>
          </a:p>
        </p:txBody>
      </p:sp>
      <p:sp>
        <p:nvSpPr>
          <p:cNvPr id="6" name="TextBox 14">
            <a:extLst>
              <a:ext uri="{FF2B5EF4-FFF2-40B4-BE49-F238E27FC236}">
                <a16:creationId xmlns:a16="http://schemas.microsoft.com/office/drawing/2014/main" id="{965868C3-6D3D-4FB9-ACDD-6C6BD3D06815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7201" y="592514"/>
            <a:ext cx="106108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 dat: E(MZ) 4-01 o zaměstnavatelích, evidenčním počtu zaměstnanců, smluvních pracovnících a odměňování za rok 2022 + NRHZS</a:t>
            </a:r>
          </a:p>
        </p:txBody>
      </p: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6E9FF71C-025B-5A73-150D-042320355166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4985690"/>
              </p:ext>
            </p:extLst>
          </p:nvPr>
        </p:nvGraphicFramePr>
        <p:xfrm>
          <a:off x="547844" y="958040"/>
          <a:ext cx="9572622" cy="4941920"/>
        </p:xfrm>
        <a:graphic>
          <a:graphicData uri="http://schemas.openxmlformats.org/drawingml/2006/table">
            <a:tbl>
              <a:tblPr/>
              <a:tblGrid>
                <a:gridCol w="2472566">
                  <a:extLst>
                    <a:ext uri="{9D8B030D-6E8A-4147-A177-3AD203B41FA5}">
                      <a16:colId xmlns:a16="http://schemas.microsoft.com/office/drawing/2014/main" val="3501522204"/>
                    </a:ext>
                  </a:extLst>
                </a:gridCol>
                <a:gridCol w="1775014">
                  <a:extLst>
                    <a:ext uri="{9D8B030D-6E8A-4147-A177-3AD203B41FA5}">
                      <a16:colId xmlns:a16="http://schemas.microsoft.com/office/drawing/2014/main" val="188212323"/>
                    </a:ext>
                  </a:extLst>
                </a:gridCol>
                <a:gridCol w="1775014">
                  <a:extLst>
                    <a:ext uri="{9D8B030D-6E8A-4147-A177-3AD203B41FA5}">
                      <a16:colId xmlns:a16="http://schemas.microsoft.com/office/drawing/2014/main" val="619134800"/>
                    </a:ext>
                  </a:extLst>
                </a:gridCol>
                <a:gridCol w="1775014">
                  <a:extLst>
                    <a:ext uri="{9D8B030D-6E8A-4147-A177-3AD203B41FA5}">
                      <a16:colId xmlns:a16="http://schemas.microsoft.com/office/drawing/2014/main" val="1240576092"/>
                    </a:ext>
                  </a:extLst>
                </a:gridCol>
                <a:gridCol w="1775014">
                  <a:extLst>
                    <a:ext uri="{9D8B030D-6E8A-4147-A177-3AD203B41FA5}">
                      <a16:colId xmlns:a16="http://schemas.microsoft.com/office/drawing/2014/main" val="4125899599"/>
                    </a:ext>
                  </a:extLst>
                </a:gridCol>
              </a:tblGrid>
              <a:tr h="504640">
                <a:tc>
                  <a:txBody>
                    <a:bodyPr/>
                    <a:lstStyle/>
                    <a:p>
                      <a:pPr algn="l" fontAlgn="ctr"/>
                      <a:endParaRPr lang="cs-CZ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záchranná služba (ZZS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pl-PL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3855707"/>
                  </a:ext>
                </a:extLst>
              </a:tr>
              <a:tr h="50464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vazky </a:t>
                      </a:r>
                    </a:p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řepočtený počet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vazky na 100 000 obyvatel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vazky </a:t>
                      </a:r>
                    </a:p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přepočtený počet)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vazky na 100 000 obyvatel</a:t>
                      </a:r>
                    </a:p>
                  </a:txBody>
                  <a:tcPr marL="36000" marR="3600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5036067"/>
                  </a:ext>
                </a:extLst>
              </a:tr>
              <a:tr h="26217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1.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.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A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4.2</a:t>
                      </a:r>
                    </a:p>
                  </a:txBody>
                  <a:tcPr marL="19050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2385379"/>
                  </a:ext>
                </a:extLst>
              </a:tr>
              <a:tr h="26217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8.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6B6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0.3</a:t>
                      </a:r>
                    </a:p>
                  </a:txBody>
                  <a:tcPr marL="19050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.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79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3706121"/>
                  </a:ext>
                </a:extLst>
              </a:tr>
              <a:tr h="26217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.7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E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.9</a:t>
                      </a:r>
                    </a:p>
                  </a:txBody>
                  <a:tcPr marL="19050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6C3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8658008"/>
                  </a:ext>
                </a:extLst>
              </a:tr>
              <a:tr h="26217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.1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8BF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.2</a:t>
                      </a:r>
                    </a:p>
                  </a:txBody>
                  <a:tcPr marL="19050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9C9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0190847"/>
                  </a:ext>
                </a:extLst>
              </a:tr>
              <a:tr h="26217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.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.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5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.5</a:t>
                      </a:r>
                    </a:p>
                  </a:txBody>
                  <a:tcPr marL="19050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.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AC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3820866"/>
                  </a:ext>
                </a:extLst>
              </a:tr>
              <a:tr h="26217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.5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.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0.9</a:t>
                      </a:r>
                    </a:p>
                  </a:txBody>
                  <a:tcPr marL="19050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.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7355"/>
                  </a:ext>
                </a:extLst>
              </a:tr>
              <a:tr h="26217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.9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.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.1</a:t>
                      </a:r>
                    </a:p>
                  </a:txBody>
                  <a:tcPr marL="19050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D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0560048"/>
                  </a:ext>
                </a:extLst>
              </a:tr>
              <a:tr h="26217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.7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.9</a:t>
                      </a:r>
                    </a:p>
                  </a:txBody>
                  <a:tcPr marL="19050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2C2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6956938"/>
                  </a:ext>
                </a:extLst>
              </a:tr>
              <a:tr h="26217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9.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A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.1</a:t>
                      </a:r>
                    </a:p>
                  </a:txBody>
                  <a:tcPr marL="19050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4147726"/>
                  </a:ext>
                </a:extLst>
              </a:tr>
              <a:tr h="26217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.8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.2</a:t>
                      </a:r>
                    </a:p>
                  </a:txBody>
                  <a:tcPr marL="19050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099263"/>
                  </a:ext>
                </a:extLst>
              </a:tr>
              <a:tr h="26217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.5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3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9.8</a:t>
                      </a:r>
                    </a:p>
                  </a:txBody>
                  <a:tcPr marL="19050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4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4535508"/>
                  </a:ext>
                </a:extLst>
              </a:tr>
              <a:tr h="26217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.5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6.6</a:t>
                      </a:r>
                    </a:p>
                  </a:txBody>
                  <a:tcPr marL="19050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191195"/>
                  </a:ext>
                </a:extLst>
              </a:tr>
              <a:tr h="26217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5.7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.9</a:t>
                      </a:r>
                    </a:p>
                  </a:txBody>
                  <a:tcPr marL="19050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9799920"/>
                  </a:ext>
                </a:extLst>
              </a:tr>
              <a:tr h="262176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.4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.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A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.5</a:t>
                      </a:r>
                    </a:p>
                  </a:txBody>
                  <a:tcPr marL="19050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5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9218767"/>
                  </a:ext>
                </a:extLst>
              </a:tr>
              <a:tr h="262176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R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75.0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70.1</a:t>
                      </a:r>
                    </a:p>
                  </a:txBody>
                  <a:tcPr marL="19050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7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417402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135661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65ADF76-D55C-4DDB-B409-8C7C990FD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680" y="148207"/>
            <a:ext cx="11887200" cy="739894"/>
          </a:xfrm>
        </p:spPr>
        <p:txBody>
          <a:bodyPr>
            <a:normAutofit/>
          </a:bodyPr>
          <a:lstStyle/>
          <a:p>
            <a:r>
              <a:rPr lang="cs-CZ" sz="2800" b="1" dirty="0">
                <a:solidFill>
                  <a:srgbClr val="C00000"/>
                </a:solidFill>
                <a:latin typeface="+mn-lt"/>
              </a:rPr>
              <a:t>Úvazky zdravotnických záchranářů dle typu poskytovatele 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0622A52B-6FF4-4239-8D07-3CB69CFFC61A}"/>
              </a:ext>
            </a:extLst>
          </p:cNvPr>
          <p:cNvSpPr/>
          <p:nvPr/>
        </p:nvSpPr>
        <p:spPr>
          <a:xfrm>
            <a:off x="233680" y="764990"/>
            <a:ext cx="286121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Zdroj: Výkaz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 (MZ) 2-01, E (MZ) 3-01 a E (MZ) 4-01 2022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D9F4CA8B-0512-B607-0768-DA9122891AC5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5350403"/>
              </p:ext>
            </p:extLst>
          </p:nvPr>
        </p:nvGraphicFramePr>
        <p:xfrm>
          <a:off x="3265715" y="764990"/>
          <a:ext cx="8470888" cy="5607050"/>
        </p:xfrm>
        <a:graphic>
          <a:graphicData uri="http://schemas.openxmlformats.org/drawingml/2006/table">
            <a:tbl>
              <a:tblPr firstRow="1" lastRow="1">
                <a:tableStyleId>{9D7B26C5-4107-4FEC-AEDC-1716B250A1EF}</a:tableStyleId>
              </a:tblPr>
              <a:tblGrid>
                <a:gridCol w="4129095">
                  <a:extLst>
                    <a:ext uri="{9D8B030D-6E8A-4147-A177-3AD203B41FA5}">
                      <a16:colId xmlns:a16="http://schemas.microsoft.com/office/drawing/2014/main" val="1461352482"/>
                    </a:ext>
                  </a:extLst>
                </a:gridCol>
                <a:gridCol w="1244972">
                  <a:extLst>
                    <a:ext uri="{9D8B030D-6E8A-4147-A177-3AD203B41FA5}">
                      <a16:colId xmlns:a16="http://schemas.microsoft.com/office/drawing/2014/main" val="2661017076"/>
                    </a:ext>
                  </a:extLst>
                </a:gridCol>
                <a:gridCol w="3096821">
                  <a:extLst>
                    <a:ext uri="{9D8B030D-6E8A-4147-A177-3AD203B41FA5}">
                      <a16:colId xmlns:a16="http://schemas.microsoft.com/office/drawing/2014/main" val="2393989583"/>
                    </a:ext>
                  </a:extLst>
                </a:gridCol>
              </a:tblGrid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u="none" strike="noStrike" dirty="0">
                          <a:effectLst/>
                        </a:rPr>
                        <a:t>Druh PZS</a:t>
                      </a:r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úvazků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88361287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kultní nemocnice</a:t>
                      </a:r>
                    </a:p>
                  </a:txBody>
                  <a:tcPr marL="6350" marR="6350" marT="635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3</a:t>
                      </a:r>
                    </a:p>
                  </a:txBody>
                  <a:tcPr marL="6350" marR="6350" marT="635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kytovatel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utní lůžkové péče</a:t>
                      </a: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06410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</a:t>
                      </a:r>
                    </a:p>
                  </a:txBody>
                  <a:tcPr marL="6350" marR="6350" marT="635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6</a:t>
                      </a:r>
                    </a:p>
                  </a:txBody>
                  <a:tcPr marL="6350" marR="6350" marT="635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9432612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ecializovaná nemocnice</a:t>
                      </a:r>
                    </a:p>
                  </a:txBody>
                  <a:tcPr marL="6350" marR="6350" marT="635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350" marR="6350" marT="635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414530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čebna pro dlouhodobě nemocné (LDN)</a:t>
                      </a:r>
                    </a:p>
                  </a:txBody>
                  <a:tcPr marL="6350" marR="6350" marT="635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kytovatel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atní lůžkové péče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80664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lší lůžkové zařízení</a:t>
                      </a:r>
                    </a:p>
                  </a:txBody>
                  <a:tcPr marL="6350" marR="6350" marT="635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350" marR="6350" marT="635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kytovatel ostatní lůžkové péče</a:t>
                      </a: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0641511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mocnice následné péče</a:t>
                      </a:r>
                    </a:p>
                  </a:txBody>
                  <a:tcPr marL="6350" marR="6350" marT="635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6812741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ázeňská léčebna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rowSpan="11"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kytovatel </a:t>
                      </a:r>
                    </a:p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lůžkové péče</a:t>
                      </a: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2220567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ékárna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8915071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kytovatel amb. služeb (do 5 oborů)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3465592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kytovatel amb. služeb (nad 5 oborů)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3459323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prava pacientů neodkladné péče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6416510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lékaře specialisty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365574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á ordinace PL - stomatologa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02158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mostatné zařízení nelékaře - jiné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846621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družení ambulantních zařízení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8451465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dopravní služba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0707643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dravotnická </a:t>
                      </a:r>
                      <a:r>
                        <a:rPr lang="cs-CZ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chranná</a:t>
                      </a:r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lužba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70</a:t>
                      </a:r>
                    </a:p>
                  </a:txBody>
                  <a:tcPr marL="6350" marR="6350" marT="6350" marB="0" anchor="b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r" fontAlgn="b"/>
                      <a:endParaRPr lang="cs-CZ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9852222"/>
                  </a:ext>
                </a:extLst>
              </a:tr>
              <a:tr h="238111">
                <a:tc>
                  <a:txBody>
                    <a:bodyPr/>
                    <a:lstStyle/>
                    <a:p>
                      <a:pPr algn="l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75</a:t>
                      </a:r>
                    </a:p>
                  </a:txBody>
                  <a:tcPr marL="6350" marR="6350" marT="6350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cs-CZ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704134190"/>
                  </a:ext>
                </a:extLst>
              </a:tr>
            </a:tbl>
          </a:graphicData>
        </a:graphic>
      </p:graphicFrame>
      <p:sp>
        <p:nvSpPr>
          <p:cNvPr id="4" name="Nadpis 1">
            <a:extLst>
              <a:ext uri="{FF2B5EF4-FFF2-40B4-BE49-F238E27FC236}">
                <a16:creationId xmlns:a16="http://schemas.microsoft.com/office/drawing/2014/main" id="{54A53AB6-35F3-E0DE-7FC1-675002A6DD9F}"/>
              </a:ext>
            </a:extLst>
          </p:cNvPr>
          <p:cNvSpPr txBox="1">
            <a:spLocks/>
          </p:cNvSpPr>
          <p:nvPr/>
        </p:nvSpPr>
        <p:spPr>
          <a:xfrm>
            <a:off x="119614" y="3269680"/>
            <a:ext cx="671565" cy="7398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2800" b="1" dirty="0">
                <a:solidFill>
                  <a:srgbClr val="C00000"/>
                </a:solidFill>
                <a:latin typeface="+mn-lt"/>
              </a:rPr>
              <a:t>ZZ</a:t>
            </a:r>
          </a:p>
        </p:txBody>
      </p:sp>
      <p:cxnSp>
        <p:nvCxnSpPr>
          <p:cNvPr id="6" name="Přímá spojnice se šipkou 5">
            <a:extLst>
              <a:ext uri="{FF2B5EF4-FFF2-40B4-BE49-F238E27FC236}">
                <a16:creationId xmlns:a16="http://schemas.microsoft.com/office/drawing/2014/main" id="{16B0616D-7B33-2735-FE08-4637B9F1FE6E}"/>
              </a:ext>
            </a:extLst>
          </p:cNvPr>
          <p:cNvCxnSpPr/>
          <p:nvPr/>
        </p:nvCxnSpPr>
        <p:spPr>
          <a:xfrm>
            <a:off x="683288" y="3828422"/>
            <a:ext cx="2411604" cy="2160396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Přímá spojnice se šipkou 6">
            <a:extLst>
              <a:ext uri="{FF2B5EF4-FFF2-40B4-BE49-F238E27FC236}">
                <a16:creationId xmlns:a16="http://schemas.microsoft.com/office/drawing/2014/main" id="{397950A8-5161-6C7D-CD74-15E40E28010D}"/>
              </a:ext>
            </a:extLst>
          </p:cNvPr>
          <p:cNvCxnSpPr>
            <a:cxnSpLocks/>
          </p:cNvCxnSpPr>
          <p:nvPr/>
        </p:nvCxnSpPr>
        <p:spPr>
          <a:xfrm flipV="1">
            <a:off x="683288" y="1487156"/>
            <a:ext cx="2491991" cy="185894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E5ACC4BD-89AC-5460-7EF3-DC23C7ECC585}"/>
              </a:ext>
            </a:extLst>
          </p:cNvPr>
          <p:cNvSpPr txBox="1"/>
          <p:nvPr/>
        </p:nvSpPr>
        <p:spPr>
          <a:xfrm rot="2564668">
            <a:off x="400730" y="4906792"/>
            <a:ext cx="2527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ZZS: 2 770 úvazků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540F7309-E53C-A1F5-1EA5-AA024C97ACDD}"/>
              </a:ext>
            </a:extLst>
          </p:cNvPr>
          <p:cNvSpPr txBox="1"/>
          <p:nvPr/>
        </p:nvSpPr>
        <p:spPr>
          <a:xfrm rot="19422812">
            <a:off x="311365" y="2193752"/>
            <a:ext cx="2527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ALP: 1 177 úvazků</a:t>
            </a:r>
          </a:p>
        </p:txBody>
      </p:sp>
    </p:spTree>
    <p:extLst>
      <p:ext uri="{BB962C8B-B14F-4D97-AF65-F5344CB8AC3E}">
        <p14:creationId xmlns:p14="http://schemas.microsoft.com/office/powerpoint/2010/main" val="426402444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13816" y="361225"/>
            <a:ext cx="11564367" cy="538364"/>
          </a:xfrm>
        </p:spPr>
        <p:txBody>
          <a:bodyPr>
            <a:noAutofit/>
          </a:bodyPr>
          <a:lstStyle/>
          <a:p>
            <a:pPr algn="ctr"/>
            <a:r>
              <a:rPr lang="cs-CZ" sz="3400" dirty="0"/>
              <a:t>Závěr mapování kapacit </a:t>
            </a:r>
            <a:endParaRPr lang="en-US" sz="3400" dirty="0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6EC8B57F-B0C9-E957-E905-02302EFD5FA7}"/>
              </a:ext>
            </a:extLst>
          </p:cNvPr>
          <p:cNvSpPr txBox="1"/>
          <p:nvPr/>
        </p:nvSpPr>
        <p:spPr>
          <a:xfrm>
            <a:off x="825639" y="1135464"/>
            <a:ext cx="10317984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2800" b="1" dirty="0"/>
              <a:t>V současných kapacitách ZZS (pozemní výjezdové skupiny, zdravotnická operační střediska) chybí min. 100 úvazků ZZ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cs-CZ" sz="2800" b="1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2800" b="1" dirty="0"/>
              <a:t>+ dalších 300 – 700 úvazků ZZ odejde do důchodu v následujících 5 – 10 letech. + všeobecné sestry na ZZS: 700 úvazků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cs-CZ" sz="2800" b="1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2800" b="1" dirty="0"/>
              <a:t>Další úvazkové kapacity bude nárokovat akutní lůžková péče a terénní zdravotnické služby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cs-CZ" sz="2800" b="1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2800" b="1" dirty="0"/>
              <a:t>+ je nutné počítat až se zdvojnásobením produkce ZZS do roku 2035 - 2040</a:t>
            </a:r>
          </a:p>
        </p:txBody>
      </p:sp>
    </p:spTree>
    <p:extLst>
      <p:ext uri="{BB962C8B-B14F-4D97-AF65-F5344CB8AC3E}">
        <p14:creationId xmlns:p14="http://schemas.microsoft.com/office/powerpoint/2010/main" val="22950930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textu 4">
            <a:extLst>
              <a:ext uri="{FF2B5EF4-FFF2-40B4-BE49-F238E27FC236}">
                <a16:creationId xmlns:a16="http://schemas.microsoft.com/office/drawing/2014/main" id="{85DF8549-49A9-4045-9440-3C137B807487}"/>
              </a:ext>
            </a:extLst>
          </p:cNvPr>
          <p:cNvSpPr txBox="1">
            <a:spLocks/>
          </p:cNvSpPr>
          <p:nvPr/>
        </p:nvSpPr>
        <p:spPr>
          <a:xfrm>
            <a:off x="257264" y="4642338"/>
            <a:ext cx="8876688" cy="110667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kce a </a:t>
            </a:r>
            <a:r>
              <a:rPr kumimoji="0" lang="cs-CZ" sz="3600" b="1" i="0" u="sng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ektivita</a:t>
            </a: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zdělavatelů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plán podpory vzdělávání </a:t>
            </a:r>
          </a:p>
        </p:txBody>
      </p:sp>
    </p:spTree>
    <p:extLst>
      <p:ext uri="{BB962C8B-B14F-4D97-AF65-F5344CB8AC3E}">
        <p14:creationId xmlns:p14="http://schemas.microsoft.com/office/powerpoint/2010/main" val="50356149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8"/>
          <p:cNvSpPr>
            <a:spLocks noGrp="1"/>
          </p:cNvSpPr>
          <p:nvPr>
            <p:ph type="title"/>
          </p:nvPr>
        </p:nvSpPr>
        <p:spPr>
          <a:xfrm>
            <a:off x="58406" y="229036"/>
            <a:ext cx="11791740" cy="569598"/>
          </a:xfrm>
        </p:spPr>
        <p:txBody>
          <a:bodyPr anchor="t">
            <a:noAutofit/>
          </a:bodyPr>
          <a:lstStyle/>
          <a:p>
            <a:r>
              <a:rPr lang="cs-CZ" sz="2600" b="1" dirty="0">
                <a:solidFill>
                  <a:srgbClr val="C00000"/>
                </a:solidFill>
                <a:latin typeface="+mn-lt"/>
              </a:rPr>
              <a:t>Počty nově získaných odborných způsobilostí zdravotnický záchranář </a:t>
            </a:r>
          </a:p>
        </p:txBody>
      </p:sp>
      <p:sp>
        <p:nvSpPr>
          <p:cNvPr id="7" name="Obdélník 6"/>
          <p:cNvSpPr/>
          <p:nvPr>
            <p:custDataLst>
              <p:tags r:id="rId1"/>
            </p:custDataLst>
          </p:nvPr>
        </p:nvSpPr>
        <p:spPr>
          <a:xfrm>
            <a:off x="1804291" y="6596390"/>
            <a:ext cx="818652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-ZP), stav 30. </a:t>
            </a:r>
            <a:r>
              <a:rPr lang="cs-CZ" sz="1100" dirty="0">
                <a:solidFill>
                  <a:prstClr val="black"/>
                </a:solidFill>
                <a:latin typeface="Calibri" panose="020F0502020204030204"/>
              </a:rPr>
              <a:t>9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2023</a:t>
            </a:r>
          </a:p>
        </p:txBody>
      </p:sp>
      <p:graphicFrame>
        <p:nvGraphicFramePr>
          <p:cNvPr id="14" name="Graf 13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9172990"/>
              </p:ext>
            </p:extLst>
          </p:nvPr>
        </p:nvGraphicFramePr>
        <p:xfrm>
          <a:off x="859745" y="779903"/>
          <a:ext cx="8711310" cy="37896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6" name="Obdélník 15"/>
          <p:cNvSpPr/>
          <p:nvPr>
            <p:custDataLst>
              <p:tags r:id="rId3"/>
            </p:custDataLst>
          </p:nvPr>
        </p:nvSpPr>
        <p:spPr>
          <a:xfrm>
            <a:off x="245875" y="859958"/>
            <a:ext cx="61387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sob</a:t>
            </a:r>
          </a:p>
        </p:txBody>
      </p:sp>
      <p:sp>
        <p:nvSpPr>
          <p:cNvPr id="20" name="Obdélník 19"/>
          <p:cNvSpPr/>
          <p:nvPr/>
        </p:nvSpPr>
        <p:spPr>
          <a:xfrm>
            <a:off x="9313373" y="4270086"/>
            <a:ext cx="42562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8E73C35E-281B-2CF4-9FC0-94FCD5653145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43037901"/>
              </p:ext>
            </p:extLst>
          </p:nvPr>
        </p:nvGraphicFramePr>
        <p:xfrm>
          <a:off x="58406" y="4523398"/>
          <a:ext cx="11891009" cy="21055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17519">
                  <a:extLst>
                    <a:ext uri="{9D8B030D-6E8A-4147-A177-3AD203B41FA5}">
                      <a16:colId xmlns:a16="http://schemas.microsoft.com/office/drawing/2014/main" val="3785670121"/>
                    </a:ext>
                  </a:extLst>
                </a:gridCol>
                <a:gridCol w="1033272">
                  <a:extLst>
                    <a:ext uri="{9D8B030D-6E8A-4147-A177-3AD203B41FA5}">
                      <a16:colId xmlns:a16="http://schemas.microsoft.com/office/drawing/2014/main" val="1892889830"/>
                    </a:ext>
                  </a:extLst>
                </a:gridCol>
                <a:gridCol w="978408">
                  <a:extLst>
                    <a:ext uri="{9D8B030D-6E8A-4147-A177-3AD203B41FA5}">
                      <a16:colId xmlns:a16="http://schemas.microsoft.com/office/drawing/2014/main" val="2479108581"/>
                    </a:ext>
                  </a:extLst>
                </a:gridCol>
                <a:gridCol w="1033272">
                  <a:extLst>
                    <a:ext uri="{9D8B030D-6E8A-4147-A177-3AD203B41FA5}">
                      <a16:colId xmlns:a16="http://schemas.microsoft.com/office/drawing/2014/main" val="292436354"/>
                    </a:ext>
                  </a:extLst>
                </a:gridCol>
                <a:gridCol w="978408">
                  <a:extLst>
                    <a:ext uri="{9D8B030D-6E8A-4147-A177-3AD203B41FA5}">
                      <a16:colId xmlns:a16="http://schemas.microsoft.com/office/drawing/2014/main" val="1955033507"/>
                    </a:ext>
                  </a:extLst>
                </a:gridCol>
                <a:gridCol w="896112">
                  <a:extLst>
                    <a:ext uri="{9D8B030D-6E8A-4147-A177-3AD203B41FA5}">
                      <a16:colId xmlns:a16="http://schemas.microsoft.com/office/drawing/2014/main" val="2091558807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2716459461"/>
                    </a:ext>
                  </a:extLst>
                </a:gridCol>
                <a:gridCol w="1033272">
                  <a:extLst>
                    <a:ext uri="{9D8B030D-6E8A-4147-A177-3AD203B41FA5}">
                      <a16:colId xmlns:a16="http://schemas.microsoft.com/office/drawing/2014/main" val="1064028076"/>
                    </a:ext>
                  </a:extLst>
                </a:gridCol>
                <a:gridCol w="985456">
                  <a:extLst>
                    <a:ext uri="{9D8B030D-6E8A-4147-A177-3AD203B41FA5}">
                      <a16:colId xmlns:a16="http://schemas.microsoft.com/office/drawing/2014/main" val="1585728044"/>
                    </a:ext>
                  </a:extLst>
                </a:gridCol>
                <a:gridCol w="929450">
                  <a:extLst>
                    <a:ext uri="{9D8B030D-6E8A-4147-A177-3AD203B41FA5}">
                      <a16:colId xmlns:a16="http://schemas.microsoft.com/office/drawing/2014/main" val="3159787979"/>
                    </a:ext>
                  </a:extLst>
                </a:gridCol>
              </a:tblGrid>
              <a:tr h="268062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2015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2016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2017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2018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2019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>
                          <a:effectLst/>
                        </a:rPr>
                        <a:t>2020</a:t>
                      </a:r>
                      <a:endParaRPr lang="cs-CZ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21</a:t>
                      </a:r>
                      <a:endParaRPr lang="cs-CZ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023*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36665916"/>
                  </a:ext>
                </a:extLst>
              </a:tr>
              <a:tr h="26806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Muži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6488145"/>
                  </a:ext>
                </a:extLst>
              </a:tr>
              <a:tr h="26806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>
                          <a:effectLst/>
                        </a:rPr>
                        <a:t>Ženy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77526446"/>
                  </a:ext>
                </a:extLst>
              </a:tr>
              <a:tr h="26806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u="none" strike="noStrike" dirty="0">
                          <a:effectLst/>
                        </a:rPr>
                        <a:t>CELKEM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80222668"/>
                  </a:ext>
                </a:extLst>
              </a:tr>
              <a:tr h="268062">
                <a:tc rowSpan="2">
                  <a:txBody>
                    <a:bodyPr/>
                    <a:lstStyle/>
                    <a:p>
                      <a:pPr algn="l" fontAlgn="ctr"/>
                      <a:r>
                        <a:rPr lang="pl-PL" sz="14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- z toho </a:t>
                      </a:r>
                      <a:r>
                        <a:rPr lang="en-US" sz="1400" b="1" i="1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astoupilo</a:t>
                      </a:r>
                      <a:r>
                        <a:rPr lang="cs-CZ" sz="14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do zaměstnání ve zdravotnictví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*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48488294"/>
                  </a:ext>
                </a:extLst>
              </a:tr>
              <a:tr h="229132">
                <a:tc vMerge="1">
                  <a:txBody>
                    <a:bodyPr/>
                    <a:lstStyle/>
                    <a:p>
                      <a:pPr algn="l" fontAlgn="ctr"/>
                      <a:endParaRPr lang="cs-CZ" sz="1600" b="1" i="1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.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.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.7%*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0287351"/>
                  </a:ext>
                </a:extLst>
              </a:tr>
              <a:tr h="268062">
                <a:tc rowSpan="2">
                  <a:txBody>
                    <a:bodyPr/>
                    <a:lstStyle/>
                    <a:p>
                      <a:pPr algn="l" fontAlgn="ctr"/>
                      <a:r>
                        <a:rPr lang="cs-CZ" sz="1400" b="1" i="1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- z toho nastoupilo do zaměstnání  jako zdravotnický záchranář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 *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18044839"/>
                  </a:ext>
                </a:extLst>
              </a:tr>
              <a:tr h="268062">
                <a:tc vMerge="1">
                  <a:txBody>
                    <a:bodyPr/>
                    <a:lstStyle/>
                    <a:p>
                      <a:pPr algn="l" fontAlgn="ctr"/>
                      <a:endParaRPr lang="cs-CZ" sz="1600" b="1" i="1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4%*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73173637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C08FB99E-F11D-829B-C8BE-8CEFEB5BFE48}"/>
              </a:ext>
            </a:extLst>
          </p:cNvPr>
          <p:cNvSpPr txBox="1"/>
          <p:nvPr/>
        </p:nvSpPr>
        <p:spPr>
          <a:xfrm>
            <a:off x="10616138" y="6629996"/>
            <a:ext cx="133327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předběžné údaje</a:t>
            </a:r>
            <a:endParaRPr lang="cs-CZ" dirty="0"/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88D98A5E-EFDB-B1A6-A829-7981200762F3}"/>
              </a:ext>
            </a:extLst>
          </p:cNvPr>
          <p:cNvSpPr txBox="1"/>
          <p:nvPr/>
        </p:nvSpPr>
        <p:spPr>
          <a:xfrm>
            <a:off x="9850309" y="1036380"/>
            <a:ext cx="209581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/>
              <a:t>Roční průměr: 324 absolventů</a:t>
            </a:r>
          </a:p>
          <a:p>
            <a:endParaRPr lang="cs-CZ" sz="2400" b="1" dirty="0"/>
          </a:p>
          <a:p>
            <a:r>
              <a:rPr lang="cs-CZ" sz="2400" b="1" dirty="0"/>
              <a:t>Až 75% - 80% nastupuje do zdravotnické praxe</a:t>
            </a:r>
          </a:p>
        </p:txBody>
      </p:sp>
    </p:spTree>
    <p:extLst>
      <p:ext uri="{BB962C8B-B14F-4D97-AF65-F5344CB8AC3E}">
        <p14:creationId xmlns:p14="http://schemas.microsoft.com/office/powerpoint/2010/main" val="279739425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E6FB153-99F9-4A25-A906-FF8C5818F7AA}"/>
              </a:ext>
            </a:extLst>
          </p:cNvPr>
          <p:cNvSpPr txBox="1">
            <a:spLocks/>
          </p:cNvSpPr>
          <p:nvPr/>
        </p:nvSpPr>
        <p:spPr>
          <a:xfrm>
            <a:off x="514351" y="361950"/>
            <a:ext cx="11182350" cy="60493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očty nových studentů a absolventů ošetřovatelských oborů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1905FF35-1953-8004-AC12-BB476CC5EAB6}"/>
              </a:ext>
            </a:extLst>
          </p:cNvPr>
          <p:cNvGraphicFramePr>
            <a:graphicFrameLocks noGrp="1"/>
          </p:cNvGraphicFramePr>
          <p:nvPr/>
        </p:nvGraphicFramePr>
        <p:xfrm>
          <a:off x="709144" y="1171752"/>
          <a:ext cx="10042423" cy="4856881"/>
        </p:xfrm>
        <a:graphic>
          <a:graphicData uri="http://schemas.openxmlformats.org/drawingml/2006/table">
            <a:tbl>
              <a:tblPr/>
              <a:tblGrid>
                <a:gridCol w="860933">
                  <a:extLst>
                    <a:ext uri="{9D8B030D-6E8A-4147-A177-3AD203B41FA5}">
                      <a16:colId xmlns:a16="http://schemas.microsoft.com/office/drawing/2014/main" val="1343706125"/>
                    </a:ext>
                  </a:extLst>
                </a:gridCol>
                <a:gridCol w="2167691">
                  <a:extLst>
                    <a:ext uri="{9D8B030D-6E8A-4147-A177-3AD203B41FA5}">
                      <a16:colId xmlns:a16="http://schemas.microsoft.com/office/drawing/2014/main" val="659344352"/>
                    </a:ext>
                  </a:extLst>
                </a:gridCol>
                <a:gridCol w="779311">
                  <a:extLst>
                    <a:ext uri="{9D8B030D-6E8A-4147-A177-3AD203B41FA5}">
                      <a16:colId xmlns:a16="http://schemas.microsoft.com/office/drawing/2014/main" val="1454176723"/>
                    </a:ext>
                  </a:extLst>
                </a:gridCol>
                <a:gridCol w="779311">
                  <a:extLst>
                    <a:ext uri="{9D8B030D-6E8A-4147-A177-3AD203B41FA5}">
                      <a16:colId xmlns:a16="http://schemas.microsoft.com/office/drawing/2014/main" val="525324141"/>
                    </a:ext>
                  </a:extLst>
                </a:gridCol>
                <a:gridCol w="779311">
                  <a:extLst>
                    <a:ext uri="{9D8B030D-6E8A-4147-A177-3AD203B41FA5}">
                      <a16:colId xmlns:a16="http://schemas.microsoft.com/office/drawing/2014/main" val="2572311720"/>
                    </a:ext>
                  </a:extLst>
                </a:gridCol>
                <a:gridCol w="779311">
                  <a:extLst>
                    <a:ext uri="{9D8B030D-6E8A-4147-A177-3AD203B41FA5}">
                      <a16:colId xmlns:a16="http://schemas.microsoft.com/office/drawing/2014/main" val="4205200297"/>
                    </a:ext>
                  </a:extLst>
                </a:gridCol>
                <a:gridCol w="779311">
                  <a:extLst>
                    <a:ext uri="{9D8B030D-6E8A-4147-A177-3AD203B41FA5}">
                      <a16:colId xmlns:a16="http://schemas.microsoft.com/office/drawing/2014/main" val="2233510076"/>
                    </a:ext>
                  </a:extLst>
                </a:gridCol>
                <a:gridCol w="779311">
                  <a:extLst>
                    <a:ext uri="{9D8B030D-6E8A-4147-A177-3AD203B41FA5}">
                      <a16:colId xmlns:a16="http://schemas.microsoft.com/office/drawing/2014/main" val="1124025318"/>
                    </a:ext>
                  </a:extLst>
                </a:gridCol>
                <a:gridCol w="779311">
                  <a:extLst>
                    <a:ext uri="{9D8B030D-6E8A-4147-A177-3AD203B41FA5}">
                      <a16:colId xmlns:a16="http://schemas.microsoft.com/office/drawing/2014/main" val="1074961164"/>
                    </a:ext>
                  </a:extLst>
                </a:gridCol>
                <a:gridCol w="779311">
                  <a:extLst>
                    <a:ext uri="{9D8B030D-6E8A-4147-A177-3AD203B41FA5}">
                      <a16:colId xmlns:a16="http://schemas.microsoft.com/office/drawing/2014/main" val="3651341692"/>
                    </a:ext>
                  </a:extLst>
                </a:gridCol>
                <a:gridCol w="779311">
                  <a:extLst>
                    <a:ext uri="{9D8B030D-6E8A-4147-A177-3AD203B41FA5}">
                      <a16:colId xmlns:a16="http://schemas.microsoft.com/office/drawing/2014/main" val="102094713"/>
                    </a:ext>
                  </a:extLst>
                </a:gridCol>
              </a:tblGrid>
              <a:tr h="253493"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5309743"/>
                  </a:ext>
                </a:extLst>
              </a:tr>
              <a:tr h="253493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ví studenti</a:t>
                      </a: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§ 5 Všeobecná sestr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VO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1254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1089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1018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826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939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1096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488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39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8804987"/>
                  </a:ext>
                </a:extLst>
              </a:tr>
              <a:tr h="253493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V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222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30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274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214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17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208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409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222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3092351"/>
                  </a:ext>
                </a:extLst>
              </a:tr>
              <a:tr h="253493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§ 5a Dětská sestr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VO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84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244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259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5934117"/>
                  </a:ext>
                </a:extLst>
              </a:tr>
              <a:tr h="253493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V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48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77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4977730"/>
                  </a:ext>
                </a:extLst>
              </a:tr>
              <a:tr h="253493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§ 6 Porodní asistentk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V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0579607"/>
                  </a:ext>
                </a:extLst>
              </a:tr>
              <a:tr h="273750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VO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318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3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Black" panose="020B0A04020102020204" pitchFamily="34" charset="0"/>
                        </a:rPr>
                        <a:t>X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Black" panose="020B0A04020102020204" pitchFamily="34" charset="0"/>
                        </a:rPr>
                        <a:t>X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Black" panose="020B0A04020102020204" pitchFamily="34" charset="0"/>
                        </a:rPr>
                        <a:t>X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Black" panose="020B0A04020102020204" pitchFamily="34" charset="0"/>
                        </a:rPr>
                        <a:t>X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564886"/>
                  </a:ext>
                </a:extLst>
              </a:tr>
              <a:tr h="253493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V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92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6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36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3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3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527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465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5737531"/>
                  </a:ext>
                </a:extLst>
              </a:tr>
              <a:tr h="253493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§ 21b Praktická sestr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S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52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814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266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18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39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433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782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74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1916450"/>
                  </a:ext>
                </a:extLst>
              </a:tr>
              <a:tr h="253493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S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48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89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52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63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815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5256744"/>
                  </a:ext>
                </a:extLst>
              </a:tr>
              <a:tr h="253493">
                <a:tc rowSpan="9"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bsolventi</a:t>
                      </a:r>
                    </a:p>
                  </a:txBody>
                  <a:tcPr marL="36000" marR="36000" marT="0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§ 5 Všeobecná sestr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VO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71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69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606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58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585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542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577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9571148"/>
                  </a:ext>
                </a:extLst>
              </a:tr>
              <a:tr h="253493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V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54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984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44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68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819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733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69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698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3682638"/>
                  </a:ext>
                </a:extLst>
              </a:tr>
              <a:tr h="253493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§ 5a Dětská sestr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VO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6863139"/>
                  </a:ext>
                </a:extLst>
              </a:tr>
              <a:tr h="253493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V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400" b="0" i="0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1455782"/>
                  </a:ext>
                </a:extLst>
              </a:tr>
              <a:tr h="253493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§ 6 Porodní asistentk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V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5168319"/>
                  </a:ext>
                </a:extLst>
              </a:tr>
              <a:tr h="273750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VO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21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163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184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135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8381594"/>
                  </a:ext>
                </a:extLst>
              </a:tr>
              <a:tr h="253493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cs-CZ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V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87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62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57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7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174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6771357"/>
                  </a:ext>
                </a:extLst>
              </a:tr>
              <a:tr h="253493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§ 21b Praktická sestra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S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765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614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585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464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665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784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629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283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2611904"/>
                  </a:ext>
                </a:extLst>
              </a:tr>
              <a:tr h="253493">
                <a:tc vMerge="1">
                  <a:txBody>
                    <a:bodyPr/>
                    <a:lstStyle/>
                    <a:p>
                      <a:pPr algn="l" fontAlgn="ctr"/>
                      <a:endParaRPr lang="cs-CZ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301" marR="5301" marT="530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SŠ</a:t>
                      </a:r>
                    </a:p>
                  </a:txBody>
                  <a:tcPr marL="36000" marR="3600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70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07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44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449</a:t>
                      </a:r>
                    </a:p>
                  </a:txBody>
                  <a:tcPr marL="36000" marR="3600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6079832"/>
                  </a:ext>
                </a:extLst>
              </a:tr>
            </a:tbl>
          </a:graphicData>
        </a:graphic>
      </p:graphicFrame>
      <p:sp>
        <p:nvSpPr>
          <p:cNvPr id="8" name="TextovéPole 7">
            <a:extLst>
              <a:ext uri="{FF2B5EF4-FFF2-40B4-BE49-F238E27FC236}">
                <a16:creationId xmlns:a16="http://schemas.microsoft.com/office/drawing/2014/main" id="{6D408EF5-A54C-4352-B4B9-F21B446DE5CF}"/>
              </a:ext>
            </a:extLst>
          </p:cNvPr>
          <p:cNvSpPr txBox="1"/>
          <p:nvPr/>
        </p:nvSpPr>
        <p:spPr>
          <a:xfrm>
            <a:off x="523875" y="876985"/>
            <a:ext cx="45243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statistiky Ministerstva školství, mládeže a tělovýchovy (MŠMT)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CA51837B-92B3-AB6F-BF5E-A85891C4787A}"/>
              </a:ext>
            </a:extLst>
          </p:cNvPr>
          <p:cNvSpPr txBox="1"/>
          <p:nvPr/>
        </p:nvSpPr>
        <p:spPr>
          <a:xfrm>
            <a:off x="3690469" y="6156929"/>
            <a:ext cx="497205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 = vysoká škola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Š = vyšší odborná škola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Š = střední škola</a:t>
            </a:r>
          </a:p>
        </p:txBody>
      </p:sp>
      <p:sp>
        <p:nvSpPr>
          <p:cNvPr id="2" name="Šipka: nahoru 1">
            <a:extLst>
              <a:ext uri="{FF2B5EF4-FFF2-40B4-BE49-F238E27FC236}">
                <a16:creationId xmlns:a16="http://schemas.microsoft.com/office/drawing/2014/main" id="{5E985543-5253-7BF7-6150-9F432943925F}"/>
              </a:ext>
            </a:extLst>
          </p:cNvPr>
          <p:cNvSpPr/>
          <p:nvPr/>
        </p:nvSpPr>
        <p:spPr>
          <a:xfrm>
            <a:off x="10866474" y="1318437"/>
            <a:ext cx="318977" cy="361507"/>
          </a:xfrm>
          <a:prstGeom prst="upArrow">
            <a:avLst/>
          </a:prstGeom>
          <a:solidFill>
            <a:srgbClr val="0070C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Šipka: nahoru 3">
            <a:extLst>
              <a:ext uri="{FF2B5EF4-FFF2-40B4-BE49-F238E27FC236}">
                <a16:creationId xmlns:a16="http://schemas.microsoft.com/office/drawing/2014/main" id="{8865CDC9-C709-FFD0-1ADE-2044B36D662E}"/>
              </a:ext>
            </a:extLst>
          </p:cNvPr>
          <p:cNvSpPr/>
          <p:nvPr/>
        </p:nvSpPr>
        <p:spPr>
          <a:xfrm>
            <a:off x="10859385" y="3095846"/>
            <a:ext cx="318977" cy="361507"/>
          </a:xfrm>
          <a:prstGeom prst="upArrow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7996624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10D91963-B799-4861-A5B0-2D3353869416}"/>
              </a:ext>
            </a:extLst>
          </p:cNvPr>
          <p:cNvSpPr txBox="1"/>
          <p:nvPr/>
        </p:nvSpPr>
        <p:spPr>
          <a:xfrm>
            <a:off x="291942" y="403679"/>
            <a:ext cx="84586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k 1. 9. 2023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E6FB153-99F9-4A25-A906-FF8C5818F7AA}"/>
              </a:ext>
            </a:extLst>
          </p:cNvPr>
          <p:cNvSpPr txBox="1">
            <a:spLocks/>
          </p:cNvSpPr>
          <p:nvPr/>
        </p:nvSpPr>
        <p:spPr>
          <a:xfrm>
            <a:off x="257557" y="-134464"/>
            <a:ext cx="11467717" cy="6315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Získané odborné způsobilosti v ošetřovatelských oborech v čase podle NRZP</a:t>
            </a: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E4CB8C8D-52DE-4717-AFE5-FF0227D93315}"/>
              </a:ext>
            </a:extLst>
          </p:cNvPr>
          <p:cNvSpPr/>
          <p:nvPr/>
        </p:nvSpPr>
        <p:spPr>
          <a:xfrm rot="16200000">
            <a:off x="-198208" y="2316594"/>
            <a:ext cx="335279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osob</a:t>
            </a:r>
          </a:p>
        </p:txBody>
      </p:sp>
      <p:graphicFrame>
        <p:nvGraphicFramePr>
          <p:cNvPr id="2" name="Graf 1">
            <a:extLst>
              <a:ext uri="{FF2B5EF4-FFF2-40B4-BE49-F238E27FC236}">
                <a16:creationId xmlns:a16="http://schemas.microsoft.com/office/drawing/2014/main" id="{1AAD102C-AC66-CB60-9062-B8DBC28C4649}"/>
              </a:ext>
            </a:extLst>
          </p:cNvPr>
          <p:cNvGraphicFramePr/>
          <p:nvPr/>
        </p:nvGraphicFramePr>
        <p:xfrm>
          <a:off x="1616691" y="708387"/>
          <a:ext cx="10108583" cy="36457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D13C9044-4046-719E-373E-670118FD89D5}"/>
              </a:ext>
            </a:extLst>
          </p:cNvPr>
          <p:cNvSpPr/>
          <p:nvPr/>
        </p:nvSpPr>
        <p:spPr>
          <a:xfrm>
            <a:off x="2190750" y="4251207"/>
            <a:ext cx="423862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k získání odborné způsobilosti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68EAFE15-0540-AFAF-95B6-E0B50F356DA5}"/>
              </a:ext>
            </a:extLst>
          </p:cNvPr>
          <p:cNvGraphicFramePr>
            <a:graphicFrameLocks noGrp="1"/>
          </p:cNvGraphicFramePr>
          <p:nvPr/>
        </p:nvGraphicFramePr>
        <p:xfrm>
          <a:off x="352806" y="4558577"/>
          <a:ext cx="9619869" cy="1688749"/>
        </p:xfrm>
        <a:graphic>
          <a:graphicData uri="http://schemas.openxmlformats.org/drawingml/2006/table">
            <a:tbl>
              <a:tblPr/>
              <a:tblGrid>
                <a:gridCol w="1791007">
                  <a:extLst>
                    <a:ext uri="{9D8B030D-6E8A-4147-A177-3AD203B41FA5}">
                      <a16:colId xmlns:a16="http://schemas.microsoft.com/office/drawing/2014/main" val="1087308722"/>
                    </a:ext>
                  </a:extLst>
                </a:gridCol>
                <a:gridCol w="535421">
                  <a:extLst>
                    <a:ext uri="{9D8B030D-6E8A-4147-A177-3AD203B41FA5}">
                      <a16:colId xmlns:a16="http://schemas.microsoft.com/office/drawing/2014/main" val="4281493852"/>
                    </a:ext>
                  </a:extLst>
                </a:gridCol>
                <a:gridCol w="535421">
                  <a:extLst>
                    <a:ext uri="{9D8B030D-6E8A-4147-A177-3AD203B41FA5}">
                      <a16:colId xmlns:a16="http://schemas.microsoft.com/office/drawing/2014/main" val="1826550977"/>
                    </a:ext>
                  </a:extLst>
                </a:gridCol>
                <a:gridCol w="535421">
                  <a:extLst>
                    <a:ext uri="{9D8B030D-6E8A-4147-A177-3AD203B41FA5}">
                      <a16:colId xmlns:a16="http://schemas.microsoft.com/office/drawing/2014/main" val="550947907"/>
                    </a:ext>
                  </a:extLst>
                </a:gridCol>
                <a:gridCol w="535421">
                  <a:extLst>
                    <a:ext uri="{9D8B030D-6E8A-4147-A177-3AD203B41FA5}">
                      <a16:colId xmlns:a16="http://schemas.microsoft.com/office/drawing/2014/main" val="783470925"/>
                    </a:ext>
                  </a:extLst>
                </a:gridCol>
                <a:gridCol w="535421">
                  <a:extLst>
                    <a:ext uri="{9D8B030D-6E8A-4147-A177-3AD203B41FA5}">
                      <a16:colId xmlns:a16="http://schemas.microsoft.com/office/drawing/2014/main" val="1305329658"/>
                    </a:ext>
                  </a:extLst>
                </a:gridCol>
                <a:gridCol w="535421">
                  <a:extLst>
                    <a:ext uri="{9D8B030D-6E8A-4147-A177-3AD203B41FA5}">
                      <a16:colId xmlns:a16="http://schemas.microsoft.com/office/drawing/2014/main" val="3956443521"/>
                    </a:ext>
                  </a:extLst>
                </a:gridCol>
                <a:gridCol w="535421">
                  <a:extLst>
                    <a:ext uri="{9D8B030D-6E8A-4147-A177-3AD203B41FA5}">
                      <a16:colId xmlns:a16="http://schemas.microsoft.com/office/drawing/2014/main" val="2803741415"/>
                    </a:ext>
                  </a:extLst>
                </a:gridCol>
                <a:gridCol w="535421">
                  <a:extLst>
                    <a:ext uri="{9D8B030D-6E8A-4147-A177-3AD203B41FA5}">
                      <a16:colId xmlns:a16="http://schemas.microsoft.com/office/drawing/2014/main" val="2308854066"/>
                    </a:ext>
                  </a:extLst>
                </a:gridCol>
                <a:gridCol w="535421">
                  <a:extLst>
                    <a:ext uri="{9D8B030D-6E8A-4147-A177-3AD203B41FA5}">
                      <a16:colId xmlns:a16="http://schemas.microsoft.com/office/drawing/2014/main" val="154760933"/>
                    </a:ext>
                  </a:extLst>
                </a:gridCol>
                <a:gridCol w="535421">
                  <a:extLst>
                    <a:ext uri="{9D8B030D-6E8A-4147-A177-3AD203B41FA5}">
                      <a16:colId xmlns:a16="http://schemas.microsoft.com/office/drawing/2014/main" val="3986456770"/>
                    </a:ext>
                  </a:extLst>
                </a:gridCol>
                <a:gridCol w="535421">
                  <a:extLst>
                    <a:ext uri="{9D8B030D-6E8A-4147-A177-3AD203B41FA5}">
                      <a16:colId xmlns:a16="http://schemas.microsoft.com/office/drawing/2014/main" val="3566344147"/>
                    </a:ext>
                  </a:extLst>
                </a:gridCol>
                <a:gridCol w="535421">
                  <a:extLst>
                    <a:ext uri="{9D8B030D-6E8A-4147-A177-3AD203B41FA5}">
                      <a16:colId xmlns:a16="http://schemas.microsoft.com/office/drawing/2014/main" val="1198241259"/>
                    </a:ext>
                  </a:extLst>
                </a:gridCol>
                <a:gridCol w="535421">
                  <a:extLst>
                    <a:ext uri="{9D8B030D-6E8A-4147-A177-3AD203B41FA5}">
                      <a16:colId xmlns:a16="http://schemas.microsoft.com/office/drawing/2014/main" val="2213962299"/>
                    </a:ext>
                  </a:extLst>
                </a:gridCol>
                <a:gridCol w="868389">
                  <a:extLst>
                    <a:ext uri="{9D8B030D-6E8A-4147-A177-3AD203B41FA5}">
                      <a16:colId xmlns:a16="http://schemas.microsoft.com/office/drawing/2014/main" val="1689585994"/>
                    </a:ext>
                  </a:extLst>
                </a:gridCol>
              </a:tblGrid>
              <a:tr h="341914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–20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333964"/>
                  </a:ext>
                </a:extLst>
              </a:tr>
              <a:tr h="18890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5 Všeobecná sestr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0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5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3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2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9588220"/>
                  </a:ext>
                </a:extLst>
              </a:tr>
              <a:tr h="18890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5a Dětská sestr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2523936"/>
                  </a:ext>
                </a:extLst>
              </a:tr>
              <a:tr h="18890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6 Porodní asistentk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36797"/>
                  </a:ext>
                </a:extLst>
              </a:tr>
              <a:tr h="18890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5719677"/>
                  </a:ext>
                </a:extLst>
              </a:tr>
              <a:tr h="18890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1b Praktická sestr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6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2940612"/>
                  </a:ext>
                </a:extLst>
              </a:tr>
              <a:tr h="18890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7161775"/>
                  </a:ext>
                </a:extLst>
              </a:tr>
              <a:tr h="18890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9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9161852"/>
                  </a:ext>
                </a:extLst>
              </a:tr>
            </a:tbl>
          </a:graphicData>
        </a:graphic>
      </p:graphicFrame>
      <p:sp>
        <p:nvSpPr>
          <p:cNvPr id="8" name="Obdélník: se zakulacenými rohy 7">
            <a:extLst>
              <a:ext uri="{FF2B5EF4-FFF2-40B4-BE49-F238E27FC236}">
                <a16:creationId xmlns:a16="http://schemas.microsoft.com/office/drawing/2014/main" id="{BE4788C9-8110-A1ED-33C7-E8B379D59DF6}"/>
              </a:ext>
            </a:extLst>
          </p:cNvPr>
          <p:cNvSpPr/>
          <p:nvPr/>
        </p:nvSpPr>
        <p:spPr>
          <a:xfrm>
            <a:off x="6429375" y="827053"/>
            <a:ext cx="2686050" cy="5470231"/>
          </a:xfrm>
          <a:prstGeom prst="roundRect">
            <a:avLst>
              <a:gd name="adj" fmla="val 4634"/>
            </a:avLst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2D30A75E-CB41-E5A0-755F-6807529FDD4E}"/>
              </a:ext>
            </a:extLst>
          </p:cNvPr>
          <p:cNvSpPr/>
          <p:nvPr/>
        </p:nvSpPr>
        <p:spPr>
          <a:xfrm>
            <a:off x="5938838" y="475015"/>
            <a:ext cx="36671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ýběr absolventů pro další analýzy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E6A501E3-CA32-13F9-598C-6A5204F88CA3}"/>
              </a:ext>
            </a:extLst>
          </p:cNvPr>
          <p:cNvSpPr txBox="1"/>
          <p:nvPr/>
        </p:nvSpPr>
        <p:spPr>
          <a:xfrm>
            <a:off x="9353551" y="843940"/>
            <a:ext cx="2686050" cy="1095264"/>
          </a:xfrm>
          <a:prstGeom prst="roundRect">
            <a:avLst>
              <a:gd name="adj" fmla="val 9498"/>
            </a:avLst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cs-CZ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 ohledem na spuštění NRZP do ostrého provozu od roku 2018 jsou do další analýzy vybráni absolventi za období 2018–2022.</a:t>
            </a:r>
          </a:p>
        </p:txBody>
      </p:sp>
    </p:spTree>
    <p:extLst>
      <p:ext uri="{BB962C8B-B14F-4D97-AF65-F5344CB8AC3E}">
        <p14:creationId xmlns:p14="http://schemas.microsoft.com/office/powerpoint/2010/main" val="347272027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>
            <a:extLst>
              <a:ext uri="{FF2B5EF4-FFF2-40B4-BE49-F238E27FC236}">
                <a16:creationId xmlns:a16="http://schemas.microsoft.com/office/drawing/2014/main" id="{10D91963-B799-4861-A5B0-2D3353869416}"/>
              </a:ext>
            </a:extLst>
          </p:cNvPr>
          <p:cNvSpPr txBox="1"/>
          <p:nvPr/>
        </p:nvSpPr>
        <p:spPr>
          <a:xfrm>
            <a:off x="291942" y="333336"/>
            <a:ext cx="9137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Národní registr zdravotnických pracovníků (NRZP) k 1. 9. 2023 + Národní registr hrazených zdravotních služeb (NRHZS) k 31. 3. 2023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E6FB153-99F9-4A25-A906-FF8C5818F7AA}"/>
              </a:ext>
            </a:extLst>
          </p:cNvPr>
          <p:cNvSpPr txBox="1">
            <a:spLocks/>
          </p:cNvSpPr>
          <p:nvPr/>
        </p:nvSpPr>
        <p:spPr>
          <a:xfrm>
            <a:off x="257557" y="-223857"/>
            <a:ext cx="11848718" cy="631595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Absolventi/uznané odbornosti z let 2018–2022 a jejich stav zaměstnání k 31. 3. 2023</a:t>
            </a: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7BEA706-AD61-BDEE-42CC-67806133A02B}"/>
              </a:ext>
            </a:extLst>
          </p:cNvPr>
          <p:cNvGraphicFramePr>
            <a:graphicFrameLocks noGrp="1"/>
          </p:cNvGraphicFramePr>
          <p:nvPr/>
        </p:nvGraphicFramePr>
        <p:xfrm>
          <a:off x="121032" y="1509452"/>
          <a:ext cx="2212593" cy="3476627"/>
        </p:xfrm>
        <a:graphic>
          <a:graphicData uri="http://schemas.openxmlformats.org/drawingml/2006/table">
            <a:tbl>
              <a:tblPr/>
              <a:tblGrid>
                <a:gridCol w="2212593">
                  <a:extLst>
                    <a:ext uri="{9D8B030D-6E8A-4147-A177-3AD203B41FA5}">
                      <a16:colId xmlns:a16="http://schemas.microsoft.com/office/drawing/2014/main" val="3273033133"/>
                    </a:ext>
                  </a:extLst>
                </a:gridCol>
              </a:tblGrid>
              <a:tr h="49666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5 Všeobecná sestra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28279993"/>
                  </a:ext>
                </a:extLst>
              </a:tr>
              <a:tr h="49666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5a Dětská sestra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782842"/>
                  </a:ext>
                </a:extLst>
              </a:tr>
              <a:tr h="49666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6 Porodní asistentka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05025901"/>
                  </a:ext>
                </a:extLst>
              </a:tr>
              <a:tr h="49666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18 Zdravotnický záchranář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8347563"/>
                  </a:ext>
                </a:extLst>
              </a:tr>
              <a:tr h="49666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21b Praktická sestra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16086083"/>
                  </a:ext>
                </a:extLst>
              </a:tr>
              <a:tr h="49666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36 Ošetřovatel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2645442"/>
                  </a:ext>
                </a:extLst>
              </a:tr>
              <a:tr h="496661">
                <a:tc>
                  <a:txBody>
                    <a:bodyPr/>
                    <a:lstStyle/>
                    <a:p>
                      <a:pPr algn="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§ 42 Sanitář</a:t>
                      </a:r>
                    </a:p>
                  </a:txBody>
                  <a:tcPr marL="36000" marR="36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3652471"/>
                  </a:ext>
                </a:extLst>
              </a:tr>
            </a:tbl>
          </a:graphicData>
        </a:graphic>
      </p:graphicFrame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14D610BB-DB3C-A3F7-6D92-F1AFE951666B}"/>
              </a:ext>
            </a:extLst>
          </p:cNvPr>
          <p:cNvGraphicFramePr/>
          <p:nvPr/>
        </p:nvGraphicFramePr>
        <p:xfrm>
          <a:off x="2162175" y="1166550"/>
          <a:ext cx="8816975" cy="3933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7972B5B4-F046-E2F0-EB81-9ACD81268BAF}"/>
              </a:ext>
            </a:extLst>
          </p:cNvPr>
          <p:cNvGraphicFramePr>
            <a:graphicFrameLocks noGrp="1"/>
          </p:cNvGraphicFramePr>
          <p:nvPr/>
        </p:nvGraphicFramePr>
        <p:xfrm>
          <a:off x="10763250" y="1499926"/>
          <a:ext cx="876300" cy="3476627"/>
        </p:xfrm>
        <a:graphic>
          <a:graphicData uri="http://schemas.openxmlformats.org/drawingml/2006/table">
            <a:tbl>
              <a:tblPr/>
              <a:tblGrid>
                <a:gridCol w="876300">
                  <a:extLst>
                    <a:ext uri="{9D8B030D-6E8A-4147-A177-3AD203B41FA5}">
                      <a16:colId xmlns:a16="http://schemas.microsoft.com/office/drawing/2014/main" val="2901768971"/>
                    </a:ext>
                  </a:extLst>
                </a:gridCol>
              </a:tblGrid>
              <a:tr h="4966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7 2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2754888"/>
                  </a:ext>
                </a:extLst>
              </a:tr>
              <a:tr h="4966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0901457"/>
                  </a:ext>
                </a:extLst>
              </a:tr>
              <a:tr h="4966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96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6335568"/>
                  </a:ext>
                </a:extLst>
              </a:tr>
              <a:tr h="4966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1 74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858274"/>
                  </a:ext>
                </a:extLst>
              </a:tr>
              <a:tr h="4966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8 68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9459626"/>
                  </a:ext>
                </a:extLst>
              </a:tr>
              <a:tr h="4966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2 0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8978911"/>
                  </a:ext>
                </a:extLst>
              </a:tr>
              <a:tr h="496661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 = 5 92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8471354"/>
                  </a:ext>
                </a:extLst>
              </a:tr>
            </a:tbl>
          </a:graphicData>
        </a:graphic>
      </p:graphicFrame>
      <p:sp>
        <p:nvSpPr>
          <p:cNvPr id="13" name="TextovéPole 12">
            <a:extLst>
              <a:ext uri="{FF2B5EF4-FFF2-40B4-BE49-F238E27FC236}">
                <a16:creationId xmlns:a16="http://schemas.microsoft.com/office/drawing/2014/main" id="{F8CB2FB9-FFFB-D30F-5D27-2C83574A007C}"/>
              </a:ext>
            </a:extLst>
          </p:cNvPr>
          <p:cNvSpPr txBox="1"/>
          <p:nvPr/>
        </p:nvSpPr>
        <p:spPr>
          <a:xfrm>
            <a:off x="3217862" y="588284"/>
            <a:ext cx="67056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městnán na pozici dle odbornosti            Evidován na pozici dle odbornosti, úvazek=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iné zaměstnání ve zdravotnictví                  Bez zaměstnání ve zdravotnictví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0E7BB172-3DCC-9AAF-9B9B-07E6FB1E13E6}"/>
              </a:ext>
            </a:extLst>
          </p:cNvPr>
          <p:cNvSpPr/>
          <p:nvPr/>
        </p:nvSpPr>
        <p:spPr>
          <a:xfrm>
            <a:off x="3105150" y="661724"/>
            <a:ext cx="144000" cy="144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D487A9F6-0FCB-CB6F-F4CE-107E63F46056}"/>
              </a:ext>
            </a:extLst>
          </p:cNvPr>
          <p:cNvSpPr/>
          <p:nvPr/>
        </p:nvSpPr>
        <p:spPr>
          <a:xfrm>
            <a:off x="6200966" y="661724"/>
            <a:ext cx="144000" cy="144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41426A85-49A3-E348-703F-D41B3B457607}"/>
              </a:ext>
            </a:extLst>
          </p:cNvPr>
          <p:cNvSpPr/>
          <p:nvPr/>
        </p:nvSpPr>
        <p:spPr>
          <a:xfrm>
            <a:off x="3105150" y="886614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FFF4DF90-913B-D72B-F105-E49397500AB9}"/>
              </a:ext>
            </a:extLst>
          </p:cNvPr>
          <p:cNvSpPr/>
          <p:nvPr/>
        </p:nvSpPr>
        <p:spPr>
          <a:xfrm>
            <a:off x="6200966" y="886614"/>
            <a:ext cx="144000" cy="14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65C5395-6CBD-34D7-C3E8-0650919E15B6}"/>
              </a:ext>
            </a:extLst>
          </p:cNvPr>
          <p:cNvSpPr txBox="1"/>
          <p:nvPr/>
        </p:nvSpPr>
        <p:spPr>
          <a:xfrm>
            <a:off x="476250" y="5136556"/>
            <a:ext cx="10925175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městnán na pozici dle odbornosti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a zaměstnaná u poskytovatele zdravotních služeb na pracovní pozici dle získané odborné způsobilosti 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vidován na pozici dle odbornosti, úvazek=0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osoba evidovaná u poskytovatele zdravotních služeb na pracovní pozici dle získané odborné způsobilosti s nulovým úvazkem (aktuálně mimo aktivní stav, např. na mateřské či rodičovské dovolené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iné zaměstnání ve zdravotnictví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a zaměstnaná u poskytovatele zdravotních služeb na jiné pracovní pozici než dle získané odborné způsobilosti</a:t>
            </a:r>
            <a:endParaRPr kumimoji="0" lang="cs-CZ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z zaměstnání ve zdravotnictví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osoba bez zjištěného zaměstnání ve zdravotnictví dle NRHZS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189DD76-3A48-F2FE-0771-D12DA83BC00B}"/>
              </a:ext>
            </a:extLst>
          </p:cNvPr>
          <p:cNvSpPr/>
          <p:nvPr/>
        </p:nvSpPr>
        <p:spPr>
          <a:xfrm>
            <a:off x="378287" y="5223807"/>
            <a:ext cx="144000" cy="1440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6BFEBC88-4ACC-8529-3C7B-74DBD28140EC}"/>
              </a:ext>
            </a:extLst>
          </p:cNvPr>
          <p:cNvSpPr/>
          <p:nvPr/>
        </p:nvSpPr>
        <p:spPr>
          <a:xfrm>
            <a:off x="378287" y="5433457"/>
            <a:ext cx="144000" cy="144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F82EEAB3-2A69-A32B-18B1-5AE84B0C7446}"/>
              </a:ext>
            </a:extLst>
          </p:cNvPr>
          <p:cNvSpPr/>
          <p:nvPr/>
        </p:nvSpPr>
        <p:spPr>
          <a:xfrm>
            <a:off x="378287" y="5859986"/>
            <a:ext cx="144000" cy="144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FA5B796C-F0EB-D746-211B-B753539DCDE9}"/>
              </a:ext>
            </a:extLst>
          </p:cNvPr>
          <p:cNvSpPr/>
          <p:nvPr/>
        </p:nvSpPr>
        <p:spPr>
          <a:xfrm>
            <a:off x="374278" y="6076674"/>
            <a:ext cx="144000" cy="14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E6AD485-C98E-E3ED-A250-FE701A4DD858}"/>
              </a:ext>
            </a:extLst>
          </p:cNvPr>
          <p:cNvSpPr txBox="1"/>
          <p:nvPr/>
        </p:nvSpPr>
        <p:spPr>
          <a:xfrm>
            <a:off x="121032" y="1188875"/>
            <a:ext cx="187023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dborná způsobilost:</a:t>
            </a:r>
          </a:p>
        </p:txBody>
      </p:sp>
    </p:spTree>
    <p:extLst>
      <p:ext uri="{BB962C8B-B14F-4D97-AF65-F5344CB8AC3E}">
        <p14:creationId xmlns:p14="http://schemas.microsoft.com/office/powerpoint/2010/main" val="37252051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Nadpis 1">
            <a:extLst>
              <a:ext uri="{FF2B5EF4-FFF2-40B4-BE49-F238E27FC236}">
                <a16:creationId xmlns:a16="http://schemas.microsoft.com/office/drawing/2014/main" id="{0A1C37D0-ADEE-4A80-A7CB-6105E9D0E6B9}"/>
              </a:ext>
            </a:extLst>
          </p:cNvPr>
          <p:cNvSpPr txBox="1">
            <a:spLocks/>
          </p:cNvSpPr>
          <p:nvPr/>
        </p:nvSpPr>
        <p:spPr>
          <a:xfrm>
            <a:off x="41462" y="-29556"/>
            <a:ext cx="5123118" cy="17554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C22728"/>
                </a:solidFill>
                <a:effectLst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22728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ový Národní zdravotnický informační systém </a:t>
            </a:r>
            <a:b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22728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</a:b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22728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je dobudován ……</a:t>
            </a:r>
          </a:p>
        </p:txBody>
      </p:sp>
      <p:sp>
        <p:nvSpPr>
          <p:cNvPr id="346" name="Zástupný symbol pro číslo snímku 3">
            <a:extLst>
              <a:ext uri="{FF2B5EF4-FFF2-40B4-BE49-F238E27FC236}">
                <a16:creationId xmlns:a16="http://schemas.microsoft.com/office/drawing/2014/main" id="{52B19A9B-62F3-4072-87FB-6F21BE35A00D}"/>
              </a:ext>
            </a:extLst>
          </p:cNvPr>
          <p:cNvSpPr txBox="1">
            <a:spLocks/>
          </p:cNvSpPr>
          <p:nvPr/>
        </p:nvSpPr>
        <p:spPr>
          <a:xfrm>
            <a:off x="10097023" y="5934794"/>
            <a:ext cx="831986" cy="211101"/>
          </a:xfrm>
          <a:prstGeom prst="rect">
            <a:avLst/>
          </a:prstGeom>
        </p:spPr>
        <p:txBody>
          <a:bodyPr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C9401D-42AF-4231-A83B-9F6747628248}" type="slidenum">
              <a:rPr kumimoji="0" lang="cs-CZ" sz="1050" b="0" i="0" u="none" strike="noStrike" kern="1200" cap="none" spc="0" normalizeH="0" baseline="0" noProof="0" smtClean="0">
                <a:ln>
                  <a:noFill/>
                </a:ln>
                <a:solidFill>
                  <a:srgbClr val="5F5F5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050" b="0" i="0" u="none" strike="noStrike" kern="1200" cap="none" spc="0" normalizeH="0" baseline="0" noProof="0" dirty="0">
              <a:ln>
                <a:noFill/>
              </a:ln>
              <a:solidFill>
                <a:srgbClr val="5F5F5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7" name="Text Box 17">
            <a:extLst>
              <a:ext uri="{FF2B5EF4-FFF2-40B4-BE49-F238E27FC236}">
                <a16:creationId xmlns:a16="http://schemas.microsoft.com/office/drawing/2014/main" id="{6C5C20A0-DB9D-488E-AE88-DE92CD9E20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95046" y="551700"/>
            <a:ext cx="385192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>
                <a:srgbClr val="FFFF00"/>
              </a:buClr>
              <a:defRPr/>
            </a:pPr>
            <a:r>
              <a:rPr kumimoji="0" lang="cs-CZ" altLang="cs-CZ" sz="6000" b="0" i="1" dirty="0">
                <a:solidFill>
                  <a:srgbClr val="0000FF"/>
                </a:solidFill>
                <a:latin typeface="Algerian" panose="04020705040A02060702" pitchFamily="82" charset="0"/>
              </a:rPr>
              <a:t>NZIS</a:t>
            </a:r>
            <a:endParaRPr kumimoji="0" lang="cs-CZ" altLang="cs-CZ" sz="6000" b="0" i="1" dirty="0">
              <a:solidFill>
                <a:srgbClr val="292929"/>
              </a:solidFill>
              <a:latin typeface="Algerian" panose="04020705040A02060702" pitchFamily="82" charset="0"/>
            </a:endParaRPr>
          </a:p>
        </p:txBody>
      </p:sp>
      <p:pic>
        <p:nvPicPr>
          <p:cNvPr id="348" name="Picture 14" descr="https://encrypted-tbn0.gstatic.com/images?q=tbn:ANd9GcSGSRoGMu0TlCRBZQioYL2jBYMv_ynj9IHg4PY9OHI-v7v3bl_tPlAPaZ6U">
            <a:extLst>
              <a:ext uri="{FF2B5EF4-FFF2-40B4-BE49-F238E27FC236}">
                <a16:creationId xmlns:a16="http://schemas.microsoft.com/office/drawing/2014/main" id="{CC130F53-5B6C-49D6-A96F-59B5890C27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5366" y="693863"/>
            <a:ext cx="694929" cy="749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9" name="Picture 17">
            <a:extLst>
              <a:ext uri="{FF2B5EF4-FFF2-40B4-BE49-F238E27FC236}">
                <a16:creationId xmlns:a16="http://schemas.microsoft.com/office/drawing/2014/main" id="{C8458094-255C-401C-BE06-F9C358CE28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178" b="854"/>
          <a:stretch>
            <a:fillRect/>
          </a:stretch>
        </p:blipFill>
        <p:spPr bwMode="auto">
          <a:xfrm>
            <a:off x="7044333" y="1371477"/>
            <a:ext cx="775648" cy="443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05E8DD40-DB2D-470F-AD0E-DC47BD2B6F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6936" y="5323686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1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8E628A9B-6F00-466B-9D66-375388D913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9336" y="5476086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2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F0D5450F-FDD6-4D0F-9106-1BBF4D5696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1736" y="5628486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3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72A4CE62-D2A4-4B72-8BED-49BF393F86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9336" y="5476086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4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4AD98176-4820-4255-B8BE-B4516BA2B9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1736" y="5628486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5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E92C5604-FD88-41F9-9661-BFCD73903A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701" y="533529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6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D894B80C-71C3-48F4-9D4F-269DF9EFEC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1736" y="5628486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7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41911CEA-DDC9-48D1-A832-55114B03FD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701" y="533529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8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0D06C770-EF81-4699-B654-5AEEB1FFB6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101" y="548769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9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2B74BBC0-EEB8-4551-8CF3-1880DE7741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501" y="564009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60" name="Přímá spojnice se šipkou 359">
            <a:extLst>
              <a:ext uri="{FF2B5EF4-FFF2-40B4-BE49-F238E27FC236}">
                <a16:creationId xmlns:a16="http://schemas.microsoft.com/office/drawing/2014/main" id="{1451B162-E485-4B22-8873-8A60709C4E4A}"/>
              </a:ext>
            </a:extLst>
          </p:cNvPr>
          <p:cNvCxnSpPr>
            <a:cxnSpLocks/>
          </p:cNvCxnSpPr>
          <p:nvPr/>
        </p:nvCxnSpPr>
        <p:spPr bwMode="auto">
          <a:xfrm flipV="1">
            <a:off x="2317346" y="1581107"/>
            <a:ext cx="2847234" cy="2539158"/>
          </a:xfrm>
          <a:prstGeom prst="straightConnector1">
            <a:avLst/>
          </a:prstGeom>
          <a:solidFill>
            <a:srgbClr val="4472C4"/>
          </a:solidFill>
          <a:ln w="76200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361" name="Group 226">
            <a:extLst>
              <a:ext uri="{FF2B5EF4-FFF2-40B4-BE49-F238E27FC236}">
                <a16:creationId xmlns:a16="http://schemas.microsoft.com/office/drawing/2014/main" id="{32EA5B2E-97F8-4F64-B716-3287D66F2F7D}"/>
              </a:ext>
            </a:extLst>
          </p:cNvPr>
          <p:cNvGrpSpPr>
            <a:grpSpLocks/>
          </p:cNvGrpSpPr>
          <p:nvPr/>
        </p:nvGrpSpPr>
        <p:grpSpPr bwMode="auto">
          <a:xfrm>
            <a:off x="8804378" y="4356390"/>
            <a:ext cx="2598737" cy="1816100"/>
            <a:chOff x="457" y="2680"/>
            <a:chExt cx="1800" cy="1238"/>
          </a:xfrm>
        </p:grpSpPr>
        <p:grpSp>
          <p:nvGrpSpPr>
            <p:cNvPr id="362" name="Group 53">
              <a:extLst>
                <a:ext uri="{FF2B5EF4-FFF2-40B4-BE49-F238E27FC236}">
                  <a16:creationId xmlns:a16="http://schemas.microsoft.com/office/drawing/2014/main" id="{9AA4248E-8B76-465B-8BFB-F70E24150A4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93" y="2680"/>
              <a:ext cx="485" cy="415"/>
              <a:chOff x="693" y="2680"/>
              <a:chExt cx="485" cy="415"/>
            </a:xfrm>
          </p:grpSpPr>
          <p:sp>
            <p:nvSpPr>
              <p:cNvPr id="535" name="Freeform 51">
                <a:extLst>
                  <a:ext uri="{FF2B5EF4-FFF2-40B4-BE49-F238E27FC236}">
                    <a16:creationId xmlns:a16="http://schemas.microsoft.com/office/drawing/2014/main" id="{A0682ED2-AD6D-4F4B-8DFF-B0F334A8F5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" y="2680"/>
                <a:ext cx="485" cy="415"/>
              </a:xfrm>
              <a:custGeom>
                <a:avLst/>
                <a:gdLst>
                  <a:gd name="T0" fmla="*/ 471 w 485"/>
                  <a:gd name="T1" fmla="*/ 53 h 415"/>
                  <a:gd name="T2" fmla="*/ 460 w 485"/>
                  <a:gd name="T3" fmla="*/ 30 h 415"/>
                  <a:gd name="T4" fmla="*/ 433 w 485"/>
                  <a:gd name="T5" fmla="*/ 19 h 415"/>
                  <a:gd name="T6" fmla="*/ 400 w 485"/>
                  <a:gd name="T7" fmla="*/ 0 h 415"/>
                  <a:gd name="T8" fmla="*/ 384 w 485"/>
                  <a:gd name="T9" fmla="*/ 29 h 415"/>
                  <a:gd name="T10" fmla="*/ 398 w 485"/>
                  <a:gd name="T11" fmla="*/ 46 h 415"/>
                  <a:gd name="T12" fmla="*/ 415 w 485"/>
                  <a:gd name="T13" fmla="*/ 66 h 415"/>
                  <a:gd name="T14" fmla="*/ 397 w 485"/>
                  <a:gd name="T15" fmla="*/ 78 h 415"/>
                  <a:gd name="T16" fmla="*/ 351 w 485"/>
                  <a:gd name="T17" fmla="*/ 91 h 415"/>
                  <a:gd name="T18" fmla="*/ 310 w 485"/>
                  <a:gd name="T19" fmla="*/ 102 h 415"/>
                  <a:gd name="T20" fmla="*/ 277 w 485"/>
                  <a:gd name="T21" fmla="*/ 108 h 415"/>
                  <a:gd name="T22" fmla="*/ 257 w 485"/>
                  <a:gd name="T23" fmla="*/ 133 h 415"/>
                  <a:gd name="T24" fmla="*/ 232 w 485"/>
                  <a:gd name="T25" fmla="*/ 129 h 415"/>
                  <a:gd name="T26" fmla="*/ 191 w 485"/>
                  <a:gd name="T27" fmla="*/ 129 h 415"/>
                  <a:gd name="T28" fmla="*/ 173 w 485"/>
                  <a:gd name="T29" fmla="*/ 147 h 415"/>
                  <a:gd name="T30" fmla="*/ 142 w 485"/>
                  <a:gd name="T31" fmla="*/ 168 h 415"/>
                  <a:gd name="T32" fmla="*/ 128 w 485"/>
                  <a:gd name="T33" fmla="*/ 160 h 415"/>
                  <a:gd name="T34" fmla="*/ 109 w 485"/>
                  <a:gd name="T35" fmla="*/ 179 h 415"/>
                  <a:gd name="T36" fmla="*/ 85 w 485"/>
                  <a:gd name="T37" fmla="*/ 184 h 415"/>
                  <a:gd name="T38" fmla="*/ 60 w 485"/>
                  <a:gd name="T39" fmla="*/ 202 h 415"/>
                  <a:gd name="T40" fmla="*/ 24 w 485"/>
                  <a:gd name="T41" fmla="*/ 220 h 415"/>
                  <a:gd name="T42" fmla="*/ 8 w 485"/>
                  <a:gd name="T43" fmla="*/ 251 h 415"/>
                  <a:gd name="T44" fmla="*/ 40 w 485"/>
                  <a:gd name="T45" fmla="*/ 260 h 415"/>
                  <a:gd name="T46" fmla="*/ 45 w 485"/>
                  <a:gd name="T47" fmla="*/ 276 h 415"/>
                  <a:gd name="T48" fmla="*/ 66 w 485"/>
                  <a:gd name="T49" fmla="*/ 276 h 415"/>
                  <a:gd name="T50" fmla="*/ 69 w 485"/>
                  <a:gd name="T51" fmla="*/ 300 h 415"/>
                  <a:gd name="T52" fmla="*/ 64 w 485"/>
                  <a:gd name="T53" fmla="*/ 316 h 415"/>
                  <a:gd name="T54" fmla="*/ 69 w 485"/>
                  <a:gd name="T55" fmla="*/ 336 h 415"/>
                  <a:gd name="T56" fmla="*/ 70 w 485"/>
                  <a:gd name="T57" fmla="*/ 352 h 415"/>
                  <a:gd name="T58" fmla="*/ 70 w 485"/>
                  <a:gd name="T59" fmla="*/ 375 h 415"/>
                  <a:gd name="T60" fmla="*/ 65 w 485"/>
                  <a:gd name="T61" fmla="*/ 379 h 415"/>
                  <a:gd name="T62" fmla="*/ 72 w 485"/>
                  <a:gd name="T63" fmla="*/ 390 h 415"/>
                  <a:gd name="T64" fmla="*/ 84 w 485"/>
                  <a:gd name="T65" fmla="*/ 408 h 415"/>
                  <a:gd name="T66" fmla="*/ 94 w 485"/>
                  <a:gd name="T67" fmla="*/ 413 h 415"/>
                  <a:gd name="T68" fmla="*/ 110 w 485"/>
                  <a:gd name="T69" fmla="*/ 402 h 415"/>
                  <a:gd name="T70" fmla="*/ 124 w 485"/>
                  <a:gd name="T71" fmla="*/ 396 h 415"/>
                  <a:gd name="T72" fmla="*/ 136 w 485"/>
                  <a:gd name="T73" fmla="*/ 379 h 415"/>
                  <a:gd name="T74" fmla="*/ 150 w 485"/>
                  <a:gd name="T75" fmla="*/ 368 h 415"/>
                  <a:gd name="T76" fmla="*/ 174 w 485"/>
                  <a:gd name="T77" fmla="*/ 361 h 415"/>
                  <a:gd name="T78" fmla="*/ 206 w 485"/>
                  <a:gd name="T79" fmla="*/ 359 h 415"/>
                  <a:gd name="T80" fmla="*/ 226 w 485"/>
                  <a:gd name="T81" fmla="*/ 349 h 415"/>
                  <a:gd name="T82" fmla="*/ 254 w 485"/>
                  <a:gd name="T83" fmla="*/ 347 h 415"/>
                  <a:gd name="T84" fmla="*/ 265 w 485"/>
                  <a:gd name="T85" fmla="*/ 335 h 415"/>
                  <a:gd name="T86" fmla="*/ 274 w 485"/>
                  <a:gd name="T87" fmla="*/ 321 h 415"/>
                  <a:gd name="T88" fmla="*/ 297 w 485"/>
                  <a:gd name="T89" fmla="*/ 326 h 415"/>
                  <a:gd name="T90" fmla="*/ 330 w 485"/>
                  <a:gd name="T91" fmla="*/ 329 h 415"/>
                  <a:gd name="T92" fmla="*/ 350 w 485"/>
                  <a:gd name="T93" fmla="*/ 326 h 415"/>
                  <a:gd name="T94" fmla="*/ 369 w 485"/>
                  <a:gd name="T95" fmla="*/ 327 h 415"/>
                  <a:gd name="T96" fmla="*/ 378 w 485"/>
                  <a:gd name="T97" fmla="*/ 326 h 415"/>
                  <a:gd name="T98" fmla="*/ 378 w 485"/>
                  <a:gd name="T99" fmla="*/ 305 h 415"/>
                  <a:gd name="T100" fmla="*/ 381 w 485"/>
                  <a:gd name="T101" fmla="*/ 293 h 415"/>
                  <a:gd name="T102" fmla="*/ 396 w 485"/>
                  <a:gd name="T103" fmla="*/ 293 h 415"/>
                  <a:gd name="T104" fmla="*/ 411 w 485"/>
                  <a:gd name="T105" fmla="*/ 279 h 415"/>
                  <a:gd name="T106" fmla="*/ 411 w 485"/>
                  <a:gd name="T107" fmla="*/ 253 h 415"/>
                  <a:gd name="T108" fmla="*/ 405 w 485"/>
                  <a:gd name="T109" fmla="*/ 242 h 415"/>
                  <a:gd name="T110" fmla="*/ 397 w 485"/>
                  <a:gd name="T111" fmla="*/ 219 h 415"/>
                  <a:gd name="T112" fmla="*/ 392 w 485"/>
                  <a:gd name="T113" fmla="*/ 187 h 415"/>
                  <a:gd name="T114" fmla="*/ 408 w 485"/>
                  <a:gd name="T115" fmla="*/ 157 h 415"/>
                  <a:gd name="T116" fmla="*/ 418 w 485"/>
                  <a:gd name="T117" fmla="*/ 136 h 415"/>
                  <a:gd name="T118" fmla="*/ 427 w 485"/>
                  <a:gd name="T119" fmla="*/ 123 h 415"/>
                  <a:gd name="T120" fmla="*/ 434 w 485"/>
                  <a:gd name="T121" fmla="*/ 121 h 415"/>
                  <a:gd name="T122" fmla="*/ 454 w 485"/>
                  <a:gd name="T123" fmla="*/ 122 h 415"/>
                  <a:gd name="T124" fmla="*/ 484 w 485"/>
                  <a:gd name="T125" fmla="*/ 83 h 41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85"/>
                  <a:gd name="T190" fmla="*/ 0 h 415"/>
                  <a:gd name="T191" fmla="*/ 485 w 485"/>
                  <a:gd name="T192" fmla="*/ 415 h 41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85" h="415">
                    <a:moveTo>
                      <a:pt x="484" y="72"/>
                    </a:moveTo>
                    <a:lnTo>
                      <a:pt x="482" y="71"/>
                    </a:lnTo>
                    <a:lnTo>
                      <a:pt x="478" y="73"/>
                    </a:lnTo>
                    <a:lnTo>
                      <a:pt x="475" y="73"/>
                    </a:lnTo>
                    <a:lnTo>
                      <a:pt x="473" y="74"/>
                    </a:lnTo>
                    <a:lnTo>
                      <a:pt x="470" y="74"/>
                    </a:lnTo>
                    <a:lnTo>
                      <a:pt x="465" y="77"/>
                    </a:lnTo>
                    <a:lnTo>
                      <a:pt x="464" y="76"/>
                    </a:lnTo>
                    <a:lnTo>
                      <a:pt x="461" y="74"/>
                    </a:lnTo>
                    <a:lnTo>
                      <a:pt x="460" y="71"/>
                    </a:lnTo>
                    <a:lnTo>
                      <a:pt x="463" y="66"/>
                    </a:lnTo>
                    <a:lnTo>
                      <a:pt x="467" y="62"/>
                    </a:lnTo>
                    <a:lnTo>
                      <a:pt x="468" y="60"/>
                    </a:lnTo>
                    <a:lnTo>
                      <a:pt x="471" y="55"/>
                    </a:lnTo>
                    <a:lnTo>
                      <a:pt x="471" y="53"/>
                    </a:lnTo>
                    <a:lnTo>
                      <a:pt x="472" y="52"/>
                    </a:lnTo>
                    <a:lnTo>
                      <a:pt x="472" y="49"/>
                    </a:lnTo>
                    <a:lnTo>
                      <a:pt x="473" y="48"/>
                    </a:lnTo>
                    <a:lnTo>
                      <a:pt x="474" y="43"/>
                    </a:lnTo>
                    <a:lnTo>
                      <a:pt x="473" y="43"/>
                    </a:lnTo>
                    <a:lnTo>
                      <a:pt x="470" y="40"/>
                    </a:lnTo>
                    <a:lnTo>
                      <a:pt x="470" y="37"/>
                    </a:lnTo>
                    <a:lnTo>
                      <a:pt x="467" y="33"/>
                    </a:lnTo>
                    <a:lnTo>
                      <a:pt x="466" y="32"/>
                    </a:lnTo>
                    <a:lnTo>
                      <a:pt x="465" y="32"/>
                    </a:lnTo>
                    <a:lnTo>
                      <a:pt x="459" y="33"/>
                    </a:lnTo>
                    <a:lnTo>
                      <a:pt x="458" y="32"/>
                    </a:lnTo>
                    <a:lnTo>
                      <a:pt x="459" y="31"/>
                    </a:lnTo>
                    <a:lnTo>
                      <a:pt x="460" y="30"/>
                    </a:lnTo>
                    <a:lnTo>
                      <a:pt x="460" y="29"/>
                    </a:lnTo>
                    <a:lnTo>
                      <a:pt x="458" y="26"/>
                    </a:lnTo>
                    <a:lnTo>
                      <a:pt x="450" y="23"/>
                    </a:lnTo>
                    <a:lnTo>
                      <a:pt x="451" y="19"/>
                    </a:lnTo>
                    <a:lnTo>
                      <a:pt x="453" y="14"/>
                    </a:lnTo>
                    <a:lnTo>
                      <a:pt x="452" y="12"/>
                    </a:lnTo>
                    <a:lnTo>
                      <a:pt x="449" y="13"/>
                    </a:lnTo>
                    <a:lnTo>
                      <a:pt x="449" y="17"/>
                    </a:lnTo>
                    <a:lnTo>
                      <a:pt x="448" y="22"/>
                    </a:lnTo>
                    <a:lnTo>
                      <a:pt x="444" y="21"/>
                    </a:lnTo>
                    <a:lnTo>
                      <a:pt x="444" y="19"/>
                    </a:lnTo>
                    <a:lnTo>
                      <a:pt x="443" y="18"/>
                    </a:lnTo>
                    <a:lnTo>
                      <a:pt x="441" y="15"/>
                    </a:lnTo>
                    <a:lnTo>
                      <a:pt x="439" y="15"/>
                    </a:lnTo>
                    <a:lnTo>
                      <a:pt x="433" y="19"/>
                    </a:lnTo>
                    <a:lnTo>
                      <a:pt x="432" y="19"/>
                    </a:lnTo>
                    <a:lnTo>
                      <a:pt x="429" y="21"/>
                    </a:lnTo>
                    <a:lnTo>
                      <a:pt x="427" y="21"/>
                    </a:lnTo>
                    <a:lnTo>
                      <a:pt x="423" y="19"/>
                    </a:lnTo>
                    <a:lnTo>
                      <a:pt x="421" y="18"/>
                    </a:lnTo>
                    <a:lnTo>
                      <a:pt x="419" y="16"/>
                    </a:lnTo>
                    <a:lnTo>
                      <a:pt x="419" y="11"/>
                    </a:lnTo>
                    <a:lnTo>
                      <a:pt x="418" y="10"/>
                    </a:lnTo>
                    <a:lnTo>
                      <a:pt x="415" y="7"/>
                    </a:lnTo>
                    <a:lnTo>
                      <a:pt x="411" y="8"/>
                    </a:lnTo>
                    <a:lnTo>
                      <a:pt x="410" y="8"/>
                    </a:lnTo>
                    <a:lnTo>
                      <a:pt x="408" y="8"/>
                    </a:lnTo>
                    <a:lnTo>
                      <a:pt x="406" y="4"/>
                    </a:lnTo>
                    <a:lnTo>
                      <a:pt x="403" y="0"/>
                    </a:lnTo>
                    <a:lnTo>
                      <a:pt x="400" y="0"/>
                    </a:lnTo>
                    <a:lnTo>
                      <a:pt x="398" y="2"/>
                    </a:lnTo>
                    <a:lnTo>
                      <a:pt x="395" y="6"/>
                    </a:lnTo>
                    <a:lnTo>
                      <a:pt x="392" y="5"/>
                    </a:lnTo>
                    <a:lnTo>
                      <a:pt x="392" y="7"/>
                    </a:lnTo>
                    <a:lnTo>
                      <a:pt x="393" y="8"/>
                    </a:lnTo>
                    <a:lnTo>
                      <a:pt x="394" y="10"/>
                    </a:lnTo>
                    <a:lnTo>
                      <a:pt x="394" y="13"/>
                    </a:lnTo>
                    <a:lnTo>
                      <a:pt x="392" y="15"/>
                    </a:lnTo>
                    <a:lnTo>
                      <a:pt x="392" y="17"/>
                    </a:lnTo>
                    <a:lnTo>
                      <a:pt x="388" y="19"/>
                    </a:lnTo>
                    <a:lnTo>
                      <a:pt x="387" y="19"/>
                    </a:lnTo>
                    <a:lnTo>
                      <a:pt x="386" y="21"/>
                    </a:lnTo>
                    <a:lnTo>
                      <a:pt x="388" y="24"/>
                    </a:lnTo>
                    <a:lnTo>
                      <a:pt x="385" y="27"/>
                    </a:lnTo>
                    <a:lnTo>
                      <a:pt x="384" y="29"/>
                    </a:lnTo>
                    <a:lnTo>
                      <a:pt x="386" y="31"/>
                    </a:lnTo>
                    <a:lnTo>
                      <a:pt x="389" y="32"/>
                    </a:lnTo>
                    <a:lnTo>
                      <a:pt x="391" y="35"/>
                    </a:lnTo>
                    <a:lnTo>
                      <a:pt x="392" y="35"/>
                    </a:lnTo>
                    <a:lnTo>
                      <a:pt x="394" y="35"/>
                    </a:lnTo>
                    <a:lnTo>
                      <a:pt x="398" y="33"/>
                    </a:lnTo>
                    <a:lnTo>
                      <a:pt x="401" y="33"/>
                    </a:lnTo>
                    <a:lnTo>
                      <a:pt x="402" y="35"/>
                    </a:lnTo>
                    <a:lnTo>
                      <a:pt x="402" y="36"/>
                    </a:lnTo>
                    <a:lnTo>
                      <a:pt x="402" y="39"/>
                    </a:lnTo>
                    <a:lnTo>
                      <a:pt x="400" y="39"/>
                    </a:lnTo>
                    <a:lnTo>
                      <a:pt x="398" y="38"/>
                    </a:lnTo>
                    <a:lnTo>
                      <a:pt x="394" y="42"/>
                    </a:lnTo>
                    <a:lnTo>
                      <a:pt x="398" y="45"/>
                    </a:lnTo>
                    <a:lnTo>
                      <a:pt x="398" y="46"/>
                    </a:lnTo>
                    <a:lnTo>
                      <a:pt x="397" y="47"/>
                    </a:lnTo>
                    <a:lnTo>
                      <a:pt x="400" y="50"/>
                    </a:lnTo>
                    <a:lnTo>
                      <a:pt x="405" y="51"/>
                    </a:lnTo>
                    <a:lnTo>
                      <a:pt x="406" y="53"/>
                    </a:lnTo>
                    <a:lnTo>
                      <a:pt x="407" y="53"/>
                    </a:lnTo>
                    <a:lnTo>
                      <a:pt x="409" y="55"/>
                    </a:lnTo>
                    <a:lnTo>
                      <a:pt x="411" y="55"/>
                    </a:lnTo>
                    <a:lnTo>
                      <a:pt x="411" y="57"/>
                    </a:lnTo>
                    <a:lnTo>
                      <a:pt x="412" y="57"/>
                    </a:lnTo>
                    <a:lnTo>
                      <a:pt x="416" y="56"/>
                    </a:lnTo>
                    <a:lnTo>
                      <a:pt x="418" y="59"/>
                    </a:lnTo>
                    <a:lnTo>
                      <a:pt x="419" y="61"/>
                    </a:lnTo>
                    <a:lnTo>
                      <a:pt x="418" y="62"/>
                    </a:lnTo>
                    <a:lnTo>
                      <a:pt x="418" y="65"/>
                    </a:lnTo>
                    <a:lnTo>
                      <a:pt x="415" y="66"/>
                    </a:lnTo>
                    <a:lnTo>
                      <a:pt x="416" y="66"/>
                    </a:lnTo>
                    <a:lnTo>
                      <a:pt x="416" y="68"/>
                    </a:lnTo>
                    <a:lnTo>
                      <a:pt x="414" y="67"/>
                    </a:lnTo>
                    <a:lnTo>
                      <a:pt x="414" y="68"/>
                    </a:lnTo>
                    <a:lnTo>
                      <a:pt x="414" y="72"/>
                    </a:lnTo>
                    <a:lnTo>
                      <a:pt x="413" y="76"/>
                    </a:lnTo>
                    <a:lnTo>
                      <a:pt x="410" y="76"/>
                    </a:lnTo>
                    <a:lnTo>
                      <a:pt x="405" y="74"/>
                    </a:lnTo>
                    <a:lnTo>
                      <a:pt x="405" y="75"/>
                    </a:lnTo>
                    <a:lnTo>
                      <a:pt x="403" y="73"/>
                    </a:lnTo>
                    <a:lnTo>
                      <a:pt x="403" y="76"/>
                    </a:lnTo>
                    <a:lnTo>
                      <a:pt x="402" y="78"/>
                    </a:lnTo>
                    <a:lnTo>
                      <a:pt x="397" y="78"/>
                    </a:lnTo>
                    <a:lnTo>
                      <a:pt x="395" y="78"/>
                    </a:lnTo>
                    <a:lnTo>
                      <a:pt x="390" y="79"/>
                    </a:lnTo>
                    <a:lnTo>
                      <a:pt x="387" y="78"/>
                    </a:lnTo>
                    <a:lnTo>
                      <a:pt x="386" y="75"/>
                    </a:lnTo>
                    <a:lnTo>
                      <a:pt x="382" y="73"/>
                    </a:lnTo>
                    <a:lnTo>
                      <a:pt x="377" y="76"/>
                    </a:lnTo>
                    <a:lnTo>
                      <a:pt x="375" y="76"/>
                    </a:lnTo>
                    <a:lnTo>
                      <a:pt x="372" y="75"/>
                    </a:lnTo>
                    <a:lnTo>
                      <a:pt x="372" y="79"/>
                    </a:lnTo>
                    <a:lnTo>
                      <a:pt x="367" y="87"/>
                    </a:lnTo>
                    <a:lnTo>
                      <a:pt x="366" y="87"/>
                    </a:lnTo>
                    <a:lnTo>
                      <a:pt x="361" y="90"/>
                    </a:lnTo>
                    <a:lnTo>
                      <a:pt x="360" y="90"/>
                    </a:lnTo>
                    <a:lnTo>
                      <a:pt x="358" y="91"/>
                    </a:lnTo>
                    <a:lnTo>
                      <a:pt x="351" y="91"/>
                    </a:lnTo>
                    <a:lnTo>
                      <a:pt x="342" y="96"/>
                    </a:lnTo>
                    <a:lnTo>
                      <a:pt x="340" y="95"/>
                    </a:lnTo>
                    <a:lnTo>
                      <a:pt x="337" y="97"/>
                    </a:lnTo>
                    <a:lnTo>
                      <a:pt x="335" y="97"/>
                    </a:lnTo>
                    <a:lnTo>
                      <a:pt x="333" y="98"/>
                    </a:lnTo>
                    <a:lnTo>
                      <a:pt x="330" y="98"/>
                    </a:lnTo>
                    <a:lnTo>
                      <a:pt x="327" y="101"/>
                    </a:lnTo>
                    <a:lnTo>
                      <a:pt x="326" y="103"/>
                    </a:lnTo>
                    <a:lnTo>
                      <a:pt x="325" y="104"/>
                    </a:lnTo>
                    <a:lnTo>
                      <a:pt x="322" y="104"/>
                    </a:lnTo>
                    <a:lnTo>
                      <a:pt x="321" y="103"/>
                    </a:lnTo>
                    <a:lnTo>
                      <a:pt x="318" y="103"/>
                    </a:lnTo>
                    <a:lnTo>
                      <a:pt x="316" y="103"/>
                    </a:lnTo>
                    <a:lnTo>
                      <a:pt x="314" y="106"/>
                    </a:lnTo>
                    <a:lnTo>
                      <a:pt x="310" y="102"/>
                    </a:lnTo>
                    <a:lnTo>
                      <a:pt x="307" y="101"/>
                    </a:lnTo>
                    <a:lnTo>
                      <a:pt x="307" y="99"/>
                    </a:lnTo>
                    <a:lnTo>
                      <a:pt x="304" y="96"/>
                    </a:lnTo>
                    <a:lnTo>
                      <a:pt x="302" y="98"/>
                    </a:lnTo>
                    <a:lnTo>
                      <a:pt x="298" y="100"/>
                    </a:lnTo>
                    <a:lnTo>
                      <a:pt x="294" y="100"/>
                    </a:lnTo>
                    <a:lnTo>
                      <a:pt x="293" y="100"/>
                    </a:lnTo>
                    <a:lnTo>
                      <a:pt x="293" y="104"/>
                    </a:lnTo>
                    <a:lnTo>
                      <a:pt x="291" y="105"/>
                    </a:lnTo>
                    <a:lnTo>
                      <a:pt x="290" y="106"/>
                    </a:lnTo>
                    <a:lnTo>
                      <a:pt x="288" y="108"/>
                    </a:lnTo>
                    <a:lnTo>
                      <a:pt x="283" y="107"/>
                    </a:lnTo>
                    <a:lnTo>
                      <a:pt x="280" y="104"/>
                    </a:lnTo>
                    <a:lnTo>
                      <a:pt x="277" y="106"/>
                    </a:lnTo>
                    <a:lnTo>
                      <a:pt x="277" y="108"/>
                    </a:lnTo>
                    <a:lnTo>
                      <a:pt x="276" y="111"/>
                    </a:lnTo>
                    <a:lnTo>
                      <a:pt x="275" y="113"/>
                    </a:lnTo>
                    <a:lnTo>
                      <a:pt x="273" y="116"/>
                    </a:lnTo>
                    <a:lnTo>
                      <a:pt x="274" y="119"/>
                    </a:lnTo>
                    <a:lnTo>
                      <a:pt x="276" y="123"/>
                    </a:lnTo>
                    <a:lnTo>
                      <a:pt x="274" y="127"/>
                    </a:lnTo>
                    <a:lnTo>
                      <a:pt x="271" y="129"/>
                    </a:lnTo>
                    <a:lnTo>
                      <a:pt x="269" y="130"/>
                    </a:lnTo>
                    <a:lnTo>
                      <a:pt x="267" y="127"/>
                    </a:lnTo>
                    <a:lnTo>
                      <a:pt x="265" y="127"/>
                    </a:lnTo>
                    <a:lnTo>
                      <a:pt x="264" y="130"/>
                    </a:lnTo>
                    <a:lnTo>
                      <a:pt x="263" y="134"/>
                    </a:lnTo>
                    <a:lnTo>
                      <a:pt x="260" y="134"/>
                    </a:lnTo>
                    <a:lnTo>
                      <a:pt x="257" y="133"/>
                    </a:lnTo>
                    <a:lnTo>
                      <a:pt x="256" y="134"/>
                    </a:lnTo>
                    <a:lnTo>
                      <a:pt x="255" y="134"/>
                    </a:lnTo>
                    <a:lnTo>
                      <a:pt x="252" y="130"/>
                    </a:lnTo>
                    <a:lnTo>
                      <a:pt x="250" y="129"/>
                    </a:lnTo>
                    <a:lnTo>
                      <a:pt x="248" y="128"/>
                    </a:lnTo>
                    <a:lnTo>
                      <a:pt x="246" y="129"/>
                    </a:lnTo>
                    <a:lnTo>
                      <a:pt x="245" y="127"/>
                    </a:lnTo>
                    <a:lnTo>
                      <a:pt x="244" y="128"/>
                    </a:lnTo>
                    <a:lnTo>
                      <a:pt x="243" y="126"/>
                    </a:lnTo>
                    <a:lnTo>
                      <a:pt x="241" y="127"/>
                    </a:lnTo>
                    <a:lnTo>
                      <a:pt x="239" y="126"/>
                    </a:lnTo>
                    <a:lnTo>
                      <a:pt x="237" y="126"/>
                    </a:lnTo>
                    <a:lnTo>
                      <a:pt x="236" y="128"/>
                    </a:lnTo>
                    <a:lnTo>
                      <a:pt x="234" y="129"/>
                    </a:lnTo>
                    <a:lnTo>
                      <a:pt x="232" y="129"/>
                    </a:lnTo>
                    <a:lnTo>
                      <a:pt x="229" y="125"/>
                    </a:lnTo>
                    <a:lnTo>
                      <a:pt x="225" y="129"/>
                    </a:lnTo>
                    <a:lnTo>
                      <a:pt x="223" y="129"/>
                    </a:lnTo>
                    <a:lnTo>
                      <a:pt x="224" y="131"/>
                    </a:lnTo>
                    <a:lnTo>
                      <a:pt x="223" y="133"/>
                    </a:lnTo>
                    <a:lnTo>
                      <a:pt x="219" y="130"/>
                    </a:lnTo>
                    <a:lnTo>
                      <a:pt x="217" y="127"/>
                    </a:lnTo>
                    <a:lnTo>
                      <a:pt x="212" y="123"/>
                    </a:lnTo>
                    <a:lnTo>
                      <a:pt x="207" y="123"/>
                    </a:lnTo>
                    <a:lnTo>
                      <a:pt x="204" y="125"/>
                    </a:lnTo>
                    <a:lnTo>
                      <a:pt x="201" y="126"/>
                    </a:lnTo>
                    <a:lnTo>
                      <a:pt x="201" y="129"/>
                    </a:lnTo>
                    <a:lnTo>
                      <a:pt x="197" y="129"/>
                    </a:lnTo>
                    <a:lnTo>
                      <a:pt x="195" y="130"/>
                    </a:lnTo>
                    <a:lnTo>
                      <a:pt x="191" y="129"/>
                    </a:lnTo>
                    <a:lnTo>
                      <a:pt x="187" y="127"/>
                    </a:lnTo>
                    <a:lnTo>
                      <a:pt x="186" y="128"/>
                    </a:lnTo>
                    <a:lnTo>
                      <a:pt x="184" y="127"/>
                    </a:lnTo>
                    <a:lnTo>
                      <a:pt x="182" y="127"/>
                    </a:lnTo>
                    <a:lnTo>
                      <a:pt x="179" y="127"/>
                    </a:lnTo>
                    <a:lnTo>
                      <a:pt x="177" y="130"/>
                    </a:lnTo>
                    <a:lnTo>
                      <a:pt x="174" y="129"/>
                    </a:lnTo>
                    <a:lnTo>
                      <a:pt x="174" y="133"/>
                    </a:lnTo>
                    <a:lnTo>
                      <a:pt x="176" y="137"/>
                    </a:lnTo>
                    <a:lnTo>
                      <a:pt x="177" y="139"/>
                    </a:lnTo>
                    <a:lnTo>
                      <a:pt x="177" y="143"/>
                    </a:lnTo>
                    <a:lnTo>
                      <a:pt x="176" y="144"/>
                    </a:lnTo>
                    <a:lnTo>
                      <a:pt x="176" y="147"/>
                    </a:lnTo>
                    <a:lnTo>
                      <a:pt x="175" y="147"/>
                    </a:lnTo>
                    <a:lnTo>
                      <a:pt x="173" y="147"/>
                    </a:lnTo>
                    <a:lnTo>
                      <a:pt x="167" y="153"/>
                    </a:lnTo>
                    <a:lnTo>
                      <a:pt x="168" y="156"/>
                    </a:lnTo>
                    <a:lnTo>
                      <a:pt x="170" y="156"/>
                    </a:lnTo>
                    <a:lnTo>
                      <a:pt x="170" y="160"/>
                    </a:lnTo>
                    <a:lnTo>
                      <a:pt x="168" y="161"/>
                    </a:lnTo>
                    <a:lnTo>
                      <a:pt x="163" y="161"/>
                    </a:lnTo>
                    <a:lnTo>
                      <a:pt x="162" y="163"/>
                    </a:lnTo>
                    <a:lnTo>
                      <a:pt x="161" y="166"/>
                    </a:lnTo>
                    <a:lnTo>
                      <a:pt x="155" y="169"/>
                    </a:lnTo>
                    <a:lnTo>
                      <a:pt x="155" y="170"/>
                    </a:lnTo>
                    <a:lnTo>
                      <a:pt x="154" y="172"/>
                    </a:lnTo>
                    <a:lnTo>
                      <a:pt x="151" y="174"/>
                    </a:lnTo>
                    <a:lnTo>
                      <a:pt x="146" y="170"/>
                    </a:lnTo>
                    <a:lnTo>
                      <a:pt x="143" y="169"/>
                    </a:lnTo>
                    <a:lnTo>
                      <a:pt x="142" y="168"/>
                    </a:lnTo>
                    <a:lnTo>
                      <a:pt x="142" y="166"/>
                    </a:lnTo>
                    <a:lnTo>
                      <a:pt x="139" y="166"/>
                    </a:lnTo>
                    <a:lnTo>
                      <a:pt x="139" y="165"/>
                    </a:lnTo>
                    <a:lnTo>
                      <a:pt x="139" y="163"/>
                    </a:lnTo>
                    <a:lnTo>
                      <a:pt x="138" y="157"/>
                    </a:lnTo>
                    <a:lnTo>
                      <a:pt x="135" y="153"/>
                    </a:lnTo>
                    <a:lnTo>
                      <a:pt x="135" y="151"/>
                    </a:lnTo>
                    <a:lnTo>
                      <a:pt x="133" y="150"/>
                    </a:lnTo>
                    <a:lnTo>
                      <a:pt x="133" y="151"/>
                    </a:lnTo>
                    <a:lnTo>
                      <a:pt x="131" y="149"/>
                    </a:lnTo>
                    <a:lnTo>
                      <a:pt x="130" y="147"/>
                    </a:lnTo>
                    <a:lnTo>
                      <a:pt x="130" y="157"/>
                    </a:lnTo>
                    <a:lnTo>
                      <a:pt x="130" y="159"/>
                    </a:lnTo>
                    <a:lnTo>
                      <a:pt x="128" y="160"/>
                    </a:lnTo>
                    <a:lnTo>
                      <a:pt x="127" y="162"/>
                    </a:lnTo>
                    <a:lnTo>
                      <a:pt x="126" y="163"/>
                    </a:lnTo>
                    <a:lnTo>
                      <a:pt x="125" y="163"/>
                    </a:lnTo>
                    <a:lnTo>
                      <a:pt x="124" y="163"/>
                    </a:lnTo>
                    <a:lnTo>
                      <a:pt x="118" y="164"/>
                    </a:lnTo>
                    <a:lnTo>
                      <a:pt x="119" y="165"/>
                    </a:lnTo>
                    <a:lnTo>
                      <a:pt x="118" y="166"/>
                    </a:lnTo>
                    <a:lnTo>
                      <a:pt x="114" y="166"/>
                    </a:lnTo>
                    <a:lnTo>
                      <a:pt x="114" y="167"/>
                    </a:lnTo>
                    <a:lnTo>
                      <a:pt x="113" y="168"/>
                    </a:lnTo>
                    <a:lnTo>
                      <a:pt x="113" y="171"/>
                    </a:lnTo>
                    <a:lnTo>
                      <a:pt x="113" y="174"/>
                    </a:lnTo>
                    <a:lnTo>
                      <a:pt x="113" y="175"/>
                    </a:lnTo>
                    <a:lnTo>
                      <a:pt x="113" y="178"/>
                    </a:lnTo>
                    <a:lnTo>
                      <a:pt x="109" y="179"/>
                    </a:lnTo>
                    <a:lnTo>
                      <a:pt x="106" y="178"/>
                    </a:lnTo>
                    <a:lnTo>
                      <a:pt x="104" y="180"/>
                    </a:lnTo>
                    <a:lnTo>
                      <a:pt x="103" y="174"/>
                    </a:lnTo>
                    <a:lnTo>
                      <a:pt x="103" y="173"/>
                    </a:lnTo>
                    <a:lnTo>
                      <a:pt x="102" y="171"/>
                    </a:lnTo>
                    <a:lnTo>
                      <a:pt x="97" y="170"/>
                    </a:lnTo>
                    <a:lnTo>
                      <a:pt x="95" y="168"/>
                    </a:lnTo>
                    <a:lnTo>
                      <a:pt x="93" y="170"/>
                    </a:lnTo>
                    <a:lnTo>
                      <a:pt x="93" y="172"/>
                    </a:lnTo>
                    <a:lnTo>
                      <a:pt x="91" y="173"/>
                    </a:lnTo>
                    <a:lnTo>
                      <a:pt x="89" y="175"/>
                    </a:lnTo>
                    <a:lnTo>
                      <a:pt x="89" y="176"/>
                    </a:lnTo>
                    <a:lnTo>
                      <a:pt x="89" y="179"/>
                    </a:lnTo>
                    <a:lnTo>
                      <a:pt x="85" y="182"/>
                    </a:lnTo>
                    <a:lnTo>
                      <a:pt x="85" y="184"/>
                    </a:lnTo>
                    <a:lnTo>
                      <a:pt x="85" y="186"/>
                    </a:lnTo>
                    <a:lnTo>
                      <a:pt x="85" y="189"/>
                    </a:lnTo>
                    <a:lnTo>
                      <a:pt x="84" y="190"/>
                    </a:lnTo>
                    <a:lnTo>
                      <a:pt x="83" y="192"/>
                    </a:lnTo>
                    <a:lnTo>
                      <a:pt x="79" y="197"/>
                    </a:lnTo>
                    <a:lnTo>
                      <a:pt x="78" y="200"/>
                    </a:lnTo>
                    <a:lnTo>
                      <a:pt x="74" y="202"/>
                    </a:lnTo>
                    <a:lnTo>
                      <a:pt x="74" y="208"/>
                    </a:lnTo>
                    <a:lnTo>
                      <a:pt x="73" y="208"/>
                    </a:lnTo>
                    <a:lnTo>
                      <a:pt x="72" y="208"/>
                    </a:lnTo>
                    <a:lnTo>
                      <a:pt x="69" y="207"/>
                    </a:lnTo>
                    <a:lnTo>
                      <a:pt x="63" y="204"/>
                    </a:lnTo>
                    <a:lnTo>
                      <a:pt x="61" y="205"/>
                    </a:lnTo>
                    <a:lnTo>
                      <a:pt x="59" y="204"/>
                    </a:lnTo>
                    <a:lnTo>
                      <a:pt x="60" y="202"/>
                    </a:lnTo>
                    <a:lnTo>
                      <a:pt x="59" y="200"/>
                    </a:lnTo>
                    <a:lnTo>
                      <a:pt x="58" y="198"/>
                    </a:lnTo>
                    <a:lnTo>
                      <a:pt x="54" y="200"/>
                    </a:lnTo>
                    <a:lnTo>
                      <a:pt x="49" y="204"/>
                    </a:lnTo>
                    <a:lnTo>
                      <a:pt x="46" y="204"/>
                    </a:lnTo>
                    <a:lnTo>
                      <a:pt x="45" y="205"/>
                    </a:lnTo>
                    <a:lnTo>
                      <a:pt x="37" y="203"/>
                    </a:lnTo>
                    <a:lnTo>
                      <a:pt x="36" y="201"/>
                    </a:lnTo>
                    <a:lnTo>
                      <a:pt x="35" y="198"/>
                    </a:lnTo>
                    <a:lnTo>
                      <a:pt x="33" y="198"/>
                    </a:lnTo>
                    <a:lnTo>
                      <a:pt x="31" y="198"/>
                    </a:lnTo>
                    <a:lnTo>
                      <a:pt x="30" y="202"/>
                    </a:lnTo>
                    <a:lnTo>
                      <a:pt x="27" y="208"/>
                    </a:lnTo>
                    <a:lnTo>
                      <a:pt x="25" y="216"/>
                    </a:lnTo>
                    <a:lnTo>
                      <a:pt x="24" y="220"/>
                    </a:lnTo>
                    <a:lnTo>
                      <a:pt x="24" y="224"/>
                    </a:lnTo>
                    <a:lnTo>
                      <a:pt x="23" y="228"/>
                    </a:lnTo>
                    <a:lnTo>
                      <a:pt x="17" y="231"/>
                    </a:lnTo>
                    <a:lnTo>
                      <a:pt x="15" y="233"/>
                    </a:lnTo>
                    <a:lnTo>
                      <a:pt x="13" y="237"/>
                    </a:lnTo>
                    <a:lnTo>
                      <a:pt x="12" y="238"/>
                    </a:lnTo>
                    <a:lnTo>
                      <a:pt x="7" y="239"/>
                    </a:lnTo>
                    <a:lnTo>
                      <a:pt x="2" y="239"/>
                    </a:lnTo>
                    <a:lnTo>
                      <a:pt x="0" y="240"/>
                    </a:lnTo>
                    <a:lnTo>
                      <a:pt x="0" y="241"/>
                    </a:lnTo>
                    <a:lnTo>
                      <a:pt x="2" y="242"/>
                    </a:lnTo>
                    <a:lnTo>
                      <a:pt x="2" y="243"/>
                    </a:lnTo>
                    <a:lnTo>
                      <a:pt x="6" y="245"/>
                    </a:lnTo>
                    <a:lnTo>
                      <a:pt x="7" y="248"/>
                    </a:lnTo>
                    <a:lnTo>
                      <a:pt x="8" y="251"/>
                    </a:lnTo>
                    <a:lnTo>
                      <a:pt x="12" y="250"/>
                    </a:lnTo>
                    <a:lnTo>
                      <a:pt x="13" y="251"/>
                    </a:lnTo>
                    <a:lnTo>
                      <a:pt x="14" y="251"/>
                    </a:lnTo>
                    <a:lnTo>
                      <a:pt x="13" y="252"/>
                    </a:lnTo>
                    <a:lnTo>
                      <a:pt x="14" y="253"/>
                    </a:lnTo>
                    <a:lnTo>
                      <a:pt x="18" y="251"/>
                    </a:lnTo>
                    <a:lnTo>
                      <a:pt x="21" y="250"/>
                    </a:lnTo>
                    <a:lnTo>
                      <a:pt x="21" y="254"/>
                    </a:lnTo>
                    <a:lnTo>
                      <a:pt x="26" y="257"/>
                    </a:lnTo>
                    <a:lnTo>
                      <a:pt x="27" y="255"/>
                    </a:lnTo>
                    <a:lnTo>
                      <a:pt x="33" y="257"/>
                    </a:lnTo>
                    <a:lnTo>
                      <a:pt x="33" y="255"/>
                    </a:lnTo>
                    <a:lnTo>
                      <a:pt x="36" y="260"/>
                    </a:lnTo>
                    <a:lnTo>
                      <a:pt x="38" y="261"/>
                    </a:lnTo>
                    <a:lnTo>
                      <a:pt x="40" y="260"/>
                    </a:lnTo>
                    <a:lnTo>
                      <a:pt x="40" y="261"/>
                    </a:lnTo>
                    <a:lnTo>
                      <a:pt x="43" y="266"/>
                    </a:lnTo>
                    <a:lnTo>
                      <a:pt x="43" y="267"/>
                    </a:lnTo>
                    <a:lnTo>
                      <a:pt x="40" y="267"/>
                    </a:lnTo>
                    <a:lnTo>
                      <a:pt x="39" y="270"/>
                    </a:lnTo>
                    <a:lnTo>
                      <a:pt x="37" y="271"/>
                    </a:lnTo>
                    <a:lnTo>
                      <a:pt x="37" y="273"/>
                    </a:lnTo>
                    <a:lnTo>
                      <a:pt x="38" y="272"/>
                    </a:lnTo>
                    <a:lnTo>
                      <a:pt x="40" y="274"/>
                    </a:lnTo>
                    <a:lnTo>
                      <a:pt x="41" y="274"/>
                    </a:lnTo>
                    <a:lnTo>
                      <a:pt x="42" y="275"/>
                    </a:lnTo>
                    <a:lnTo>
                      <a:pt x="41" y="275"/>
                    </a:lnTo>
                    <a:lnTo>
                      <a:pt x="43" y="277"/>
                    </a:lnTo>
                    <a:lnTo>
                      <a:pt x="44" y="276"/>
                    </a:lnTo>
                    <a:lnTo>
                      <a:pt x="45" y="276"/>
                    </a:lnTo>
                    <a:lnTo>
                      <a:pt x="45" y="274"/>
                    </a:lnTo>
                    <a:lnTo>
                      <a:pt x="48" y="273"/>
                    </a:lnTo>
                    <a:lnTo>
                      <a:pt x="49" y="274"/>
                    </a:lnTo>
                    <a:lnTo>
                      <a:pt x="53" y="274"/>
                    </a:lnTo>
                    <a:lnTo>
                      <a:pt x="53" y="276"/>
                    </a:lnTo>
                    <a:lnTo>
                      <a:pt x="54" y="276"/>
                    </a:lnTo>
                    <a:lnTo>
                      <a:pt x="54" y="277"/>
                    </a:lnTo>
                    <a:lnTo>
                      <a:pt x="56" y="277"/>
                    </a:lnTo>
                    <a:lnTo>
                      <a:pt x="57" y="278"/>
                    </a:lnTo>
                    <a:lnTo>
                      <a:pt x="61" y="278"/>
                    </a:lnTo>
                    <a:lnTo>
                      <a:pt x="61" y="279"/>
                    </a:lnTo>
                    <a:lnTo>
                      <a:pt x="62" y="278"/>
                    </a:lnTo>
                    <a:lnTo>
                      <a:pt x="64" y="278"/>
                    </a:lnTo>
                    <a:lnTo>
                      <a:pt x="66" y="276"/>
                    </a:lnTo>
                    <a:lnTo>
                      <a:pt x="69" y="275"/>
                    </a:lnTo>
                    <a:lnTo>
                      <a:pt x="69" y="276"/>
                    </a:lnTo>
                    <a:lnTo>
                      <a:pt x="67" y="278"/>
                    </a:lnTo>
                    <a:lnTo>
                      <a:pt x="71" y="281"/>
                    </a:lnTo>
                    <a:lnTo>
                      <a:pt x="72" y="286"/>
                    </a:lnTo>
                    <a:lnTo>
                      <a:pt x="74" y="288"/>
                    </a:lnTo>
                    <a:lnTo>
                      <a:pt x="73" y="289"/>
                    </a:lnTo>
                    <a:lnTo>
                      <a:pt x="73" y="292"/>
                    </a:lnTo>
                    <a:lnTo>
                      <a:pt x="73" y="293"/>
                    </a:lnTo>
                    <a:lnTo>
                      <a:pt x="73" y="295"/>
                    </a:lnTo>
                    <a:lnTo>
                      <a:pt x="71" y="295"/>
                    </a:lnTo>
                    <a:lnTo>
                      <a:pt x="70" y="296"/>
                    </a:lnTo>
                    <a:lnTo>
                      <a:pt x="69" y="297"/>
                    </a:lnTo>
                    <a:lnTo>
                      <a:pt x="69" y="298"/>
                    </a:lnTo>
                    <a:lnTo>
                      <a:pt x="69" y="300"/>
                    </a:lnTo>
                    <a:lnTo>
                      <a:pt x="69" y="301"/>
                    </a:lnTo>
                    <a:lnTo>
                      <a:pt x="70" y="301"/>
                    </a:lnTo>
                    <a:lnTo>
                      <a:pt x="69" y="303"/>
                    </a:lnTo>
                    <a:lnTo>
                      <a:pt x="71" y="304"/>
                    </a:lnTo>
                    <a:lnTo>
                      <a:pt x="70" y="306"/>
                    </a:lnTo>
                    <a:lnTo>
                      <a:pt x="68" y="307"/>
                    </a:lnTo>
                    <a:lnTo>
                      <a:pt x="68" y="309"/>
                    </a:lnTo>
                    <a:lnTo>
                      <a:pt x="69" y="309"/>
                    </a:lnTo>
                    <a:lnTo>
                      <a:pt x="67" y="311"/>
                    </a:lnTo>
                    <a:lnTo>
                      <a:pt x="66" y="311"/>
                    </a:lnTo>
                    <a:lnTo>
                      <a:pt x="67" y="312"/>
                    </a:lnTo>
                    <a:lnTo>
                      <a:pt x="65" y="315"/>
                    </a:lnTo>
                    <a:lnTo>
                      <a:pt x="64" y="315"/>
                    </a:lnTo>
                    <a:lnTo>
                      <a:pt x="64" y="316"/>
                    </a:lnTo>
                    <a:lnTo>
                      <a:pt x="65" y="316"/>
                    </a:lnTo>
                    <a:lnTo>
                      <a:pt x="69" y="318"/>
                    </a:lnTo>
                    <a:lnTo>
                      <a:pt x="68" y="319"/>
                    </a:lnTo>
                    <a:lnTo>
                      <a:pt x="67" y="321"/>
                    </a:lnTo>
                    <a:lnTo>
                      <a:pt x="69" y="322"/>
                    </a:lnTo>
                    <a:lnTo>
                      <a:pt x="69" y="326"/>
                    </a:lnTo>
                    <a:lnTo>
                      <a:pt x="69" y="329"/>
                    </a:lnTo>
                    <a:lnTo>
                      <a:pt x="67" y="330"/>
                    </a:lnTo>
                    <a:lnTo>
                      <a:pt x="65" y="330"/>
                    </a:lnTo>
                    <a:lnTo>
                      <a:pt x="64" y="331"/>
                    </a:lnTo>
                    <a:lnTo>
                      <a:pt x="65" y="332"/>
                    </a:lnTo>
                    <a:lnTo>
                      <a:pt x="64" y="332"/>
                    </a:lnTo>
                    <a:lnTo>
                      <a:pt x="65" y="336"/>
                    </a:lnTo>
                    <a:lnTo>
                      <a:pt x="67" y="337"/>
                    </a:lnTo>
                    <a:lnTo>
                      <a:pt x="69" y="336"/>
                    </a:lnTo>
                    <a:lnTo>
                      <a:pt x="70" y="336"/>
                    </a:lnTo>
                    <a:lnTo>
                      <a:pt x="70" y="338"/>
                    </a:lnTo>
                    <a:lnTo>
                      <a:pt x="72" y="339"/>
                    </a:lnTo>
                    <a:lnTo>
                      <a:pt x="70" y="340"/>
                    </a:lnTo>
                    <a:lnTo>
                      <a:pt x="71" y="342"/>
                    </a:lnTo>
                    <a:lnTo>
                      <a:pt x="70" y="342"/>
                    </a:lnTo>
                    <a:lnTo>
                      <a:pt x="70" y="343"/>
                    </a:lnTo>
                    <a:lnTo>
                      <a:pt x="70" y="345"/>
                    </a:lnTo>
                    <a:lnTo>
                      <a:pt x="67" y="345"/>
                    </a:lnTo>
                    <a:lnTo>
                      <a:pt x="67" y="348"/>
                    </a:lnTo>
                    <a:lnTo>
                      <a:pt x="70" y="349"/>
                    </a:lnTo>
                    <a:lnTo>
                      <a:pt x="72" y="349"/>
                    </a:lnTo>
                    <a:lnTo>
                      <a:pt x="72" y="350"/>
                    </a:lnTo>
                    <a:lnTo>
                      <a:pt x="70" y="352"/>
                    </a:lnTo>
                    <a:lnTo>
                      <a:pt x="71" y="353"/>
                    </a:lnTo>
                    <a:lnTo>
                      <a:pt x="72" y="353"/>
                    </a:lnTo>
                    <a:lnTo>
                      <a:pt x="74" y="355"/>
                    </a:lnTo>
                    <a:lnTo>
                      <a:pt x="73" y="357"/>
                    </a:lnTo>
                    <a:lnTo>
                      <a:pt x="75" y="360"/>
                    </a:lnTo>
                    <a:lnTo>
                      <a:pt x="75" y="363"/>
                    </a:lnTo>
                    <a:lnTo>
                      <a:pt x="75" y="364"/>
                    </a:lnTo>
                    <a:lnTo>
                      <a:pt x="75" y="366"/>
                    </a:lnTo>
                    <a:lnTo>
                      <a:pt x="73" y="368"/>
                    </a:lnTo>
                    <a:lnTo>
                      <a:pt x="77" y="368"/>
                    </a:lnTo>
                    <a:lnTo>
                      <a:pt x="75" y="374"/>
                    </a:lnTo>
                    <a:lnTo>
                      <a:pt x="72" y="372"/>
                    </a:lnTo>
                    <a:lnTo>
                      <a:pt x="70" y="373"/>
                    </a:lnTo>
                    <a:lnTo>
                      <a:pt x="71" y="373"/>
                    </a:lnTo>
                    <a:lnTo>
                      <a:pt x="70" y="375"/>
                    </a:lnTo>
                    <a:lnTo>
                      <a:pt x="73" y="377"/>
                    </a:lnTo>
                    <a:lnTo>
                      <a:pt x="73" y="378"/>
                    </a:lnTo>
                    <a:lnTo>
                      <a:pt x="75" y="379"/>
                    </a:lnTo>
                    <a:lnTo>
                      <a:pt x="73" y="380"/>
                    </a:lnTo>
                    <a:lnTo>
                      <a:pt x="74" y="383"/>
                    </a:lnTo>
                    <a:lnTo>
                      <a:pt x="73" y="383"/>
                    </a:lnTo>
                    <a:lnTo>
                      <a:pt x="70" y="380"/>
                    </a:lnTo>
                    <a:lnTo>
                      <a:pt x="71" y="379"/>
                    </a:lnTo>
                    <a:lnTo>
                      <a:pt x="70" y="379"/>
                    </a:lnTo>
                    <a:lnTo>
                      <a:pt x="69" y="379"/>
                    </a:lnTo>
                    <a:lnTo>
                      <a:pt x="65" y="378"/>
                    </a:lnTo>
                    <a:lnTo>
                      <a:pt x="65" y="379"/>
                    </a:lnTo>
                    <a:lnTo>
                      <a:pt x="65" y="378"/>
                    </a:lnTo>
                    <a:lnTo>
                      <a:pt x="62" y="379"/>
                    </a:lnTo>
                    <a:lnTo>
                      <a:pt x="61" y="380"/>
                    </a:lnTo>
                    <a:lnTo>
                      <a:pt x="62" y="381"/>
                    </a:lnTo>
                    <a:lnTo>
                      <a:pt x="62" y="382"/>
                    </a:lnTo>
                    <a:lnTo>
                      <a:pt x="59" y="382"/>
                    </a:lnTo>
                    <a:lnTo>
                      <a:pt x="60" y="383"/>
                    </a:lnTo>
                    <a:lnTo>
                      <a:pt x="61" y="383"/>
                    </a:lnTo>
                    <a:lnTo>
                      <a:pt x="63" y="387"/>
                    </a:lnTo>
                    <a:lnTo>
                      <a:pt x="64" y="385"/>
                    </a:lnTo>
                    <a:lnTo>
                      <a:pt x="66" y="387"/>
                    </a:lnTo>
                    <a:lnTo>
                      <a:pt x="69" y="386"/>
                    </a:lnTo>
                    <a:lnTo>
                      <a:pt x="71" y="387"/>
                    </a:lnTo>
                    <a:lnTo>
                      <a:pt x="72" y="389"/>
                    </a:lnTo>
                    <a:lnTo>
                      <a:pt x="72" y="390"/>
                    </a:lnTo>
                    <a:lnTo>
                      <a:pt x="74" y="392"/>
                    </a:lnTo>
                    <a:lnTo>
                      <a:pt x="72" y="393"/>
                    </a:lnTo>
                    <a:lnTo>
                      <a:pt x="75" y="393"/>
                    </a:lnTo>
                    <a:lnTo>
                      <a:pt x="75" y="394"/>
                    </a:lnTo>
                    <a:lnTo>
                      <a:pt x="75" y="399"/>
                    </a:lnTo>
                    <a:lnTo>
                      <a:pt x="75" y="400"/>
                    </a:lnTo>
                    <a:lnTo>
                      <a:pt x="76" y="401"/>
                    </a:lnTo>
                    <a:lnTo>
                      <a:pt x="77" y="400"/>
                    </a:lnTo>
                    <a:lnTo>
                      <a:pt x="82" y="402"/>
                    </a:lnTo>
                    <a:lnTo>
                      <a:pt x="82" y="400"/>
                    </a:lnTo>
                    <a:lnTo>
                      <a:pt x="83" y="400"/>
                    </a:lnTo>
                    <a:lnTo>
                      <a:pt x="83" y="404"/>
                    </a:lnTo>
                    <a:lnTo>
                      <a:pt x="82" y="408"/>
                    </a:lnTo>
                    <a:lnTo>
                      <a:pt x="84" y="408"/>
                    </a:lnTo>
                    <a:lnTo>
                      <a:pt x="85" y="406"/>
                    </a:lnTo>
                    <a:lnTo>
                      <a:pt x="87" y="406"/>
                    </a:lnTo>
                    <a:lnTo>
                      <a:pt x="87" y="404"/>
                    </a:lnTo>
                    <a:lnTo>
                      <a:pt x="88" y="403"/>
                    </a:lnTo>
                    <a:lnTo>
                      <a:pt x="89" y="403"/>
                    </a:lnTo>
                    <a:lnTo>
                      <a:pt x="91" y="402"/>
                    </a:lnTo>
                    <a:lnTo>
                      <a:pt x="92" y="403"/>
                    </a:lnTo>
                    <a:lnTo>
                      <a:pt x="90" y="403"/>
                    </a:lnTo>
                    <a:lnTo>
                      <a:pt x="92" y="405"/>
                    </a:lnTo>
                    <a:lnTo>
                      <a:pt x="91" y="408"/>
                    </a:lnTo>
                    <a:lnTo>
                      <a:pt x="92" y="408"/>
                    </a:lnTo>
                    <a:lnTo>
                      <a:pt x="93" y="408"/>
                    </a:lnTo>
                    <a:lnTo>
                      <a:pt x="94" y="408"/>
                    </a:lnTo>
                    <a:lnTo>
                      <a:pt x="94" y="413"/>
                    </a:lnTo>
                    <a:lnTo>
                      <a:pt x="95" y="415"/>
                    </a:lnTo>
                    <a:lnTo>
                      <a:pt x="98" y="413"/>
                    </a:lnTo>
                    <a:lnTo>
                      <a:pt x="99" y="413"/>
                    </a:lnTo>
                    <a:lnTo>
                      <a:pt x="100" y="414"/>
                    </a:lnTo>
                    <a:lnTo>
                      <a:pt x="100" y="413"/>
                    </a:lnTo>
                    <a:lnTo>
                      <a:pt x="103" y="413"/>
                    </a:lnTo>
                    <a:lnTo>
                      <a:pt x="103" y="410"/>
                    </a:lnTo>
                    <a:lnTo>
                      <a:pt x="104" y="411"/>
                    </a:lnTo>
                    <a:lnTo>
                      <a:pt x="105" y="408"/>
                    </a:lnTo>
                    <a:lnTo>
                      <a:pt x="104" y="407"/>
                    </a:lnTo>
                    <a:lnTo>
                      <a:pt x="106" y="406"/>
                    </a:lnTo>
                    <a:lnTo>
                      <a:pt x="107" y="406"/>
                    </a:lnTo>
                    <a:lnTo>
                      <a:pt x="108" y="405"/>
                    </a:lnTo>
                    <a:lnTo>
                      <a:pt x="110" y="405"/>
                    </a:lnTo>
                    <a:lnTo>
                      <a:pt x="110" y="402"/>
                    </a:lnTo>
                    <a:lnTo>
                      <a:pt x="114" y="403"/>
                    </a:lnTo>
                    <a:lnTo>
                      <a:pt x="118" y="406"/>
                    </a:lnTo>
                    <a:lnTo>
                      <a:pt x="119" y="406"/>
                    </a:lnTo>
                    <a:lnTo>
                      <a:pt x="120" y="403"/>
                    </a:lnTo>
                    <a:lnTo>
                      <a:pt x="119" y="403"/>
                    </a:lnTo>
                    <a:lnTo>
                      <a:pt x="120" y="402"/>
                    </a:lnTo>
                    <a:lnTo>
                      <a:pt x="121" y="402"/>
                    </a:lnTo>
                    <a:lnTo>
                      <a:pt x="122" y="402"/>
                    </a:lnTo>
                    <a:lnTo>
                      <a:pt x="122" y="399"/>
                    </a:lnTo>
                    <a:lnTo>
                      <a:pt x="122" y="398"/>
                    </a:lnTo>
                    <a:lnTo>
                      <a:pt x="123" y="394"/>
                    </a:lnTo>
                    <a:lnTo>
                      <a:pt x="123" y="395"/>
                    </a:lnTo>
                    <a:lnTo>
                      <a:pt x="124" y="395"/>
                    </a:lnTo>
                    <a:lnTo>
                      <a:pt x="124" y="396"/>
                    </a:lnTo>
                    <a:lnTo>
                      <a:pt x="126" y="397"/>
                    </a:lnTo>
                    <a:lnTo>
                      <a:pt x="128" y="398"/>
                    </a:lnTo>
                    <a:lnTo>
                      <a:pt x="129" y="396"/>
                    </a:lnTo>
                    <a:lnTo>
                      <a:pt x="129" y="393"/>
                    </a:lnTo>
                    <a:lnTo>
                      <a:pt x="129" y="391"/>
                    </a:lnTo>
                    <a:lnTo>
                      <a:pt x="127" y="389"/>
                    </a:lnTo>
                    <a:lnTo>
                      <a:pt x="131" y="389"/>
                    </a:lnTo>
                    <a:lnTo>
                      <a:pt x="131" y="387"/>
                    </a:lnTo>
                    <a:lnTo>
                      <a:pt x="130" y="383"/>
                    </a:lnTo>
                    <a:lnTo>
                      <a:pt x="131" y="382"/>
                    </a:lnTo>
                    <a:lnTo>
                      <a:pt x="131" y="378"/>
                    </a:lnTo>
                    <a:lnTo>
                      <a:pt x="132" y="380"/>
                    </a:lnTo>
                    <a:lnTo>
                      <a:pt x="132" y="379"/>
                    </a:lnTo>
                    <a:lnTo>
                      <a:pt x="135" y="379"/>
                    </a:lnTo>
                    <a:lnTo>
                      <a:pt x="136" y="379"/>
                    </a:lnTo>
                    <a:lnTo>
                      <a:pt x="136" y="378"/>
                    </a:lnTo>
                    <a:lnTo>
                      <a:pt x="138" y="378"/>
                    </a:lnTo>
                    <a:lnTo>
                      <a:pt x="138" y="377"/>
                    </a:lnTo>
                    <a:lnTo>
                      <a:pt x="139" y="377"/>
                    </a:lnTo>
                    <a:lnTo>
                      <a:pt x="139" y="376"/>
                    </a:lnTo>
                    <a:lnTo>
                      <a:pt x="139" y="374"/>
                    </a:lnTo>
                    <a:lnTo>
                      <a:pt x="141" y="374"/>
                    </a:lnTo>
                    <a:lnTo>
                      <a:pt x="141" y="373"/>
                    </a:lnTo>
                    <a:lnTo>
                      <a:pt x="144" y="373"/>
                    </a:lnTo>
                    <a:lnTo>
                      <a:pt x="145" y="370"/>
                    </a:lnTo>
                    <a:lnTo>
                      <a:pt x="148" y="370"/>
                    </a:lnTo>
                    <a:lnTo>
                      <a:pt x="149" y="370"/>
                    </a:lnTo>
                    <a:lnTo>
                      <a:pt x="149" y="369"/>
                    </a:lnTo>
                    <a:lnTo>
                      <a:pt x="150" y="368"/>
                    </a:lnTo>
                    <a:lnTo>
                      <a:pt x="153" y="373"/>
                    </a:lnTo>
                    <a:lnTo>
                      <a:pt x="154" y="374"/>
                    </a:lnTo>
                    <a:lnTo>
                      <a:pt x="155" y="373"/>
                    </a:lnTo>
                    <a:lnTo>
                      <a:pt x="158" y="373"/>
                    </a:lnTo>
                    <a:lnTo>
                      <a:pt x="162" y="370"/>
                    </a:lnTo>
                    <a:lnTo>
                      <a:pt x="163" y="372"/>
                    </a:lnTo>
                    <a:lnTo>
                      <a:pt x="163" y="370"/>
                    </a:lnTo>
                    <a:lnTo>
                      <a:pt x="169" y="368"/>
                    </a:lnTo>
                    <a:lnTo>
                      <a:pt x="168" y="365"/>
                    </a:lnTo>
                    <a:lnTo>
                      <a:pt x="171" y="366"/>
                    </a:lnTo>
                    <a:lnTo>
                      <a:pt x="172" y="365"/>
                    </a:lnTo>
                    <a:lnTo>
                      <a:pt x="174" y="362"/>
                    </a:lnTo>
                    <a:lnTo>
                      <a:pt x="173" y="361"/>
                    </a:lnTo>
                    <a:lnTo>
                      <a:pt x="174" y="361"/>
                    </a:lnTo>
                    <a:lnTo>
                      <a:pt x="176" y="361"/>
                    </a:lnTo>
                    <a:lnTo>
                      <a:pt x="178" y="359"/>
                    </a:lnTo>
                    <a:lnTo>
                      <a:pt x="183" y="353"/>
                    </a:lnTo>
                    <a:lnTo>
                      <a:pt x="184" y="355"/>
                    </a:lnTo>
                    <a:lnTo>
                      <a:pt x="183" y="355"/>
                    </a:lnTo>
                    <a:lnTo>
                      <a:pt x="183" y="361"/>
                    </a:lnTo>
                    <a:lnTo>
                      <a:pt x="187" y="360"/>
                    </a:lnTo>
                    <a:lnTo>
                      <a:pt x="188" y="361"/>
                    </a:lnTo>
                    <a:lnTo>
                      <a:pt x="190" y="362"/>
                    </a:lnTo>
                    <a:lnTo>
                      <a:pt x="191" y="362"/>
                    </a:lnTo>
                    <a:lnTo>
                      <a:pt x="195" y="361"/>
                    </a:lnTo>
                    <a:lnTo>
                      <a:pt x="202" y="362"/>
                    </a:lnTo>
                    <a:lnTo>
                      <a:pt x="204" y="364"/>
                    </a:lnTo>
                    <a:lnTo>
                      <a:pt x="205" y="361"/>
                    </a:lnTo>
                    <a:lnTo>
                      <a:pt x="206" y="359"/>
                    </a:lnTo>
                    <a:lnTo>
                      <a:pt x="206" y="360"/>
                    </a:lnTo>
                    <a:lnTo>
                      <a:pt x="208" y="356"/>
                    </a:lnTo>
                    <a:lnTo>
                      <a:pt x="209" y="358"/>
                    </a:lnTo>
                    <a:lnTo>
                      <a:pt x="208" y="361"/>
                    </a:lnTo>
                    <a:lnTo>
                      <a:pt x="209" y="361"/>
                    </a:lnTo>
                    <a:lnTo>
                      <a:pt x="211" y="359"/>
                    </a:lnTo>
                    <a:lnTo>
                      <a:pt x="212" y="359"/>
                    </a:lnTo>
                    <a:lnTo>
                      <a:pt x="215" y="355"/>
                    </a:lnTo>
                    <a:lnTo>
                      <a:pt x="218" y="352"/>
                    </a:lnTo>
                    <a:lnTo>
                      <a:pt x="219" y="349"/>
                    </a:lnTo>
                    <a:lnTo>
                      <a:pt x="220" y="349"/>
                    </a:lnTo>
                    <a:lnTo>
                      <a:pt x="223" y="348"/>
                    </a:lnTo>
                    <a:lnTo>
                      <a:pt x="224" y="348"/>
                    </a:lnTo>
                    <a:lnTo>
                      <a:pt x="225" y="351"/>
                    </a:lnTo>
                    <a:lnTo>
                      <a:pt x="226" y="349"/>
                    </a:lnTo>
                    <a:lnTo>
                      <a:pt x="227" y="350"/>
                    </a:lnTo>
                    <a:lnTo>
                      <a:pt x="229" y="356"/>
                    </a:lnTo>
                    <a:lnTo>
                      <a:pt x="228" y="359"/>
                    </a:lnTo>
                    <a:lnTo>
                      <a:pt x="229" y="360"/>
                    </a:lnTo>
                    <a:lnTo>
                      <a:pt x="236" y="359"/>
                    </a:lnTo>
                    <a:lnTo>
                      <a:pt x="236" y="355"/>
                    </a:lnTo>
                    <a:lnTo>
                      <a:pt x="237" y="355"/>
                    </a:lnTo>
                    <a:lnTo>
                      <a:pt x="237" y="352"/>
                    </a:lnTo>
                    <a:lnTo>
                      <a:pt x="239" y="350"/>
                    </a:lnTo>
                    <a:lnTo>
                      <a:pt x="241" y="348"/>
                    </a:lnTo>
                    <a:lnTo>
                      <a:pt x="244" y="348"/>
                    </a:lnTo>
                    <a:lnTo>
                      <a:pt x="250" y="347"/>
                    </a:lnTo>
                    <a:lnTo>
                      <a:pt x="251" y="347"/>
                    </a:lnTo>
                    <a:lnTo>
                      <a:pt x="250" y="348"/>
                    </a:lnTo>
                    <a:lnTo>
                      <a:pt x="254" y="347"/>
                    </a:lnTo>
                    <a:lnTo>
                      <a:pt x="255" y="345"/>
                    </a:lnTo>
                    <a:lnTo>
                      <a:pt x="256" y="345"/>
                    </a:lnTo>
                    <a:lnTo>
                      <a:pt x="258" y="345"/>
                    </a:lnTo>
                    <a:lnTo>
                      <a:pt x="259" y="342"/>
                    </a:lnTo>
                    <a:lnTo>
                      <a:pt x="260" y="342"/>
                    </a:lnTo>
                    <a:lnTo>
                      <a:pt x="261" y="342"/>
                    </a:lnTo>
                    <a:lnTo>
                      <a:pt x="263" y="341"/>
                    </a:lnTo>
                    <a:lnTo>
                      <a:pt x="263" y="339"/>
                    </a:lnTo>
                    <a:lnTo>
                      <a:pt x="263" y="335"/>
                    </a:lnTo>
                    <a:lnTo>
                      <a:pt x="262" y="335"/>
                    </a:lnTo>
                    <a:lnTo>
                      <a:pt x="263" y="335"/>
                    </a:lnTo>
                    <a:lnTo>
                      <a:pt x="263" y="334"/>
                    </a:lnTo>
                    <a:lnTo>
                      <a:pt x="265" y="335"/>
                    </a:lnTo>
                    <a:lnTo>
                      <a:pt x="268" y="335"/>
                    </a:lnTo>
                    <a:lnTo>
                      <a:pt x="268" y="336"/>
                    </a:lnTo>
                    <a:lnTo>
                      <a:pt x="272" y="337"/>
                    </a:lnTo>
                    <a:lnTo>
                      <a:pt x="274" y="337"/>
                    </a:lnTo>
                    <a:lnTo>
                      <a:pt x="274" y="336"/>
                    </a:lnTo>
                    <a:lnTo>
                      <a:pt x="273" y="335"/>
                    </a:lnTo>
                    <a:lnTo>
                      <a:pt x="274" y="335"/>
                    </a:lnTo>
                    <a:lnTo>
                      <a:pt x="273" y="334"/>
                    </a:lnTo>
                    <a:lnTo>
                      <a:pt x="274" y="331"/>
                    </a:lnTo>
                    <a:lnTo>
                      <a:pt x="273" y="329"/>
                    </a:lnTo>
                    <a:lnTo>
                      <a:pt x="272" y="329"/>
                    </a:lnTo>
                    <a:lnTo>
                      <a:pt x="272" y="322"/>
                    </a:lnTo>
                    <a:lnTo>
                      <a:pt x="275" y="322"/>
                    </a:lnTo>
                    <a:lnTo>
                      <a:pt x="274" y="321"/>
                    </a:lnTo>
                    <a:lnTo>
                      <a:pt x="276" y="321"/>
                    </a:lnTo>
                    <a:lnTo>
                      <a:pt x="277" y="319"/>
                    </a:lnTo>
                    <a:lnTo>
                      <a:pt x="279" y="319"/>
                    </a:lnTo>
                    <a:lnTo>
                      <a:pt x="280" y="318"/>
                    </a:lnTo>
                    <a:lnTo>
                      <a:pt x="283" y="318"/>
                    </a:lnTo>
                    <a:lnTo>
                      <a:pt x="285" y="321"/>
                    </a:lnTo>
                    <a:lnTo>
                      <a:pt x="286" y="321"/>
                    </a:lnTo>
                    <a:lnTo>
                      <a:pt x="286" y="319"/>
                    </a:lnTo>
                    <a:lnTo>
                      <a:pt x="288" y="319"/>
                    </a:lnTo>
                    <a:lnTo>
                      <a:pt x="292" y="322"/>
                    </a:lnTo>
                    <a:lnTo>
                      <a:pt x="296" y="323"/>
                    </a:lnTo>
                    <a:lnTo>
                      <a:pt x="296" y="325"/>
                    </a:lnTo>
                    <a:lnTo>
                      <a:pt x="297" y="325"/>
                    </a:lnTo>
                    <a:lnTo>
                      <a:pt x="297" y="326"/>
                    </a:lnTo>
                    <a:lnTo>
                      <a:pt x="298" y="326"/>
                    </a:lnTo>
                    <a:lnTo>
                      <a:pt x="303" y="326"/>
                    </a:lnTo>
                    <a:lnTo>
                      <a:pt x="309" y="327"/>
                    </a:lnTo>
                    <a:lnTo>
                      <a:pt x="309" y="329"/>
                    </a:lnTo>
                    <a:lnTo>
                      <a:pt x="311" y="329"/>
                    </a:lnTo>
                    <a:lnTo>
                      <a:pt x="315" y="330"/>
                    </a:lnTo>
                    <a:lnTo>
                      <a:pt x="315" y="331"/>
                    </a:lnTo>
                    <a:lnTo>
                      <a:pt x="316" y="330"/>
                    </a:lnTo>
                    <a:lnTo>
                      <a:pt x="322" y="330"/>
                    </a:lnTo>
                    <a:lnTo>
                      <a:pt x="323" y="329"/>
                    </a:lnTo>
                    <a:lnTo>
                      <a:pt x="326" y="331"/>
                    </a:lnTo>
                    <a:lnTo>
                      <a:pt x="327" y="328"/>
                    </a:lnTo>
                    <a:lnTo>
                      <a:pt x="326" y="326"/>
                    </a:lnTo>
                    <a:lnTo>
                      <a:pt x="330" y="328"/>
                    </a:lnTo>
                    <a:lnTo>
                      <a:pt x="330" y="329"/>
                    </a:lnTo>
                    <a:lnTo>
                      <a:pt x="331" y="331"/>
                    </a:lnTo>
                    <a:lnTo>
                      <a:pt x="331" y="330"/>
                    </a:lnTo>
                    <a:lnTo>
                      <a:pt x="334" y="332"/>
                    </a:lnTo>
                    <a:lnTo>
                      <a:pt x="334" y="331"/>
                    </a:lnTo>
                    <a:lnTo>
                      <a:pt x="335" y="331"/>
                    </a:lnTo>
                    <a:lnTo>
                      <a:pt x="336" y="329"/>
                    </a:lnTo>
                    <a:lnTo>
                      <a:pt x="341" y="334"/>
                    </a:lnTo>
                    <a:lnTo>
                      <a:pt x="343" y="335"/>
                    </a:lnTo>
                    <a:lnTo>
                      <a:pt x="343" y="336"/>
                    </a:lnTo>
                    <a:lnTo>
                      <a:pt x="344" y="336"/>
                    </a:lnTo>
                    <a:lnTo>
                      <a:pt x="346" y="332"/>
                    </a:lnTo>
                    <a:lnTo>
                      <a:pt x="348" y="331"/>
                    </a:lnTo>
                    <a:lnTo>
                      <a:pt x="348" y="330"/>
                    </a:lnTo>
                    <a:lnTo>
                      <a:pt x="350" y="326"/>
                    </a:lnTo>
                    <a:lnTo>
                      <a:pt x="351" y="327"/>
                    </a:lnTo>
                    <a:lnTo>
                      <a:pt x="353" y="325"/>
                    </a:lnTo>
                    <a:lnTo>
                      <a:pt x="355" y="328"/>
                    </a:lnTo>
                    <a:lnTo>
                      <a:pt x="357" y="329"/>
                    </a:lnTo>
                    <a:lnTo>
                      <a:pt x="358" y="328"/>
                    </a:lnTo>
                    <a:lnTo>
                      <a:pt x="358" y="327"/>
                    </a:lnTo>
                    <a:lnTo>
                      <a:pt x="359" y="329"/>
                    </a:lnTo>
                    <a:lnTo>
                      <a:pt x="361" y="329"/>
                    </a:lnTo>
                    <a:lnTo>
                      <a:pt x="361" y="326"/>
                    </a:lnTo>
                    <a:lnTo>
                      <a:pt x="365" y="328"/>
                    </a:lnTo>
                    <a:lnTo>
                      <a:pt x="365" y="326"/>
                    </a:lnTo>
                    <a:lnTo>
                      <a:pt x="366" y="326"/>
                    </a:lnTo>
                    <a:lnTo>
                      <a:pt x="367" y="326"/>
                    </a:lnTo>
                    <a:lnTo>
                      <a:pt x="369" y="326"/>
                    </a:lnTo>
                    <a:lnTo>
                      <a:pt x="369" y="327"/>
                    </a:lnTo>
                    <a:lnTo>
                      <a:pt x="370" y="328"/>
                    </a:lnTo>
                    <a:lnTo>
                      <a:pt x="370" y="329"/>
                    </a:lnTo>
                    <a:lnTo>
                      <a:pt x="372" y="329"/>
                    </a:lnTo>
                    <a:lnTo>
                      <a:pt x="372" y="331"/>
                    </a:lnTo>
                    <a:lnTo>
                      <a:pt x="372" y="330"/>
                    </a:lnTo>
                    <a:lnTo>
                      <a:pt x="374" y="331"/>
                    </a:lnTo>
                    <a:lnTo>
                      <a:pt x="372" y="329"/>
                    </a:lnTo>
                    <a:lnTo>
                      <a:pt x="374" y="329"/>
                    </a:lnTo>
                    <a:lnTo>
                      <a:pt x="374" y="330"/>
                    </a:lnTo>
                    <a:lnTo>
                      <a:pt x="374" y="331"/>
                    </a:lnTo>
                    <a:lnTo>
                      <a:pt x="375" y="330"/>
                    </a:lnTo>
                    <a:lnTo>
                      <a:pt x="376" y="330"/>
                    </a:lnTo>
                    <a:lnTo>
                      <a:pt x="378" y="326"/>
                    </a:lnTo>
                    <a:lnTo>
                      <a:pt x="378" y="324"/>
                    </a:lnTo>
                    <a:lnTo>
                      <a:pt x="378" y="323"/>
                    </a:lnTo>
                    <a:lnTo>
                      <a:pt x="377" y="322"/>
                    </a:lnTo>
                    <a:lnTo>
                      <a:pt x="378" y="322"/>
                    </a:lnTo>
                    <a:lnTo>
                      <a:pt x="378" y="318"/>
                    </a:lnTo>
                    <a:lnTo>
                      <a:pt x="381" y="319"/>
                    </a:lnTo>
                    <a:lnTo>
                      <a:pt x="381" y="314"/>
                    </a:lnTo>
                    <a:lnTo>
                      <a:pt x="381" y="312"/>
                    </a:lnTo>
                    <a:lnTo>
                      <a:pt x="382" y="312"/>
                    </a:lnTo>
                    <a:lnTo>
                      <a:pt x="382" y="310"/>
                    </a:lnTo>
                    <a:lnTo>
                      <a:pt x="381" y="309"/>
                    </a:lnTo>
                    <a:lnTo>
                      <a:pt x="380" y="308"/>
                    </a:lnTo>
                    <a:lnTo>
                      <a:pt x="380" y="306"/>
                    </a:lnTo>
                    <a:lnTo>
                      <a:pt x="378" y="305"/>
                    </a:lnTo>
                    <a:lnTo>
                      <a:pt x="378" y="304"/>
                    </a:lnTo>
                    <a:lnTo>
                      <a:pt x="381" y="302"/>
                    </a:lnTo>
                    <a:lnTo>
                      <a:pt x="381" y="304"/>
                    </a:lnTo>
                    <a:lnTo>
                      <a:pt x="382" y="303"/>
                    </a:lnTo>
                    <a:lnTo>
                      <a:pt x="381" y="302"/>
                    </a:lnTo>
                    <a:lnTo>
                      <a:pt x="381" y="301"/>
                    </a:lnTo>
                    <a:lnTo>
                      <a:pt x="380" y="299"/>
                    </a:lnTo>
                    <a:lnTo>
                      <a:pt x="381" y="298"/>
                    </a:lnTo>
                    <a:lnTo>
                      <a:pt x="381" y="297"/>
                    </a:lnTo>
                    <a:lnTo>
                      <a:pt x="381" y="296"/>
                    </a:lnTo>
                    <a:lnTo>
                      <a:pt x="379" y="295"/>
                    </a:lnTo>
                    <a:lnTo>
                      <a:pt x="379" y="294"/>
                    </a:lnTo>
                    <a:lnTo>
                      <a:pt x="381" y="293"/>
                    </a:lnTo>
                    <a:lnTo>
                      <a:pt x="382" y="293"/>
                    </a:lnTo>
                    <a:lnTo>
                      <a:pt x="382" y="292"/>
                    </a:lnTo>
                    <a:lnTo>
                      <a:pt x="384" y="291"/>
                    </a:lnTo>
                    <a:lnTo>
                      <a:pt x="388" y="296"/>
                    </a:lnTo>
                    <a:lnTo>
                      <a:pt x="394" y="300"/>
                    </a:lnTo>
                    <a:lnTo>
                      <a:pt x="394" y="298"/>
                    </a:lnTo>
                    <a:lnTo>
                      <a:pt x="395" y="299"/>
                    </a:lnTo>
                    <a:lnTo>
                      <a:pt x="394" y="298"/>
                    </a:lnTo>
                    <a:lnTo>
                      <a:pt x="395" y="296"/>
                    </a:lnTo>
                    <a:lnTo>
                      <a:pt x="393" y="296"/>
                    </a:lnTo>
                    <a:lnTo>
                      <a:pt x="392" y="295"/>
                    </a:lnTo>
                    <a:lnTo>
                      <a:pt x="394" y="293"/>
                    </a:lnTo>
                    <a:lnTo>
                      <a:pt x="395" y="295"/>
                    </a:lnTo>
                    <a:lnTo>
                      <a:pt x="396" y="293"/>
                    </a:lnTo>
                    <a:lnTo>
                      <a:pt x="395" y="292"/>
                    </a:lnTo>
                    <a:lnTo>
                      <a:pt x="397" y="292"/>
                    </a:lnTo>
                    <a:lnTo>
                      <a:pt x="397" y="285"/>
                    </a:lnTo>
                    <a:lnTo>
                      <a:pt x="401" y="289"/>
                    </a:lnTo>
                    <a:lnTo>
                      <a:pt x="404" y="289"/>
                    </a:lnTo>
                    <a:lnTo>
                      <a:pt x="404" y="286"/>
                    </a:lnTo>
                    <a:lnTo>
                      <a:pt x="407" y="289"/>
                    </a:lnTo>
                    <a:lnTo>
                      <a:pt x="410" y="289"/>
                    </a:lnTo>
                    <a:lnTo>
                      <a:pt x="410" y="285"/>
                    </a:lnTo>
                    <a:lnTo>
                      <a:pt x="411" y="284"/>
                    </a:lnTo>
                    <a:lnTo>
                      <a:pt x="411" y="281"/>
                    </a:lnTo>
                    <a:lnTo>
                      <a:pt x="411" y="280"/>
                    </a:lnTo>
                    <a:lnTo>
                      <a:pt x="410" y="279"/>
                    </a:lnTo>
                    <a:lnTo>
                      <a:pt x="411" y="279"/>
                    </a:lnTo>
                    <a:lnTo>
                      <a:pt x="411" y="275"/>
                    </a:lnTo>
                    <a:lnTo>
                      <a:pt x="408" y="267"/>
                    </a:lnTo>
                    <a:lnTo>
                      <a:pt x="413" y="266"/>
                    </a:lnTo>
                    <a:lnTo>
                      <a:pt x="413" y="261"/>
                    </a:lnTo>
                    <a:lnTo>
                      <a:pt x="417" y="264"/>
                    </a:lnTo>
                    <a:lnTo>
                      <a:pt x="416" y="261"/>
                    </a:lnTo>
                    <a:lnTo>
                      <a:pt x="416" y="258"/>
                    </a:lnTo>
                    <a:lnTo>
                      <a:pt x="414" y="258"/>
                    </a:lnTo>
                    <a:lnTo>
                      <a:pt x="415" y="255"/>
                    </a:lnTo>
                    <a:lnTo>
                      <a:pt x="413" y="254"/>
                    </a:lnTo>
                    <a:lnTo>
                      <a:pt x="414" y="254"/>
                    </a:lnTo>
                    <a:lnTo>
                      <a:pt x="414" y="253"/>
                    </a:lnTo>
                    <a:lnTo>
                      <a:pt x="413" y="253"/>
                    </a:lnTo>
                    <a:lnTo>
                      <a:pt x="411" y="252"/>
                    </a:lnTo>
                    <a:lnTo>
                      <a:pt x="411" y="253"/>
                    </a:lnTo>
                    <a:lnTo>
                      <a:pt x="410" y="252"/>
                    </a:lnTo>
                    <a:lnTo>
                      <a:pt x="410" y="251"/>
                    </a:lnTo>
                    <a:lnTo>
                      <a:pt x="410" y="252"/>
                    </a:lnTo>
                    <a:lnTo>
                      <a:pt x="406" y="251"/>
                    </a:lnTo>
                    <a:lnTo>
                      <a:pt x="407" y="248"/>
                    </a:lnTo>
                    <a:lnTo>
                      <a:pt x="406" y="249"/>
                    </a:lnTo>
                    <a:lnTo>
                      <a:pt x="406" y="248"/>
                    </a:lnTo>
                    <a:lnTo>
                      <a:pt x="406" y="245"/>
                    </a:lnTo>
                    <a:lnTo>
                      <a:pt x="405" y="245"/>
                    </a:lnTo>
                    <a:lnTo>
                      <a:pt x="406" y="244"/>
                    </a:lnTo>
                    <a:lnTo>
                      <a:pt x="405" y="244"/>
                    </a:lnTo>
                    <a:lnTo>
                      <a:pt x="406" y="242"/>
                    </a:lnTo>
                    <a:lnTo>
                      <a:pt x="405" y="242"/>
                    </a:lnTo>
                    <a:lnTo>
                      <a:pt x="405" y="241"/>
                    </a:lnTo>
                    <a:lnTo>
                      <a:pt x="404" y="238"/>
                    </a:lnTo>
                    <a:lnTo>
                      <a:pt x="402" y="237"/>
                    </a:lnTo>
                    <a:lnTo>
                      <a:pt x="402" y="235"/>
                    </a:lnTo>
                    <a:lnTo>
                      <a:pt x="402" y="231"/>
                    </a:lnTo>
                    <a:lnTo>
                      <a:pt x="402" y="230"/>
                    </a:lnTo>
                    <a:lnTo>
                      <a:pt x="402" y="228"/>
                    </a:lnTo>
                    <a:lnTo>
                      <a:pt x="401" y="228"/>
                    </a:lnTo>
                    <a:lnTo>
                      <a:pt x="401" y="225"/>
                    </a:lnTo>
                    <a:lnTo>
                      <a:pt x="400" y="225"/>
                    </a:lnTo>
                    <a:lnTo>
                      <a:pt x="400" y="224"/>
                    </a:lnTo>
                    <a:lnTo>
                      <a:pt x="400" y="221"/>
                    </a:lnTo>
                    <a:lnTo>
                      <a:pt x="397" y="219"/>
                    </a:lnTo>
                    <a:lnTo>
                      <a:pt x="397" y="218"/>
                    </a:lnTo>
                    <a:lnTo>
                      <a:pt x="396" y="215"/>
                    </a:lnTo>
                    <a:lnTo>
                      <a:pt x="394" y="215"/>
                    </a:lnTo>
                    <a:lnTo>
                      <a:pt x="395" y="213"/>
                    </a:lnTo>
                    <a:lnTo>
                      <a:pt x="395" y="208"/>
                    </a:lnTo>
                    <a:lnTo>
                      <a:pt x="392" y="206"/>
                    </a:lnTo>
                    <a:lnTo>
                      <a:pt x="392" y="204"/>
                    </a:lnTo>
                    <a:lnTo>
                      <a:pt x="393" y="204"/>
                    </a:lnTo>
                    <a:lnTo>
                      <a:pt x="390" y="201"/>
                    </a:lnTo>
                    <a:lnTo>
                      <a:pt x="392" y="197"/>
                    </a:lnTo>
                    <a:lnTo>
                      <a:pt x="392" y="196"/>
                    </a:lnTo>
                    <a:lnTo>
                      <a:pt x="392" y="192"/>
                    </a:lnTo>
                    <a:lnTo>
                      <a:pt x="392" y="191"/>
                    </a:lnTo>
                    <a:lnTo>
                      <a:pt x="392" y="190"/>
                    </a:lnTo>
                    <a:lnTo>
                      <a:pt x="392" y="187"/>
                    </a:lnTo>
                    <a:lnTo>
                      <a:pt x="390" y="187"/>
                    </a:lnTo>
                    <a:lnTo>
                      <a:pt x="388" y="187"/>
                    </a:lnTo>
                    <a:lnTo>
                      <a:pt x="389" y="182"/>
                    </a:lnTo>
                    <a:lnTo>
                      <a:pt x="392" y="177"/>
                    </a:lnTo>
                    <a:lnTo>
                      <a:pt x="398" y="173"/>
                    </a:lnTo>
                    <a:lnTo>
                      <a:pt x="398" y="171"/>
                    </a:lnTo>
                    <a:lnTo>
                      <a:pt x="396" y="169"/>
                    </a:lnTo>
                    <a:lnTo>
                      <a:pt x="397" y="166"/>
                    </a:lnTo>
                    <a:lnTo>
                      <a:pt x="398" y="164"/>
                    </a:lnTo>
                    <a:lnTo>
                      <a:pt x="398" y="161"/>
                    </a:lnTo>
                    <a:lnTo>
                      <a:pt x="400" y="159"/>
                    </a:lnTo>
                    <a:lnTo>
                      <a:pt x="404" y="158"/>
                    </a:lnTo>
                    <a:lnTo>
                      <a:pt x="408" y="157"/>
                    </a:lnTo>
                    <a:lnTo>
                      <a:pt x="410" y="153"/>
                    </a:lnTo>
                    <a:lnTo>
                      <a:pt x="411" y="151"/>
                    </a:lnTo>
                    <a:lnTo>
                      <a:pt x="411" y="153"/>
                    </a:lnTo>
                    <a:lnTo>
                      <a:pt x="411" y="155"/>
                    </a:lnTo>
                    <a:lnTo>
                      <a:pt x="414" y="155"/>
                    </a:lnTo>
                    <a:lnTo>
                      <a:pt x="415" y="153"/>
                    </a:lnTo>
                    <a:lnTo>
                      <a:pt x="412" y="150"/>
                    </a:lnTo>
                    <a:lnTo>
                      <a:pt x="413" y="147"/>
                    </a:lnTo>
                    <a:lnTo>
                      <a:pt x="414" y="147"/>
                    </a:lnTo>
                    <a:lnTo>
                      <a:pt x="414" y="145"/>
                    </a:lnTo>
                    <a:lnTo>
                      <a:pt x="416" y="140"/>
                    </a:lnTo>
                    <a:lnTo>
                      <a:pt x="418" y="137"/>
                    </a:lnTo>
                    <a:lnTo>
                      <a:pt x="418" y="136"/>
                    </a:lnTo>
                    <a:lnTo>
                      <a:pt x="420" y="136"/>
                    </a:lnTo>
                    <a:lnTo>
                      <a:pt x="422" y="138"/>
                    </a:lnTo>
                    <a:lnTo>
                      <a:pt x="424" y="134"/>
                    </a:lnTo>
                    <a:lnTo>
                      <a:pt x="422" y="132"/>
                    </a:lnTo>
                    <a:lnTo>
                      <a:pt x="423" y="130"/>
                    </a:lnTo>
                    <a:lnTo>
                      <a:pt x="426" y="129"/>
                    </a:lnTo>
                    <a:lnTo>
                      <a:pt x="426" y="128"/>
                    </a:lnTo>
                    <a:lnTo>
                      <a:pt x="425" y="127"/>
                    </a:lnTo>
                    <a:lnTo>
                      <a:pt x="424" y="127"/>
                    </a:lnTo>
                    <a:lnTo>
                      <a:pt x="424" y="125"/>
                    </a:lnTo>
                    <a:lnTo>
                      <a:pt x="424" y="124"/>
                    </a:lnTo>
                    <a:lnTo>
                      <a:pt x="425" y="122"/>
                    </a:lnTo>
                    <a:lnTo>
                      <a:pt x="427" y="123"/>
                    </a:lnTo>
                    <a:lnTo>
                      <a:pt x="427" y="122"/>
                    </a:lnTo>
                    <a:lnTo>
                      <a:pt x="425" y="121"/>
                    </a:lnTo>
                    <a:lnTo>
                      <a:pt x="424" y="122"/>
                    </a:lnTo>
                    <a:lnTo>
                      <a:pt x="423" y="121"/>
                    </a:lnTo>
                    <a:lnTo>
                      <a:pt x="424" y="121"/>
                    </a:lnTo>
                    <a:lnTo>
                      <a:pt x="422" y="119"/>
                    </a:lnTo>
                    <a:lnTo>
                      <a:pt x="425" y="118"/>
                    </a:lnTo>
                    <a:lnTo>
                      <a:pt x="427" y="121"/>
                    </a:lnTo>
                    <a:lnTo>
                      <a:pt x="429" y="119"/>
                    </a:lnTo>
                    <a:lnTo>
                      <a:pt x="432" y="118"/>
                    </a:lnTo>
                    <a:lnTo>
                      <a:pt x="433" y="119"/>
                    </a:lnTo>
                    <a:lnTo>
                      <a:pt x="434" y="119"/>
                    </a:lnTo>
                    <a:lnTo>
                      <a:pt x="433" y="121"/>
                    </a:lnTo>
                    <a:lnTo>
                      <a:pt x="432" y="122"/>
                    </a:lnTo>
                    <a:lnTo>
                      <a:pt x="434" y="121"/>
                    </a:lnTo>
                    <a:lnTo>
                      <a:pt x="435" y="122"/>
                    </a:lnTo>
                    <a:lnTo>
                      <a:pt x="435" y="121"/>
                    </a:lnTo>
                    <a:lnTo>
                      <a:pt x="436" y="121"/>
                    </a:lnTo>
                    <a:lnTo>
                      <a:pt x="439" y="124"/>
                    </a:lnTo>
                    <a:lnTo>
                      <a:pt x="440" y="127"/>
                    </a:lnTo>
                    <a:lnTo>
                      <a:pt x="443" y="128"/>
                    </a:lnTo>
                    <a:lnTo>
                      <a:pt x="444" y="129"/>
                    </a:lnTo>
                    <a:lnTo>
                      <a:pt x="446" y="129"/>
                    </a:lnTo>
                    <a:lnTo>
                      <a:pt x="447" y="131"/>
                    </a:lnTo>
                    <a:lnTo>
                      <a:pt x="448" y="129"/>
                    </a:lnTo>
                    <a:lnTo>
                      <a:pt x="448" y="130"/>
                    </a:lnTo>
                    <a:lnTo>
                      <a:pt x="450" y="130"/>
                    </a:lnTo>
                    <a:lnTo>
                      <a:pt x="453" y="129"/>
                    </a:lnTo>
                    <a:lnTo>
                      <a:pt x="454" y="126"/>
                    </a:lnTo>
                    <a:lnTo>
                      <a:pt x="454" y="122"/>
                    </a:lnTo>
                    <a:lnTo>
                      <a:pt x="455" y="120"/>
                    </a:lnTo>
                    <a:lnTo>
                      <a:pt x="455" y="117"/>
                    </a:lnTo>
                    <a:lnTo>
                      <a:pt x="457" y="116"/>
                    </a:lnTo>
                    <a:lnTo>
                      <a:pt x="457" y="112"/>
                    </a:lnTo>
                    <a:lnTo>
                      <a:pt x="457" y="111"/>
                    </a:lnTo>
                    <a:lnTo>
                      <a:pt x="463" y="113"/>
                    </a:lnTo>
                    <a:lnTo>
                      <a:pt x="465" y="112"/>
                    </a:lnTo>
                    <a:lnTo>
                      <a:pt x="467" y="112"/>
                    </a:lnTo>
                    <a:lnTo>
                      <a:pt x="468" y="111"/>
                    </a:lnTo>
                    <a:lnTo>
                      <a:pt x="471" y="104"/>
                    </a:lnTo>
                    <a:lnTo>
                      <a:pt x="472" y="101"/>
                    </a:lnTo>
                    <a:lnTo>
                      <a:pt x="473" y="100"/>
                    </a:lnTo>
                    <a:lnTo>
                      <a:pt x="477" y="91"/>
                    </a:lnTo>
                    <a:lnTo>
                      <a:pt x="479" y="86"/>
                    </a:lnTo>
                    <a:lnTo>
                      <a:pt x="484" y="83"/>
                    </a:lnTo>
                    <a:lnTo>
                      <a:pt x="485" y="74"/>
                    </a:lnTo>
                    <a:lnTo>
                      <a:pt x="484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6" name="Freeform 52">
                <a:extLst>
                  <a:ext uri="{FF2B5EF4-FFF2-40B4-BE49-F238E27FC236}">
                    <a16:creationId xmlns:a16="http://schemas.microsoft.com/office/drawing/2014/main" id="{DEAC2E44-3EBA-477A-B107-4D0C3335E6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" y="2680"/>
                <a:ext cx="485" cy="415"/>
              </a:xfrm>
              <a:custGeom>
                <a:avLst/>
                <a:gdLst>
                  <a:gd name="T0" fmla="*/ 471 w 485"/>
                  <a:gd name="T1" fmla="*/ 53 h 415"/>
                  <a:gd name="T2" fmla="*/ 460 w 485"/>
                  <a:gd name="T3" fmla="*/ 30 h 415"/>
                  <a:gd name="T4" fmla="*/ 433 w 485"/>
                  <a:gd name="T5" fmla="*/ 19 h 415"/>
                  <a:gd name="T6" fmla="*/ 400 w 485"/>
                  <a:gd name="T7" fmla="*/ 0 h 415"/>
                  <a:gd name="T8" fmla="*/ 384 w 485"/>
                  <a:gd name="T9" fmla="*/ 29 h 415"/>
                  <a:gd name="T10" fmla="*/ 398 w 485"/>
                  <a:gd name="T11" fmla="*/ 46 h 415"/>
                  <a:gd name="T12" fmla="*/ 415 w 485"/>
                  <a:gd name="T13" fmla="*/ 66 h 415"/>
                  <a:gd name="T14" fmla="*/ 397 w 485"/>
                  <a:gd name="T15" fmla="*/ 78 h 415"/>
                  <a:gd name="T16" fmla="*/ 351 w 485"/>
                  <a:gd name="T17" fmla="*/ 91 h 415"/>
                  <a:gd name="T18" fmla="*/ 310 w 485"/>
                  <a:gd name="T19" fmla="*/ 102 h 415"/>
                  <a:gd name="T20" fmla="*/ 277 w 485"/>
                  <a:gd name="T21" fmla="*/ 108 h 415"/>
                  <a:gd name="T22" fmla="*/ 257 w 485"/>
                  <a:gd name="T23" fmla="*/ 133 h 415"/>
                  <a:gd name="T24" fmla="*/ 232 w 485"/>
                  <a:gd name="T25" fmla="*/ 129 h 415"/>
                  <a:gd name="T26" fmla="*/ 191 w 485"/>
                  <a:gd name="T27" fmla="*/ 129 h 415"/>
                  <a:gd name="T28" fmla="*/ 173 w 485"/>
                  <a:gd name="T29" fmla="*/ 147 h 415"/>
                  <a:gd name="T30" fmla="*/ 142 w 485"/>
                  <a:gd name="T31" fmla="*/ 168 h 415"/>
                  <a:gd name="T32" fmla="*/ 128 w 485"/>
                  <a:gd name="T33" fmla="*/ 160 h 415"/>
                  <a:gd name="T34" fmla="*/ 109 w 485"/>
                  <a:gd name="T35" fmla="*/ 179 h 415"/>
                  <a:gd name="T36" fmla="*/ 85 w 485"/>
                  <a:gd name="T37" fmla="*/ 184 h 415"/>
                  <a:gd name="T38" fmla="*/ 60 w 485"/>
                  <a:gd name="T39" fmla="*/ 202 h 415"/>
                  <a:gd name="T40" fmla="*/ 24 w 485"/>
                  <a:gd name="T41" fmla="*/ 220 h 415"/>
                  <a:gd name="T42" fmla="*/ 8 w 485"/>
                  <a:gd name="T43" fmla="*/ 251 h 415"/>
                  <a:gd name="T44" fmla="*/ 40 w 485"/>
                  <a:gd name="T45" fmla="*/ 260 h 415"/>
                  <a:gd name="T46" fmla="*/ 45 w 485"/>
                  <a:gd name="T47" fmla="*/ 276 h 415"/>
                  <a:gd name="T48" fmla="*/ 66 w 485"/>
                  <a:gd name="T49" fmla="*/ 276 h 415"/>
                  <a:gd name="T50" fmla="*/ 69 w 485"/>
                  <a:gd name="T51" fmla="*/ 300 h 415"/>
                  <a:gd name="T52" fmla="*/ 64 w 485"/>
                  <a:gd name="T53" fmla="*/ 316 h 415"/>
                  <a:gd name="T54" fmla="*/ 69 w 485"/>
                  <a:gd name="T55" fmla="*/ 336 h 415"/>
                  <a:gd name="T56" fmla="*/ 70 w 485"/>
                  <a:gd name="T57" fmla="*/ 352 h 415"/>
                  <a:gd name="T58" fmla="*/ 70 w 485"/>
                  <a:gd name="T59" fmla="*/ 375 h 415"/>
                  <a:gd name="T60" fmla="*/ 65 w 485"/>
                  <a:gd name="T61" fmla="*/ 379 h 415"/>
                  <a:gd name="T62" fmla="*/ 72 w 485"/>
                  <a:gd name="T63" fmla="*/ 390 h 415"/>
                  <a:gd name="T64" fmla="*/ 84 w 485"/>
                  <a:gd name="T65" fmla="*/ 408 h 415"/>
                  <a:gd name="T66" fmla="*/ 94 w 485"/>
                  <a:gd name="T67" fmla="*/ 413 h 415"/>
                  <a:gd name="T68" fmla="*/ 110 w 485"/>
                  <a:gd name="T69" fmla="*/ 402 h 415"/>
                  <a:gd name="T70" fmla="*/ 124 w 485"/>
                  <a:gd name="T71" fmla="*/ 396 h 415"/>
                  <a:gd name="T72" fmla="*/ 136 w 485"/>
                  <a:gd name="T73" fmla="*/ 379 h 415"/>
                  <a:gd name="T74" fmla="*/ 150 w 485"/>
                  <a:gd name="T75" fmla="*/ 368 h 415"/>
                  <a:gd name="T76" fmla="*/ 174 w 485"/>
                  <a:gd name="T77" fmla="*/ 361 h 415"/>
                  <a:gd name="T78" fmla="*/ 206 w 485"/>
                  <a:gd name="T79" fmla="*/ 359 h 415"/>
                  <a:gd name="T80" fmla="*/ 226 w 485"/>
                  <a:gd name="T81" fmla="*/ 349 h 415"/>
                  <a:gd name="T82" fmla="*/ 254 w 485"/>
                  <a:gd name="T83" fmla="*/ 347 h 415"/>
                  <a:gd name="T84" fmla="*/ 265 w 485"/>
                  <a:gd name="T85" fmla="*/ 335 h 415"/>
                  <a:gd name="T86" fmla="*/ 274 w 485"/>
                  <a:gd name="T87" fmla="*/ 321 h 415"/>
                  <a:gd name="T88" fmla="*/ 297 w 485"/>
                  <a:gd name="T89" fmla="*/ 326 h 415"/>
                  <a:gd name="T90" fmla="*/ 330 w 485"/>
                  <a:gd name="T91" fmla="*/ 329 h 415"/>
                  <a:gd name="T92" fmla="*/ 350 w 485"/>
                  <a:gd name="T93" fmla="*/ 326 h 415"/>
                  <a:gd name="T94" fmla="*/ 369 w 485"/>
                  <a:gd name="T95" fmla="*/ 327 h 415"/>
                  <a:gd name="T96" fmla="*/ 378 w 485"/>
                  <a:gd name="T97" fmla="*/ 326 h 415"/>
                  <a:gd name="T98" fmla="*/ 378 w 485"/>
                  <a:gd name="T99" fmla="*/ 305 h 415"/>
                  <a:gd name="T100" fmla="*/ 381 w 485"/>
                  <a:gd name="T101" fmla="*/ 293 h 415"/>
                  <a:gd name="T102" fmla="*/ 396 w 485"/>
                  <a:gd name="T103" fmla="*/ 293 h 415"/>
                  <a:gd name="T104" fmla="*/ 411 w 485"/>
                  <a:gd name="T105" fmla="*/ 279 h 415"/>
                  <a:gd name="T106" fmla="*/ 411 w 485"/>
                  <a:gd name="T107" fmla="*/ 253 h 415"/>
                  <a:gd name="T108" fmla="*/ 405 w 485"/>
                  <a:gd name="T109" fmla="*/ 242 h 415"/>
                  <a:gd name="T110" fmla="*/ 397 w 485"/>
                  <a:gd name="T111" fmla="*/ 219 h 415"/>
                  <a:gd name="T112" fmla="*/ 392 w 485"/>
                  <a:gd name="T113" fmla="*/ 187 h 415"/>
                  <a:gd name="T114" fmla="*/ 408 w 485"/>
                  <a:gd name="T115" fmla="*/ 157 h 415"/>
                  <a:gd name="T116" fmla="*/ 418 w 485"/>
                  <a:gd name="T117" fmla="*/ 136 h 415"/>
                  <a:gd name="T118" fmla="*/ 427 w 485"/>
                  <a:gd name="T119" fmla="*/ 123 h 415"/>
                  <a:gd name="T120" fmla="*/ 434 w 485"/>
                  <a:gd name="T121" fmla="*/ 121 h 415"/>
                  <a:gd name="T122" fmla="*/ 454 w 485"/>
                  <a:gd name="T123" fmla="*/ 122 h 415"/>
                  <a:gd name="T124" fmla="*/ 484 w 485"/>
                  <a:gd name="T125" fmla="*/ 83 h 41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85"/>
                  <a:gd name="T190" fmla="*/ 0 h 415"/>
                  <a:gd name="T191" fmla="*/ 485 w 485"/>
                  <a:gd name="T192" fmla="*/ 415 h 41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85" h="415">
                    <a:moveTo>
                      <a:pt x="484" y="72"/>
                    </a:moveTo>
                    <a:lnTo>
                      <a:pt x="482" y="71"/>
                    </a:lnTo>
                    <a:lnTo>
                      <a:pt x="478" y="73"/>
                    </a:lnTo>
                    <a:lnTo>
                      <a:pt x="475" y="73"/>
                    </a:lnTo>
                    <a:lnTo>
                      <a:pt x="473" y="74"/>
                    </a:lnTo>
                    <a:lnTo>
                      <a:pt x="470" y="74"/>
                    </a:lnTo>
                    <a:lnTo>
                      <a:pt x="465" y="77"/>
                    </a:lnTo>
                    <a:lnTo>
                      <a:pt x="464" y="76"/>
                    </a:lnTo>
                    <a:lnTo>
                      <a:pt x="461" y="74"/>
                    </a:lnTo>
                    <a:lnTo>
                      <a:pt x="460" y="71"/>
                    </a:lnTo>
                    <a:lnTo>
                      <a:pt x="463" y="66"/>
                    </a:lnTo>
                    <a:lnTo>
                      <a:pt x="467" y="62"/>
                    </a:lnTo>
                    <a:lnTo>
                      <a:pt x="468" y="60"/>
                    </a:lnTo>
                    <a:lnTo>
                      <a:pt x="471" y="55"/>
                    </a:lnTo>
                    <a:lnTo>
                      <a:pt x="471" y="53"/>
                    </a:lnTo>
                    <a:lnTo>
                      <a:pt x="472" y="52"/>
                    </a:lnTo>
                    <a:lnTo>
                      <a:pt x="472" y="49"/>
                    </a:lnTo>
                    <a:lnTo>
                      <a:pt x="473" y="48"/>
                    </a:lnTo>
                    <a:lnTo>
                      <a:pt x="474" y="43"/>
                    </a:lnTo>
                    <a:lnTo>
                      <a:pt x="473" y="43"/>
                    </a:lnTo>
                    <a:lnTo>
                      <a:pt x="470" y="40"/>
                    </a:lnTo>
                    <a:lnTo>
                      <a:pt x="470" y="37"/>
                    </a:lnTo>
                    <a:lnTo>
                      <a:pt x="467" y="33"/>
                    </a:lnTo>
                    <a:lnTo>
                      <a:pt x="466" y="32"/>
                    </a:lnTo>
                    <a:lnTo>
                      <a:pt x="465" y="32"/>
                    </a:lnTo>
                    <a:lnTo>
                      <a:pt x="459" y="33"/>
                    </a:lnTo>
                    <a:lnTo>
                      <a:pt x="458" y="32"/>
                    </a:lnTo>
                    <a:lnTo>
                      <a:pt x="459" y="31"/>
                    </a:lnTo>
                    <a:lnTo>
                      <a:pt x="460" y="30"/>
                    </a:lnTo>
                    <a:lnTo>
                      <a:pt x="460" y="29"/>
                    </a:lnTo>
                    <a:lnTo>
                      <a:pt x="458" y="26"/>
                    </a:lnTo>
                    <a:lnTo>
                      <a:pt x="450" y="23"/>
                    </a:lnTo>
                    <a:lnTo>
                      <a:pt x="451" y="19"/>
                    </a:lnTo>
                    <a:lnTo>
                      <a:pt x="453" y="14"/>
                    </a:lnTo>
                    <a:lnTo>
                      <a:pt x="452" y="12"/>
                    </a:lnTo>
                    <a:lnTo>
                      <a:pt x="449" y="13"/>
                    </a:lnTo>
                    <a:lnTo>
                      <a:pt x="449" y="17"/>
                    </a:lnTo>
                    <a:lnTo>
                      <a:pt x="448" y="22"/>
                    </a:lnTo>
                    <a:lnTo>
                      <a:pt x="444" y="21"/>
                    </a:lnTo>
                    <a:lnTo>
                      <a:pt x="444" y="19"/>
                    </a:lnTo>
                    <a:lnTo>
                      <a:pt x="443" y="18"/>
                    </a:lnTo>
                    <a:lnTo>
                      <a:pt x="441" y="15"/>
                    </a:lnTo>
                    <a:lnTo>
                      <a:pt x="439" y="15"/>
                    </a:lnTo>
                    <a:lnTo>
                      <a:pt x="433" y="19"/>
                    </a:lnTo>
                    <a:lnTo>
                      <a:pt x="432" y="19"/>
                    </a:lnTo>
                    <a:lnTo>
                      <a:pt x="429" y="21"/>
                    </a:lnTo>
                    <a:lnTo>
                      <a:pt x="427" y="21"/>
                    </a:lnTo>
                    <a:lnTo>
                      <a:pt x="423" y="19"/>
                    </a:lnTo>
                    <a:lnTo>
                      <a:pt x="421" y="18"/>
                    </a:lnTo>
                    <a:lnTo>
                      <a:pt x="419" y="16"/>
                    </a:lnTo>
                    <a:lnTo>
                      <a:pt x="419" y="11"/>
                    </a:lnTo>
                    <a:lnTo>
                      <a:pt x="418" y="10"/>
                    </a:lnTo>
                    <a:lnTo>
                      <a:pt x="415" y="7"/>
                    </a:lnTo>
                    <a:lnTo>
                      <a:pt x="411" y="8"/>
                    </a:lnTo>
                    <a:lnTo>
                      <a:pt x="410" y="8"/>
                    </a:lnTo>
                    <a:lnTo>
                      <a:pt x="408" y="8"/>
                    </a:lnTo>
                    <a:lnTo>
                      <a:pt x="406" y="4"/>
                    </a:lnTo>
                    <a:lnTo>
                      <a:pt x="403" y="0"/>
                    </a:lnTo>
                    <a:lnTo>
                      <a:pt x="400" y="0"/>
                    </a:lnTo>
                    <a:lnTo>
                      <a:pt x="398" y="2"/>
                    </a:lnTo>
                    <a:lnTo>
                      <a:pt x="395" y="6"/>
                    </a:lnTo>
                    <a:lnTo>
                      <a:pt x="392" y="5"/>
                    </a:lnTo>
                    <a:lnTo>
                      <a:pt x="392" y="7"/>
                    </a:lnTo>
                    <a:lnTo>
                      <a:pt x="393" y="8"/>
                    </a:lnTo>
                    <a:lnTo>
                      <a:pt x="394" y="10"/>
                    </a:lnTo>
                    <a:lnTo>
                      <a:pt x="394" y="13"/>
                    </a:lnTo>
                    <a:lnTo>
                      <a:pt x="392" y="15"/>
                    </a:lnTo>
                    <a:lnTo>
                      <a:pt x="392" y="17"/>
                    </a:lnTo>
                    <a:lnTo>
                      <a:pt x="388" y="19"/>
                    </a:lnTo>
                    <a:lnTo>
                      <a:pt x="387" y="19"/>
                    </a:lnTo>
                    <a:lnTo>
                      <a:pt x="386" y="21"/>
                    </a:lnTo>
                    <a:lnTo>
                      <a:pt x="388" y="24"/>
                    </a:lnTo>
                    <a:lnTo>
                      <a:pt x="385" y="27"/>
                    </a:lnTo>
                    <a:lnTo>
                      <a:pt x="384" y="29"/>
                    </a:lnTo>
                    <a:lnTo>
                      <a:pt x="386" y="31"/>
                    </a:lnTo>
                    <a:lnTo>
                      <a:pt x="389" y="32"/>
                    </a:lnTo>
                    <a:lnTo>
                      <a:pt x="391" y="35"/>
                    </a:lnTo>
                    <a:lnTo>
                      <a:pt x="392" y="35"/>
                    </a:lnTo>
                    <a:lnTo>
                      <a:pt x="394" y="35"/>
                    </a:lnTo>
                    <a:lnTo>
                      <a:pt x="398" y="33"/>
                    </a:lnTo>
                    <a:lnTo>
                      <a:pt x="401" y="33"/>
                    </a:lnTo>
                    <a:lnTo>
                      <a:pt x="402" y="35"/>
                    </a:lnTo>
                    <a:lnTo>
                      <a:pt x="402" y="36"/>
                    </a:lnTo>
                    <a:lnTo>
                      <a:pt x="402" y="39"/>
                    </a:lnTo>
                    <a:lnTo>
                      <a:pt x="400" y="39"/>
                    </a:lnTo>
                    <a:lnTo>
                      <a:pt x="398" y="38"/>
                    </a:lnTo>
                    <a:lnTo>
                      <a:pt x="394" y="42"/>
                    </a:lnTo>
                    <a:lnTo>
                      <a:pt x="398" y="45"/>
                    </a:lnTo>
                    <a:lnTo>
                      <a:pt x="398" y="46"/>
                    </a:lnTo>
                    <a:lnTo>
                      <a:pt x="397" y="47"/>
                    </a:lnTo>
                    <a:lnTo>
                      <a:pt x="400" y="50"/>
                    </a:lnTo>
                    <a:lnTo>
                      <a:pt x="405" y="51"/>
                    </a:lnTo>
                    <a:lnTo>
                      <a:pt x="406" y="53"/>
                    </a:lnTo>
                    <a:lnTo>
                      <a:pt x="407" y="53"/>
                    </a:lnTo>
                    <a:lnTo>
                      <a:pt x="409" y="55"/>
                    </a:lnTo>
                    <a:lnTo>
                      <a:pt x="411" y="55"/>
                    </a:lnTo>
                    <a:lnTo>
                      <a:pt x="411" y="57"/>
                    </a:lnTo>
                    <a:lnTo>
                      <a:pt x="412" y="57"/>
                    </a:lnTo>
                    <a:lnTo>
                      <a:pt x="416" y="56"/>
                    </a:lnTo>
                    <a:lnTo>
                      <a:pt x="418" y="59"/>
                    </a:lnTo>
                    <a:lnTo>
                      <a:pt x="419" y="61"/>
                    </a:lnTo>
                    <a:lnTo>
                      <a:pt x="418" y="62"/>
                    </a:lnTo>
                    <a:lnTo>
                      <a:pt x="418" y="65"/>
                    </a:lnTo>
                    <a:lnTo>
                      <a:pt x="415" y="66"/>
                    </a:lnTo>
                    <a:lnTo>
                      <a:pt x="416" y="66"/>
                    </a:lnTo>
                    <a:lnTo>
                      <a:pt x="416" y="68"/>
                    </a:lnTo>
                    <a:lnTo>
                      <a:pt x="414" y="67"/>
                    </a:lnTo>
                    <a:lnTo>
                      <a:pt x="414" y="68"/>
                    </a:lnTo>
                    <a:lnTo>
                      <a:pt x="414" y="72"/>
                    </a:lnTo>
                    <a:lnTo>
                      <a:pt x="413" y="76"/>
                    </a:lnTo>
                    <a:lnTo>
                      <a:pt x="410" y="76"/>
                    </a:lnTo>
                    <a:lnTo>
                      <a:pt x="405" y="74"/>
                    </a:lnTo>
                    <a:lnTo>
                      <a:pt x="405" y="75"/>
                    </a:lnTo>
                    <a:lnTo>
                      <a:pt x="403" y="73"/>
                    </a:lnTo>
                    <a:lnTo>
                      <a:pt x="403" y="76"/>
                    </a:lnTo>
                    <a:lnTo>
                      <a:pt x="402" y="78"/>
                    </a:lnTo>
                    <a:lnTo>
                      <a:pt x="397" y="78"/>
                    </a:lnTo>
                    <a:lnTo>
                      <a:pt x="395" y="78"/>
                    </a:lnTo>
                    <a:lnTo>
                      <a:pt x="390" y="79"/>
                    </a:lnTo>
                    <a:lnTo>
                      <a:pt x="387" y="78"/>
                    </a:lnTo>
                    <a:lnTo>
                      <a:pt x="386" y="75"/>
                    </a:lnTo>
                    <a:lnTo>
                      <a:pt x="382" y="73"/>
                    </a:lnTo>
                    <a:lnTo>
                      <a:pt x="377" y="76"/>
                    </a:lnTo>
                    <a:lnTo>
                      <a:pt x="375" y="76"/>
                    </a:lnTo>
                    <a:lnTo>
                      <a:pt x="372" y="75"/>
                    </a:lnTo>
                    <a:lnTo>
                      <a:pt x="372" y="79"/>
                    </a:lnTo>
                    <a:lnTo>
                      <a:pt x="367" y="87"/>
                    </a:lnTo>
                    <a:lnTo>
                      <a:pt x="366" y="87"/>
                    </a:lnTo>
                    <a:lnTo>
                      <a:pt x="361" y="90"/>
                    </a:lnTo>
                    <a:lnTo>
                      <a:pt x="360" y="90"/>
                    </a:lnTo>
                    <a:lnTo>
                      <a:pt x="358" y="91"/>
                    </a:lnTo>
                    <a:lnTo>
                      <a:pt x="351" y="91"/>
                    </a:lnTo>
                    <a:lnTo>
                      <a:pt x="342" y="96"/>
                    </a:lnTo>
                    <a:lnTo>
                      <a:pt x="340" y="95"/>
                    </a:lnTo>
                    <a:lnTo>
                      <a:pt x="337" y="97"/>
                    </a:lnTo>
                    <a:lnTo>
                      <a:pt x="335" y="97"/>
                    </a:lnTo>
                    <a:lnTo>
                      <a:pt x="333" y="98"/>
                    </a:lnTo>
                    <a:lnTo>
                      <a:pt x="330" y="98"/>
                    </a:lnTo>
                    <a:lnTo>
                      <a:pt x="327" y="101"/>
                    </a:lnTo>
                    <a:lnTo>
                      <a:pt x="326" y="103"/>
                    </a:lnTo>
                    <a:lnTo>
                      <a:pt x="325" y="104"/>
                    </a:lnTo>
                    <a:lnTo>
                      <a:pt x="322" y="104"/>
                    </a:lnTo>
                    <a:lnTo>
                      <a:pt x="321" y="103"/>
                    </a:lnTo>
                    <a:lnTo>
                      <a:pt x="318" y="103"/>
                    </a:lnTo>
                    <a:lnTo>
                      <a:pt x="316" y="103"/>
                    </a:lnTo>
                    <a:lnTo>
                      <a:pt x="314" y="106"/>
                    </a:lnTo>
                    <a:lnTo>
                      <a:pt x="310" y="102"/>
                    </a:lnTo>
                    <a:lnTo>
                      <a:pt x="307" y="101"/>
                    </a:lnTo>
                    <a:lnTo>
                      <a:pt x="307" y="99"/>
                    </a:lnTo>
                    <a:lnTo>
                      <a:pt x="304" y="96"/>
                    </a:lnTo>
                    <a:lnTo>
                      <a:pt x="302" y="98"/>
                    </a:lnTo>
                    <a:lnTo>
                      <a:pt x="298" y="100"/>
                    </a:lnTo>
                    <a:lnTo>
                      <a:pt x="294" y="100"/>
                    </a:lnTo>
                    <a:lnTo>
                      <a:pt x="293" y="100"/>
                    </a:lnTo>
                    <a:lnTo>
                      <a:pt x="293" y="104"/>
                    </a:lnTo>
                    <a:lnTo>
                      <a:pt x="291" y="105"/>
                    </a:lnTo>
                    <a:lnTo>
                      <a:pt x="290" y="106"/>
                    </a:lnTo>
                    <a:lnTo>
                      <a:pt x="288" y="108"/>
                    </a:lnTo>
                    <a:lnTo>
                      <a:pt x="283" y="107"/>
                    </a:lnTo>
                    <a:lnTo>
                      <a:pt x="280" y="104"/>
                    </a:lnTo>
                    <a:lnTo>
                      <a:pt x="277" y="106"/>
                    </a:lnTo>
                    <a:lnTo>
                      <a:pt x="277" y="108"/>
                    </a:lnTo>
                    <a:lnTo>
                      <a:pt x="276" y="111"/>
                    </a:lnTo>
                    <a:lnTo>
                      <a:pt x="275" y="113"/>
                    </a:lnTo>
                    <a:lnTo>
                      <a:pt x="273" y="116"/>
                    </a:lnTo>
                    <a:lnTo>
                      <a:pt x="274" y="119"/>
                    </a:lnTo>
                    <a:lnTo>
                      <a:pt x="276" y="123"/>
                    </a:lnTo>
                    <a:lnTo>
                      <a:pt x="274" y="127"/>
                    </a:lnTo>
                    <a:lnTo>
                      <a:pt x="271" y="129"/>
                    </a:lnTo>
                    <a:lnTo>
                      <a:pt x="269" y="130"/>
                    </a:lnTo>
                    <a:lnTo>
                      <a:pt x="267" y="127"/>
                    </a:lnTo>
                    <a:lnTo>
                      <a:pt x="265" y="127"/>
                    </a:lnTo>
                    <a:lnTo>
                      <a:pt x="264" y="130"/>
                    </a:lnTo>
                    <a:lnTo>
                      <a:pt x="263" y="134"/>
                    </a:lnTo>
                    <a:lnTo>
                      <a:pt x="260" y="134"/>
                    </a:lnTo>
                    <a:lnTo>
                      <a:pt x="257" y="133"/>
                    </a:lnTo>
                    <a:lnTo>
                      <a:pt x="256" y="134"/>
                    </a:lnTo>
                    <a:lnTo>
                      <a:pt x="255" y="134"/>
                    </a:lnTo>
                    <a:lnTo>
                      <a:pt x="252" y="130"/>
                    </a:lnTo>
                    <a:lnTo>
                      <a:pt x="250" y="129"/>
                    </a:lnTo>
                    <a:lnTo>
                      <a:pt x="248" y="128"/>
                    </a:lnTo>
                    <a:lnTo>
                      <a:pt x="246" y="129"/>
                    </a:lnTo>
                    <a:lnTo>
                      <a:pt x="245" y="127"/>
                    </a:lnTo>
                    <a:lnTo>
                      <a:pt x="244" y="128"/>
                    </a:lnTo>
                    <a:lnTo>
                      <a:pt x="243" y="126"/>
                    </a:lnTo>
                    <a:lnTo>
                      <a:pt x="241" y="127"/>
                    </a:lnTo>
                    <a:lnTo>
                      <a:pt x="239" y="126"/>
                    </a:lnTo>
                    <a:lnTo>
                      <a:pt x="237" y="126"/>
                    </a:lnTo>
                    <a:lnTo>
                      <a:pt x="236" y="128"/>
                    </a:lnTo>
                    <a:lnTo>
                      <a:pt x="234" y="129"/>
                    </a:lnTo>
                    <a:lnTo>
                      <a:pt x="232" y="129"/>
                    </a:lnTo>
                    <a:lnTo>
                      <a:pt x="229" y="125"/>
                    </a:lnTo>
                    <a:lnTo>
                      <a:pt x="225" y="129"/>
                    </a:lnTo>
                    <a:lnTo>
                      <a:pt x="223" y="129"/>
                    </a:lnTo>
                    <a:lnTo>
                      <a:pt x="224" y="131"/>
                    </a:lnTo>
                    <a:lnTo>
                      <a:pt x="223" y="133"/>
                    </a:lnTo>
                    <a:lnTo>
                      <a:pt x="219" y="130"/>
                    </a:lnTo>
                    <a:lnTo>
                      <a:pt x="217" y="127"/>
                    </a:lnTo>
                    <a:lnTo>
                      <a:pt x="212" y="123"/>
                    </a:lnTo>
                    <a:lnTo>
                      <a:pt x="207" y="123"/>
                    </a:lnTo>
                    <a:lnTo>
                      <a:pt x="204" y="125"/>
                    </a:lnTo>
                    <a:lnTo>
                      <a:pt x="201" y="126"/>
                    </a:lnTo>
                    <a:lnTo>
                      <a:pt x="201" y="129"/>
                    </a:lnTo>
                    <a:lnTo>
                      <a:pt x="197" y="129"/>
                    </a:lnTo>
                    <a:lnTo>
                      <a:pt x="195" y="130"/>
                    </a:lnTo>
                    <a:lnTo>
                      <a:pt x="191" y="129"/>
                    </a:lnTo>
                    <a:lnTo>
                      <a:pt x="187" y="127"/>
                    </a:lnTo>
                    <a:lnTo>
                      <a:pt x="186" y="128"/>
                    </a:lnTo>
                    <a:lnTo>
                      <a:pt x="184" y="127"/>
                    </a:lnTo>
                    <a:lnTo>
                      <a:pt x="182" y="127"/>
                    </a:lnTo>
                    <a:lnTo>
                      <a:pt x="179" y="127"/>
                    </a:lnTo>
                    <a:lnTo>
                      <a:pt x="177" y="130"/>
                    </a:lnTo>
                    <a:lnTo>
                      <a:pt x="174" y="129"/>
                    </a:lnTo>
                    <a:lnTo>
                      <a:pt x="174" y="133"/>
                    </a:lnTo>
                    <a:lnTo>
                      <a:pt x="176" y="137"/>
                    </a:lnTo>
                    <a:lnTo>
                      <a:pt x="177" y="139"/>
                    </a:lnTo>
                    <a:lnTo>
                      <a:pt x="177" y="143"/>
                    </a:lnTo>
                    <a:lnTo>
                      <a:pt x="176" y="144"/>
                    </a:lnTo>
                    <a:lnTo>
                      <a:pt x="176" y="147"/>
                    </a:lnTo>
                    <a:lnTo>
                      <a:pt x="175" y="147"/>
                    </a:lnTo>
                    <a:lnTo>
                      <a:pt x="173" y="147"/>
                    </a:lnTo>
                    <a:lnTo>
                      <a:pt x="167" y="153"/>
                    </a:lnTo>
                    <a:lnTo>
                      <a:pt x="168" y="156"/>
                    </a:lnTo>
                    <a:lnTo>
                      <a:pt x="170" y="156"/>
                    </a:lnTo>
                    <a:lnTo>
                      <a:pt x="170" y="160"/>
                    </a:lnTo>
                    <a:lnTo>
                      <a:pt x="168" y="161"/>
                    </a:lnTo>
                    <a:lnTo>
                      <a:pt x="163" y="161"/>
                    </a:lnTo>
                    <a:lnTo>
                      <a:pt x="162" y="163"/>
                    </a:lnTo>
                    <a:lnTo>
                      <a:pt x="161" y="166"/>
                    </a:lnTo>
                    <a:lnTo>
                      <a:pt x="155" y="169"/>
                    </a:lnTo>
                    <a:lnTo>
                      <a:pt x="155" y="170"/>
                    </a:lnTo>
                    <a:lnTo>
                      <a:pt x="154" y="172"/>
                    </a:lnTo>
                    <a:lnTo>
                      <a:pt x="151" y="174"/>
                    </a:lnTo>
                    <a:lnTo>
                      <a:pt x="146" y="170"/>
                    </a:lnTo>
                    <a:lnTo>
                      <a:pt x="143" y="169"/>
                    </a:lnTo>
                    <a:lnTo>
                      <a:pt x="142" y="168"/>
                    </a:lnTo>
                    <a:lnTo>
                      <a:pt x="142" y="166"/>
                    </a:lnTo>
                    <a:lnTo>
                      <a:pt x="139" y="166"/>
                    </a:lnTo>
                    <a:lnTo>
                      <a:pt x="139" y="165"/>
                    </a:lnTo>
                    <a:lnTo>
                      <a:pt x="139" y="163"/>
                    </a:lnTo>
                    <a:lnTo>
                      <a:pt x="138" y="157"/>
                    </a:lnTo>
                    <a:lnTo>
                      <a:pt x="135" y="153"/>
                    </a:lnTo>
                    <a:lnTo>
                      <a:pt x="135" y="151"/>
                    </a:lnTo>
                    <a:lnTo>
                      <a:pt x="133" y="150"/>
                    </a:lnTo>
                    <a:lnTo>
                      <a:pt x="133" y="151"/>
                    </a:lnTo>
                    <a:lnTo>
                      <a:pt x="131" y="149"/>
                    </a:lnTo>
                    <a:lnTo>
                      <a:pt x="130" y="147"/>
                    </a:lnTo>
                    <a:lnTo>
                      <a:pt x="130" y="157"/>
                    </a:lnTo>
                    <a:lnTo>
                      <a:pt x="130" y="159"/>
                    </a:lnTo>
                    <a:lnTo>
                      <a:pt x="128" y="160"/>
                    </a:lnTo>
                    <a:lnTo>
                      <a:pt x="127" y="162"/>
                    </a:lnTo>
                    <a:lnTo>
                      <a:pt x="126" y="163"/>
                    </a:lnTo>
                    <a:lnTo>
                      <a:pt x="125" y="163"/>
                    </a:lnTo>
                    <a:lnTo>
                      <a:pt x="124" y="163"/>
                    </a:lnTo>
                    <a:lnTo>
                      <a:pt x="118" y="164"/>
                    </a:lnTo>
                    <a:lnTo>
                      <a:pt x="119" y="165"/>
                    </a:lnTo>
                    <a:lnTo>
                      <a:pt x="118" y="166"/>
                    </a:lnTo>
                    <a:lnTo>
                      <a:pt x="114" y="166"/>
                    </a:lnTo>
                    <a:lnTo>
                      <a:pt x="114" y="167"/>
                    </a:lnTo>
                    <a:lnTo>
                      <a:pt x="113" y="168"/>
                    </a:lnTo>
                    <a:lnTo>
                      <a:pt x="113" y="171"/>
                    </a:lnTo>
                    <a:lnTo>
                      <a:pt x="113" y="174"/>
                    </a:lnTo>
                    <a:lnTo>
                      <a:pt x="113" y="175"/>
                    </a:lnTo>
                    <a:lnTo>
                      <a:pt x="113" y="178"/>
                    </a:lnTo>
                    <a:lnTo>
                      <a:pt x="109" y="179"/>
                    </a:lnTo>
                    <a:lnTo>
                      <a:pt x="106" y="178"/>
                    </a:lnTo>
                    <a:lnTo>
                      <a:pt x="104" y="180"/>
                    </a:lnTo>
                    <a:lnTo>
                      <a:pt x="103" y="174"/>
                    </a:lnTo>
                    <a:lnTo>
                      <a:pt x="103" y="173"/>
                    </a:lnTo>
                    <a:lnTo>
                      <a:pt x="102" y="171"/>
                    </a:lnTo>
                    <a:lnTo>
                      <a:pt x="97" y="170"/>
                    </a:lnTo>
                    <a:lnTo>
                      <a:pt x="95" y="168"/>
                    </a:lnTo>
                    <a:lnTo>
                      <a:pt x="93" y="170"/>
                    </a:lnTo>
                    <a:lnTo>
                      <a:pt x="93" y="172"/>
                    </a:lnTo>
                    <a:lnTo>
                      <a:pt x="91" y="173"/>
                    </a:lnTo>
                    <a:lnTo>
                      <a:pt x="89" y="175"/>
                    </a:lnTo>
                    <a:lnTo>
                      <a:pt x="89" y="176"/>
                    </a:lnTo>
                    <a:lnTo>
                      <a:pt x="89" y="179"/>
                    </a:lnTo>
                    <a:lnTo>
                      <a:pt x="85" y="182"/>
                    </a:lnTo>
                    <a:lnTo>
                      <a:pt x="85" y="184"/>
                    </a:lnTo>
                    <a:lnTo>
                      <a:pt x="85" y="186"/>
                    </a:lnTo>
                    <a:lnTo>
                      <a:pt x="85" y="189"/>
                    </a:lnTo>
                    <a:lnTo>
                      <a:pt x="84" y="190"/>
                    </a:lnTo>
                    <a:lnTo>
                      <a:pt x="83" y="192"/>
                    </a:lnTo>
                    <a:lnTo>
                      <a:pt x="79" y="197"/>
                    </a:lnTo>
                    <a:lnTo>
                      <a:pt x="78" y="200"/>
                    </a:lnTo>
                    <a:lnTo>
                      <a:pt x="74" y="202"/>
                    </a:lnTo>
                    <a:lnTo>
                      <a:pt x="74" y="208"/>
                    </a:lnTo>
                    <a:lnTo>
                      <a:pt x="73" y="208"/>
                    </a:lnTo>
                    <a:lnTo>
                      <a:pt x="72" y="208"/>
                    </a:lnTo>
                    <a:lnTo>
                      <a:pt x="69" y="207"/>
                    </a:lnTo>
                    <a:lnTo>
                      <a:pt x="63" y="204"/>
                    </a:lnTo>
                    <a:lnTo>
                      <a:pt x="61" y="205"/>
                    </a:lnTo>
                    <a:lnTo>
                      <a:pt x="59" y="204"/>
                    </a:lnTo>
                    <a:lnTo>
                      <a:pt x="60" y="202"/>
                    </a:lnTo>
                    <a:lnTo>
                      <a:pt x="59" y="200"/>
                    </a:lnTo>
                    <a:lnTo>
                      <a:pt x="58" y="198"/>
                    </a:lnTo>
                    <a:lnTo>
                      <a:pt x="54" y="200"/>
                    </a:lnTo>
                    <a:lnTo>
                      <a:pt x="49" y="204"/>
                    </a:lnTo>
                    <a:lnTo>
                      <a:pt x="46" y="204"/>
                    </a:lnTo>
                    <a:lnTo>
                      <a:pt x="45" y="205"/>
                    </a:lnTo>
                    <a:lnTo>
                      <a:pt x="37" y="203"/>
                    </a:lnTo>
                    <a:lnTo>
                      <a:pt x="36" y="201"/>
                    </a:lnTo>
                    <a:lnTo>
                      <a:pt x="35" y="198"/>
                    </a:lnTo>
                    <a:lnTo>
                      <a:pt x="33" y="198"/>
                    </a:lnTo>
                    <a:lnTo>
                      <a:pt x="31" y="198"/>
                    </a:lnTo>
                    <a:lnTo>
                      <a:pt x="30" y="202"/>
                    </a:lnTo>
                    <a:lnTo>
                      <a:pt x="27" y="208"/>
                    </a:lnTo>
                    <a:lnTo>
                      <a:pt x="25" y="216"/>
                    </a:lnTo>
                    <a:lnTo>
                      <a:pt x="24" y="220"/>
                    </a:lnTo>
                    <a:lnTo>
                      <a:pt x="24" y="224"/>
                    </a:lnTo>
                    <a:lnTo>
                      <a:pt x="23" y="228"/>
                    </a:lnTo>
                    <a:lnTo>
                      <a:pt x="17" y="231"/>
                    </a:lnTo>
                    <a:lnTo>
                      <a:pt x="15" y="233"/>
                    </a:lnTo>
                    <a:lnTo>
                      <a:pt x="13" y="237"/>
                    </a:lnTo>
                    <a:lnTo>
                      <a:pt x="12" y="238"/>
                    </a:lnTo>
                    <a:lnTo>
                      <a:pt x="7" y="239"/>
                    </a:lnTo>
                    <a:lnTo>
                      <a:pt x="2" y="239"/>
                    </a:lnTo>
                    <a:lnTo>
                      <a:pt x="0" y="240"/>
                    </a:lnTo>
                    <a:lnTo>
                      <a:pt x="0" y="241"/>
                    </a:lnTo>
                    <a:lnTo>
                      <a:pt x="2" y="242"/>
                    </a:lnTo>
                    <a:lnTo>
                      <a:pt x="2" y="243"/>
                    </a:lnTo>
                    <a:lnTo>
                      <a:pt x="6" y="245"/>
                    </a:lnTo>
                    <a:lnTo>
                      <a:pt x="7" y="248"/>
                    </a:lnTo>
                    <a:lnTo>
                      <a:pt x="8" y="251"/>
                    </a:lnTo>
                    <a:lnTo>
                      <a:pt x="12" y="250"/>
                    </a:lnTo>
                    <a:lnTo>
                      <a:pt x="13" y="251"/>
                    </a:lnTo>
                    <a:lnTo>
                      <a:pt x="14" y="251"/>
                    </a:lnTo>
                    <a:lnTo>
                      <a:pt x="13" y="252"/>
                    </a:lnTo>
                    <a:lnTo>
                      <a:pt x="14" y="253"/>
                    </a:lnTo>
                    <a:lnTo>
                      <a:pt x="18" y="251"/>
                    </a:lnTo>
                    <a:lnTo>
                      <a:pt x="21" y="250"/>
                    </a:lnTo>
                    <a:lnTo>
                      <a:pt x="21" y="254"/>
                    </a:lnTo>
                    <a:lnTo>
                      <a:pt x="26" y="257"/>
                    </a:lnTo>
                    <a:lnTo>
                      <a:pt x="27" y="255"/>
                    </a:lnTo>
                    <a:lnTo>
                      <a:pt x="33" y="257"/>
                    </a:lnTo>
                    <a:lnTo>
                      <a:pt x="33" y="255"/>
                    </a:lnTo>
                    <a:lnTo>
                      <a:pt x="36" y="260"/>
                    </a:lnTo>
                    <a:lnTo>
                      <a:pt x="38" y="261"/>
                    </a:lnTo>
                    <a:lnTo>
                      <a:pt x="40" y="260"/>
                    </a:lnTo>
                    <a:lnTo>
                      <a:pt x="40" y="261"/>
                    </a:lnTo>
                    <a:lnTo>
                      <a:pt x="43" y="266"/>
                    </a:lnTo>
                    <a:lnTo>
                      <a:pt x="43" y="267"/>
                    </a:lnTo>
                    <a:lnTo>
                      <a:pt x="40" y="267"/>
                    </a:lnTo>
                    <a:lnTo>
                      <a:pt x="39" y="270"/>
                    </a:lnTo>
                    <a:lnTo>
                      <a:pt x="37" y="271"/>
                    </a:lnTo>
                    <a:lnTo>
                      <a:pt x="37" y="273"/>
                    </a:lnTo>
                    <a:lnTo>
                      <a:pt x="38" y="272"/>
                    </a:lnTo>
                    <a:lnTo>
                      <a:pt x="40" y="274"/>
                    </a:lnTo>
                    <a:lnTo>
                      <a:pt x="41" y="274"/>
                    </a:lnTo>
                    <a:lnTo>
                      <a:pt x="42" y="275"/>
                    </a:lnTo>
                    <a:lnTo>
                      <a:pt x="41" y="275"/>
                    </a:lnTo>
                    <a:lnTo>
                      <a:pt x="43" y="277"/>
                    </a:lnTo>
                    <a:lnTo>
                      <a:pt x="44" y="276"/>
                    </a:lnTo>
                    <a:lnTo>
                      <a:pt x="45" y="276"/>
                    </a:lnTo>
                    <a:lnTo>
                      <a:pt x="45" y="274"/>
                    </a:lnTo>
                    <a:lnTo>
                      <a:pt x="48" y="273"/>
                    </a:lnTo>
                    <a:lnTo>
                      <a:pt x="49" y="274"/>
                    </a:lnTo>
                    <a:lnTo>
                      <a:pt x="53" y="274"/>
                    </a:lnTo>
                    <a:lnTo>
                      <a:pt x="53" y="276"/>
                    </a:lnTo>
                    <a:lnTo>
                      <a:pt x="54" y="276"/>
                    </a:lnTo>
                    <a:lnTo>
                      <a:pt x="54" y="277"/>
                    </a:lnTo>
                    <a:lnTo>
                      <a:pt x="56" y="277"/>
                    </a:lnTo>
                    <a:lnTo>
                      <a:pt x="57" y="278"/>
                    </a:lnTo>
                    <a:lnTo>
                      <a:pt x="61" y="278"/>
                    </a:lnTo>
                    <a:lnTo>
                      <a:pt x="61" y="279"/>
                    </a:lnTo>
                    <a:lnTo>
                      <a:pt x="62" y="278"/>
                    </a:lnTo>
                    <a:lnTo>
                      <a:pt x="64" y="278"/>
                    </a:lnTo>
                    <a:lnTo>
                      <a:pt x="66" y="276"/>
                    </a:lnTo>
                    <a:lnTo>
                      <a:pt x="69" y="275"/>
                    </a:lnTo>
                    <a:lnTo>
                      <a:pt x="69" y="276"/>
                    </a:lnTo>
                    <a:lnTo>
                      <a:pt x="67" y="278"/>
                    </a:lnTo>
                    <a:lnTo>
                      <a:pt x="71" y="281"/>
                    </a:lnTo>
                    <a:lnTo>
                      <a:pt x="72" y="286"/>
                    </a:lnTo>
                    <a:lnTo>
                      <a:pt x="74" y="288"/>
                    </a:lnTo>
                    <a:lnTo>
                      <a:pt x="73" y="289"/>
                    </a:lnTo>
                    <a:lnTo>
                      <a:pt x="73" y="292"/>
                    </a:lnTo>
                    <a:lnTo>
                      <a:pt x="73" y="293"/>
                    </a:lnTo>
                    <a:lnTo>
                      <a:pt x="73" y="295"/>
                    </a:lnTo>
                    <a:lnTo>
                      <a:pt x="71" y="295"/>
                    </a:lnTo>
                    <a:lnTo>
                      <a:pt x="70" y="296"/>
                    </a:lnTo>
                    <a:lnTo>
                      <a:pt x="69" y="297"/>
                    </a:lnTo>
                    <a:lnTo>
                      <a:pt x="69" y="298"/>
                    </a:lnTo>
                    <a:lnTo>
                      <a:pt x="69" y="300"/>
                    </a:lnTo>
                    <a:lnTo>
                      <a:pt x="69" y="301"/>
                    </a:lnTo>
                    <a:lnTo>
                      <a:pt x="70" y="301"/>
                    </a:lnTo>
                    <a:lnTo>
                      <a:pt x="69" y="303"/>
                    </a:lnTo>
                    <a:lnTo>
                      <a:pt x="71" y="304"/>
                    </a:lnTo>
                    <a:lnTo>
                      <a:pt x="70" y="306"/>
                    </a:lnTo>
                    <a:lnTo>
                      <a:pt x="68" y="307"/>
                    </a:lnTo>
                    <a:lnTo>
                      <a:pt x="68" y="309"/>
                    </a:lnTo>
                    <a:lnTo>
                      <a:pt x="69" y="309"/>
                    </a:lnTo>
                    <a:lnTo>
                      <a:pt x="67" y="311"/>
                    </a:lnTo>
                    <a:lnTo>
                      <a:pt x="66" y="311"/>
                    </a:lnTo>
                    <a:lnTo>
                      <a:pt x="67" y="312"/>
                    </a:lnTo>
                    <a:lnTo>
                      <a:pt x="65" y="315"/>
                    </a:lnTo>
                    <a:lnTo>
                      <a:pt x="64" y="315"/>
                    </a:lnTo>
                    <a:lnTo>
                      <a:pt x="64" y="316"/>
                    </a:lnTo>
                    <a:lnTo>
                      <a:pt x="65" y="316"/>
                    </a:lnTo>
                    <a:lnTo>
                      <a:pt x="69" y="318"/>
                    </a:lnTo>
                    <a:lnTo>
                      <a:pt x="68" y="319"/>
                    </a:lnTo>
                    <a:lnTo>
                      <a:pt x="67" y="321"/>
                    </a:lnTo>
                    <a:lnTo>
                      <a:pt x="69" y="322"/>
                    </a:lnTo>
                    <a:lnTo>
                      <a:pt x="69" y="326"/>
                    </a:lnTo>
                    <a:lnTo>
                      <a:pt x="69" y="329"/>
                    </a:lnTo>
                    <a:lnTo>
                      <a:pt x="67" y="330"/>
                    </a:lnTo>
                    <a:lnTo>
                      <a:pt x="65" y="330"/>
                    </a:lnTo>
                    <a:lnTo>
                      <a:pt x="64" y="331"/>
                    </a:lnTo>
                    <a:lnTo>
                      <a:pt x="65" y="332"/>
                    </a:lnTo>
                    <a:lnTo>
                      <a:pt x="64" y="332"/>
                    </a:lnTo>
                    <a:lnTo>
                      <a:pt x="65" y="336"/>
                    </a:lnTo>
                    <a:lnTo>
                      <a:pt x="67" y="337"/>
                    </a:lnTo>
                    <a:lnTo>
                      <a:pt x="69" y="336"/>
                    </a:lnTo>
                    <a:lnTo>
                      <a:pt x="70" y="336"/>
                    </a:lnTo>
                    <a:lnTo>
                      <a:pt x="70" y="338"/>
                    </a:lnTo>
                    <a:lnTo>
                      <a:pt x="72" y="339"/>
                    </a:lnTo>
                    <a:lnTo>
                      <a:pt x="70" y="340"/>
                    </a:lnTo>
                    <a:lnTo>
                      <a:pt x="71" y="342"/>
                    </a:lnTo>
                    <a:lnTo>
                      <a:pt x="70" y="342"/>
                    </a:lnTo>
                    <a:lnTo>
                      <a:pt x="70" y="343"/>
                    </a:lnTo>
                    <a:lnTo>
                      <a:pt x="70" y="345"/>
                    </a:lnTo>
                    <a:lnTo>
                      <a:pt x="67" y="345"/>
                    </a:lnTo>
                    <a:lnTo>
                      <a:pt x="67" y="348"/>
                    </a:lnTo>
                    <a:lnTo>
                      <a:pt x="70" y="349"/>
                    </a:lnTo>
                    <a:lnTo>
                      <a:pt x="72" y="349"/>
                    </a:lnTo>
                    <a:lnTo>
                      <a:pt x="72" y="350"/>
                    </a:lnTo>
                    <a:lnTo>
                      <a:pt x="70" y="352"/>
                    </a:lnTo>
                    <a:lnTo>
                      <a:pt x="71" y="353"/>
                    </a:lnTo>
                    <a:lnTo>
                      <a:pt x="72" y="353"/>
                    </a:lnTo>
                    <a:lnTo>
                      <a:pt x="74" y="355"/>
                    </a:lnTo>
                    <a:lnTo>
                      <a:pt x="73" y="357"/>
                    </a:lnTo>
                    <a:lnTo>
                      <a:pt x="75" y="360"/>
                    </a:lnTo>
                    <a:lnTo>
                      <a:pt x="75" y="363"/>
                    </a:lnTo>
                    <a:lnTo>
                      <a:pt x="75" y="364"/>
                    </a:lnTo>
                    <a:lnTo>
                      <a:pt x="75" y="366"/>
                    </a:lnTo>
                    <a:lnTo>
                      <a:pt x="73" y="368"/>
                    </a:lnTo>
                    <a:lnTo>
                      <a:pt x="77" y="368"/>
                    </a:lnTo>
                    <a:lnTo>
                      <a:pt x="75" y="374"/>
                    </a:lnTo>
                    <a:lnTo>
                      <a:pt x="72" y="372"/>
                    </a:lnTo>
                    <a:lnTo>
                      <a:pt x="70" y="373"/>
                    </a:lnTo>
                    <a:lnTo>
                      <a:pt x="71" y="373"/>
                    </a:lnTo>
                    <a:lnTo>
                      <a:pt x="70" y="375"/>
                    </a:lnTo>
                    <a:lnTo>
                      <a:pt x="73" y="377"/>
                    </a:lnTo>
                    <a:lnTo>
                      <a:pt x="73" y="378"/>
                    </a:lnTo>
                    <a:lnTo>
                      <a:pt x="75" y="379"/>
                    </a:lnTo>
                    <a:lnTo>
                      <a:pt x="73" y="380"/>
                    </a:lnTo>
                    <a:lnTo>
                      <a:pt x="74" y="383"/>
                    </a:lnTo>
                    <a:lnTo>
                      <a:pt x="73" y="383"/>
                    </a:lnTo>
                    <a:lnTo>
                      <a:pt x="70" y="380"/>
                    </a:lnTo>
                    <a:lnTo>
                      <a:pt x="71" y="379"/>
                    </a:lnTo>
                    <a:lnTo>
                      <a:pt x="70" y="379"/>
                    </a:lnTo>
                    <a:lnTo>
                      <a:pt x="69" y="379"/>
                    </a:lnTo>
                    <a:lnTo>
                      <a:pt x="65" y="378"/>
                    </a:lnTo>
                    <a:lnTo>
                      <a:pt x="65" y="379"/>
                    </a:lnTo>
                    <a:lnTo>
                      <a:pt x="65" y="378"/>
                    </a:lnTo>
                    <a:lnTo>
                      <a:pt x="62" y="379"/>
                    </a:lnTo>
                    <a:lnTo>
                      <a:pt x="61" y="380"/>
                    </a:lnTo>
                    <a:lnTo>
                      <a:pt x="62" y="381"/>
                    </a:lnTo>
                    <a:lnTo>
                      <a:pt x="62" y="382"/>
                    </a:lnTo>
                    <a:lnTo>
                      <a:pt x="59" y="382"/>
                    </a:lnTo>
                    <a:lnTo>
                      <a:pt x="60" y="383"/>
                    </a:lnTo>
                    <a:lnTo>
                      <a:pt x="61" y="383"/>
                    </a:lnTo>
                    <a:lnTo>
                      <a:pt x="63" y="387"/>
                    </a:lnTo>
                    <a:lnTo>
                      <a:pt x="64" y="385"/>
                    </a:lnTo>
                    <a:lnTo>
                      <a:pt x="66" y="387"/>
                    </a:lnTo>
                    <a:lnTo>
                      <a:pt x="69" y="386"/>
                    </a:lnTo>
                    <a:lnTo>
                      <a:pt x="71" y="387"/>
                    </a:lnTo>
                    <a:lnTo>
                      <a:pt x="72" y="389"/>
                    </a:lnTo>
                    <a:lnTo>
                      <a:pt x="72" y="390"/>
                    </a:lnTo>
                    <a:lnTo>
                      <a:pt x="74" y="392"/>
                    </a:lnTo>
                    <a:lnTo>
                      <a:pt x="72" y="393"/>
                    </a:lnTo>
                    <a:lnTo>
                      <a:pt x="75" y="393"/>
                    </a:lnTo>
                    <a:lnTo>
                      <a:pt x="75" y="394"/>
                    </a:lnTo>
                    <a:lnTo>
                      <a:pt x="75" y="399"/>
                    </a:lnTo>
                    <a:lnTo>
                      <a:pt x="75" y="400"/>
                    </a:lnTo>
                    <a:lnTo>
                      <a:pt x="76" y="401"/>
                    </a:lnTo>
                    <a:lnTo>
                      <a:pt x="77" y="400"/>
                    </a:lnTo>
                    <a:lnTo>
                      <a:pt x="82" y="402"/>
                    </a:lnTo>
                    <a:lnTo>
                      <a:pt x="82" y="400"/>
                    </a:lnTo>
                    <a:lnTo>
                      <a:pt x="83" y="400"/>
                    </a:lnTo>
                    <a:lnTo>
                      <a:pt x="83" y="404"/>
                    </a:lnTo>
                    <a:lnTo>
                      <a:pt x="82" y="408"/>
                    </a:lnTo>
                    <a:lnTo>
                      <a:pt x="84" y="408"/>
                    </a:lnTo>
                    <a:lnTo>
                      <a:pt x="85" y="406"/>
                    </a:lnTo>
                    <a:lnTo>
                      <a:pt x="87" y="406"/>
                    </a:lnTo>
                    <a:lnTo>
                      <a:pt x="87" y="404"/>
                    </a:lnTo>
                    <a:lnTo>
                      <a:pt x="88" y="403"/>
                    </a:lnTo>
                    <a:lnTo>
                      <a:pt x="89" y="403"/>
                    </a:lnTo>
                    <a:lnTo>
                      <a:pt x="91" y="402"/>
                    </a:lnTo>
                    <a:lnTo>
                      <a:pt x="92" y="403"/>
                    </a:lnTo>
                    <a:lnTo>
                      <a:pt x="90" y="403"/>
                    </a:lnTo>
                    <a:lnTo>
                      <a:pt x="92" y="405"/>
                    </a:lnTo>
                    <a:lnTo>
                      <a:pt x="91" y="408"/>
                    </a:lnTo>
                    <a:lnTo>
                      <a:pt x="92" y="408"/>
                    </a:lnTo>
                    <a:lnTo>
                      <a:pt x="93" y="408"/>
                    </a:lnTo>
                    <a:lnTo>
                      <a:pt x="94" y="408"/>
                    </a:lnTo>
                    <a:lnTo>
                      <a:pt x="94" y="413"/>
                    </a:lnTo>
                    <a:lnTo>
                      <a:pt x="95" y="415"/>
                    </a:lnTo>
                    <a:lnTo>
                      <a:pt x="98" y="413"/>
                    </a:lnTo>
                    <a:lnTo>
                      <a:pt x="99" y="413"/>
                    </a:lnTo>
                    <a:lnTo>
                      <a:pt x="100" y="414"/>
                    </a:lnTo>
                    <a:lnTo>
                      <a:pt x="100" y="413"/>
                    </a:lnTo>
                    <a:lnTo>
                      <a:pt x="103" y="413"/>
                    </a:lnTo>
                    <a:lnTo>
                      <a:pt x="103" y="410"/>
                    </a:lnTo>
                    <a:lnTo>
                      <a:pt x="104" y="411"/>
                    </a:lnTo>
                    <a:lnTo>
                      <a:pt x="105" y="408"/>
                    </a:lnTo>
                    <a:lnTo>
                      <a:pt x="104" y="407"/>
                    </a:lnTo>
                    <a:lnTo>
                      <a:pt x="106" y="406"/>
                    </a:lnTo>
                    <a:lnTo>
                      <a:pt x="107" y="406"/>
                    </a:lnTo>
                    <a:lnTo>
                      <a:pt x="108" y="405"/>
                    </a:lnTo>
                    <a:lnTo>
                      <a:pt x="110" y="405"/>
                    </a:lnTo>
                    <a:lnTo>
                      <a:pt x="110" y="402"/>
                    </a:lnTo>
                    <a:lnTo>
                      <a:pt x="114" y="403"/>
                    </a:lnTo>
                    <a:lnTo>
                      <a:pt x="118" y="406"/>
                    </a:lnTo>
                    <a:lnTo>
                      <a:pt x="119" y="406"/>
                    </a:lnTo>
                    <a:lnTo>
                      <a:pt x="120" y="403"/>
                    </a:lnTo>
                    <a:lnTo>
                      <a:pt x="119" y="403"/>
                    </a:lnTo>
                    <a:lnTo>
                      <a:pt x="120" y="402"/>
                    </a:lnTo>
                    <a:lnTo>
                      <a:pt x="121" y="402"/>
                    </a:lnTo>
                    <a:lnTo>
                      <a:pt x="122" y="402"/>
                    </a:lnTo>
                    <a:lnTo>
                      <a:pt x="122" y="399"/>
                    </a:lnTo>
                    <a:lnTo>
                      <a:pt x="122" y="398"/>
                    </a:lnTo>
                    <a:lnTo>
                      <a:pt x="123" y="394"/>
                    </a:lnTo>
                    <a:lnTo>
                      <a:pt x="123" y="395"/>
                    </a:lnTo>
                    <a:lnTo>
                      <a:pt x="124" y="395"/>
                    </a:lnTo>
                    <a:lnTo>
                      <a:pt x="124" y="396"/>
                    </a:lnTo>
                    <a:lnTo>
                      <a:pt x="126" y="397"/>
                    </a:lnTo>
                    <a:lnTo>
                      <a:pt x="128" y="398"/>
                    </a:lnTo>
                    <a:lnTo>
                      <a:pt x="129" y="396"/>
                    </a:lnTo>
                    <a:lnTo>
                      <a:pt x="129" y="393"/>
                    </a:lnTo>
                    <a:lnTo>
                      <a:pt x="129" y="391"/>
                    </a:lnTo>
                    <a:lnTo>
                      <a:pt x="127" y="389"/>
                    </a:lnTo>
                    <a:lnTo>
                      <a:pt x="131" y="389"/>
                    </a:lnTo>
                    <a:lnTo>
                      <a:pt x="131" y="387"/>
                    </a:lnTo>
                    <a:lnTo>
                      <a:pt x="130" y="383"/>
                    </a:lnTo>
                    <a:lnTo>
                      <a:pt x="131" y="382"/>
                    </a:lnTo>
                    <a:lnTo>
                      <a:pt x="131" y="378"/>
                    </a:lnTo>
                    <a:lnTo>
                      <a:pt x="132" y="380"/>
                    </a:lnTo>
                    <a:lnTo>
                      <a:pt x="132" y="379"/>
                    </a:lnTo>
                    <a:lnTo>
                      <a:pt x="135" y="379"/>
                    </a:lnTo>
                    <a:lnTo>
                      <a:pt x="136" y="379"/>
                    </a:lnTo>
                    <a:lnTo>
                      <a:pt x="136" y="378"/>
                    </a:lnTo>
                    <a:lnTo>
                      <a:pt x="138" y="378"/>
                    </a:lnTo>
                    <a:lnTo>
                      <a:pt x="138" y="377"/>
                    </a:lnTo>
                    <a:lnTo>
                      <a:pt x="139" y="377"/>
                    </a:lnTo>
                    <a:lnTo>
                      <a:pt x="139" y="376"/>
                    </a:lnTo>
                    <a:lnTo>
                      <a:pt x="139" y="374"/>
                    </a:lnTo>
                    <a:lnTo>
                      <a:pt x="141" y="374"/>
                    </a:lnTo>
                    <a:lnTo>
                      <a:pt x="141" y="373"/>
                    </a:lnTo>
                    <a:lnTo>
                      <a:pt x="144" y="373"/>
                    </a:lnTo>
                    <a:lnTo>
                      <a:pt x="145" y="370"/>
                    </a:lnTo>
                    <a:lnTo>
                      <a:pt x="148" y="370"/>
                    </a:lnTo>
                    <a:lnTo>
                      <a:pt x="149" y="370"/>
                    </a:lnTo>
                    <a:lnTo>
                      <a:pt x="149" y="369"/>
                    </a:lnTo>
                    <a:lnTo>
                      <a:pt x="150" y="368"/>
                    </a:lnTo>
                    <a:lnTo>
                      <a:pt x="153" y="373"/>
                    </a:lnTo>
                    <a:lnTo>
                      <a:pt x="154" y="374"/>
                    </a:lnTo>
                    <a:lnTo>
                      <a:pt x="155" y="373"/>
                    </a:lnTo>
                    <a:lnTo>
                      <a:pt x="158" y="373"/>
                    </a:lnTo>
                    <a:lnTo>
                      <a:pt x="162" y="370"/>
                    </a:lnTo>
                    <a:lnTo>
                      <a:pt x="163" y="372"/>
                    </a:lnTo>
                    <a:lnTo>
                      <a:pt x="163" y="370"/>
                    </a:lnTo>
                    <a:lnTo>
                      <a:pt x="169" y="368"/>
                    </a:lnTo>
                    <a:lnTo>
                      <a:pt x="168" y="365"/>
                    </a:lnTo>
                    <a:lnTo>
                      <a:pt x="171" y="366"/>
                    </a:lnTo>
                    <a:lnTo>
                      <a:pt x="172" y="365"/>
                    </a:lnTo>
                    <a:lnTo>
                      <a:pt x="174" y="362"/>
                    </a:lnTo>
                    <a:lnTo>
                      <a:pt x="173" y="361"/>
                    </a:lnTo>
                    <a:lnTo>
                      <a:pt x="174" y="361"/>
                    </a:lnTo>
                    <a:lnTo>
                      <a:pt x="176" y="361"/>
                    </a:lnTo>
                    <a:lnTo>
                      <a:pt x="178" y="359"/>
                    </a:lnTo>
                    <a:lnTo>
                      <a:pt x="183" y="353"/>
                    </a:lnTo>
                    <a:lnTo>
                      <a:pt x="184" y="355"/>
                    </a:lnTo>
                    <a:lnTo>
                      <a:pt x="183" y="355"/>
                    </a:lnTo>
                    <a:lnTo>
                      <a:pt x="183" y="361"/>
                    </a:lnTo>
                    <a:lnTo>
                      <a:pt x="187" y="360"/>
                    </a:lnTo>
                    <a:lnTo>
                      <a:pt x="188" y="361"/>
                    </a:lnTo>
                    <a:lnTo>
                      <a:pt x="190" y="362"/>
                    </a:lnTo>
                    <a:lnTo>
                      <a:pt x="191" y="362"/>
                    </a:lnTo>
                    <a:lnTo>
                      <a:pt x="195" y="361"/>
                    </a:lnTo>
                    <a:lnTo>
                      <a:pt x="202" y="362"/>
                    </a:lnTo>
                    <a:lnTo>
                      <a:pt x="204" y="364"/>
                    </a:lnTo>
                    <a:lnTo>
                      <a:pt x="205" y="361"/>
                    </a:lnTo>
                    <a:lnTo>
                      <a:pt x="206" y="359"/>
                    </a:lnTo>
                    <a:lnTo>
                      <a:pt x="206" y="360"/>
                    </a:lnTo>
                    <a:lnTo>
                      <a:pt x="208" y="356"/>
                    </a:lnTo>
                    <a:lnTo>
                      <a:pt x="209" y="358"/>
                    </a:lnTo>
                    <a:lnTo>
                      <a:pt x="208" y="361"/>
                    </a:lnTo>
                    <a:lnTo>
                      <a:pt x="209" y="361"/>
                    </a:lnTo>
                    <a:lnTo>
                      <a:pt x="211" y="359"/>
                    </a:lnTo>
                    <a:lnTo>
                      <a:pt x="212" y="359"/>
                    </a:lnTo>
                    <a:lnTo>
                      <a:pt x="215" y="355"/>
                    </a:lnTo>
                    <a:lnTo>
                      <a:pt x="218" y="352"/>
                    </a:lnTo>
                    <a:lnTo>
                      <a:pt x="219" y="349"/>
                    </a:lnTo>
                    <a:lnTo>
                      <a:pt x="220" y="349"/>
                    </a:lnTo>
                    <a:lnTo>
                      <a:pt x="223" y="348"/>
                    </a:lnTo>
                    <a:lnTo>
                      <a:pt x="224" y="348"/>
                    </a:lnTo>
                    <a:lnTo>
                      <a:pt x="225" y="351"/>
                    </a:lnTo>
                    <a:lnTo>
                      <a:pt x="226" y="349"/>
                    </a:lnTo>
                    <a:lnTo>
                      <a:pt x="227" y="350"/>
                    </a:lnTo>
                    <a:lnTo>
                      <a:pt x="229" y="356"/>
                    </a:lnTo>
                    <a:lnTo>
                      <a:pt x="228" y="359"/>
                    </a:lnTo>
                    <a:lnTo>
                      <a:pt x="229" y="360"/>
                    </a:lnTo>
                    <a:lnTo>
                      <a:pt x="236" y="359"/>
                    </a:lnTo>
                    <a:lnTo>
                      <a:pt x="236" y="355"/>
                    </a:lnTo>
                    <a:lnTo>
                      <a:pt x="237" y="355"/>
                    </a:lnTo>
                    <a:lnTo>
                      <a:pt x="237" y="352"/>
                    </a:lnTo>
                    <a:lnTo>
                      <a:pt x="239" y="350"/>
                    </a:lnTo>
                    <a:lnTo>
                      <a:pt x="241" y="348"/>
                    </a:lnTo>
                    <a:lnTo>
                      <a:pt x="244" y="348"/>
                    </a:lnTo>
                    <a:lnTo>
                      <a:pt x="250" y="347"/>
                    </a:lnTo>
                    <a:lnTo>
                      <a:pt x="251" y="347"/>
                    </a:lnTo>
                    <a:lnTo>
                      <a:pt x="250" y="348"/>
                    </a:lnTo>
                    <a:lnTo>
                      <a:pt x="254" y="347"/>
                    </a:lnTo>
                    <a:lnTo>
                      <a:pt x="255" y="345"/>
                    </a:lnTo>
                    <a:lnTo>
                      <a:pt x="256" y="345"/>
                    </a:lnTo>
                    <a:lnTo>
                      <a:pt x="258" y="345"/>
                    </a:lnTo>
                    <a:lnTo>
                      <a:pt x="259" y="342"/>
                    </a:lnTo>
                    <a:lnTo>
                      <a:pt x="260" y="342"/>
                    </a:lnTo>
                    <a:lnTo>
                      <a:pt x="261" y="342"/>
                    </a:lnTo>
                    <a:lnTo>
                      <a:pt x="263" y="341"/>
                    </a:lnTo>
                    <a:lnTo>
                      <a:pt x="263" y="339"/>
                    </a:lnTo>
                    <a:lnTo>
                      <a:pt x="263" y="335"/>
                    </a:lnTo>
                    <a:lnTo>
                      <a:pt x="262" y="335"/>
                    </a:lnTo>
                    <a:lnTo>
                      <a:pt x="263" y="335"/>
                    </a:lnTo>
                    <a:lnTo>
                      <a:pt x="263" y="334"/>
                    </a:lnTo>
                    <a:lnTo>
                      <a:pt x="265" y="335"/>
                    </a:lnTo>
                    <a:lnTo>
                      <a:pt x="268" y="335"/>
                    </a:lnTo>
                    <a:lnTo>
                      <a:pt x="268" y="336"/>
                    </a:lnTo>
                    <a:lnTo>
                      <a:pt x="272" y="337"/>
                    </a:lnTo>
                    <a:lnTo>
                      <a:pt x="274" y="337"/>
                    </a:lnTo>
                    <a:lnTo>
                      <a:pt x="274" y="336"/>
                    </a:lnTo>
                    <a:lnTo>
                      <a:pt x="273" y="335"/>
                    </a:lnTo>
                    <a:lnTo>
                      <a:pt x="274" y="335"/>
                    </a:lnTo>
                    <a:lnTo>
                      <a:pt x="273" y="334"/>
                    </a:lnTo>
                    <a:lnTo>
                      <a:pt x="274" y="331"/>
                    </a:lnTo>
                    <a:lnTo>
                      <a:pt x="273" y="329"/>
                    </a:lnTo>
                    <a:lnTo>
                      <a:pt x="272" y="329"/>
                    </a:lnTo>
                    <a:lnTo>
                      <a:pt x="272" y="322"/>
                    </a:lnTo>
                    <a:lnTo>
                      <a:pt x="275" y="322"/>
                    </a:lnTo>
                    <a:lnTo>
                      <a:pt x="274" y="321"/>
                    </a:lnTo>
                    <a:lnTo>
                      <a:pt x="276" y="321"/>
                    </a:lnTo>
                    <a:lnTo>
                      <a:pt x="277" y="319"/>
                    </a:lnTo>
                    <a:lnTo>
                      <a:pt x="279" y="319"/>
                    </a:lnTo>
                    <a:lnTo>
                      <a:pt x="280" y="318"/>
                    </a:lnTo>
                    <a:lnTo>
                      <a:pt x="283" y="318"/>
                    </a:lnTo>
                    <a:lnTo>
                      <a:pt x="285" y="321"/>
                    </a:lnTo>
                    <a:lnTo>
                      <a:pt x="286" y="321"/>
                    </a:lnTo>
                    <a:lnTo>
                      <a:pt x="286" y="319"/>
                    </a:lnTo>
                    <a:lnTo>
                      <a:pt x="288" y="319"/>
                    </a:lnTo>
                    <a:lnTo>
                      <a:pt x="292" y="322"/>
                    </a:lnTo>
                    <a:lnTo>
                      <a:pt x="296" y="323"/>
                    </a:lnTo>
                    <a:lnTo>
                      <a:pt x="296" y="325"/>
                    </a:lnTo>
                    <a:lnTo>
                      <a:pt x="297" y="325"/>
                    </a:lnTo>
                    <a:lnTo>
                      <a:pt x="297" y="326"/>
                    </a:lnTo>
                    <a:lnTo>
                      <a:pt x="298" y="326"/>
                    </a:lnTo>
                    <a:lnTo>
                      <a:pt x="303" y="326"/>
                    </a:lnTo>
                    <a:lnTo>
                      <a:pt x="309" y="327"/>
                    </a:lnTo>
                    <a:lnTo>
                      <a:pt x="309" y="329"/>
                    </a:lnTo>
                    <a:lnTo>
                      <a:pt x="311" y="329"/>
                    </a:lnTo>
                    <a:lnTo>
                      <a:pt x="315" y="330"/>
                    </a:lnTo>
                    <a:lnTo>
                      <a:pt x="315" y="331"/>
                    </a:lnTo>
                    <a:lnTo>
                      <a:pt x="316" y="330"/>
                    </a:lnTo>
                    <a:lnTo>
                      <a:pt x="322" y="330"/>
                    </a:lnTo>
                    <a:lnTo>
                      <a:pt x="323" y="329"/>
                    </a:lnTo>
                    <a:lnTo>
                      <a:pt x="326" y="331"/>
                    </a:lnTo>
                    <a:lnTo>
                      <a:pt x="327" y="328"/>
                    </a:lnTo>
                    <a:lnTo>
                      <a:pt x="326" y="326"/>
                    </a:lnTo>
                    <a:lnTo>
                      <a:pt x="330" y="328"/>
                    </a:lnTo>
                    <a:lnTo>
                      <a:pt x="330" y="329"/>
                    </a:lnTo>
                    <a:lnTo>
                      <a:pt x="331" y="331"/>
                    </a:lnTo>
                    <a:lnTo>
                      <a:pt x="331" y="330"/>
                    </a:lnTo>
                    <a:lnTo>
                      <a:pt x="334" y="332"/>
                    </a:lnTo>
                    <a:lnTo>
                      <a:pt x="334" y="331"/>
                    </a:lnTo>
                    <a:lnTo>
                      <a:pt x="335" y="331"/>
                    </a:lnTo>
                    <a:lnTo>
                      <a:pt x="336" y="329"/>
                    </a:lnTo>
                    <a:lnTo>
                      <a:pt x="341" y="334"/>
                    </a:lnTo>
                    <a:lnTo>
                      <a:pt x="343" y="335"/>
                    </a:lnTo>
                    <a:lnTo>
                      <a:pt x="343" y="336"/>
                    </a:lnTo>
                    <a:lnTo>
                      <a:pt x="344" y="336"/>
                    </a:lnTo>
                    <a:lnTo>
                      <a:pt x="346" y="332"/>
                    </a:lnTo>
                    <a:lnTo>
                      <a:pt x="348" y="331"/>
                    </a:lnTo>
                    <a:lnTo>
                      <a:pt x="348" y="330"/>
                    </a:lnTo>
                    <a:lnTo>
                      <a:pt x="350" y="326"/>
                    </a:lnTo>
                    <a:lnTo>
                      <a:pt x="351" y="327"/>
                    </a:lnTo>
                    <a:lnTo>
                      <a:pt x="353" y="325"/>
                    </a:lnTo>
                    <a:lnTo>
                      <a:pt x="355" y="328"/>
                    </a:lnTo>
                    <a:lnTo>
                      <a:pt x="357" y="329"/>
                    </a:lnTo>
                    <a:lnTo>
                      <a:pt x="358" y="328"/>
                    </a:lnTo>
                    <a:lnTo>
                      <a:pt x="358" y="327"/>
                    </a:lnTo>
                    <a:lnTo>
                      <a:pt x="359" y="329"/>
                    </a:lnTo>
                    <a:lnTo>
                      <a:pt x="361" y="329"/>
                    </a:lnTo>
                    <a:lnTo>
                      <a:pt x="361" y="326"/>
                    </a:lnTo>
                    <a:lnTo>
                      <a:pt x="365" y="328"/>
                    </a:lnTo>
                    <a:lnTo>
                      <a:pt x="365" y="326"/>
                    </a:lnTo>
                    <a:lnTo>
                      <a:pt x="366" y="326"/>
                    </a:lnTo>
                    <a:lnTo>
                      <a:pt x="367" y="326"/>
                    </a:lnTo>
                    <a:lnTo>
                      <a:pt x="369" y="326"/>
                    </a:lnTo>
                    <a:lnTo>
                      <a:pt x="369" y="327"/>
                    </a:lnTo>
                    <a:lnTo>
                      <a:pt x="370" y="328"/>
                    </a:lnTo>
                    <a:lnTo>
                      <a:pt x="370" y="329"/>
                    </a:lnTo>
                    <a:lnTo>
                      <a:pt x="372" y="329"/>
                    </a:lnTo>
                    <a:lnTo>
                      <a:pt x="372" y="331"/>
                    </a:lnTo>
                    <a:lnTo>
                      <a:pt x="372" y="330"/>
                    </a:lnTo>
                    <a:lnTo>
                      <a:pt x="374" y="331"/>
                    </a:lnTo>
                    <a:lnTo>
                      <a:pt x="372" y="329"/>
                    </a:lnTo>
                    <a:lnTo>
                      <a:pt x="374" y="329"/>
                    </a:lnTo>
                    <a:lnTo>
                      <a:pt x="374" y="330"/>
                    </a:lnTo>
                    <a:lnTo>
                      <a:pt x="374" y="331"/>
                    </a:lnTo>
                    <a:lnTo>
                      <a:pt x="375" y="330"/>
                    </a:lnTo>
                    <a:lnTo>
                      <a:pt x="376" y="330"/>
                    </a:lnTo>
                    <a:lnTo>
                      <a:pt x="378" y="326"/>
                    </a:lnTo>
                    <a:lnTo>
                      <a:pt x="378" y="324"/>
                    </a:lnTo>
                    <a:lnTo>
                      <a:pt x="378" y="323"/>
                    </a:lnTo>
                    <a:lnTo>
                      <a:pt x="377" y="322"/>
                    </a:lnTo>
                    <a:lnTo>
                      <a:pt x="378" y="322"/>
                    </a:lnTo>
                    <a:lnTo>
                      <a:pt x="378" y="318"/>
                    </a:lnTo>
                    <a:lnTo>
                      <a:pt x="381" y="319"/>
                    </a:lnTo>
                    <a:lnTo>
                      <a:pt x="381" y="314"/>
                    </a:lnTo>
                    <a:lnTo>
                      <a:pt x="381" y="312"/>
                    </a:lnTo>
                    <a:lnTo>
                      <a:pt x="382" y="312"/>
                    </a:lnTo>
                    <a:lnTo>
                      <a:pt x="382" y="310"/>
                    </a:lnTo>
                    <a:lnTo>
                      <a:pt x="381" y="309"/>
                    </a:lnTo>
                    <a:lnTo>
                      <a:pt x="380" y="308"/>
                    </a:lnTo>
                    <a:lnTo>
                      <a:pt x="380" y="306"/>
                    </a:lnTo>
                    <a:lnTo>
                      <a:pt x="378" y="305"/>
                    </a:lnTo>
                    <a:lnTo>
                      <a:pt x="378" y="304"/>
                    </a:lnTo>
                    <a:lnTo>
                      <a:pt x="381" y="302"/>
                    </a:lnTo>
                    <a:lnTo>
                      <a:pt x="381" y="304"/>
                    </a:lnTo>
                    <a:lnTo>
                      <a:pt x="382" y="303"/>
                    </a:lnTo>
                    <a:lnTo>
                      <a:pt x="381" y="302"/>
                    </a:lnTo>
                    <a:lnTo>
                      <a:pt x="381" y="301"/>
                    </a:lnTo>
                    <a:lnTo>
                      <a:pt x="380" y="299"/>
                    </a:lnTo>
                    <a:lnTo>
                      <a:pt x="381" y="298"/>
                    </a:lnTo>
                    <a:lnTo>
                      <a:pt x="381" y="297"/>
                    </a:lnTo>
                    <a:lnTo>
                      <a:pt x="381" y="296"/>
                    </a:lnTo>
                    <a:lnTo>
                      <a:pt x="379" y="295"/>
                    </a:lnTo>
                    <a:lnTo>
                      <a:pt x="379" y="294"/>
                    </a:lnTo>
                    <a:lnTo>
                      <a:pt x="381" y="293"/>
                    </a:lnTo>
                    <a:lnTo>
                      <a:pt x="382" y="293"/>
                    </a:lnTo>
                    <a:lnTo>
                      <a:pt x="382" y="292"/>
                    </a:lnTo>
                    <a:lnTo>
                      <a:pt x="384" y="291"/>
                    </a:lnTo>
                    <a:lnTo>
                      <a:pt x="388" y="296"/>
                    </a:lnTo>
                    <a:lnTo>
                      <a:pt x="394" y="300"/>
                    </a:lnTo>
                    <a:lnTo>
                      <a:pt x="394" y="298"/>
                    </a:lnTo>
                    <a:lnTo>
                      <a:pt x="395" y="299"/>
                    </a:lnTo>
                    <a:lnTo>
                      <a:pt x="394" y="298"/>
                    </a:lnTo>
                    <a:lnTo>
                      <a:pt x="395" y="296"/>
                    </a:lnTo>
                    <a:lnTo>
                      <a:pt x="393" y="296"/>
                    </a:lnTo>
                    <a:lnTo>
                      <a:pt x="392" y="295"/>
                    </a:lnTo>
                    <a:lnTo>
                      <a:pt x="394" y="293"/>
                    </a:lnTo>
                    <a:lnTo>
                      <a:pt x="395" y="295"/>
                    </a:lnTo>
                    <a:lnTo>
                      <a:pt x="396" y="293"/>
                    </a:lnTo>
                    <a:lnTo>
                      <a:pt x="395" y="292"/>
                    </a:lnTo>
                    <a:lnTo>
                      <a:pt x="397" y="292"/>
                    </a:lnTo>
                    <a:lnTo>
                      <a:pt x="397" y="285"/>
                    </a:lnTo>
                    <a:lnTo>
                      <a:pt x="401" y="289"/>
                    </a:lnTo>
                    <a:lnTo>
                      <a:pt x="404" y="289"/>
                    </a:lnTo>
                    <a:lnTo>
                      <a:pt x="404" y="286"/>
                    </a:lnTo>
                    <a:lnTo>
                      <a:pt x="407" y="289"/>
                    </a:lnTo>
                    <a:lnTo>
                      <a:pt x="410" y="289"/>
                    </a:lnTo>
                    <a:lnTo>
                      <a:pt x="410" y="285"/>
                    </a:lnTo>
                    <a:lnTo>
                      <a:pt x="411" y="284"/>
                    </a:lnTo>
                    <a:lnTo>
                      <a:pt x="411" y="281"/>
                    </a:lnTo>
                    <a:lnTo>
                      <a:pt x="411" y="280"/>
                    </a:lnTo>
                    <a:lnTo>
                      <a:pt x="410" y="279"/>
                    </a:lnTo>
                    <a:lnTo>
                      <a:pt x="411" y="279"/>
                    </a:lnTo>
                    <a:lnTo>
                      <a:pt x="411" y="275"/>
                    </a:lnTo>
                    <a:lnTo>
                      <a:pt x="408" y="267"/>
                    </a:lnTo>
                    <a:lnTo>
                      <a:pt x="413" y="266"/>
                    </a:lnTo>
                    <a:lnTo>
                      <a:pt x="413" y="261"/>
                    </a:lnTo>
                    <a:lnTo>
                      <a:pt x="417" y="264"/>
                    </a:lnTo>
                    <a:lnTo>
                      <a:pt x="416" y="261"/>
                    </a:lnTo>
                    <a:lnTo>
                      <a:pt x="416" y="258"/>
                    </a:lnTo>
                    <a:lnTo>
                      <a:pt x="414" y="258"/>
                    </a:lnTo>
                    <a:lnTo>
                      <a:pt x="415" y="255"/>
                    </a:lnTo>
                    <a:lnTo>
                      <a:pt x="413" y="254"/>
                    </a:lnTo>
                    <a:lnTo>
                      <a:pt x="414" y="254"/>
                    </a:lnTo>
                    <a:lnTo>
                      <a:pt x="414" y="253"/>
                    </a:lnTo>
                    <a:lnTo>
                      <a:pt x="413" y="253"/>
                    </a:lnTo>
                    <a:lnTo>
                      <a:pt x="411" y="252"/>
                    </a:lnTo>
                    <a:lnTo>
                      <a:pt x="411" y="253"/>
                    </a:lnTo>
                    <a:lnTo>
                      <a:pt x="410" y="252"/>
                    </a:lnTo>
                    <a:lnTo>
                      <a:pt x="410" y="251"/>
                    </a:lnTo>
                    <a:lnTo>
                      <a:pt x="410" y="252"/>
                    </a:lnTo>
                    <a:lnTo>
                      <a:pt x="406" y="251"/>
                    </a:lnTo>
                    <a:lnTo>
                      <a:pt x="407" y="248"/>
                    </a:lnTo>
                    <a:lnTo>
                      <a:pt x="406" y="249"/>
                    </a:lnTo>
                    <a:lnTo>
                      <a:pt x="406" y="248"/>
                    </a:lnTo>
                    <a:lnTo>
                      <a:pt x="406" y="245"/>
                    </a:lnTo>
                    <a:lnTo>
                      <a:pt x="405" y="245"/>
                    </a:lnTo>
                    <a:lnTo>
                      <a:pt x="406" y="244"/>
                    </a:lnTo>
                    <a:lnTo>
                      <a:pt x="405" y="244"/>
                    </a:lnTo>
                    <a:lnTo>
                      <a:pt x="406" y="242"/>
                    </a:lnTo>
                    <a:lnTo>
                      <a:pt x="405" y="242"/>
                    </a:lnTo>
                    <a:lnTo>
                      <a:pt x="405" y="241"/>
                    </a:lnTo>
                    <a:lnTo>
                      <a:pt x="404" y="238"/>
                    </a:lnTo>
                    <a:lnTo>
                      <a:pt x="402" y="237"/>
                    </a:lnTo>
                    <a:lnTo>
                      <a:pt x="402" y="235"/>
                    </a:lnTo>
                    <a:lnTo>
                      <a:pt x="402" y="231"/>
                    </a:lnTo>
                    <a:lnTo>
                      <a:pt x="402" y="230"/>
                    </a:lnTo>
                    <a:lnTo>
                      <a:pt x="402" y="228"/>
                    </a:lnTo>
                    <a:lnTo>
                      <a:pt x="401" y="228"/>
                    </a:lnTo>
                    <a:lnTo>
                      <a:pt x="401" y="225"/>
                    </a:lnTo>
                    <a:lnTo>
                      <a:pt x="400" y="225"/>
                    </a:lnTo>
                    <a:lnTo>
                      <a:pt x="400" y="224"/>
                    </a:lnTo>
                    <a:lnTo>
                      <a:pt x="400" y="221"/>
                    </a:lnTo>
                    <a:lnTo>
                      <a:pt x="397" y="219"/>
                    </a:lnTo>
                    <a:lnTo>
                      <a:pt x="397" y="218"/>
                    </a:lnTo>
                    <a:lnTo>
                      <a:pt x="396" y="215"/>
                    </a:lnTo>
                    <a:lnTo>
                      <a:pt x="394" y="215"/>
                    </a:lnTo>
                    <a:lnTo>
                      <a:pt x="395" y="213"/>
                    </a:lnTo>
                    <a:lnTo>
                      <a:pt x="395" y="208"/>
                    </a:lnTo>
                    <a:lnTo>
                      <a:pt x="392" y="206"/>
                    </a:lnTo>
                    <a:lnTo>
                      <a:pt x="392" y="204"/>
                    </a:lnTo>
                    <a:lnTo>
                      <a:pt x="393" y="204"/>
                    </a:lnTo>
                    <a:lnTo>
                      <a:pt x="390" y="201"/>
                    </a:lnTo>
                    <a:lnTo>
                      <a:pt x="392" y="197"/>
                    </a:lnTo>
                    <a:lnTo>
                      <a:pt x="392" y="196"/>
                    </a:lnTo>
                    <a:lnTo>
                      <a:pt x="392" y="192"/>
                    </a:lnTo>
                    <a:lnTo>
                      <a:pt x="392" y="191"/>
                    </a:lnTo>
                    <a:lnTo>
                      <a:pt x="392" y="190"/>
                    </a:lnTo>
                    <a:lnTo>
                      <a:pt x="392" y="187"/>
                    </a:lnTo>
                    <a:lnTo>
                      <a:pt x="390" y="187"/>
                    </a:lnTo>
                    <a:lnTo>
                      <a:pt x="388" y="187"/>
                    </a:lnTo>
                    <a:lnTo>
                      <a:pt x="389" y="182"/>
                    </a:lnTo>
                    <a:lnTo>
                      <a:pt x="392" y="177"/>
                    </a:lnTo>
                    <a:lnTo>
                      <a:pt x="398" y="173"/>
                    </a:lnTo>
                    <a:lnTo>
                      <a:pt x="398" y="171"/>
                    </a:lnTo>
                    <a:lnTo>
                      <a:pt x="396" y="169"/>
                    </a:lnTo>
                    <a:lnTo>
                      <a:pt x="397" y="166"/>
                    </a:lnTo>
                    <a:lnTo>
                      <a:pt x="398" y="164"/>
                    </a:lnTo>
                    <a:lnTo>
                      <a:pt x="398" y="161"/>
                    </a:lnTo>
                    <a:lnTo>
                      <a:pt x="400" y="159"/>
                    </a:lnTo>
                    <a:lnTo>
                      <a:pt x="404" y="158"/>
                    </a:lnTo>
                    <a:lnTo>
                      <a:pt x="408" y="157"/>
                    </a:lnTo>
                    <a:lnTo>
                      <a:pt x="410" y="153"/>
                    </a:lnTo>
                    <a:lnTo>
                      <a:pt x="411" y="151"/>
                    </a:lnTo>
                    <a:lnTo>
                      <a:pt x="411" y="153"/>
                    </a:lnTo>
                    <a:lnTo>
                      <a:pt x="411" y="155"/>
                    </a:lnTo>
                    <a:lnTo>
                      <a:pt x="414" y="155"/>
                    </a:lnTo>
                    <a:lnTo>
                      <a:pt x="415" y="153"/>
                    </a:lnTo>
                    <a:lnTo>
                      <a:pt x="412" y="150"/>
                    </a:lnTo>
                    <a:lnTo>
                      <a:pt x="413" y="147"/>
                    </a:lnTo>
                    <a:lnTo>
                      <a:pt x="414" y="147"/>
                    </a:lnTo>
                    <a:lnTo>
                      <a:pt x="414" y="145"/>
                    </a:lnTo>
                    <a:lnTo>
                      <a:pt x="416" y="140"/>
                    </a:lnTo>
                    <a:lnTo>
                      <a:pt x="418" y="137"/>
                    </a:lnTo>
                    <a:lnTo>
                      <a:pt x="418" y="136"/>
                    </a:lnTo>
                    <a:lnTo>
                      <a:pt x="420" y="136"/>
                    </a:lnTo>
                    <a:lnTo>
                      <a:pt x="422" y="138"/>
                    </a:lnTo>
                    <a:lnTo>
                      <a:pt x="424" y="134"/>
                    </a:lnTo>
                    <a:lnTo>
                      <a:pt x="422" y="132"/>
                    </a:lnTo>
                    <a:lnTo>
                      <a:pt x="423" y="130"/>
                    </a:lnTo>
                    <a:lnTo>
                      <a:pt x="426" y="129"/>
                    </a:lnTo>
                    <a:lnTo>
                      <a:pt x="426" y="128"/>
                    </a:lnTo>
                    <a:lnTo>
                      <a:pt x="425" y="127"/>
                    </a:lnTo>
                    <a:lnTo>
                      <a:pt x="424" y="127"/>
                    </a:lnTo>
                    <a:lnTo>
                      <a:pt x="424" y="125"/>
                    </a:lnTo>
                    <a:lnTo>
                      <a:pt x="424" y="124"/>
                    </a:lnTo>
                    <a:lnTo>
                      <a:pt x="425" y="122"/>
                    </a:lnTo>
                    <a:lnTo>
                      <a:pt x="427" y="123"/>
                    </a:lnTo>
                    <a:lnTo>
                      <a:pt x="427" y="122"/>
                    </a:lnTo>
                    <a:lnTo>
                      <a:pt x="425" y="121"/>
                    </a:lnTo>
                    <a:lnTo>
                      <a:pt x="424" y="122"/>
                    </a:lnTo>
                    <a:lnTo>
                      <a:pt x="423" y="121"/>
                    </a:lnTo>
                    <a:lnTo>
                      <a:pt x="424" y="121"/>
                    </a:lnTo>
                    <a:lnTo>
                      <a:pt x="422" y="119"/>
                    </a:lnTo>
                    <a:lnTo>
                      <a:pt x="425" y="118"/>
                    </a:lnTo>
                    <a:lnTo>
                      <a:pt x="427" y="121"/>
                    </a:lnTo>
                    <a:lnTo>
                      <a:pt x="429" y="119"/>
                    </a:lnTo>
                    <a:lnTo>
                      <a:pt x="432" y="118"/>
                    </a:lnTo>
                    <a:lnTo>
                      <a:pt x="433" y="119"/>
                    </a:lnTo>
                    <a:lnTo>
                      <a:pt x="434" y="119"/>
                    </a:lnTo>
                    <a:lnTo>
                      <a:pt x="433" y="121"/>
                    </a:lnTo>
                    <a:lnTo>
                      <a:pt x="432" y="122"/>
                    </a:lnTo>
                    <a:lnTo>
                      <a:pt x="434" y="121"/>
                    </a:lnTo>
                    <a:lnTo>
                      <a:pt x="435" y="122"/>
                    </a:lnTo>
                    <a:lnTo>
                      <a:pt x="435" y="121"/>
                    </a:lnTo>
                    <a:lnTo>
                      <a:pt x="436" y="121"/>
                    </a:lnTo>
                    <a:lnTo>
                      <a:pt x="439" y="124"/>
                    </a:lnTo>
                    <a:lnTo>
                      <a:pt x="440" y="127"/>
                    </a:lnTo>
                    <a:lnTo>
                      <a:pt x="443" y="128"/>
                    </a:lnTo>
                    <a:lnTo>
                      <a:pt x="444" y="129"/>
                    </a:lnTo>
                    <a:lnTo>
                      <a:pt x="446" y="129"/>
                    </a:lnTo>
                    <a:lnTo>
                      <a:pt x="447" y="131"/>
                    </a:lnTo>
                    <a:lnTo>
                      <a:pt x="448" y="129"/>
                    </a:lnTo>
                    <a:lnTo>
                      <a:pt x="448" y="130"/>
                    </a:lnTo>
                    <a:lnTo>
                      <a:pt x="450" y="130"/>
                    </a:lnTo>
                    <a:lnTo>
                      <a:pt x="453" y="129"/>
                    </a:lnTo>
                    <a:lnTo>
                      <a:pt x="454" y="126"/>
                    </a:lnTo>
                    <a:lnTo>
                      <a:pt x="454" y="122"/>
                    </a:lnTo>
                    <a:lnTo>
                      <a:pt x="455" y="120"/>
                    </a:lnTo>
                    <a:lnTo>
                      <a:pt x="455" y="117"/>
                    </a:lnTo>
                    <a:lnTo>
                      <a:pt x="457" y="116"/>
                    </a:lnTo>
                    <a:lnTo>
                      <a:pt x="457" y="112"/>
                    </a:lnTo>
                    <a:lnTo>
                      <a:pt x="457" y="111"/>
                    </a:lnTo>
                    <a:lnTo>
                      <a:pt x="463" y="113"/>
                    </a:lnTo>
                    <a:lnTo>
                      <a:pt x="465" y="112"/>
                    </a:lnTo>
                    <a:lnTo>
                      <a:pt x="467" y="112"/>
                    </a:lnTo>
                    <a:lnTo>
                      <a:pt x="468" y="111"/>
                    </a:lnTo>
                    <a:lnTo>
                      <a:pt x="471" y="104"/>
                    </a:lnTo>
                    <a:lnTo>
                      <a:pt x="472" y="101"/>
                    </a:lnTo>
                    <a:lnTo>
                      <a:pt x="473" y="100"/>
                    </a:lnTo>
                    <a:lnTo>
                      <a:pt x="477" y="91"/>
                    </a:lnTo>
                    <a:lnTo>
                      <a:pt x="479" y="86"/>
                    </a:lnTo>
                    <a:lnTo>
                      <a:pt x="484" y="83"/>
                    </a:lnTo>
                    <a:lnTo>
                      <a:pt x="485" y="74"/>
                    </a:lnTo>
                    <a:lnTo>
                      <a:pt x="484" y="72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63" name="Group 56">
              <a:extLst>
                <a:ext uri="{FF2B5EF4-FFF2-40B4-BE49-F238E27FC236}">
                  <a16:creationId xmlns:a16="http://schemas.microsoft.com/office/drawing/2014/main" id="{553B2D99-2426-47C4-9DC1-92A0826BFB9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67" y="2858"/>
              <a:ext cx="386" cy="374"/>
              <a:chOff x="1267" y="2858"/>
              <a:chExt cx="386" cy="374"/>
            </a:xfrm>
          </p:grpSpPr>
          <p:sp>
            <p:nvSpPr>
              <p:cNvPr id="533" name="Freeform 54">
                <a:extLst>
                  <a:ext uri="{FF2B5EF4-FFF2-40B4-BE49-F238E27FC236}">
                    <a16:creationId xmlns:a16="http://schemas.microsoft.com/office/drawing/2014/main" id="{479C345B-B71E-4593-AF32-064C56C07B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7" y="2858"/>
                <a:ext cx="386" cy="374"/>
              </a:xfrm>
              <a:custGeom>
                <a:avLst/>
                <a:gdLst>
                  <a:gd name="T0" fmla="*/ 383 w 386"/>
                  <a:gd name="T1" fmla="*/ 303 h 374"/>
                  <a:gd name="T2" fmla="*/ 367 w 386"/>
                  <a:gd name="T3" fmla="*/ 276 h 374"/>
                  <a:gd name="T4" fmla="*/ 348 w 386"/>
                  <a:gd name="T5" fmla="*/ 244 h 374"/>
                  <a:gd name="T6" fmla="*/ 334 w 386"/>
                  <a:gd name="T7" fmla="*/ 216 h 374"/>
                  <a:gd name="T8" fmla="*/ 311 w 386"/>
                  <a:gd name="T9" fmla="*/ 206 h 374"/>
                  <a:gd name="T10" fmla="*/ 295 w 386"/>
                  <a:gd name="T11" fmla="*/ 185 h 374"/>
                  <a:gd name="T12" fmla="*/ 307 w 386"/>
                  <a:gd name="T13" fmla="*/ 174 h 374"/>
                  <a:gd name="T14" fmla="*/ 325 w 386"/>
                  <a:gd name="T15" fmla="*/ 164 h 374"/>
                  <a:gd name="T16" fmla="*/ 354 w 386"/>
                  <a:gd name="T17" fmla="*/ 146 h 374"/>
                  <a:gd name="T18" fmla="*/ 364 w 386"/>
                  <a:gd name="T19" fmla="*/ 111 h 374"/>
                  <a:gd name="T20" fmla="*/ 336 w 386"/>
                  <a:gd name="T21" fmla="*/ 82 h 374"/>
                  <a:gd name="T22" fmla="*/ 304 w 386"/>
                  <a:gd name="T23" fmla="*/ 92 h 374"/>
                  <a:gd name="T24" fmla="*/ 278 w 386"/>
                  <a:gd name="T25" fmla="*/ 79 h 374"/>
                  <a:gd name="T26" fmla="*/ 249 w 386"/>
                  <a:gd name="T27" fmla="*/ 95 h 374"/>
                  <a:gd name="T28" fmla="*/ 252 w 386"/>
                  <a:gd name="T29" fmla="*/ 63 h 374"/>
                  <a:gd name="T30" fmla="*/ 218 w 386"/>
                  <a:gd name="T31" fmla="*/ 56 h 374"/>
                  <a:gd name="T32" fmla="*/ 188 w 386"/>
                  <a:gd name="T33" fmla="*/ 27 h 374"/>
                  <a:gd name="T34" fmla="*/ 142 w 386"/>
                  <a:gd name="T35" fmla="*/ 3 h 374"/>
                  <a:gd name="T36" fmla="*/ 138 w 386"/>
                  <a:gd name="T37" fmla="*/ 47 h 374"/>
                  <a:gd name="T38" fmla="*/ 137 w 386"/>
                  <a:gd name="T39" fmla="*/ 97 h 374"/>
                  <a:gd name="T40" fmla="*/ 149 w 386"/>
                  <a:gd name="T41" fmla="*/ 122 h 374"/>
                  <a:gd name="T42" fmla="*/ 132 w 386"/>
                  <a:gd name="T43" fmla="*/ 119 h 374"/>
                  <a:gd name="T44" fmla="*/ 114 w 386"/>
                  <a:gd name="T45" fmla="*/ 111 h 374"/>
                  <a:gd name="T46" fmla="*/ 97 w 386"/>
                  <a:gd name="T47" fmla="*/ 116 h 374"/>
                  <a:gd name="T48" fmla="*/ 92 w 386"/>
                  <a:gd name="T49" fmla="*/ 134 h 374"/>
                  <a:gd name="T50" fmla="*/ 83 w 386"/>
                  <a:gd name="T51" fmla="*/ 130 h 374"/>
                  <a:gd name="T52" fmla="*/ 71 w 386"/>
                  <a:gd name="T53" fmla="*/ 117 h 374"/>
                  <a:gd name="T54" fmla="*/ 51 w 386"/>
                  <a:gd name="T55" fmla="*/ 110 h 374"/>
                  <a:gd name="T56" fmla="*/ 35 w 386"/>
                  <a:gd name="T57" fmla="*/ 118 h 374"/>
                  <a:gd name="T58" fmla="*/ 15 w 386"/>
                  <a:gd name="T59" fmla="*/ 109 h 374"/>
                  <a:gd name="T60" fmla="*/ 14 w 386"/>
                  <a:gd name="T61" fmla="*/ 129 h 374"/>
                  <a:gd name="T62" fmla="*/ 17 w 386"/>
                  <a:gd name="T63" fmla="*/ 145 h 374"/>
                  <a:gd name="T64" fmla="*/ 11 w 386"/>
                  <a:gd name="T65" fmla="*/ 164 h 374"/>
                  <a:gd name="T66" fmla="*/ 2 w 386"/>
                  <a:gd name="T67" fmla="*/ 175 h 374"/>
                  <a:gd name="T68" fmla="*/ 21 w 386"/>
                  <a:gd name="T69" fmla="*/ 193 h 374"/>
                  <a:gd name="T70" fmla="*/ 26 w 386"/>
                  <a:gd name="T71" fmla="*/ 205 h 374"/>
                  <a:gd name="T72" fmla="*/ 32 w 386"/>
                  <a:gd name="T73" fmla="*/ 219 h 374"/>
                  <a:gd name="T74" fmla="*/ 49 w 386"/>
                  <a:gd name="T75" fmla="*/ 225 h 374"/>
                  <a:gd name="T76" fmla="*/ 66 w 386"/>
                  <a:gd name="T77" fmla="*/ 223 h 374"/>
                  <a:gd name="T78" fmla="*/ 64 w 386"/>
                  <a:gd name="T79" fmla="*/ 242 h 374"/>
                  <a:gd name="T80" fmla="*/ 69 w 386"/>
                  <a:gd name="T81" fmla="*/ 267 h 374"/>
                  <a:gd name="T82" fmla="*/ 59 w 386"/>
                  <a:gd name="T83" fmla="*/ 278 h 374"/>
                  <a:gd name="T84" fmla="*/ 65 w 386"/>
                  <a:gd name="T85" fmla="*/ 295 h 374"/>
                  <a:gd name="T86" fmla="*/ 79 w 386"/>
                  <a:gd name="T87" fmla="*/ 316 h 374"/>
                  <a:gd name="T88" fmla="*/ 98 w 386"/>
                  <a:gd name="T89" fmla="*/ 309 h 374"/>
                  <a:gd name="T90" fmla="*/ 110 w 386"/>
                  <a:gd name="T91" fmla="*/ 299 h 374"/>
                  <a:gd name="T92" fmla="*/ 120 w 386"/>
                  <a:gd name="T93" fmla="*/ 305 h 374"/>
                  <a:gd name="T94" fmla="*/ 128 w 386"/>
                  <a:gd name="T95" fmla="*/ 303 h 374"/>
                  <a:gd name="T96" fmla="*/ 141 w 386"/>
                  <a:gd name="T97" fmla="*/ 311 h 374"/>
                  <a:gd name="T98" fmla="*/ 156 w 386"/>
                  <a:gd name="T99" fmla="*/ 305 h 374"/>
                  <a:gd name="T100" fmla="*/ 172 w 386"/>
                  <a:gd name="T101" fmla="*/ 293 h 374"/>
                  <a:gd name="T102" fmla="*/ 185 w 386"/>
                  <a:gd name="T103" fmla="*/ 312 h 374"/>
                  <a:gd name="T104" fmla="*/ 227 w 386"/>
                  <a:gd name="T105" fmla="*/ 306 h 374"/>
                  <a:gd name="T106" fmla="*/ 255 w 386"/>
                  <a:gd name="T107" fmla="*/ 345 h 374"/>
                  <a:gd name="T108" fmla="*/ 275 w 386"/>
                  <a:gd name="T109" fmla="*/ 365 h 374"/>
                  <a:gd name="T110" fmla="*/ 290 w 386"/>
                  <a:gd name="T111" fmla="*/ 363 h 374"/>
                  <a:gd name="T112" fmla="*/ 302 w 386"/>
                  <a:gd name="T113" fmla="*/ 368 h 374"/>
                  <a:gd name="T114" fmla="*/ 314 w 386"/>
                  <a:gd name="T115" fmla="*/ 361 h 374"/>
                  <a:gd name="T116" fmla="*/ 333 w 386"/>
                  <a:gd name="T117" fmla="*/ 340 h 374"/>
                  <a:gd name="T118" fmla="*/ 345 w 386"/>
                  <a:gd name="T119" fmla="*/ 335 h 374"/>
                  <a:gd name="T120" fmla="*/ 369 w 386"/>
                  <a:gd name="T121" fmla="*/ 323 h 37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86"/>
                  <a:gd name="T184" fmla="*/ 0 h 374"/>
                  <a:gd name="T185" fmla="*/ 386 w 386"/>
                  <a:gd name="T186" fmla="*/ 374 h 37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86" h="374">
                    <a:moveTo>
                      <a:pt x="386" y="329"/>
                    </a:moveTo>
                    <a:lnTo>
                      <a:pt x="385" y="328"/>
                    </a:lnTo>
                    <a:lnTo>
                      <a:pt x="385" y="326"/>
                    </a:lnTo>
                    <a:lnTo>
                      <a:pt x="381" y="323"/>
                    </a:lnTo>
                    <a:lnTo>
                      <a:pt x="380" y="320"/>
                    </a:lnTo>
                    <a:lnTo>
                      <a:pt x="380" y="319"/>
                    </a:lnTo>
                    <a:lnTo>
                      <a:pt x="382" y="316"/>
                    </a:lnTo>
                    <a:lnTo>
                      <a:pt x="381" y="314"/>
                    </a:lnTo>
                    <a:lnTo>
                      <a:pt x="380" y="313"/>
                    </a:lnTo>
                    <a:lnTo>
                      <a:pt x="381" y="312"/>
                    </a:lnTo>
                    <a:lnTo>
                      <a:pt x="380" y="309"/>
                    </a:lnTo>
                    <a:lnTo>
                      <a:pt x="381" y="306"/>
                    </a:lnTo>
                    <a:lnTo>
                      <a:pt x="381" y="305"/>
                    </a:lnTo>
                    <a:lnTo>
                      <a:pt x="382" y="304"/>
                    </a:lnTo>
                    <a:lnTo>
                      <a:pt x="383" y="303"/>
                    </a:lnTo>
                    <a:lnTo>
                      <a:pt x="382" y="299"/>
                    </a:lnTo>
                    <a:lnTo>
                      <a:pt x="381" y="299"/>
                    </a:lnTo>
                    <a:lnTo>
                      <a:pt x="382" y="296"/>
                    </a:lnTo>
                    <a:lnTo>
                      <a:pt x="380" y="295"/>
                    </a:lnTo>
                    <a:lnTo>
                      <a:pt x="380" y="292"/>
                    </a:lnTo>
                    <a:lnTo>
                      <a:pt x="378" y="289"/>
                    </a:lnTo>
                    <a:lnTo>
                      <a:pt x="378" y="288"/>
                    </a:lnTo>
                    <a:lnTo>
                      <a:pt x="375" y="288"/>
                    </a:lnTo>
                    <a:lnTo>
                      <a:pt x="373" y="287"/>
                    </a:lnTo>
                    <a:lnTo>
                      <a:pt x="371" y="282"/>
                    </a:lnTo>
                    <a:lnTo>
                      <a:pt x="372" y="280"/>
                    </a:lnTo>
                    <a:lnTo>
                      <a:pt x="370" y="279"/>
                    </a:lnTo>
                    <a:lnTo>
                      <a:pt x="370" y="276"/>
                    </a:lnTo>
                    <a:lnTo>
                      <a:pt x="369" y="276"/>
                    </a:lnTo>
                    <a:lnTo>
                      <a:pt x="367" y="276"/>
                    </a:lnTo>
                    <a:lnTo>
                      <a:pt x="366" y="275"/>
                    </a:lnTo>
                    <a:lnTo>
                      <a:pt x="366" y="274"/>
                    </a:lnTo>
                    <a:lnTo>
                      <a:pt x="366" y="272"/>
                    </a:lnTo>
                    <a:lnTo>
                      <a:pt x="363" y="270"/>
                    </a:lnTo>
                    <a:lnTo>
                      <a:pt x="363" y="268"/>
                    </a:lnTo>
                    <a:lnTo>
                      <a:pt x="360" y="262"/>
                    </a:lnTo>
                    <a:lnTo>
                      <a:pt x="361" y="261"/>
                    </a:lnTo>
                    <a:lnTo>
                      <a:pt x="360" y="259"/>
                    </a:lnTo>
                    <a:lnTo>
                      <a:pt x="360" y="258"/>
                    </a:lnTo>
                    <a:lnTo>
                      <a:pt x="357" y="254"/>
                    </a:lnTo>
                    <a:lnTo>
                      <a:pt x="355" y="249"/>
                    </a:lnTo>
                    <a:lnTo>
                      <a:pt x="354" y="248"/>
                    </a:lnTo>
                    <a:lnTo>
                      <a:pt x="354" y="245"/>
                    </a:lnTo>
                    <a:lnTo>
                      <a:pt x="353" y="244"/>
                    </a:lnTo>
                    <a:lnTo>
                      <a:pt x="348" y="244"/>
                    </a:lnTo>
                    <a:lnTo>
                      <a:pt x="347" y="243"/>
                    </a:lnTo>
                    <a:lnTo>
                      <a:pt x="346" y="244"/>
                    </a:lnTo>
                    <a:lnTo>
                      <a:pt x="345" y="245"/>
                    </a:lnTo>
                    <a:lnTo>
                      <a:pt x="344" y="245"/>
                    </a:lnTo>
                    <a:lnTo>
                      <a:pt x="340" y="240"/>
                    </a:lnTo>
                    <a:lnTo>
                      <a:pt x="339" y="233"/>
                    </a:lnTo>
                    <a:lnTo>
                      <a:pt x="336" y="229"/>
                    </a:lnTo>
                    <a:lnTo>
                      <a:pt x="336" y="228"/>
                    </a:lnTo>
                    <a:lnTo>
                      <a:pt x="337" y="226"/>
                    </a:lnTo>
                    <a:lnTo>
                      <a:pt x="337" y="223"/>
                    </a:lnTo>
                    <a:lnTo>
                      <a:pt x="338" y="222"/>
                    </a:lnTo>
                    <a:lnTo>
                      <a:pt x="337" y="219"/>
                    </a:lnTo>
                    <a:lnTo>
                      <a:pt x="337" y="217"/>
                    </a:lnTo>
                    <a:lnTo>
                      <a:pt x="336" y="215"/>
                    </a:lnTo>
                    <a:lnTo>
                      <a:pt x="334" y="216"/>
                    </a:lnTo>
                    <a:lnTo>
                      <a:pt x="333" y="215"/>
                    </a:lnTo>
                    <a:lnTo>
                      <a:pt x="331" y="215"/>
                    </a:lnTo>
                    <a:lnTo>
                      <a:pt x="327" y="214"/>
                    </a:lnTo>
                    <a:lnTo>
                      <a:pt x="325" y="214"/>
                    </a:lnTo>
                    <a:lnTo>
                      <a:pt x="322" y="212"/>
                    </a:lnTo>
                    <a:lnTo>
                      <a:pt x="320" y="213"/>
                    </a:lnTo>
                    <a:lnTo>
                      <a:pt x="318" y="216"/>
                    </a:lnTo>
                    <a:lnTo>
                      <a:pt x="318" y="217"/>
                    </a:lnTo>
                    <a:lnTo>
                      <a:pt x="316" y="219"/>
                    </a:lnTo>
                    <a:lnTo>
                      <a:pt x="314" y="219"/>
                    </a:lnTo>
                    <a:lnTo>
                      <a:pt x="314" y="214"/>
                    </a:lnTo>
                    <a:lnTo>
                      <a:pt x="311" y="211"/>
                    </a:lnTo>
                    <a:lnTo>
                      <a:pt x="312" y="210"/>
                    </a:lnTo>
                    <a:lnTo>
                      <a:pt x="311" y="206"/>
                    </a:lnTo>
                    <a:lnTo>
                      <a:pt x="311" y="205"/>
                    </a:lnTo>
                    <a:lnTo>
                      <a:pt x="307" y="205"/>
                    </a:lnTo>
                    <a:lnTo>
                      <a:pt x="307" y="204"/>
                    </a:lnTo>
                    <a:lnTo>
                      <a:pt x="309" y="200"/>
                    </a:lnTo>
                    <a:lnTo>
                      <a:pt x="308" y="200"/>
                    </a:lnTo>
                    <a:lnTo>
                      <a:pt x="306" y="198"/>
                    </a:lnTo>
                    <a:lnTo>
                      <a:pt x="306" y="196"/>
                    </a:lnTo>
                    <a:lnTo>
                      <a:pt x="304" y="195"/>
                    </a:lnTo>
                    <a:lnTo>
                      <a:pt x="301" y="198"/>
                    </a:lnTo>
                    <a:lnTo>
                      <a:pt x="298" y="196"/>
                    </a:lnTo>
                    <a:lnTo>
                      <a:pt x="299" y="194"/>
                    </a:lnTo>
                    <a:lnTo>
                      <a:pt x="298" y="188"/>
                    </a:lnTo>
                    <a:lnTo>
                      <a:pt x="296" y="187"/>
                    </a:lnTo>
                    <a:lnTo>
                      <a:pt x="295" y="187"/>
                    </a:lnTo>
                    <a:lnTo>
                      <a:pt x="295" y="185"/>
                    </a:lnTo>
                    <a:lnTo>
                      <a:pt x="295" y="184"/>
                    </a:lnTo>
                    <a:lnTo>
                      <a:pt x="296" y="181"/>
                    </a:lnTo>
                    <a:lnTo>
                      <a:pt x="298" y="179"/>
                    </a:lnTo>
                    <a:lnTo>
                      <a:pt x="300" y="177"/>
                    </a:lnTo>
                    <a:lnTo>
                      <a:pt x="302" y="177"/>
                    </a:lnTo>
                    <a:lnTo>
                      <a:pt x="302" y="179"/>
                    </a:lnTo>
                    <a:lnTo>
                      <a:pt x="303" y="181"/>
                    </a:lnTo>
                    <a:lnTo>
                      <a:pt x="305" y="181"/>
                    </a:lnTo>
                    <a:lnTo>
                      <a:pt x="306" y="179"/>
                    </a:lnTo>
                    <a:lnTo>
                      <a:pt x="305" y="176"/>
                    </a:lnTo>
                    <a:lnTo>
                      <a:pt x="304" y="175"/>
                    </a:lnTo>
                    <a:lnTo>
                      <a:pt x="303" y="174"/>
                    </a:lnTo>
                    <a:lnTo>
                      <a:pt x="304" y="174"/>
                    </a:lnTo>
                    <a:lnTo>
                      <a:pt x="307" y="174"/>
                    </a:lnTo>
                    <a:lnTo>
                      <a:pt x="306" y="171"/>
                    </a:lnTo>
                    <a:lnTo>
                      <a:pt x="309" y="172"/>
                    </a:lnTo>
                    <a:lnTo>
                      <a:pt x="312" y="171"/>
                    </a:lnTo>
                    <a:lnTo>
                      <a:pt x="311" y="168"/>
                    </a:lnTo>
                    <a:lnTo>
                      <a:pt x="314" y="166"/>
                    </a:lnTo>
                    <a:lnTo>
                      <a:pt x="316" y="166"/>
                    </a:lnTo>
                    <a:lnTo>
                      <a:pt x="317" y="167"/>
                    </a:lnTo>
                    <a:lnTo>
                      <a:pt x="318" y="167"/>
                    </a:lnTo>
                    <a:lnTo>
                      <a:pt x="317" y="164"/>
                    </a:lnTo>
                    <a:lnTo>
                      <a:pt x="318" y="165"/>
                    </a:lnTo>
                    <a:lnTo>
                      <a:pt x="320" y="166"/>
                    </a:lnTo>
                    <a:lnTo>
                      <a:pt x="322" y="166"/>
                    </a:lnTo>
                    <a:lnTo>
                      <a:pt x="323" y="167"/>
                    </a:lnTo>
                    <a:lnTo>
                      <a:pt x="325" y="164"/>
                    </a:lnTo>
                    <a:lnTo>
                      <a:pt x="325" y="162"/>
                    </a:lnTo>
                    <a:lnTo>
                      <a:pt x="328" y="161"/>
                    </a:lnTo>
                    <a:lnTo>
                      <a:pt x="328" y="160"/>
                    </a:lnTo>
                    <a:lnTo>
                      <a:pt x="328" y="156"/>
                    </a:lnTo>
                    <a:lnTo>
                      <a:pt x="328" y="155"/>
                    </a:lnTo>
                    <a:lnTo>
                      <a:pt x="331" y="155"/>
                    </a:lnTo>
                    <a:lnTo>
                      <a:pt x="332" y="155"/>
                    </a:lnTo>
                    <a:lnTo>
                      <a:pt x="334" y="156"/>
                    </a:lnTo>
                    <a:lnTo>
                      <a:pt x="335" y="158"/>
                    </a:lnTo>
                    <a:lnTo>
                      <a:pt x="337" y="160"/>
                    </a:lnTo>
                    <a:lnTo>
                      <a:pt x="342" y="159"/>
                    </a:lnTo>
                    <a:lnTo>
                      <a:pt x="346" y="152"/>
                    </a:lnTo>
                    <a:lnTo>
                      <a:pt x="350" y="150"/>
                    </a:lnTo>
                    <a:lnTo>
                      <a:pt x="354" y="147"/>
                    </a:lnTo>
                    <a:lnTo>
                      <a:pt x="354" y="146"/>
                    </a:lnTo>
                    <a:lnTo>
                      <a:pt x="353" y="145"/>
                    </a:lnTo>
                    <a:lnTo>
                      <a:pt x="354" y="145"/>
                    </a:lnTo>
                    <a:lnTo>
                      <a:pt x="351" y="140"/>
                    </a:lnTo>
                    <a:lnTo>
                      <a:pt x="353" y="140"/>
                    </a:lnTo>
                    <a:lnTo>
                      <a:pt x="358" y="138"/>
                    </a:lnTo>
                    <a:lnTo>
                      <a:pt x="358" y="134"/>
                    </a:lnTo>
                    <a:lnTo>
                      <a:pt x="357" y="130"/>
                    </a:lnTo>
                    <a:lnTo>
                      <a:pt x="357" y="129"/>
                    </a:lnTo>
                    <a:lnTo>
                      <a:pt x="361" y="129"/>
                    </a:lnTo>
                    <a:lnTo>
                      <a:pt x="363" y="129"/>
                    </a:lnTo>
                    <a:lnTo>
                      <a:pt x="368" y="125"/>
                    </a:lnTo>
                    <a:lnTo>
                      <a:pt x="368" y="122"/>
                    </a:lnTo>
                    <a:lnTo>
                      <a:pt x="368" y="119"/>
                    </a:lnTo>
                    <a:lnTo>
                      <a:pt x="365" y="115"/>
                    </a:lnTo>
                    <a:lnTo>
                      <a:pt x="364" y="111"/>
                    </a:lnTo>
                    <a:lnTo>
                      <a:pt x="361" y="109"/>
                    </a:lnTo>
                    <a:lnTo>
                      <a:pt x="360" y="106"/>
                    </a:lnTo>
                    <a:lnTo>
                      <a:pt x="357" y="105"/>
                    </a:lnTo>
                    <a:lnTo>
                      <a:pt x="353" y="98"/>
                    </a:lnTo>
                    <a:lnTo>
                      <a:pt x="353" y="96"/>
                    </a:lnTo>
                    <a:lnTo>
                      <a:pt x="352" y="96"/>
                    </a:lnTo>
                    <a:lnTo>
                      <a:pt x="351" y="94"/>
                    </a:lnTo>
                    <a:lnTo>
                      <a:pt x="350" y="90"/>
                    </a:lnTo>
                    <a:lnTo>
                      <a:pt x="347" y="90"/>
                    </a:lnTo>
                    <a:lnTo>
                      <a:pt x="347" y="88"/>
                    </a:lnTo>
                    <a:lnTo>
                      <a:pt x="345" y="82"/>
                    </a:lnTo>
                    <a:lnTo>
                      <a:pt x="340" y="80"/>
                    </a:lnTo>
                    <a:lnTo>
                      <a:pt x="337" y="80"/>
                    </a:lnTo>
                    <a:lnTo>
                      <a:pt x="336" y="82"/>
                    </a:lnTo>
                    <a:lnTo>
                      <a:pt x="333" y="82"/>
                    </a:lnTo>
                    <a:lnTo>
                      <a:pt x="328" y="81"/>
                    </a:lnTo>
                    <a:lnTo>
                      <a:pt x="328" y="77"/>
                    </a:lnTo>
                    <a:lnTo>
                      <a:pt x="327" y="77"/>
                    </a:lnTo>
                    <a:lnTo>
                      <a:pt x="324" y="77"/>
                    </a:lnTo>
                    <a:lnTo>
                      <a:pt x="322" y="77"/>
                    </a:lnTo>
                    <a:lnTo>
                      <a:pt x="317" y="75"/>
                    </a:lnTo>
                    <a:lnTo>
                      <a:pt x="316" y="75"/>
                    </a:lnTo>
                    <a:lnTo>
                      <a:pt x="311" y="84"/>
                    </a:lnTo>
                    <a:lnTo>
                      <a:pt x="311" y="89"/>
                    </a:lnTo>
                    <a:lnTo>
                      <a:pt x="311" y="91"/>
                    </a:lnTo>
                    <a:lnTo>
                      <a:pt x="310" y="92"/>
                    </a:lnTo>
                    <a:lnTo>
                      <a:pt x="304" y="92"/>
                    </a:lnTo>
                    <a:lnTo>
                      <a:pt x="301" y="94"/>
                    </a:lnTo>
                    <a:lnTo>
                      <a:pt x="300" y="92"/>
                    </a:lnTo>
                    <a:lnTo>
                      <a:pt x="300" y="88"/>
                    </a:lnTo>
                    <a:lnTo>
                      <a:pt x="298" y="85"/>
                    </a:lnTo>
                    <a:lnTo>
                      <a:pt x="293" y="80"/>
                    </a:lnTo>
                    <a:lnTo>
                      <a:pt x="290" y="81"/>
                    </a:lnTo>
                    <a:lnTo>
                      <a:pt x="289" y="78"/>
                    </a:lnTo>
                    <a:lnTo>
                      <a:pt x="288" y="77"/>
                    </a:lnTo>
                    <a:lnTo>
                      <a:pt x="287" y="76"/>
                    </a:lnTo>
                    <a:lnTo>
                      <a:pt x="284" y="76"/>
                    </a:lnTo>
                    <a:lnTo>
                      <a:pt x="283" y="75"/>
                    </a:lnTo>
                    <a:lnTo>
                      <a:pt x="280" y="75"/>
                    </a:lnTo>
                    <a:lnTo>
                      <a:pt x="279" y="78"/>
                    </a:lnTo>
                    <a:lnTo>
                      <a:pt x="278" y="79"/>
                    </a:lnTo>
                    <a:lnTo>
                      <a:pt x="276" y="79"/>
                    </a:lnTo>
                    <a:lnTo>
                      <a:pt x="276" y="81"/>
                    </a:lnTo>
                    <a:lnTo>
                      <a:pt x="272" y="84"/>
                    </a:lnTo>
                    <a:lnTo>
                      <a:pt x="270" y="84"/>
                    </a:lnTo>
                    <a:lnTo>
                      <a:pt x="270" y="85"/>
                    </a:lnTo>
                    <a:lnTo>
                      <a:pt x="268" y="87"/>
                    </a:lnTo>
                    <a:lnTo>
                      <a:pt x="267" y="94"/>
                    </a:lnTo>
                    <a:lnTo>
                      <a:pt x="267" y="96"/>
                    </a:lnTo>
                    <a:lnTo>
                      <a:pt x="266" y="97"/>
                    </a:lnTo>
                    <a:lnTo>
                      <a:pt x="262" y="95"/>
                    </a:lnTo>
                    <a:lnTo>
                      <a:pt x="257" y="102"/>
                    </a:lnTo>
                    <a:lnTo>
                      <a:pt x="255" y="99"/>
                    </a:lnTo>
                    <a:lnTo>
                      <a:pt x="255" y="98"/>
                    </a:lnTo>
                    <a:lnTo>
                      <a:pt x="253" y="98"/>
                    </a:lnTo>
                    <a:lnTo>
                      <a:pt x="249" y="95"/>
                    </a:lnTo>
                    <a:lnTo>
                      <a:pt x="248" y="94"/>
                    </a:lnTo>
                    <a:lnTo>
                      <a:pt x="248" y="92"/>
                    </a:lnTo>
                    <a:lnTo>
                      <a:pt x="251" y="90"/>
                    </a:lnTo>
                    <a:lnTo>
                      <a:pt x="254" y="89"/>
                    </a:lnTo>
                    <a:lnTo>
                      <a:pt x="258" y="86"/>
                    </a:lnTo>
                    <a:lnTo>
                      <a:pt x="257" y="85"/>
                    </a:lnTo>
                    <a:lnTo>
                      <a:pt x="254" y="84"/>
                    </a:lnTo>
                    <a:lnTo>
                      <a:pt x="254" y="80"/>
                    </a:lnTo>
                    <a:lnTo>
                      <a:pt x="253" y="79"/>
                    </a:lnTo>
                    <a:lnTo>
                      <a:pt x="254" y="77"/>
                    </a:lnTo>
                    <a:lnTo>
                      <a:pt x="254" y="72"/>
                    </a:lnTo>
                    <a:lnTo>
                      <a:pt x="254" y="69"/>
                    </a:lnTo>
                    <a:lnTo>
                      <a:pt x="254" y="66"/>
                    </a:lnTo>
                    <a:lnTo>
                      <a:pt x="253" y="65"/>
                    </a:lnTo>
                    <a:lnTo>
                      <a:pt x="252" y="63"/>
                    </a:lnTo>
                    <a:lnTo>
                      <a:pt x="252" y="61"/>
                    </a:lnTo>
                    <a:lnTo>
                      <a:pt x="252" y="60"/>
                    </a:lnTo>
                    <a:lnTo>
                      <a:pt x="246" y="56"/>
                    </a:lnTo>
                    <a:lnTo>
                      <a:pt x="242" y="56"/>
                    </a:lnTo>
                    <a:lnTo>
                      <a:pt x="241" y="56"/>
                    </a:lnTo>
                    <a:lnTo>
                      <a:pt x="239" y="58"/>
                    </a:lnTo>
                    <a:lnTo>
                      <a:pt x="237" y="57"/>
                    </a:lnTo>
                    <a:lnTo>
                      <a:pt x="235" y="59"/>
                    </a:lnTo>
                    <a:lnTo>
                      <a:pt x="233" y="58"/>
                    </a:lnTo>
                    <a:lnTo>
                      <a:pt x="230" y="59"/>
                    </a:lnTo>
                    <a:lnTo>
                      <a:pt x="224" y="61"/>
                    </a:lnTo>
                    <a:lnTo>
                      <a:pt x="223" y="63"/>
                    </a:lnTo>
                    <a:lnTo>
                      <a:pt x="218" y="60"/>
                    </a:lnTo>
                    <a:lnTo>
                      <a:pt x="218" y="58"/>
                    </a:lnTo>
                    <a:lnTo>
                      <a:pt x="218" y="56"/>
                    </a:lnTo>
                    <a:lnTo>
                      <a:pt x="218" y="50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5" y="43"/>
                    </a:lnTo>
                    <a:lnTo>
                      <a:pt x="213" y="38"/>
                    </a:lnTo>
                    <a:lnTo>
                      <a:pt x="211" y="35"/>
                    </a:lnTo>
                    <a:lnTo>
                      <a:pt x="213" y="27"/>
                    </a:lnTo>
                    <a:lnTo>
                      <a:pt x="210" y="24"/>
                    </a:lnTo>
                    <a:lnTo>
                      <a:pt x="210" y="21"/>
                    </a:lnTo>
                    <a:lnTo>
                      <a:pt x="202" y="22"/>
                    </a:lnTo>
                    <a:lnTo>
                      <a:pt x="202" y="24"/>
                    </a:lnTo>
                    <a:lnTo>
                      <a:pt x="199" y="26"/>
                    </a:lnTo>
                    <a:lnTo>
                      <a:pt x="194" y="24"/>
                    </a:lnTo>
                    <a:lnTo>
                      <a:pt x="190" y="26"/>
                    </a:lnTo>
                    <a:lnTo>
                      <a:pt x="188" y="27"/>
                    </a:lnTo>
                    <a:lnTo>
                      <a:pt x="187" y="27"/>
                    </a:lnTo>
                    <a:lnTo>
                      <a:pt x="183" y="24"/>
                    </a:lnTo>
                    <a:lnTo>
                      <a:pt x="179" y="25"/>
                    </a:lnTo>
                    <a:lnTo>
                      <a:pt x="177" y="24"/>
                    </a:lnTo>
                    <a:lnTo>
                      <a:pt x="175" y="22"/>
                    </a:lnTo>
                    <a:lnTo>
                      <a:pt x="174" y="18"/>
                    </a:lnTo>
                    <a:lnTo>
                      <a:pt x="173" y="17"/>
                    </a:lnTo>
                    <a:lnTo>
                      <a:pt x="170" y="15"/>
                    </a:lnTo>
                    <a:lnTo>
                      <a:pt x="168" y="13"/>
                    </a:lnTo>
                    <a:lnTo>
                      <a:pt x="165" y="13"/>
                    </a:lnTo>
                    <a:lnTo>
                      <a:pt x="158" y="10"/>
                    </a:lnTo>
                    <a:lnTo>
                      <a:pt x="157" y="5"/>
                    </a:lnTo>
                    <a:lnTo>
                      <a:pt x="154" y="3"/>
                    </a:lnTo>
                    <a:lnTo>
                      <a:pt x="147" y="1"/>
                    </a:lnTo>
                    <a:lnTo>
                      <a:pt x="142" y="3"/>
                    </a:lnTo>
                    <a:lnTo>
                      <a:pt x="140" y="0"/>
                    </a:lnTo>
                    <a:lnTo>
                      <a:pt x="136" y="0"/>
                    </a:lnTo>
                    <a:lnTo>
                      <a:pt x="136" y="6"/>
                    </a:lnTo>
                    <a:lnTo>
                      <a:pt x="136" y="9"/>
                    </a:lnTo>
                    <a:lnTo>
                      <a:pt x="137" y="12"/>
                    </a:lnTo>
                    <a:lnTo>
                      <a:pt x="142" y="17"/>
                    </a:lnTo>
                    <a:lnTo>
                      <a:pt x="144" y="22"/>
                    </a:lnTo>
                    <a:lnTo>
                      <a:pt x="142" y="25"/>
                    </a:lnTo>
                    <a:lnTo>
                      <a:pt x="139" y="30"/>
                    </a:lnTo>
                    <a:lnTo>
                      <a:pt x="138" y="31"/>
                    </a:lnTo>
                    <a:lnTo>
                      <a:pt x="141" y="34"/>
                    </a:lnTo>
                    <a:lnTo>
                      <a:pt x="139" y="39"/>
                    </a:lnTo>
                    <a:lnTo>
                      <a:pt x="140" y="41"/>
                    </a:lnTo>
                    <a:lnTo>
                      <a:pt x="138" y="44"/>
                    </a:lnTo>
                    <a:lnTo>
                      <a:pt x="138" y="47"/>
                    </a:lnTo>
                    <a:lnTo>
                      <a:pt x="139" y="47"/>
                    </a:lnTo>
                    <a:lnTo>
                      <a:pt x="140" y="58"/>
                    </a:lnTo>
                    <a:lnTo>
                      <a:pt x="142" y="60"/>
                    </a:lnTo>
                    <a:lnTo>
                      <a:pt x="139" y="63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41" y="71"/>
                    </a:lnTo>
                    <a:lnTo>
                      <a:pt x="142" y="74"/>
                    </a:lnTo>
                    <a:lnTo>
                      <a:pt x="142" y="77"/>
                    </a:lnTo>
                    <a:lnTo>
                      <a:pt x="145" y="79"/>
                    </a:lnTo>
                    <a:lnTo>
                      <a:pt x="142" y="81"/>
                    </a:lnTo>
                    <a:lnTo>
                      <a:pt x="139" y="85"/>
                    </a:lnTo>
                    <a:lnTo>
                      <a:pt x="140" y="87"/>
                    </a:lnTo>
                    <a:lnTo>
                      <a:pt x="135" y="94"/>
                    </a:lnTo>
                    <a:lnTo>
                      <a:pt x="137" y="97"/>
                    </a:lnTo>
                    <a:lnTo>
                      <a:pt x="141" y="98"/>
                    </a:lnTo>
                    <a:lnTo>
                      <a:pt x="140" y="99"/>
                    </a:lnTo>
                    <a:lnTo>
                      <a:pt x="138" y="100"/>
                    </a:lnTo>
                    <a:lnTo>
                      <a:pt x="142" y="105"/>
                    </a:lnTo>
                    <a:lnTo>
                      <a:pt x="140" y="105"/>
                    </a:lnTo>
                    <a:lnTo>
                      <a:pt x="142" y="106"/>
                    </a:lnTo>
                    <a:lnTo>
                      <a:pt x="143" y="109"/>
                    </a:lnTo>
                    <a:lnTo>
                      <a:pt x="145" y="111"/>
                    </a:lnTo>
                    <a:lnTo>
                      <a:pt x="145" y="112"/>
                    </a:lnTo>
                    <a:lnTo>
                      <a:pt x="146" y="113"/>
                    </a:lnTo>
                    <a:lnTo>
                      <a:pt x="147" y="116"/>
                    </a:lnTo>
                    <a:lnTo>
                      <a:pt x="148" y="116"/>
                    </a:lnTo>
                    <a:lnTo>
                      <a:pt x="148" y="119"/>
                    </a:lnTo>
                    <a:lnTo>
                      <a:pt x="149" y="122"/>
                    </a:lnTo>
                    <a:lnTo>
                      <a:pt x="149" y="123"/>
                    </a:lnTo>
                    <a:lnTo>
                      <a:pt x="140" y="123"/>
                    </a:lnTo>
                    <a:lnTo>
                      <a:pt x="138" y="124"/>
                    </a:lnTo>
                    <a:lnTo>
                      <a:pt x="137" y="125"/>
                    </a:lnTo>
                    <a:lnTo>
                      <a:pt x="137" y="122"/>
                    </a:lnTo>
                    <a:lnTo>
                      <a:pt x="136" y="124"/>
                    </a:lnTo>
                    <a:lnTo>
                      <a:pt x="136" y="125"/>
                    </a:lnTo>
                    <a:lnTo>
                      <a:pt x="135" y="125"/>
                    </a:lnTo>
                    <a:lnTo>
                      <a:pt x="135" y="121"/>
                    </a:lnTo>
                    <a:lnTo>
                      <a:pt x="134" y="121"/>
                    </a:lnTo>
                    <a:lnTo>
                      <a:pt x="134" y="122"/>
                    </a:lnTo>
                    <a:lnTo>
                      <a:pt x="133" y="121"/>
                    </a:lnTo>
                    <a:lnTo>
                      <a:pt x="133" y="120"/>
                    </a:lnTo>
                    <a:lnTo>
                      <a:pt x="132" y="120"/>
                    </a:lnTo>
                    <a:lnTo>
                      <a:pt x="132" y="119"/>
                    </a:lnTo>
                    <a:lnTo>
                      <a:pt x="131" y="119"/>
                    </a:lnTo>
                    <a:lnTo>
                      <a:pt x="129" y="120"/>
                    </a:lnTo>
                    <a:lnTo>
                      <a:pt x="128" y="120"/>
                    </a:lnTo>
                    <a:lnTo>
                      <a:pt x="126" y="121"/>
                    </a:lnTo>
                    <a:lnTo>
                      <a:pt x="125" y="120"/>
                    </a:lnTo>
                    <a:lnTo>
                      <a:pt x="125" y="124"/>
                    </a:lnTo>
                    <a:lnTo>
                      <a:pt x="122" y="124"/>
                    </a:lnTo>
                    <a:lnTo>
                      <a:pt x="121" y="122"/>
                    </a:lnTo>
                    <a:lnTo>
                      <a:pt x="120" y="122"/>
                    </a:lnTo>
                    <a:lnTo>
                      <a:pt x="119" y="121"/>
                    </a:lnTo>
                    <a:lnTo>
                      <a:pt x="117" y="121"/>
                    </a:lnTo>
                    <a:lnTo>
                      <a:pt x="117" y="119"/>
                    </a:lnTo>
                    <a:lnTo>
                      <a:pt x="113" y="113"/>
                    </a:lnTo>
                    <a:lnTo>
                      <a:pt x="113" y="111"/>
                    </a:lnTo>
                    <a:lnTo>
                      <a:pt x="114" y="111"/>
                    </a:lnTo>
                    <a:lnTo>
                      <a:pt x="114" y="110"/>
                    </a:lnTo>
                    <a:lnTo>
                      <a:pt x="113" y="109"/>
                    </a:lnTo>
                    <a:lnTo>
                      <a:pt x="109" y="106"/>
                    </a:lnTo>
                    <a:lnTo>
                      <a:pt x="109" y="108"/>
                    </a:lnTo>
                    <a:lnTo>
                      <a:pt x="108" y="109"/>
                    </a:lnTo>
                    <a:lnTo>
                      <a:pt x="109" y="111"/>
                    </a:lnTo>
                    <a:lnTo>
                      <a:pt x="109" y="113"/>
                    </a:lnTo>
                    <a:lnTo>
                      <a:pt x="108" y="113"/>
                    </a:lnTo>
                    <a:lnTo>
                      <a:pt x="107" y="113"/>
                    </a:lnTo>
                    <a:lnTo>
                      <a:pt x="105" y="111"/>
                    </a:lnTo>
                    <a:lnTo>
                      <a:pt x="104" y="116"/>
                    </a:lnTo>
                    <a:lnTo>
                      <a:pt x="101" y="116"/>
                    </a:lnTo>
                    <a:lnTo>
                      <a:pt x="97" y="116"/>
                    </a:lnTo>
                    <a:lnTo>
                      <a:pt x="96" y="119"/>
                    </a:lnTo>
                    <a:lnTo>
                      <a:pt x="97" y="121"/>
                    </a:lnTo>
                    <a:lnTo>
                      <a:pt x="97" y="125"/>
                    </a:lnTo>
                    <a:lnTo>
                      <a:pt x="100" y="127"/>
                    </a:lnTo>
                    <a:lnTo>
                      <a:pt x="99" y="129"/>
                    </a:lnTo>
                    <a:lnTo>
                      <a:pt x="97" y="129"/>
                    </a:lnTo>
                    <a:lnTo>
                      <a:pt x="98" y="130"/>
                    </a:lnTo>
                    <a:lnTo>
                      <a:pt x="96" y="132"/>
                    </a:lnTo>
                    <a:lnTo>
                      <a:pt x="96" y="133"/>
                    </a:lnTo>
                    <a:lnTo>
                      <a:pt x="94" y="133"/>
                    </a:lnTo>
                    <a:lnTo>
                      <a:pt x="93" y="130"/>
                    </a:lnTo>
                    <a:lnTo>
                      <a:pt x="92" y="131"/>
                    </a:lnTo>
                    <a:lnTo>
                      <a:pt x="91" y="132"/>
                    </a:lnTo>
                    <a:lnTo>
                      <a:pt x="92" y="134"/>
                    </a:lnTo>
                    <a:lnTo>
                      <a:pt x="92" y="135"/>
                    </a:lnTo>
                    <a:lnTo>
                      <a:pt x="91" y="134"/>
                    </a:lnTo>
                    <a:lnTo>
                      <a:pt x="91" y="135"/>
                    </a:lnTo>
                    <a:lnTo>
                      <a:pt x="89" y="133"/>
                    </a:lnTo>
                    <a:lnTo>
                      <a:pt x="88" y="135"/>
                    </a:lnTo>
                    <a:lnTo>
                      <a:pt x="87" y="134"/>
                    </a:lnTo>
                    <a:lnTo>
                      <a:pt x="85" y="135"/>
                    </a:lnTo>
                    <a:lnTo>
                      <a:pt x="82" y="134"/>
                    </a:lnTo>
                    <a:lnTo>
                      <a:pt x="82" y="132"/>
                    </a:lnTo>
                    <a:lnTo>
                      <a:pt x="81" y="132"/>
                    </a:lnTo>
                    <a:lnTo>
                      <a:pt x="82" y="132"/>
                    </a:lnTo>
                    <a:lnTo>
                      <a:pt x="82" y="130"/>
                    </a:lnTo>
                    <a:lnTo>
                      <a:pt x="80" y="130"/>
                    </a:lnTo>
                    <a:lnTo>
                      <a:pt x="80" y="129"/>
                    </a:lnTo>
                    <a:lnTo>
                      <a:pt x="83" y="130"/>
                    </a:lnTo>
                    <a:lnTo>
                      <a:pt x="83" y="129"/>
                    </a:lnTo>
                    <a:lnTo>
                      <a:pt x="82" y="129"/>
                    </a:lnTo>
                    <a:lnTo>
                      <a:pt x="81" y="126"/>
                    </a:lnTo>
                    <a:lnTo>
                      <a:pt x="82" y="126"/>
                    </a:lnTo>
                    <a:lnTo>
                      <a:pt x="81" y="123"/>
                    </a:lnTo>
                    <a:lnTo>
                      <a:pt x="82" y="122"/>
                    </a:lnTo>
                    <a:lnTo>
                      <a:pt x="80" y="121"/>
                    </a:lnTo>
                    <a:lnTo>
                      <a:pt x="78" y="122"/>
                    </a:lnTo>
                    <a:lnTo>
                      <a:pt x="77" y="127"/>
                    </a:lnTo>
                    <a:lnTo>
                      <a:pt x="75" y="125"/>
                    </a:lnTo>
                    <a:lnTo>
                      <a:pt x="74" y="123"/>
                    </a:lnTo>
                    <a:lnTo>
                      <a:pt x="72" y="122"/>
                    </a:lnTo>
                    <a:lnTo>
                      <a:pt x="71" y="122"/>
                    </a:lnTo>
                    <a:lnTo>
                      <a:pt x="70" y="119"/>
                    </a:lnTo>
                    <a:lnTo>
                      <a:pt x="71" y="117"/>
                    </a:lnTo>
                    <a:lnTo>
                      <a:pt x="68" y="116"/>
                    </a:lnTo>
                    <a:lnTo>
                      <a:pt x="67" y="117"/>
                    </a:lnTo>
                    <a:lnTo>
                      <a:pt x="66" y="117"/>
                    </a:lnTo>
                    <a:lnTo>
                      <a:pt x="66" y="115"/>
                    </a:lnTo>
                    <a:lnTo>
                      <a:pt x="64" y="117"/>
                    </a:lnTo>
                    <a:lnTo>
                      <a:pt x="63" y="116"/>
                    </a:lnTo>
                    <a:lnTo>
                      <a:pt x="60" y="115"/>
                    </a:lnTo>
                    <a:lnTo>
                      <a:pt x="60" y="113"/>
                    </a:lnTo>
                    <a:lnTo>
                      <a:pt x="57" y="111"/>
                    </a:lnTo>
                    <a:lnTo>
                      <a:pt x="56" y="110"/>
                    </a:lnTo>
                    <a:lnTo>
                      <a:pt x="54" y="110"/>
                    </a:lnTo>
                    <a:lnTo>
                      <a:pt x="53" y="111"/>
                    </a:lnTo>
                    <a:lnTo>
                      <a:pt x="52" y="109"/>
                    </a:lnTo>
                    <a:lnTo>
                      <a:pt x="51" y="110"/>
                    </a:lnTo>
                    <a:lnTo>
                      <a:pt x="50" y="110"/>
                    </a:lnTo>
                    <a:lnTo>
                      <a:pt x="49" y="111"/>
                    </a:lnTo>
                    <a:lnTo>
                      <a:pt x="48" y="113"/>
                    </a:lnTo>
                    <a:lnTo>
                      <a:pt x="45" y="114"/>
                    </a:lnTo>
                    <a:lnTo>
                      <a:pt x="45" y="116"/>
                    </a:lnTo>
                    <a:lnTo>
                      <a:pt x="43" y="116"/>
                    </a:lnTo>
                    <a:lnTo>
                      <a:pt x="44" y="117"/>
                    </a:lnTo>
                    <a:lnTo>
                      <a:pt x="43" y="120"/>
                    </a:lnTo>
                    <a:lnTo>
                      <a:pt x="43" y="121"/>
                    </a:lnTo>
                    <a:lnTo>
                      <a:pt x="41" y="121"/>
                    </a:lnTo>
                    <a:lnTo>
                      <a:pt x="40" y="121"/>
                    </a:lnTo>
                    <a:lnTo>
                      <a:pt x="38" y="122"/>
                    </a:lnTo>
                    <a:lnTo>
                      <a:pt x="35" y="118"/>
                    </a:lnTo>
                    <a:lnTo>
                      <a:pt x="32" y="116"/>
                    </a:lnTo>
                    <a:lnTo>
                      <a:pt x="29" y="115"/>
                    </a:lnTo>
                    <a:lnTo>
                      <a:pt x="28" y="113"/>
                    </a:lnTo>
                    <a:lnTo>
                      <a:pt x="27" y="111"/>
                    </a:lnTo>
                    <a:lnTo>
                      <a:pt x="22" y="108"/>
                    </a:lnTo>
                    <a:lnTo>
                      <a:pt x="22" y="109"/>
                    </a:lnTo>
                    <a:lnTo>
                      <a:pt x="20" y="108"/>
                    </a:lnTo>
                    <a:lnTo>
                      <a:pt x="20" y="106"/>
                    </a:lnTo>
                    <a:lnTo>
                      <a:pt x="19" y="105"/>
                    </a:lnTo>
                    <a:lnTo>
                      <a:pt x="19" y="106"/>
                    </a:lnTo>
                    <a:lnTo>
                      <a:pt x="18" y="106"/>
                    </a:lnTo>
                    <a:lnTo>
                      <a:pt x="18" y="108"/>
                    </a:lnTo>
                    <a:lnTo>
                      <a:pt x="17" y="108"/>
                    </a:lnTo>
                    <a:lnTo>
                      <a:pt x="17" y="109"/>
                    </a:lnTo>
                    <a:lnTo>
                      <a:pt x="15" y="109"/>
                    </a:lnTo>
                    <a:lnTo>
                      <a:pt x="15" y="110"/>
                    </a:lnTo>
                    <a:lnTo>
                      <a:pt x="11" y="110"/>
                    </a:lnTo>
                    <a:lnTo>
                      <a:pt x="10" y="111"/>
                    </a:lnTo>
                    <a:lnTo>
                      <a:pt x="10" y="115"/>
                    </a:lnTo>
                    <a:lnTo>
                      <a:pt x="10" y="116"/>
                    </a:lnTo>
                    <a:lnTo>
                      <a:pt x="11" y="116"/>
                    </a:lnTo>
                    <a:lnTo>
                      <a:pt x="14" y="120"/>
                    </a:lnTo>
                    <a:lnTo>
                      <a:pt x="14" y="122"/>
                    </a:lnTo>
                    <a:lnTo>
                      <a:pt x="13" y="124"/>
                    </a:lnTo>
                    <a:lnTo>
                      <a:pt x="13" y="125"/>
                    </a:lnTo>
                    <a:lnTo>
                      <a:pt x="14" y="125"/>
                    </a:lnTo>
                    <a:lnTo>
                      <a:pt x="16" y="127"/>
                    </a:lnTo>
                    <a:lnTo>
                      <a:pt x="15" y="128"/>
                    </a:lnTo>
                    <a:lnTo>
                      <a:pt x="15" y="129"/>
                    </a:lnTo>
                    <a:lnTo>
                      <a:pt x="14" y="129"/>
                    </a:lnTo>
                    <a:lnTo>
                      <a:pt x="13" y="129"/>
                    </a:lnTo>
                    <a:lnTo>
                      <a:pt x="14" y="129"/>
                    </a:lnTo>
                    <a:lnTo>
                      <a:pt x="14" y="130"/>
                    </a:lnTo>
                    <a:lnTo>
                      <a:pt x="13" y="132"/>
                    </a:lnTo>
                    <a:lnTo>
                      <a:pt x="14" y="132"/>
                    </a:lnTo>
                    <a:lnTo>
                      <a:pt x="13" y="134"/>
                    </a:lnTo>
                    <a:lnTo>
                      <a:pt x="13" y="136"/>
                    </a:lnTo>
                    <a:lnTo>
                      <a:pt x="11" y="138"/>
                    </a:lnTo>
                    <a:lnTo>
                      <a:pt x="11" y="140"/>
                    </a:lnTo>
                    <a:lnTo>
                      <a:pt x="13" y="139"/>
                    </a:lnTo>
                    <a:lnTo>
                      <a:pt x="13" y="141"/>
                    </a:lnTo>
                    <a:lnTo>
                      <a:pt x="15" y="140"/>
                    </a:lnTo>
                    <a:lnTo>
                      <a:pt x="15" y="141"/>
                    </a:lnTo>
                    <a:lnTo>
                      <a:pt x="17" y="145"/>
                    </a:lnTo>
                    <a:lnTo>
                      <a:pt x="17" y="146"/>
                    </a:lnTo>
                    <a:lnTo>
                      <a:pt x="15" y="146"/>
                    </a:lnTo>
                    <a:lnTo>
                      <a:pt x="15" y="148"/>
                    </a:lnTo>
                    <a:lnTo>
                      <a:pt x="16" y="149"/>
                    </a:lnTo>
                    <a:lnTo>
                      <a:pt x="16" y="150"/>
                    </a:lnTo>
                    <a:lnTo>
                      <a:pt x="19" y="151"/>
                    </a:lnTo>
                    <a:lnTo>
                      <a:pt x="15" y="160"/>
                    </a:lnTo>
                    <a:lnTo>
                      <a:pt x="15" y="159"/>
                    </a:lnTo>
                    <a:lnTo>
                      <a:pt x="14" y="160"/>
                    </a:lnTo>
                    <a:lnTo>
                      <a:pt x="13" y="159"/>
                    </a:lnTo>
                    <a:lnTo>
                      <a:pt x="13" y="160"/>
                    </a:lnTo>
                    <a:lnTo>
                      <a:pt x="10" y="160"/>
                    </a:lnTo>
                    <a:lnTo>
                      <a:pt x="10" y="163"/>
                    </a:lnTo>
                    <a:lnTo>
                      <a:pt x="11" y="163"/>
                    </a:lnTo>
                    <a:lnTo>
                      <a:pt x="11" y="164"/>
                    </a:lnTo>
                    <a:lnTo>
                      <a:pt x="10" y="165"/>
                    </a:lnTo>
                    <a:lnTo>
                      <a:pt x="11" y="167"/>
                    </a:lnTo>
                    <a:lnTo>
                      <a:pt x="11" y="168"/>
                    </a:lnTo>
                    <a:lnTo>
                      <a:pt x="10" y="168"/>
                    </a:lnTo>
                    <a:lnTo>
                      <a:pt x="9" y="169"/>
                    </a:lnTo>
                    <a:lnTo>
                      <a:pt x="8" y="169"/>
                    </a:lnTo>
                    <a:lnTo>
                      <a:pt x="9" y="168"/>
                    </a:lnTo>
                    <a:lnTo>
                      <a:pt x="8" y="168"/>
                    </a:lnTo>
                    <a:lnTo>
                      <a:pt x="7" y="168"/>
                    </a:lnTo>
                    <a:lnTo>
                      <a:pt x="6" y="168"/>
                    </a:lnTo>
                    <a:lnTo>
                      <a:pt x="5" y="167"/>
                    </a:lnTo>
                    <a:lnTo>
                      <a:pt x="3" y="169"/>
                    </a:lnTo>
                    <a:lnTo>
                      <a:pt x="0" y="172"/>
                    </a:lnTo>
                    <a:lnTo>
                      <a:pt x="2" y="175"/>
                    </a:lnTo>
                    <a:lnTo>
                      <a:pt x="3" y="177"/>
                    </a:lnTo>
                    <a:lnTo>
                      <a:pt x="5" y="177"/>
                    </a:lnTo>
                    <a:lnTo>
                      <a:pt x="7" y="180"/>
                    </a:lnTo>
                    <a:lnTo>
                      <a:pt x="6" y="180"/>
                    </a:lnTo>
                    <a:lnTo>
                      <a:pt x="4" y="181"/>
                    </a:lnTo>
                    <a:lnTo>
                      <a:pt x="5" y="185"/>
                    </a:lnTo>
                    <a:lnTo>
                      <a:pt x="5" y="187"/>
                    </a:lnTo>
                    <a:lnTo>
                      <a:pt x="7" y="189"/>
                    </a:lnTo>
                    <a:lnTo>
                      <a:pt x="9" y="191"/>
                    </a:lnTo>
                    <a:lnTo>
                      <a:pt x="11" y="192"/>
                    </a:lnTo>
                    <a:lnTo>
                      <a:pt x="13" y="191"/>
                    </a:lnTo>
                    <a:lnTo>
                      <a:pt x="15" y="188"/>
                    </a:lnTo>
                    <a:lnTo>
                      <a:pt x="16" y="191"/>
                    </a:lnTo>
                    <a:lnTo>
                      <a:pt x="20" y="193"/>
                    </a:lnTo>
                    <a:lnTo>
                      <a:pt x="21" y="193"/>
                    </a:lnTo>
                    <a:lnTo>
                      <a:pt x="20" y="194"/>
                    </a:lnTo>
                    <a:lnTo>
                      <a:pt x="19" y="194"/>
                    </a:lnTo>
                    <a:lnTo>
                      <a:pt x="19" y="198"/>
                    </a:lnTo>
                    <a:lnTo>
                      <a:pt x="20" y="198"/>
                    </a:lnTo>
                    <a:lnTo>
                      <a:pt x="22" y="197"/>
                    </a:lnTo>
                    <a:lnTo>
                      <a:pt x="22" y="198"/>
                    </a:lnTo>
                    <a:lnTo>
                      <a:pt x="23" y="200"/>
                    </a:lnTo>
                    <a:lnTo>
                      <a:pt x="24" y="200"/>
                    </a:lnTo>
                    <a:lnTo>
                      <a:pt x="25" y="202"/>
                    </a:lnTo>
                    <a:lnTo>
                      <a:pt x="26" y="202"/>
                    </a:lnTo>
                    <a:lnTo>
                      <a:pt x="27" y="204"/>
                    </a:lnTo>
                    <a:lnTo>
                      <a:pt x="27" y="206"/>
                    </a:lnTo>
                    <a:lnTo>
                      <a:pt x="26" y="205"/>
                    </a:lnTo>
                    <a:lnTo>
                      <a:pt x="23" y="206"/>
                    </a:lnTo>
                    <a:lnTo>
                      <a:pt x="23" y="208"/>
                    </a:lnTo>
                    <a:lnTo>
                      <a:pt x="25" y="209"/>
                    </a:lnTo>
                    <a:lnTo>
                      <a:pt x="25" y="211"/>
                    </a:lnTo>
                    <a:lnTo>
                      <a:pt x="23" y="213"/>
                    </a:lnTo>
                    <a:lnTo>
                      <a:pt x="25" y="214"/>
                    </a:lnTo>
                    <a:lnTo>
                      <a:pt x="28" y="217"/>
                    </a:lnTo>
                    <a:lnTo>
                      <a:pt x="28" y="218"/>
                    </a:lnTo>
                    <a:lnTo>
                      <a:pt x="29" y="219"/>
                    </a:lnTo>
                    <a:lnTo>
                      <a:pt x="30" y="217"/>
                    </a:lnTo>
                    <a:lnTo>
                      <a:pt x="30" y="219"/>
                    </a:lnTo>
                    <a:lnTo>
                      <a:pt x="31" y="219"/>
                    </a:lnTo>
                    <a:lnTo>
                      <a:pt x="32" y="219"/>
                    </a:lnTo>
                    <a:lnTo>
                      <a:pt x="32" y="217"/>
                    </a:lnTo>
                    <a:lnTo>
                      <a:pt x="36" y="218"/>
                    </a:lnTo>
                    <a:lnTo>
                      <a:pt x="38" y="216"/>
                    </a:lnTo>
                    <a:lnTo>
                      <a:pt x="39" y="216"/>
                    </a:lnTo>
                    <a:lnTo>
                      <a:pt x="39" y="217"/>
                    </a:lnTo>
                    <a:lnTo>
                      <a:pt x="41" y="219"/>
                    </a:lnTo>
                    <a:lnTo>
                      <a:pt x="42" y="219"/>
                    </a:lnTo>
                    <a:lnTo>
                      <a:pt x="43" y="220"/>
                    </a:lnTo>
                    <a:lnTo>
                      <a:pt x="44" y="219"/>
                    </a:lnTo>
                    <a:lnTo>
                      <a:pt x="46" y="221"/>
                    </a:lnTo>
                    <a:lnTo>
                      <a:pt x="49" y="223"/>
                    </a:lnTo>
                    <a:lnTo>
                      <a:pt x="48" y="223"/>
                    </a:lnTo>
                    <a:lnTo>
                      <a:pt x="49" y="225"/>
                    </a:lnTo>
                    <a:lnTo>
                      <a:pt x="50" y="224"/>
                    </a:lnTo>
                    <a:lnTo>
                      <a:pt x="52" y="223"/>
                    </a:lnTo>
                    <a:lnTo>
                      <a:pt x="53" y="220"/>
                    </a:lnTo>
                    <a:lnTo>
                      <a:pt x="56" y="221"/>
                    </a:lnTo>
                    <a:lnTo>
                      <a:pt x="57" y="219"/>
                    </a:lnTo>
                    <a:lnTo>
                      <a:pt x="59" y="219"/>
                    </a:lnTo>
                    <a:lnTo>
                      <a:pt x="60" y="219"/>
                    </a:lnTo>
                    <a:lnTo>
                      <a:pt x="62" y="219"/>
                    </a:lnTo>
                    <a:lnTo>
                      <a:pt x="63" y="217"/>
                    </a:lnTo>
                    <a:lnTo>
                      <a:pt x="63" y="219"/>
                    </a:lnTo>
                    <a:lnTo>
                      <a:pt x="63" y="222"/>
                    </a:lnTo>
                    <a:lnTo>
                      <a:pt x="64" y="222"/>
                    </a:lnTo>
                    <a:lnTo>
                      <a:pt x="64" y="223"/>
                    </a:lnTo>
                    <a:lnTo>
                      <a:pt x="66" y="223"/>
                    </a:lnTo>
                    <a:lnTo>
                      <a:pt x="67" y="224"/>
                    </a:lnTo>
                    <a:lnTo>
                      <a:pt x="67" y="225"/>
                    </a:lnTo>
                    <a:lnTo>
                      <a:pt x="69" y="225"/>
                    </a:lnTo>
                    <a:lnTo>
                      <a:pt x="69" y="227"/>
                    </a:lnTo>
                    <a:lnTo>
                      <a:pt x="68" y="228"/>
                    </a:lnTo>
                    <a:lnTo>
                      <a:pt x="68" y="230"/>
                    </a:lnTo>
                    <a:lnTo>
                      <a:pt x="68" y="231"/>
                    </a:lnTo>
                    <a:lnTo>
                      <a:pt x="68" y="234"/>
                    </a:lnTo>
                    <a:lnTo>
                      <a:pt x="68" y="237"/>
                    </a:lnTo>
                    <a:lnTo>
                      <a:pt x="69" y="240"/>
                    </a:lnTo>
                    <a:lnTo>
                      <a:pt x="68" y="241"/>
                    </a:lnTo>
                    <a:lnTo>
                      <a:pt x="66" y="241"/>
                    </a:lnTo>
                    <a:lnTo>
                      <a:pt x="64" y="242"/>
                    </a:lnTo>
                    <a:lnTo>
                      <a:pt x="66" y="243"/>
                    </a:lnTo>
                    <a:lnTo>
                      <a:pt x="66" y="249"/>
                    </a:lnTo>
                    <a:lnTo>
                      <a:pt x="64" y="252"/>
                    </a:lnTo>
                    <a:lnTo>
                      <a:pt x="66" y="253"/>
                    </a:lnTo>
                    <a:lnTo>
                      <a:pt x="66" y="255"/>
                    </a:lnTo>
                    <a:lnTo>
                      <a:pt x="67" y="255"/>
                    </a:lnTo>
                    <a:lnTo>
                      <a:pt x="69" y="257"/>
                    </a:lnTo>
                    <a:lnTo>
                      <a:pt x="68" y="261"/>
                    </a:lnTo>
                    <a:lnTo>
                      <a:pt x="69" y="259"/>
                    </a:lnTo>
                    <a:lnTo>
                      <a:pt x="69" y="261"/>
                    </a:lnTo>
                    <a:lnTo>
                      <a:pt x="70" y="261"/>
                    </a:lnTo>
                    <a:lnTo>
                      <a:pt x="69" y="263"/>
                    </a:lnTo>
                    <a:lnTo>
                      <a:pt x="71" y="262"/>
                    </a:lnTo>
                    <a:lnTo>
                      <a:pt x="69" y="265"/>
                    </a:lnTo>
                    <a:lnTo>
                      <a:pt x="69" y="267"/>
                    </a:lnTo>
                    <a:lnTo>
                      <a:pt x="68" y="269"/>
                    </a:lnTo>
                    <a:lnTo>
                      <a:pt x="68" y="268"/>
                    </a:lnTo>
                    <a:lnTo>
                      <a:pt x="66" y="270"/>
                    </a:lnTo>
                    <a:lnTo>
                      <a:pt x="67" y="271"/>
                    </a:lnTo>
                    <a:lnTo>
                      <a:pt x="68" y="272"/>
                    </a:lnTo>
                    <a:lnTo>
                      <a:pt x="67" y="272"/>
                    </a:lnTo>
                    <a:lnTo>
                      <a:pt x="66" y="274"/>
                    </a:lnTo>
                    <a:lnTo>
                      <a:pt x="66" y="273"/>
                    </a:lnTo>
                    <a:lnTo>
                      <a:pt x="66" y="275"/>
                    </a:lnTo>
                    <a:lnTo>
                      <a:pt x="64" y="275"/>
                    </a:lnTo>
                    <a:lnTo>
                      <a:pt x="63" y="277"/>
                    </a:lnTo>
                    <a:lnTo>
                      <a:pt x="61" y="276"/>
                    </a:lnTo>
                    <a:lnTo>
                      <a:pt x="60" y="279"/>
                    </a:lnTo>
                    <a:lnTo>
                      <a:pt x="60" y="278"/>
                    </a:lnTo>
                    <a:lnTo>
                      <a:pt x="59" y="278"/>
                    </a:lnTo>
                    <a:lnTo>
                      <a:pt x="59" y="280"/>
                    </a:lnTo>
                    <a:lnTo>
                      <a:pt x="58" y="280"/>
                    </a:lnTo>
                    <a:lnTo>
                      <a:pt x="57" y="279"/>
                    </a:lnTo>
                    <a:lnTo>
                      <a:pt x="56" y="282"/>
                    </a:lnTo>
                    <a:lnTo>
                      <a:pt x="58" y="282"/>
                    </a:lnTo>
                    <a:lnTo>
                      <a:pt x="61" y="284"/>
                    </a:lnTo>
                    <a:lnTo>
                      <a:pt x="61" y="285"/>
                    </a:lnTo>
                    <a:lnTo>
                      <a:pt x="57" y="288"/>
                    </a:lnTo>
                    <a:lnTo>
                      <a:pt x="54" y="289"/>
                    </a:lnTo>
                    <a:lnTo>
                      <a:pt x="58" y="291"/>
                    </a:lnTo>
                    <a:lnTo>
                      <a:pt x="62" y="290"/>
                    </a:lnTo>
                    <a:lnTo>
                      <a:pt x="64" y="293"/>
                    </a:lnTo>
                    <a:lnTo>
                      <a:pt x="65" y="295"/>
                    </a:lnTo>
                    <a:lnTo>
                      <a:pt x="68" y="296"/>
                    </a:lnTo>
                    <a:lnTo>
                      <a:pt x="68" y="295"/>
                    </a:lnTo>
                    <a:lnTo>
                      <a:pt x="68" y="293"/>
                    </a:lnTo>
                    <a:lnTo>
                      <a:pt x="69" y="295"/>
                    </a:lnTo>
                    <a:lnTo>
                      <a:pt x="71" y="295"/>
                    </a:lnTo>
                    <a:lnTo>
                      <a:pt x="70" y="296"/>
                    </a:lnTo>
                    <a:lnTo>
                      <a:pt x="74" y="300"/>
                    </a:lnTo>
                    <a:lnTo>
                      <a:pt x="76" y="301"/>
                    </a:lnTo>
                    <a:lnTo>
                      <a:pt x="77" y="301"/>
                    </a:lnTo>
                    <a:lnTo>
                      <a:pt x="79" y="303"/>
                    </a:lnTo>
                    <a:lnTo>
                      <a:pt x="76" y="306"/>
                    </a:lnTo>
                    <a:lnTo>
                      <a:pt x="76" y="309"/>
                    </a:lnTo>
                    <a:lnTo>
                      <a:pt x="79" y="316"/>
                    </a:lnTo>
                    <a:lnTo>
                      <a:pt x="84" y="315"/>
                    </a:lnTo>
                    <a:lnTo>
                      <a:pt x="85" y="313"/>
                    </a:lnTo>
                    <a:lnTo>
                      <a:pt x="86" y="313"/>
                    </a:lnTo>
                    <a:lnTo>
                      <a:pt x="88" y="312"/>
                    </a:lnTo>
                    <a:lnTo>
                      <a:pt x="88" y="311"/>
                    </a:lnTo>
                    <a:lnTo>
                      <a:pt x="90" y="312"/>
                    </a:lnTo>
                    <a:lnTo>
                      <a:pt x="91" y="311"/>
                    </a:lnTo>
                    <a:lnTo>
                      <a:pt x="89" y="311"/>
                    </a:lnTo>
                    <a:lnTo>
                      <a:pt x="89" y="309"/>
                    </a:lnTo>
                    <a:lnTo>
                      <a:pt x="93" y="310"/>
                    </a:lnTo>
                    <a:lnTo>
                      <a:pt x="94" y="310"/>
                    </a:lnTo>
                    <a:lnTo>
                      <a:pt x="96" y="309"/>
                    </a:lnTo>
                    <a:lnTo>
                      <a:pt x="97" y="308"/>
                    </a:lnTo>
                    <a:lnTo>
                      <a:pt x="98" y="309"/>
                    </a:lnTo>
                    <a:lnTo>
                      <a:pt x="99" y="309"/>
                    </a:lnTo>
                    <a:lnTo>
                      <a:pt x="98" y="306"/>
                    </a:lnTo>
                    <a:lnTo>
                      <a:pt x="98" y="305"/>
                    </a:lnTo>
                    <a:lnTo>
                      <a:pt x="99" y="301"/>
                    </a:lnTo>
                    <a:lnTo>
                      <a:pt x="100" y="301"/>
                    </a:lnTo>
                    <a:lnTo>
                      <a:pt x="104" y="299"/>
                    </a:lnTo>
                    <a:lnTo>
                      <a:pt x="105" y="299"/>
                    </a:lnTo>
                    <a:lnTo>
                      <a:pt x="106" y="300"/>
                    </a:lnTo>
                    <a:lnTo>
                      <a:pt x="107" y="299"/>
                    </a:lnTo>
                    <a:lnTo>
                      <a:pt x="107" y="301"/>
                    </a:lnTo>
                    <a:lnTo>
                      <a:pt x="108" y="302"/>
                    </a:lnTo>
                    <a:lnTo>
                      <a:pt x="110" y="301"/>
                    </a:lnTo>
                    <a:lnTo>
                      <a:pt x="110" y="299"/>
                    </a:lnTo>
                    <a:lnTo>
                      <a:pt x="111" y="299"/>
                    </a:lnTo>
                    <a:lnTo>
                      <a:pt x="113" y="299"/>
                    </a:lnTo>
                    <a:lnTo>
                      <a:pt x="112" y="297"/>
                    </a:lnTo>
                    <a:lnTo>
                      <a:pt x="112" y="295"/>
                    </a:lnTo>
                    <a:lnTo>
                      <a:pt x="113" y="295"/>
                    </a:lnTo>
                    <a:lnTo>
                      <a:pt x="116" y="297"/>
                    </a:lnTo>
                    <a:lnTo>
                      <a:pt x="115" y="302"/>
                    </a:lnTo>
                    <a:lnTo>
                      <a:pt x="117" y="302"/>
                    </a:lnTo>
                    <a:lnTo>
                      <a:pt x="117" y="304"/>
                    </a:lnTo>
                    <a:lnTo>
                      <a:pt x="118" y="304"/>
                    </a:lnTo>
                    <a:lnTo>
                      <a:pt x="118" y="303"/>
                    </a:lnTo>
                    <a:lnTo>
                      <a:pt x="120" y="304"/>
                    </a:lnTo>
                    <a:lnTo>
                      <a:pt x="120" y="305"/>
                    </a:lnTo>
                    <a:lnTo>
                      <a:pt x="121" y="304"/>
                    </a:lnTo>
                    <a:lnTo>
                      <a:pt x="120" y="304"/>
                    </a:lnTo>
                    <a:lnTo>
                      <a:pt x="120" y="301"/>
                    </a:lnTo>
                    <a:lnTo>
                      <a:pt x="120" y="303"/>
                    </a:lnTo>
                    <a:lnTo>
                      <a:pt x="121" y="302"/>
                    </a:lnTo>
                    <a:lnTo>
                      <a:pt x="121" y="303"/>
                    </a:lnTo>
                    <a:lnTo>
                      <a:pt x="123" y="303"/>
                    </a:lnTo>
                    <a:lnTo>
                      <a:pt x="123" y="304"/>
                    </a:lnTo>
                    <a:lnTo>
                      <a:pt x="125" y="303"/>
                    </a:lnTo>
                    <a:lnTo>
                      <a:pt x="127" y="304"/>
                    </a:lnTo>
                    <a:lnTo>
                      <a:pt x="128" y="303"/>
                    </a:lnTo>
                    <a:lnTo>
                      <a:pt x="128" y="304"/>
                    </a:lnTo>
                    <a:lnTo>
                      <a:pt x="128" y="305"/>
                    </a:lnTo>
                    <a:lnTo>
                      <a:pt x="129" y="305"/>
                    </a:lnTo>
                    <a:lnTo>
                      <a:pt x="131" y="306"/>
                    </a:lnTo>
                    <a:lnTo>
                      <a:pt x="131" y="305"/>
                    </a:lnTo>
                    <a:lnTo>
                      <a:pt x="133" y="306"/>
                    </a:lnTo>
                    <a:lnTo>
                      <a:pt x="133" y="303"/>
                    </a:lnTo>
                    <a:lnTo>
                      <a:pt x="134" y="304"/>
                    </a:lnTo>
                    <a:lnTo>
                      <a:pt x="134" y="305"/>
                    </a:lnTo>
                    <a:lnTo>
                      <a:pt x="138" y="307"/>
                    </a:lnTo>
                    <a:lnTo>
                      <a:pt x="138" y="308"/>
                    </a:lnTo>
                    <a:lnTo>
                      <a:pt x="140" y="309"/>
                    </a:lnTo>
                    <a:lnTo>
                      <a:pt x="140" y="310"/>
                    </a:lnTo>
                    <a:lnTo>
                      <a:pt x="141" y="311"/>
                    </a:lnTo>
                    <a:lnTo>
                      <a:pt x="142" y="310"/>
                    </a:lnTo>
                    <a:lnTo>
                      <a:pt x="144" y="311"/>
                    </a:lnTo>
                    <a:lnTo>
                      <a:pt x="145" y="310"/>
                    </a:lnTo>
                    <a:lnTo>
                      <a:pt x="145" y="309"/>
                    </a:lnTo>
                    <a:lnTo>
                      <a:pt x="147" y="306"/>
                    </a:lnTo>
                    <a:lnTo>
                      <a:pt x="148" y="306"/>
                    </a:lnTo>
                    <a:lnTo>
                      <a:pt x="149" y="305"/>
                    </a:lnTo>
                    <a:lnTo>
                      <a:pt x="150" y="306"/>
                    </a:lnTo>
                    <a:lnTo>
                      <a:pt x="151" y="306"/>
                    </a:lnTo>
                    <a:lnTo>
                      <a:pt x="153" y="306"/>
                    </a:lnTo>
                    <a:lnTo>
                      <a:pt x="154" y="309"/>
                    </a:lnTo>
                    <a:lnTo>
                      <a:pt x="156" y="305"/>
                    </a:lnTo>
                    <a:lnTo>
                      <a:pt x="157" y="306"/>
                    </a:lnTo>
                    <a:lnTo>
                      <a:pt x="158" y="306"/>
                    </a:lnTo>
                    <a:lnTo>
                      <a:pt x="159" y="305"/>
                    </a:lnTo>
                    <a:lnTo>
                      <a:pt x="160" y="300"/>
                    </a:lnTo>
                    <a:lnTo>
                      <a:pt x="159" y="299"/>
                    </a:lnTo>
                    <a:lnTo>
                      <a:pt x="159" y="296"/>
                    </a:lnTo>
                    <a:lnTo>
                      <a:pt x="161" y="296"/>
                    </a:lnTo>
                    <a:lnTo>
                      <a:pt x="161" y="295"/>
                    </a:lnTo>
                    <a:lnTo>
                      <a:pt x="163" y="295"/>
                    </a:lnTo>
                    <a:lnTo>
                      <a:pt x="164" y="293"/>
                    </a:lnTo>
                    <a:lnTo>
                      <a:pt x="167" y="295"/>
                    </a:lnTo>
                    <a:lnTo>
                      <a:pt x="168" y="292"/>
                    </a:lnTo>
                    <a:lnTo>
                      <a:pt x="170" y="291"/>
                    </a:lnTo>
                    <a:lnTo>
                      <a:pt x="172" y="293"/>
                    </a:lnTo>
                    <a:lnTo>
                      <a:pt x="173" y="295"/>
                    </a:lnTo>
                    <a:lnTo>
                      <a:pt x="177" y="295"/>
                    </a:lnTo>
                    <a:lnTo>
                      <a:pt x="177" y="296"/>
                    </a:lnTo>
                    <a:lnTo>
                      <a:pt x="176" y="298"/>
                    </a:lnTo>
                    <a:lnTo>
                      <a:pt x="178" y="299"/>
                    </a:lnTo>
                    <a:lnTo>
                      <a:pt x="176" y="303"/>
                    </a:lnTo>
                    <a:lnTo>
                      <a:pt x="175" y="306"/>
                    </a:lnTo>
                    <a:lnTo>
                      <a:pt x="176" y="309"/>
                    </a:lnTo>
                    <a:lnTo>
                      <a:pt x="178" y="310"/>
                    </a:lnTo>
                    <a:lnTo>
                      <a:pt x="178" y="311"/>
                    </a:lnTo>
                    <a:lnTo>
                      <a:pt x="179" y="311"/>
                    </a:lnTo>
                    <a:lnTo>
                      <a:pt x="183" y="312"/>
                    </a:lnTo>
                    <a:lnTo>
                      <a:pt x="183" y="314"/>
                    </a:lnTo>
                    <a:lnTo>
                      <a:pt x="185" y="313"/>
                    </a:lnTo>
                    <a:lnTo>
                      <a:pt x="185" y="312"/>
                    </a:lnTo>
                    <a:lnTo>
                      <a:pt x="188" y="310"/>
                    </a:lnTo>
                    <a:lnTo>
                      <a:pt x="189" y="306"/>
                    </a:lnTo>
                    <a:lnTo>
                      <a:pt x="194" y="307"/>
                    </a:lnTo>
                    <a:lnTo>
                      <a:pt x="198" y="308"/>
                    </a:lnTo>
                    <a:lnTo>
                      <a:pt x="199" y="301"/>
                    </a:lnTo>
                    <a:lnTo>
                      <a:pt x="207" y="301"/>
                    </a:lnTo>
                    <a:lnTo>
                      <a:pt x="208" y="301"/>
                    </a:lnTo>
                    <a:lnTo>
                      <a:pt x="208" y="298"/>
                    </a:lnTo>
                    <a:lnTo>
                      <a:pt x="210" y="299"/>
                    </a:lnTo>
                    <a:lnTo>
                      <a:pt x="214" y="304"/>
                    </a:lnTo>
                    <a:lnTo>
                      <a:pt x="216" y="302"/>
                    </a:lnTo>
                    <a:lnTo>
                      <a:pt x="216" y="304"/>
                    </a:lnTo>
                    <a:lnTo>
                      <a:pt x="218" y="304"/>
                    </a:lnTo>
                    <a:lnTo>
                      <a:pt x="219" y="306"/>
                    </a:lnTo>
                    <a:lnTo>
                      <a:pt x="227" y="306"/>
                    </a:lnTo>
                    <a:lnTo>
                      <a:pt x="226" y="312"/>
                    </a:lnTo>
                    <a:lnTo>
                      <a:pt x="231" y="314"/>
                    </a:lnTo>
                    <a:lnTo>
                      <a:pt x="231" y="318"/>
                    </a:lnTo>
                    <a:lnTo>
                      <a:pt x="230" y="328"/>
                    </a:lnTo>
                    <a:lnTo>
                      <a:pt x="242" y="330"/>
                    </a:lnTo>
                    <a:lnTo>
                      <a:pt x="244" y="331"/>
                    </a:lnTo>
                    <a:lnTo>
                      <a:pt x="246" y="339"/>
                    </a:lnTo>
                    <a:lnTo>
                      <a:pt x="246" y="342"/>
                    </a:lnTo>
                    <a:lnTo>
                      <a:pt x="246" y="343"/>
                    </a:lnTo>
                    <a:lnTo>
                      <a:pt x="247" y="343"/>
                    </a:lnTo>
                    <a:lnTo>
                      <a:pt x="250" y="344"/>
                    </a:lnTo>
                    <a:lnTo>
                      <a:pt x="251" y="345"/>
                    </a:lnTo>
                    <a:lnTo>
                      <a:pt x="252" y="345"/>
                    </a:lnTo>
                    <a:lnTo>
                      <a:pt x="253" y="346"/>
                    </a:lnTo>
                    <a:lnTo>
                      <a:pt x="255" y="345"/>
                    </a:lnTo>
                    <a:lnTo>
                      <a:pt x="259" y="348"/>
                    </a:lnTo>
                    <a:lnTo>
                      <a:pt x="259" y="353"/>
                    </a:lnTo>
                    <a:lnTo>
                      <a:pt x="262" y="356"/>
                    </a:lnTo>
                    <a:lnTo>
                      <a:pt x="263" y="356"/>
                    </a:lnTo>
                    <a:lnTo>
                      <a:pt x="263" y="355"/>
                    </a:lnTo>
                    <a:lnTo>
                      <a:pt x="265" y="354"/>
                    </a:lnTo>
                    <a:lnTo>
                      <a:pt x="267" y="358"/>
                    </a:lnTo>
                    <a:lnTo>
                      <a:pt x="268" y="358"/>
                    </a:lnTo>
                    <a:lnTo>
                      <a:pt x="269" y="359"/>
                    </a:lnTo>
                    <a:lnTo>
                      <a:pt x="270" y="358"/>
                    </a:lnTo>
                    <a:lnTo>
                      <a:pt x="270" y="359"/>
                    </a:lnTo>
                    <a:lnTo>
                      <a:pt x="271" y="359"/>
                    </a:lnTo>
                    <a:lnTo>
                      <a:pt x="273" y="363"/>
                    </a:lnTo>
                    <a:lnTo>
                      <a:pt x="275" y="365"/>
                    </a:lnTo>
                    <a:lnTo>
                      <a:pt x="275" y="366"/>
                    </a:lnTo>
                    <a:lnTo>
                      <a:pt x="275" y="367"/>
                    </a:lnTo>
                    <a:lnTo>
                      <a:pt x="276" y="369"/>
                    </a:lnTo>
                    <a:lnTo>
                      <a:pt x="277" y="369"/>
                    </a:lnTo>
                    <a:lnTo>
                      <a:pt x="279" y="369"/>
                    </a:lnTo>
                    <a:lnTo>
                      <a:pt x="280" y="367"/>
                    </a:lnTo>
                    <a:lnTo>
                      <a:pt x="283" y="368"/>
                    </a:lnTo>
                    <a:lnTo>
                      <a:pt x="284" y="367"/>
                    </a:lnTo>
                    <a:lnTo>
                      <a:pt x="285" y="369"/>
                    </a:lnTo>
                    <a:lnTo>
                      <a:pt x="289" y="367"/>
                    </a:lnTo>
                    <a:lnTo>
                      <a:pt x="289" y="366"/>
                    </a:lnTo>
                    <a:lnTo>
                      <a:pt x="290" y="365"/>
                    </a:lnTo>
                    <a:lnTo>
                      <a:pt x="289" y="363"/>
                    </a:lnTo>
                    <a:lnTo>
                      <a:pt x="290" y="363"/>
                    </a:lnTo>
                    <a:lnTo>
                      <a:pt x="290" y="364"/>
                    </a:lnTo>
                    <a:lnTo>
                      <a:pt x="292" y="364"/>
                    </a:lnTo>
                    <a:lnTo>
                      <a:pt x="292" y="365"/>
                    </a:lnTo>
                    <a:lnTo>
                      <a:pt x="290" y="367"/>
                    </a:lnTo>
                    <a:lnTo>
                      <a:pt x="290" y="369"/>
                    </a:lnTo>
                    <a:lnTo>
                      <a:pt x="295" y="369"/>
                    </a:lnTo>
                    <a:lnTo>
                      <a:pt x="296" y="369"/>
                    </a:lnTo>
                    <a:lnTo>
                      <a:pt x="297" y="369"/>
                    </a:lnTo>
                    <a:lnTo>
                      <a:pt x="298" y="368"/>
                    </a:lnTo>
                    <a:lnTo>
                      <a:pt x="300" y="369"/>
                    </a:lnTo>
                    <a:lnTo>
                      <a:pt x="300" y="367"/>
                    </a:lnTo>
                    <a:lnTo>
                      <a:pt x="302" y="368"/>
                    </a:lnTo>
                    <a:lnTo>
                      <a:pt x="303" y="367"/>
                    </a:lnTo>
                    <a:lnTo>
                      <a:pt x="304" y="369"/>
                    </a:lnTo>
                    <a:lnTo>
                      <a:pt x="306" y="370"/>
                    </a:lnTo>
                    <a:lnTo>
                      <a:pt x="313" y="374"/>
                    </a:lnTo>
                    <a:lnTo>
                      <a:pt x="313" y="369"/>
                    </a:lnTo>
                    <a:lnTo>
                      <a:pt x="312" y="369"/>
                    </a:lnTo>
                    <a:lnTo>
                      <a:pt x="311" y="366"/>
                    </a:lnTo>
                    <a:lnTo>
                      <a:pt x="309" y="365"/>
                    </a:lnTo>
                    <a:lnTo>
                      <a:pt x="309" y="363"/>
                    </a:lnTo>
                    <a:lnTo>
                      <a:pt x="310" y="363"/>
                    </a:lnTo>
                    <a:lnTo>
                      <a:pt x="311" y="362"/>
                    </a:lnTo>
                    <a:lnTo>
                      <a:pt x="310" y="360"/>
                    </a:lnTo>
                    <a:lnTo>
                      <a:pt x="312" y="360"/>
                    </a:lnTo>
                    <a:lnTo>
                      <a:pt x="314" y="361"/>
                    </a:lnTo>
                    <a:lnTo>
                      <a:pt x="316" y="360"/>
                    </a:lnTo>
                    <a:lnTo>
                      <a:pt x="318" y="360"/>
                    </a:lnTo>
                    <a:lnTo>
                      <a:pt x="319" y="358"/>
                    </a:lnTo>
                    <a:lnTo>
                      <a:pt x="321" y="357"/>
                    </a:lnTo>
                    <a:lnTo>
                      <a:pt x="319" y="355"/>
                    </a:lnTo>
                    <a:lnTo>
                      <a:pt x="318" y="353"/>
                    </a:lnTo>
                    <a:lnTo>
                      <a:pt x="317" y="354"/>
                    </a:lnTo>
                    <a:lnTo>
                      <a:pt x="317" y="351"/>
                    </a:lnTo>
                    <a:lnTo>
                      <a:pt x="319" y="348"/>
                    </a:lnTo>
                    <a:lnTo>
                      <a:pt x="321" y="348"/>
                    </a:lnTo>
                    <a:lnTo>
                      <a:pt x="321" y="346"/>
                    </a:lnTo>
                    <a:lnTo>
                      <a:pt x="323" y="346"/>
                    </a:lnTo>
                    <a:lnTo>
                      <a:pt x="327" y="346"/>
                    </a:lnTo>
                    <a:lnTo>
                      <a:pt x="333" y="340"/>
                    </a:lnTo>
                    <a:lnTo>
                      <a:pt x="335" y="340"/>
                    </a:lnTo>
                    <a:lnTo>
                      <a:pt x="336" y="340"/>
                    </a:lnTo>
                    <a:lnTo>
                      <a:pt x="337" y="341"/>
                    </a:lnTo>
                    <a:lnTo>
                      <a:pt x="337" y="340"/>
                    </a:lnTo>
                    <a:lnTo>
                      <a:pt x="338" y="340"/>
                    </a:lnTo>
                    <a:lnTo>
                      <a:pt x="338" y="339"/>
                    </a:lnTo>
                    <a:lnTo>
                      <a:pt x="339" y="339"/>
                    </a:lnTo>
                    <a:lnTo>
                      <a:pt x="340" y="338"/>
                    </a:lnTo>
                    <a:lnTo>
                      <a:pt x="342" y="340"/>
                    </a:lnTo>
                    <a:lnTo>
                      <a:pt x="343" y="339"/>
                    </a:lnTo>
                    <a:lnTo>
                      <a:pt x="343" y="337"/>
                    </a:lnTo>
                    <a:lnTo>
                      <a:pt x="342" y="337"/>
                    </a:lnTo>
                    <a:lnTo>
                      <a:pt x="345" y="336"/>
                    </a:lnTo>
                    <a:lnTo>
                      <a:pt x="345" y="335"/>
                    </a:lnTo>
                    <a:lnTo>
                      <a:pt x="345" y="336"/>
                    </a:lnTo>
                    <a:lnTo>
                      <a:pt x="349" y="336"/>
                    </a:lnTo>
                    <a:lnTo>
                      <a:pt x="349" y="337"/>
                    </a:lnTo>
                    <a:lnTo>
                      <a:pt x="350" y="335"/>
                    </a:lnTo>
                    <a:lnTo>
                      <a:pt x="351" y="335"/>
                    </a:lnTo>
                    <a:lnTo>
                      <a:pt x="352" y="333"/>
                    </a:lnTo>
                    <a:lnTo>
                      <a:pt x="355" y="333"/>
                    </a:lnTo>
                    <a:lnTo>
                      <a:pt x="357" y="331"/>
                    </a:lnTo>
                    <a:lnTo>
                      <a:pt x="358" y="322"/>
                    </a:lnTo>
                    <a:lnTo>
                      <a:pt x="360" y="320"/>
                    </a:lnTo>
                    <a:lnTo>
                      <a:pt x="363" y="320"/>
                    </a:lnTo>
                    <a:lnTo>
                      <a:pt x="365" y="322"/>
                    </a:lnTo>
                    <a:lnTo>
                      <a:pt x="366" y="322"/>
                    </a:lnTo>
                    <a:lnTo>
                      <a:pt x="369" y="323"/>
                    </a:lnTo>
                    <a:lnTo>
                      <a:pt x="369" y="328"/>
                    </a:lnTo>
                    <a:lnTo>
                      <a:pt x="371" y="327"/>
                    </a:lnTo>
                    <a:lnTo>
                      <a:pt x="372" y="329"/>
                    </a:lnTo>
                    <a:lnTo>
                      <a:pt x="373" y="330"/>
                    </a:lnTo>
                    <a:lnTo>
                      <a:pt x="374" y="329"/>
                    </a:lnTo>
                    <a:lnTo>
                      <a:pt x="381" y="335"/>
                    </a:lnTo>
                    <a:lnTo>
                      <a:pt x="382" y="335"/>
                    </a:lnTo>
                    <a:lnTo>
                      <a:pt x="383" y="335"/>
                    </a:lnTo>
                    <a:lnTo>
                      <a:pt x="385" y="334"/>
                    </a:lnTo>
                    <a:lnTo>
                      <a:pt x="386" y="333"/>
                    </a:lnTo>
                    <a:lnTo>
                      <a:pt x="385" y="331"/>
                    </a:lnTo>
                    <a:lnTo>
                      <a:pt x="386" y="32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4" name="Freeform 55">
                <a:extLst>
                  <a:ext uri="{FF2B5EF4-FFF2-40B4-BE49-F238E27FC236}">
                    <a16:creationId xmlns:a16="http://schemas.microsoft.com/office/drawing/2014/main" id="{5E7AB2C0-8863-4024-95F3-C69672D76C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7" y="2858"/>
                <a:ext cx="386" cy="374"/>
              </a:xfrm>
              <a:custGeom>
                <a:avLst/>
                <a:gdLst>
                  <a:gd name="T0" fmla="*/ 383 w 386"/>
                  <a:gd name="T1" fmla="*/ 303 h 374"/>
                  <a:gd name="T2" fmla="*/ 367 w 386"/>
                  <a:gd name="T3" fmla="*/ 276 h 374"/>
                  <a:gd name="T4" fmla="*/ 348 w 386"/>
                  <a:gd name="T5" fmla="*/ 244 h 374"/>
                  <a:gd name="T6" fmla="*/ 334 w 386"/>
                  <a:gd name="T7" fmla="*/ 216 h 374"/>
                  <a:gd name="T8" fmla="*/ 311 w 386"/>
                  <a:gd name="T9" fmla="*/ 206 h 374"/>
                  <a:gd name="T10" fmla="*/ 295 w 386"/>
                  <a:gd name="T11" fmla="*/ 185 h 374"/>
                  <a:gd name="T12" fmla="*/ 307 w 386"/>
                  <a:gd name="T13" fmla="*/ 174 h 374"/>
                  <a:gd name="T14" fmla="*/ 325 w 386"/>
                  <a:gd name="T15" fmla="*/ 164 h 374"/>
                  <a:gd name="T16" fmla="*/ 354 w 386"/>
                  <a:gd name="T17" fmla="*/ 146 h 374"/>
                  <a:gd name="T18" fmla="*/ 364 w 386"/>
                  <a:gd name="T19" fmla="*/ 111 h 374"/>
                  <a:gd name="T20" fmla="*/ 336 w 386"/>
                  <a:gd name="T21" fmla="*/ 82 h 374"/>
                  <a:gd name="T22" fmla="*/ 304 w 386"/>
                  <a:gd name="T23" fmla="*/ 92 h 374"/>
                  <a:gd name="T24" fmla="*/ 278 w 386"/>
                  <a:gd name="T25" fmla="*/ 79 h 374"/>
                  <a:gd name="T26" fmla="*/ 249 w 386"/>
                  <a:gd name="T27" fmla="*/ 95 h 374"/>
                  <a:gd name="T28" fmla="*/ 252 w 386"/>
                  <a:gd name="T29" fmla="*/ 63 h 374"/>
                  <a:gd name="T30" fmla="*/ 218 w 386"/>
                  <a:gd name="T31" fmla="*/ 56 h 374"/>
                  <a:gd name="T32" fmla="*/ 188 w 386"/>
                  <a:gd name="T33" fmla="*/ 27 h 374"/>
                  <a:gd name="T34" fmla="*/ 142 w 386"/>
                  <a:gd name="T35" fmla="*/ 3 h 374"/>
                  <a:gd name="T36" fmla="*/ 138 w 386"/>
                  <a:gd name="T37" fmla="*/ 47 h 374"/>
                  <a:gd name="T38" fmla="*/ 137 w 386"/>
                  <a:gd name="T39" fmla="*/ 97 h 374"/>
                  <a:gd name="T40" fmla="*/ 149 w 386"/>
                  <a:gd name="T41" fmla="*/ 122 h 374"/>
                  <a:gd name="T42" fmla="*/ 132 w 386"/>
                  <a:gd name="T43" fmla="*/ 119 h 374"/>
                  <a:gd name="T44" fmla="*/ 114 w 386"/>
                  <a:gd name="T45" fmla="*/ 111 h 374"/>
                  <a:gd name="T46" fmla="*/ 97 w 386"/>
                  <a:gd name="T47" fmla="*/ 116 h 374"/>
                  <a:gd name="T48" fmla="*/ 92 w 386"/>
                  <a:gd name="T49" fmla="*/ 134 h 374"/>
                  <a:gd name="T50" fmla="*/ 83 w 386"/>
                  <a:gd name="T51" fmla="*/ 130 h 374"/>
                  <a:gd name="T52" fmla="*/ 71 w 386"/>
                  <a:gd name="T53" fmla="*/ 117 h 374"/>
                  <a:gd name="T54" fmla="*/ 51 w 386"/>
                  <a:gd name="T55" fmla="*/ 110 h 374"/>
                  <a:gd name="T56" fmla="*/ 35 w 386"/>
                  <a:gd name="T57" fmla="*/ 118 h 374"/>
                  <a:gd name="T58" fmla="*/ 15 w 386"/>
                  <a:gd name="T59" fmla="*/ 109 h 374"/>
                  <a:gd name="T60" fmla="*/ 14 w 386"/>
                  <a:gd name="T61" fmla="*/ 129 h 374"/>
                  <a:gd name="T62" fmla="*/ 17 w 386"/>
                  <a:gd name="T63" fmla="*/ 145 h 374"/>
                  <a:gd name="T64" fmla="*/ 11 w 386"/>
                  <a:gd name="T65" fmla="*/ 164 h 374"/>
                  <a:gd name="T66" fmla="*/ 2 w 386"/>
                  <a:gd name="T67" fmla="*/ 175 h 374"/>
                  <a:gd name="T68" fmla="*/ 21 w 386"/>
                  <a:gd name="T69" fmla="*/ 193 h 374"/>
                  <a:gd name="T70" fmla="*/ 26 w 386"/>
                  <a:gd name="T71" fmla="*/ 205 h 374"/>
                  <a:gd name="T72" fmla="*/ 32 w 386"/>
                  <a:gd name="T73" fmla="*/ 219 h 374"/>
                  <a:gd name="T74" fmla="*/ 49 w 386"/>
                  <a:gd name="T75" fmla="*/ 225 h 374"/>
                  <a:gd name="T76" fmla="*/ 66 w 386"/>
                  <a:gd name="T77" fmla="*/ 223 h 374"/>
                  <a:gd name="T78" fmla="*/ 64 w 386"/>
                  <a:gd name="T79" fmla="*/ 242 h 374"/>
                  <a:gd name="T80" fmla="*/ 69 w 386"/>
                  <a:gd name="T81" fmla="*/ 267 h 374"/>
                  <a:gd name="T82" fmla="*/ 59 w 386"/>
                  <a:gd name="T83" fmla="*/ 278 h 374"/>
                  <a:gd name="T84" fmla="*/ 65 w 386"/>
                  <a:gd name="T85" fmla="*/ 295 h 374"/>
                  <a:gd name="T86" fmla="*/ 79 w 386"/>
                  <a:gd name="T87" fmla="*/ 316 h 374"/>
                  <a:gd name="T88" fmla="*/ 98 w 386"/>
                  <a:gd name="T89" fmla="*/ 309 h 374"/>
                  <a:gd name="T90" fmla="*/ 110 w 386"/>
                  <a:gd name="T91" fmla="*/ 299 h 374"/>
                  <a:gd name="T92" fmla="*/ 120 w 386"/>
                  <a:gd name="T93" fmla="*/ 305 h 374"/>
                  <a:gd name="T94" fmla="*/ 128 w 386"/>
                  <a:gd name="T95" fmla="*/ 303 h 374"/>
                  <a:gd name="T96" fmla="*/ 141 w 386"/>
                  <a:gd name="T97" fmla="*/ 311 h 374"/>
                  <a:gd name="T98" fmla="*/ 156 w 386"/>
                  <a:gd name="T99" fmla="*/ 305 h 374"/>
                  <a:gd name="T100" fmla="*/ 172 w 386"/>
                  <a:gd name="T101" fmla="*/ 293 h 374"/>
                  <a:gd name="T102" fmla="*/ 185 w 386"/>
                  <a:gd name="T103" fmla="*/ 312 h 374"/>
                  <a:gd name="T104" fmla="*/ 227 w 386"/>
                  <a:gd name="T105" fmla="*/ 306 h 374"/>
                  <a:gd name="T106" fmla="*/ 255 w 386"/>
                  <a:gd name="T107" fmla="*/ 345 h 374"/>
                  <a:gd name="T108" fmla="*/ 275 w 386"/>
                  <a:gd name="T109" fmla="*/ 365 h 374"/>
                  <a:gd name="T110" fmla="*/ 290 w 386"/>
                  <a:gd name="T111" fmla="*/ 363 h 374"/>
                  <a:gd name="T112" fmla="*/ 302 w 386"/>
                  <a:gd name="T113" fmla="*/ 368 h 374"/>
                  <a:gd name="T114" fmla="*/ 314 w 386"/>
                  <a:gd name="T115" fmla="*/ 361 h 374"/>
                  <a:gd name="T116" fmla="*/ 333 w 386"/>
                  <a:gd name="T117" fmla="*/ 340 h 374"/>
                  <a:gd name="T118" fmla="*/ 345 w 386"/>
                  <a:gd name="T119" fmla="*/ 335 h 374"/>
                  <a:gd name="T120" fmla="*/ 369 w 386"/>
                  <a:gd name="T121" fmla="*/ 323 h 37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86"/>
                  <a:gd name="T184" fmla="*/ 0 h 374"/>
                  <a:gd name="T185" fmla="*/ 386 w 386"/>
                  <a:gd name="T186" fmla="*/ 374 h 37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86" h="374">
                    <a:moveTo>
                      <a:pt x="386" y="329"/>
                    </a:moveTo>
                    <a:lnTo>
                      <a:pt x="385" y="328"/>
                    </a:lnTo>
                    <a:lnTo>
                      <a:pt x="385" y="326"/>
                    </a:lnTo>
                    <a:lnTo>
                      <a:pt x="381" y="323"/>
                    </a:lnTo>
                    <a:lnTo>
                      <a:pt x="380" y="320"/>
                    </a:lnTo>
                    <a:lnTo>
                      <a:pt x="380" y="319"/>
                    </a:lnTo>
                    <a:lnTo>
                      <a:pt x="382" y="316"/>
                    </a:lnTo>
                    <a:lnTo>
                      <a:pt x="381" y="314"/>
                    </a:lnTo>
                    <a:lnTo>
                      <a:pt x="380" y="313"/>
                    </a:lnTo>
                    <a:lnTo>
                      <a:pt x="381" y="312"/>
                    </a:lnTo>
                    <a:lnTo>
                      <a:pt x="380" y="309"/>
                    </a:lnTo>
                    <a:lnTo>
                      <a:pt x="381" y="306"/>
                    </a:lnTo>
                    <a:lnTo>
                      <a:pt x="381" y="305"/>
                    </a:lnTo>
                    <a:lnTo>
                      <a:pt x="382" y="304"/>
                    </a:lnTo>
                    <a:lnTo>
                      <a:pt x="383" y="303"/>
                    </a:lnTo>
                    <a:lnTo>
                      <a:pt x="382" y="299"/>
                    </a:lnTo>
                    <a:lnTo>
                      <a:pt x="381" y="299"/>
                    </a:lnTo>
                    <a:lnTo>
                      <a:pt x="382" y="296"/>
                    </a:lnTo>
                    <a:lnTo>
                      <a:pt x="380" y="295"/>
                    </a:lnTo>
                    <a:lnTo>
                      <a:pt x="380" y="292"/>
                    </a:lnTo>
                    <a:lnTo>
                      <a:pt x="378" y="289"/>
                    </a:lnTo>
                    <a:lnTo>
                      <a:pt x="378" y="288"/>
                    </a:lnTo>
                    <a:lnTo>
                      <a:pt x="375" y="288"/>
                    </a:lnTo>
                    <a:lnTo>
                      <a:pt x="373" y="287"/>
                    </a:lnTo>
                    <a:lnTo>
                      <a:pt x="371" y="282"/>
                    </a:lnTo>
                    <a:lnTo>
                      <a:pt x="372" y="280"/>
                    </a:lnTo>
                    <a:lnTo>
                      <a:pt x="370" y="279"/>
                    </a:lnTo>
                    <a:lnTo>
                      <a:pt x="370" y="276"/>
                    </a:lnTo>
                    <a:lnTo>
                      <a:pt x="369" y="276"/>
                    </a:lnTo>
                    <a:lnTo>
                      <a:pt x="367" y="276"/>
                    </a:lnTo>
                    <a:lnTo>
                      <a:pt x="366" y="275"/>
                    </a:lnTo>
                    <a:lnTo>
                      <a:pt x="366" y="274"/>
                    </a:lnTo>
                    <a:lnTo>
                      <a:pt x="366" y="272"/>
                    </a:lnTo>
                    <a:lnTo>
                      <a:pt x="363" y="270"/>
                    </a:lnTo>
                    <a:lnTo>
                      <a:pt x="363" y="268"/>
                    </a:lnTo>
                    <a:lnTo>
                      <a:pt x="360" y="262"/>
                    </a:lnTo>
                    <a:lnTo>
                      <a:pt x="361" y="261"/>
                    </a:lnTo>
                    <a:lnTo>
                      <a:pt x="360" y="259"/>
                    </a:lnTo>
                    <a:lnTo>
                      <a:pt x="360" y="258"/>
                    </a:lnTo>
                    <a:lnTo>
                      <a:pt x="357" y="254"/>
                    </a:lnTo>
                    <a:lnTo>
                      <a:pt x="355" y="249"/>
                    </a:lnTo>
                    <a:lnTo>
                      <a:pt x="354" y="248"/>
                    </a:lnTo>
                    <a:lnTo>
                      <a:pt x="354" y="245"/>
                    </a:lnTo>
                    <a:lnTo>
                      <a:pt x="353" y="244"/>
                    </a:lnTo>
                    <a:lnTo>
                      <a:pt x="348" y="244"/>
                    </a:lnTo>
                    <a:lnTo>
                      <a:pt x="347" y="243"/>
                    </a:lnTo>
                    <a:lnTo>
                      <a:pt x="346" y="244"/>
                    </a:lnTo>
                    <a:lnTo>
                      <a:pt x="345" y="245"/>
                    </a:lnTo>
                    <a:lnTo>
                      <a:pt x="344" y="245"/>
                    </a:lnTo>
                    <a:lnTo>
                      <a:pt x="340" y="240"/>
                    </a:lnTo>
                    <a:lnTo>
                      <a:pt x="339" y="233"/>
                    </a:lnTo>
                    <a:lnTo>
                      <a:pt x="336" y="229"/>
                    </a:lnTo>
                    <a:lnTo>
                      <a:pt x="336" y="228"/>
                    </a:lnTo>
                    <a:lnTo>
                      <a:pt x="337" y="226"/>
                    </a:lnTo>
                    <a:lnTo>
                      <a:pt x="337" y="223"/>
                    </a:lnTo>
                    <a:lnTo>
                      <a:pt x="338" y="222"/>
                    </a:lnTo>
                    <a:lnTo>
                      <a:pt x="337" y="219"/>
                    </a:lnTo>
                    <a:lnTo>
                      <a:pt x="337" y="217"/>
                    </a:lnTo>
                    <a:lnTo>
                      <a:pt x="336" y="215"/>
                    </a:lnTo>
                    <a:lnTo>
                      <a:pt x="334" y="216"/>
                    </a:lnTo>
                    <a:lnTo>
                      <a:pt x="333" y="215"/>
                    </a:lnTo>
                    <a:lnTo>
                      <a:pt x="331" y="215"/>
                    </a:lnTo>
                    <a:lnTo>
                      <a:pt x="327" y="214"/>
                    </a:lnTo>
                    <a:lnTo>
                      <a:pt x="325" y="214"/>
                    </a:lnTo>
                    <a:lnTo>
                      <a:pt x="322" y="212"/>
                    </a:lnTo>
                    <a:lnTo>
                      <a:pt x="320" y="213"/>
                    </a:lnTo>
                    <a:lnTo>
                      <a:pt x="318" y="216"/>
                    </a:lnTo>
                    <a:lnTo>
                      <a:pt x="318" y="217"/>
                    </a:lnTo>
                    <a:lnTo>
                      <a:pt x="316" y="219"/>
                    </a:lnTo>
                    <a:lnTo>
                      <a:pt x="314" y="219"/>
                    </a:lnTo>
                    <a:lnTo>
                      <a:pt x="314" y="214"/>
                    </a:lnTo>
                    <a:lnTo>
                      <a:pt x="311" y="211"/>
                    </a:lnTo>
                    <a:lnTo>
                      <a:pt x="312" y="210"/>
                    </a:lnTo>
                    <a:lnTo>
                      <a:pt x="311" y="206"/>
                    </a:lnTo>
                    <a:lnTo>
                      <a:pt x="311" y="205"/>
                    </a:lnTo>
                    <a:lnTo>
                      <a:pt x="307" y="205"/>
                    </a:lnTo>
                    <a:lnTo>
                      <a:pt x="307" y="204"/>
                    </a:lnTo>
                    <a:lnTo>
                      <a:pt x="309" y="200"/>
                    </a:lnTo>
                    <a:lnTo>
                      <a:pt x="308" y="200"/>
                    </a:lnTo>
                    <a:lnTo>
                      <a:pt x="306" y="198"/>
                    </a:lnTo>
                    <a:lnTo>
                      <a:pt x="306" y="196"/>
                    </a:lnTo>
                    <a:lnTo>
                      <a:pt x="304" y="195"/>
                    </a:lnTo>
                    <a:lnTo>
                      <a:pt x="301" y="198"/>
                    </a:lnTo>
                    <a:lnTo>
                      <a:pt x="298" y="196"/>
                    </a:lnTo>
                    <a:lnTo>
                      <a:pt x="299" y="194"/>
                    </a:lnTo>
                    <a:lnTo>
                      <a:pt x="298" y="188"/>
                    </a:lnTo>
                    <a:lnTo>
                      <a:pt x="296" y="187"/>
                    </a:lnTo>
                    <a:lnTo>
                      <a:pt x="295" y="187"/>
                    </a:lnTo>
                    <a:lnTo>
                      <a:pt x="295" y="185"/>
                    </a:lnTo>
                    <a:lnTo>
                      <a:pt x="295" y="184"/>
                    </a:lnTo>
                    <a:lnTo>
                      <a:pt x="296" y="181"/>
                    </a:lnTo>
                    <a:lnTo>
                      <a:pt x="298" y="179"/>
                    </a:lnTo>
                    <a:lnTo>
                      <a:pt x="300" y="177"/>
                    </a:lnTo>
                    <a:lnTo>
                      <a:pt x="302" y="177"/>
                    </a:lnTo>
                    <a:lnTo>
                      <a:pt x="302" y="179"/>
                    </a:lnTo>
                    <a:lnTo>
                      <a:pt x="303" y="181"/>
                    </a:lnTo>
                    <a:lnTo>
                      <a:pt x="305" y="181"/>
                    </a:lnTo>
                    <a:lnTo>
                      <a:pt x="306" y="179"/>
                    </a:lnTo>
                    <a:lnTo>
                      <a:pt x="305" y="176"/>
                    </a:lnTo>
                    <a:lnTo>
                      <a:pt x="304" y="175"/>
                    </a:lnTo>
                    <a:lnTo>
                      <a:pt x="303" y="174"/>
                    </a:lnTo>
                    <a:lnTo>
                      <a:pt x="304" y="174"/>
                    </a:lnTo>
                    <a:lnTo>
                      <a:pt x="307" y="174"/>
                    </a:lnTo>
                    <a:lnTo>
                      <a:pt x="306" y="171"/>
                    </a:lnTo>
                    <a:lnTo>
                      <a:pt x="309" y="172"/>
                    </a:lnTo>
                    <a:lnTo>
                      <a:pt x="312" y="171"/>
                    </a:lnTo>
                    <a:lnTo>
                      <a:pt x="311" y="168"/>
                    </a:lnTo>
                    <a:lnTo>
                      <a:pt x="314" y="166"/>
                    </a:lnTo>
                    <a:lnTo>
                      <a:pt x="316" y="166"/>
                    </a:lnTo>
                    <a:lnTo>
                      <a:pt x="317" y="167"/>
                    </a:lnTo>
                    <a:lnTo>
                      <a:pt x="318" y="167"/>
                    </a:lnTo>
                    <a:lnTo>
                      <a:pt x="317" y="164"/>
                    </a:lnTo>
                    <a:lnTo>
                      <a:pt x="318" y="165"/>
                    </a:lnTo>
                    <a:lnTo>
                      <a:pt x="320" y="166"/>
                    </a:lnTo>
                    <a:lnTo>
                      <a:pt x="322" y="166"/>
                    </a:lnTo>
                    <a:lnTo>
                      <a:pt x="323" y="167"/>
                    </a:lnTo>
                    <a:lnTo>
                      <a:pt x="325" y="164"/>
                    </a:lnTo>
                    <a:lnTo>
                      <a:pt x="325" y="162"/>
                    </a:lnTo>
                    <a:lnTo>
                      <a:pt x="328" y="161"/>
                    </a:lnTo>
                    <a:lnTo>
                      <a:pt x="328" y="160"/>
                    </a:lnTo>
                    <a:lnTo>
                      <a:pt x="328" y="156"/>
                    </a:lnTo>
                    <a:lnTo>
                      <a:pt x="328" y="155"/>
                    </a:lnTo>
                    <a:lnTo>
                      <a:pt x="331" y="155"/>
                    </a:lnTo>
                    <a:lnTo>
                      <a:pt x="332" y="155"/>
                    </a:lnTo>
                    <a:lnTo>
                      <a:pt x="334" y="156"/>
                    </a:lnTo>
                    <a:lnTo>
                      <a:pt x="335" y="158"/>
                    </a:lnTo>
                    <a:lnTo>
                      <a:pt x="337" y="160"/>
                    </a:lnTo>
                    <a:lnTo>
                      <a:pt x="342" y="159"/>
                    </a:lnTo>
                    <a:lnTo>
                      <a:pt x="346" y="152"/>
                    </a:lnTo>
                    <a:lnTo>
                      <a:pt x="350" y="150"/>
                    </a:lnTo>
                    <a:lnTo>
                      <a:pt x="354" y="147"/>
                    </a:lnTo>
                    <a:lnTo>
                      <a:pt x="354" y="146"/>
                    </a:lnTo>
                    <a:lnTo>
                      <a:pt x="353" y="145"/>
                    </a:lnTo>
                    <a:lnTo>
                      <a:pt x="354" y="145"/>
                    </a:lnTo>
                    <a:lnTo>
                      <a:pt x="351" y="140"/>
                    </a:lnTo>
                    <a:lnTo>
                      <a:pt x="353" y="140"/>
                    </a:lnTo>
                    <a:lnTo>
                      <a:pt x="358" y="138"/>
                    </a:lnTo>
                    <a:lnTo>
                      <a:pt x="358" y="134"/>
                    </a:lnTo>
                    <a:lnTo>
                      <a:pt x="357" y="130"/>
                    </a:lnTo>
                    <a:lnTo>
                      <a:pt x="357" y="129"/>
                    </a:lnTo>
                    <a:lnTo>
                      <a:pt x="361" y="129"/>
                    </a:lnTo>
                    <a:lnTo>
                      <a:pt x="363" y="129"/>
                    </a:lnTo>
                    <a:lnTo>
                      <a:pt x="368" y="125"/>
                    </a:lnTo>
                    <a:lnTo>
                      <a:pt x="368" y="122"/>
                    </a:lnTo>
                    <a:lnTo>
                      <a:pt x="368" y="119"/>
                    </a:lnTo>
                    <a:lnTo>
                      <a:pt x="365" y="115"/>
                    </a:lnTo>
                    <a:lnTo>
                      <a:pt x="364" y="111"/>
                    </a:lnTo>
                    <a:lnTo>
                      <a:pt x="361" y="109"/>
                    </a:lnTo>
                    <a:lnTo>
                      <a:pt x="360" y="106"/>
                    </a:lnTo>
                    <a:lnTo>
                      <a:pt x="357" y="105"/>
                    </a:lnTo>
                    <a:lnTo>
                      <a:pt x="353" y="98"/>
                    </a:lnTo>
                    <a:lnTo>
                      <a:pt x="353" y="96"/>
                    </a:lnTo>
                    <a:lnTo>
                      <a:pt x="352" y="96"/>
                    </a:lnTo>
                    <a:lnTo>
                      <a:pt x="351" y="94"/>
                    </a:lnTo>
                    <a:lnTo>
                      <a:pt x="350" y="90"/>
                    </a:lnTo>
                    <a:lnTo>
                      <a:pt x="347" y="90"/>
                    </a:lnTo>
                    <a:lnTo>
                      <a:pt x="347" y="88"/>
                    </a:lnTo>
                    <a:lnTo>
                      <a:pt x="345" y="82"/>
                    </a:lnTo>
                    <a:lnTo>
                      <a:pt x="340" y="80"/>
                    </a:lnTo>
                    <a:lnTo>
                      <a:pt x="337" y="80"/>
                    </a:lnTo>
                    <a:lnTo>
                      <a:pt x="336" y="82"/>
                    </a:lnTo>
                    <a:lnTo>
                      <a:pt x="333" y="82"/>
                    </a:lnTo>
                    <a:lnTo>
                      <a:pt x="328" y="81"/>
                    </a:lnTo>
                    <a:lnTo>
                      <a:pt x="328" y="77"/>
                    </a:lnTo>
                    <a:lnTo>
                      <a:pt x="327" y="77"/>
                    </a:lnTo>
                    <a:lnTo>
                      <a:pt x="324" y="77"/>
                    </a:lnTo>
                    <a:lnTo>
                      <a:pt x="322" y="77"/>
                    </a:lnTo>
                    <a:lnTo>
                      <a:pt x="317" y="75"/>
                    </a:lnTo>
                    <a:lnTo>
                      <a:pt x="316" y="75"/>
                    </a:lnTo>
                    <a:lnTo>
                      <a:pt x="311" y="84"/>
                    </a:lnTo>
                    <a:lnTo>
                      <a:pt x="311" y="89"/>
                    </a:lnTo>
                    <a:lnTo>
                      <a:pt x="311" y="91"/>
                    </a:lnTo>
                    <a:lnTo>
                      <a:pt x="310" y="92"/>
                    </a:lnTo>
                    <a:lnTo>
                      <a:pt x="304" y="92"/>
                    </a:lnTo>
                    <a:lnTo>
                      <a:pt x="301" y="94"/>
                    </a:lnTo>
                    <a:lnTo>
                      <a:pt x="300" y="92"/>
                    </a:lnTo>
                    <a:lnTo>
                      <a:pt x="300" y="88"/>
                    </a:lnTo>
                    <a:lnTo>
                      <a:pt x="298" y="85"/>
                    </a:lnTo>
                    <a:lnTo>
                      <a:pt x="293" y="80"/>
                    </a:lnTo>
                    <a:lnTo>
                      <a:pt x="290" y="81"/>
                    </a:lnTo>
                    <a:lnTo>
                      <a:pt x="289" y="78"/>
                    </a:lnTo>
                    <a:lnTo>
                      <a:pt x="288" y="77"/>
                    </a:lnTo>
                    <a:lnTo>
                      <a:pt x="287" y="76"/>
                    </a:lnTo>
                    <a:lnTo>
                      <a:pt x="284" y="76"/>
                    </a:lnTo>
                    <a:lnTo>
                      <a:pt x="283" y="75"/>
                    </a:lnTo>
                    <a:lnTo>
                      <a:pt x="280" y="75"/>
                    </a:lnTo>
                    <a:lnTo>
                      <a:pt x="279" y="78"/>
                    </a:lnTo>
                    <a:lnTo>
                      <a:pt x="278" y="79"/>
                    </a:lnTo>
                    <a:lnTo>
                      <a:pt x="276" y="79"/>
                    </a:lnTo>
                    <a:lnTo>
                      <a:pt x="276" y="81"/>
                    </a:lnTo>
                    <a:lnTo>
                      <a:pt x="272" y="84"/>
                    </a:lnTo>
                    <a:lnTo>
                      <a:pt x="270" y="84"/>
                    </a:lnTo>
                    <a:lnTo>
                      <a:pt x="270" y="85"/>
                    </a:lnTo>
                    <a:lnTo>
                      <a:pt x="268" y="87"/>
                    </a:lnTo>
                    <a:lnTo>
                      <a:pt x="267" y="94"/>
                    </a:lnTo>
                    <a:lnTo>
                      <a:pt x="267" y="96"/>
                    </a:lnTo>
                    <a:lnTo>
                      <a:pt x="266" y="97"/>
                    </a:lnTo>
                    <a:lnTo>
                      <a:pt x="262" y="95"/>
                    </a:lnTo>
                    <a:lnTo>
                      <a:pt x="257" y="102"/>
                    </a:lnTo>
                    <a:lnTo>
                      <a:pt x="255" y="99"/>
                    </a:lnTo>
                    <a:lnTo>
                      <a:pt x="255" y="98"/>
                    </a:lnTo>
                    <a:lnTo>
                      <a:pt x="253" y="98"/>
                    </a:lnTo>
                    <a:lnTo>
                      <a:pt x="249" y="95"/>
                    </a:lnTo>
                    <a:lnTo>
                      <a:pt x="248" y="94"/>
                    </a:lnTo>
                    <a:lnTo>
                      <a:pt x="248" y="92"/>
                    </a:lnTo>
                    <a:lnTo>
                      <a:pt x="251" y="90"/>
                    </a:lnTo>
                    <a:lnTo>
                      <a:pt x="254" y="89"/>
                    </a:lnTo>
                    <a:lnTo>
                      <a:pt x="258" y="86"/>
                    </a:lnTo>
                    <a:lnTo>
                      <a:pt x="257" y="85"/>
                    </a:lnTo>
                    <a:lnTo>
                      <a:pt x="254" y="84"/>
                    </a:lnTo>
                    <a:lnTo>
                      <a:pt x="254" y="80"/>
                    </a:lnTo>
                    <a:lnTo>
                      <a:pt x="253" y="79"/>
                    </a:lnTo>
                    <a:lnTo>
                      <a:pt x="254" y="77"/>
                    </a:lnTo>
                    <a:lnTo>
                      <a:pt x="254" y="72"/>
                    </a:lnTo>
                    <a:lnTo>
                      <a:pt x="254" y="69"/>
                    </a:lnTo>
                    <a:lnTo>
                      <a:pt x="254" y="66"/>
                    </a:lnTo>
                    <a:lnTo>
                      <a:pt x="253" y="65"/>
                    </a:lnTo>
                    <a:lnTo>
                      <a:pt x="252" y="63"/>
                    </a:lnTo>
                    <a:lnTo>
                      <a:pt x="252" y="61"/>
                    </a:lnTo>
                    <a:lnTo>
                      <a:pt x="252" y="60"/>
                    </a:lnTo>
                    <a:lnTo>
                      <a:pt x="246" y="56"/>
                    </a:lnTo>
                    <a:lnTo>
                      <a:pt x="242" y="56"/>
                    </a:lnTo>
                    <a:lnTo>
                      <a:pt x="241" y="56"/>
                    </a:lnTo>
                    <a:lnTo>
                      <a:pt x="239" y="58"/>
                    </a:lnTo>
                    <a:lnTo>
                      <a:pt x="237" y="57"/>
                    </a:lnTo>
                    <a:lnTo>
                      <a:pt x="235" y="59"/>
                    </a:lnTo>
                    <a:lnTo>
                      <a:pt x="233" y="58"/>
                    </a:lnTo>
                    <a:lnTo>
                      <a:pt x="230" y="59"/>
                    </a:lnTo>
                    <a:lnTo>
                      <a:pt x="224" y="61"/>
                    </a:lnTo>
                    <a:lnTo>
                      <a:pt x="223" y="63"/>
                    </a:lnTo>
                    <a:lnTo>
                      <a:pt x="218" y="60"/>
                    </a:lnTo>
                    <a:lnTo>
                      <a:pt x="218" y="58"/>
                    </a:lnTo>
                    <a:lnTo>
                      <a:pt x="218" y="56"/>
                    </a:lnTo>
                    <a:lnTo>
                      <a:pt x="218" y="50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5" y="43"/>
                    </a:lnTo>
                    <a:lnTo>
                      <a:pt x="213" y="38"/>
                    </a:lnTo>
                    <a:lnTo>
                      <a:pt x="211" y="35"/>
                    </a:lnTo>
                    <a:lnTo>
                      <a:pt x="213" y="27"/>
                    </a:lnTo>
                    <a:lnTo>
                      <a:pt x="210" y="24"/>
                    </a:lnTo>
                    <a:lnTo>
                      <a:pt x="210" y="21"/>
                    </a:lnTo>
                    <a:lnTo>
                      <a:pt x="202" y="22"/>
                    </a:lnTo>
                    <a:lnTo>
                      <a:pt x="202" y="24"/>
                    </a:lnTo>
                    <a:lnTo>
                      <a:pt x="199" y="26"/>
                    </a:lnTo>
                    <a:lnTo>
                      <a:pt x="194" y="24"/>
                    </a:lnTo>
                    <a:lnTo>
                      <a:pt x="190" y="26"/>
                    </a:lnTo>
                    <a:lnTo>
                      <a:pt x="188" y="27"/>
                    </a:lnTo>
                    <a:lnTo>
                      <a:pt x="187" y="27"/>
                    </a:lnTo>
                    <a:lnTo>
                      <a:pt x="183" y="24"/>
                    </a:lnTo>
                    <a:lnTo>
                      <a:pt x="179" y="25"/>
                    </a:lnTo>
                    <a:lnTo>
                      <a:pt x="177" y="24"/>
                    </a:lnTo>
                    <a:lnTo>
                      <a:pt x="175" y="22"/>
                    </a:lnTo>
                    <a:lnTo>
                      <a:pt x="174" y="18"/>
                    </a:lnTo>
                    <a:lnTo>
                      <a:pt x="173" y="17"/>
                    </a:lnTo>
                    <a:lnTo>
                      <a:pt x="170" y="15"/>
                    </a:lnTo>
                    <a:lnTo>
                      <a:pt x="168" y="13"/>
                    </a:lnTo>
                    <a:lnTo>
                      <a:pt x="165" y="13"/>
                    </a:lnTo>
                    <a:lnTo>
                      <a:pt x="158" y="10"/>
                    </a:lnTo>
                    <a:lnTo>
                      <a:pt x="157" y="5"/>
                    </a:lnTo>
                    <a:lnTo>
                      <a:pt x="154" y="3"/>
                    </a:lnTo>
                    <a:lnTo>
                      <a:pt x="147" y="1"/>
                    </a:lnTo>
                    <a:lnTo>
                      <a:pt x="142" y="3"/>
                    </a:lnTo>
                    <a:lnTo>
                      <a:pt x="140" y="0"/>
                    </a:lnTo>
                    <a:lnTo>
                      <a:pt x="136" y="0"/>
                    </a:lnTo>
                    <a:lnTo>
                      <a:pt x="136" y="6"/>
                    </a:lnTo>
                    <a:lnTo>
                      <a:pt x="136" y="9"/>
                    </a:lnTo>
                    <a:lnTo>
                      <a:pt x="137" y="12"/>
                    </a:lnTo>
                    <a:lnTo>
                      <a:pt x="142" y="17"/>
                    </a:lnTo>
                    <a:lnTo>
                      <a:pt x="144" y="22"/>
                    </a:lnTo>
                    <a:lnTo>
                      <a:pt x="142" y="25"/>
                    </a:lnTo>
                    <a:lnTo>
                      <a:pt x="139" y="30"/>
                    </a:lnTo>
                    <a:lnTo>
                      <a:pt x="138" y="31"/>
                    </a:lnTo>
                    <a:lnTo>
                      <a:pt x="141" y="34"/>
                    </a:lnTo>
                    <a:lnTo>
                      <a:pt x="139" y="39"/>
                    </a:lnTo>
                    <a:lnTo>
                      <a:pt x="140" y="41"/>
                    </a:lnTo>
                    <a:lnTo>
                      <a:pt x="138" y="44"/>
                    </a:lnTo>
                    <a:lnTo>
                      <a:pt x="138" y="47"/>
                    </a:lnTo>
                    <a:lnTo>
                      <a:pt x="139" y="47"/>
                    </a:lnTo>
                    <a:lnTo>
                      <a:pt x="140" y="58"/>
                    </a:lnTo>
                    <a:lnTo>
                      <a:pt x="142" y="60"/>
                    </a:lnTo>
                    <a:lnTo>
                      <a:pt x="139" y="63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41" y="71"/>
                    </a:lnTo>
                    <a:lnTo>
                      <a:pt x="142" y="74"/>
                    </a:lnTo>
                    <a:lnTo>
                      <a:pt x="142" y="77"/>
                    </a:lnTo>
                    <a:lnTo>
                      <a:pt x="145" y="79"/>
                    </a:lnTo>
                    <a:lnTo>
                      <a:pt x="142" y="81"/>
                    </a:lnTo>
                    <a:lnTo>
                      <a:pt x="139" y="85"/>
                    </a:lnTo>
                    <a:lnTo>
                      <a:pt x="140" y="87"/>
                    </a:lnTo>
                    <a:lnTo>
                      <a:pt x="135" y="94"/>
                    </a:lnTo>
                    <a:lnTo>
                      <a:pt x="137" y="97"/>
                    </a:lnTo>
                    <a:lnTo>
                      <a:pt x="141" y="98"/>
                    </a:lnTo>
                    <a:lnTo>
                      <a:pt x="140" y="99"/>
                    </a:lnTo>
                    <a:lnTo>
                      <a:pt x="138" y="100"/>
                    </a:lnTo>
                    <a:lnTo>
                      <a:pt x="142" y="105"/>
                    </a:lnTo>
                    <a:lnTo>
                      <a:pt x="140" y="105"/>
                    </a:lnTo>
                    <a:lnTo>
                      <a:pt x="142" y="106"/>
                    </a:lnTo>
                    <a:lnTo>
                      <a:pt x="143" y="109"/>
                    </a:lnTo>
                    <a:lnTo>
                      <a:pt x="145" y="111"/>
                    </a:lnTo>
                    <a:lnTo>
                      <a:pt x="145" y="112"/>
                    </a:lnTo>
                    <a:lnTo>
                      <a:pt x="146" y="113"/>
                    </a:lnTo>
                    <a:lnTo>
                      <a:pt x="147" y="116"/>
                    </a:lnTo>
                    <a:lnTo>
                      <a:pt x="148" y="116"/>
                    </a:lnTo>
                    <a:lnTo>
                      <a:pt x="148" y="119"/>
                    </a:lnTo>
                    <a:lnTo>
                      <a:pt x="149" y="122"/>
                    </a:lnTo>
                    <a:lnTo>
                      <a:pt x="149" y="123"/>
                    </a:lnTo>
                    <a:lnTo>
                      <a:pt x="140" y="123"/>
                    </a:lnTo>
                    <a:lnTo>
                      <a:pt x="138" y="124"/>
                    </a:lnTo>
                    <a:lnTo>
                      <a:pt x="137" y="125"/>
                    </a:lnTo>
                    <a:lnTo>
                      <a:pt x="137" y="122"/>
                    </a:lnTo>
                    <a:lnTo>
                      <a:pt x="136" y="124"/>
                    </a:lnTo>
                    <a:lnTo>
                      <a:pt x="136" y="125"/>
                    </a:lnTo>
                    <a:lnTo>
                      <a:pt x="135" y="125"/>
                    </a:lnTo>
                    <a:lnTo>
                      <a:pt x="135" y="121"/>
                    </a:lnTo>
                    <a:lnTo>
                      <a:pt x="134" y="121"/>
                    </a:lnTo>
                    <a:lnTo>
                      <a:pt x="134" y="122"/>
                    </a:lnTo>
                    <a:lnTo>
                      <a:pt x="133" y="121"/>
                    </a:lnTo>
                    <a:lnTo>
                      <a:pt x="133" y="120"/>
                    </a:lnTo>
                    <a:lnTo>
                      <a:pt x="132" y="120"/>
                    </a:lnTo>
                    <a:lnTo>
                      <a:pt x="132" y="119"/>
                    </a:lnTo>
                    <a:lnTo>
                      <a:pt x="131" y="119"/>
                    </a:lnTo>
                    <a:lnTo>
                      <a:pt x="129" y="120"/>
                    </a:lnTo>
                    <a:lnTo>
                      <a:pt x="128" y="120"/>
                    </a:lnTo>
                    <a:lnTo>
                      <a:pt x="126" y="121"/>
                    </a:lnTo>
                    <a:lnTo>
                      <a:pt x="125" y="120"/>
                    </a:lnTo>
                    <a:lnTo>
                      <a:pt x="125" y="124"/>
                    </a:lnTo>
                    <a:lnTo>
                      <a:pt x="122" y="124"/>
                    </a:lnTo>
                    <a:lnTo>
                      <a:pt x="121" y="122"/>
                    </a:lnTo>
                    <a:lnTo>
                      <a:pt x="120" y="122"/>
                    </a:lnTo>
                    <a:lnTo>
                      <a:pt x="119" y="121"/>
                    </a:lnTo>
                    <a:lnTo>
                      <a:pt x="117" y="121"/>
                    </a:lnTo>
                    <a:lnTo>
                      <a:pt x="117" y="119"/>
                    </a:lnTo>
                    <a:lnTo>
                      <a:pt x="113" y="113"/>
                    </a:lnTo>
                    <a:lnTo>
                      <a:pt x="113" y="111"/>
                    </a:lnTo>
                    <a:lnTo>
                      <a:pt x="114" y="111"/>
                    </a:lnTo>
                    <a:lnTo>
                      <a:pt x="114" y="110"/>
                    </a:lnTo>
                    <a:lnTo>
                      <a:pt x="113" y="109"/>
                    </a:lnTo>
                    <a:lnTo>
                      <a:pt x="109" y="106"/>
                    </a:lnTo>
                    <a:lnTo>
                      <a:pt x="109" y="108"/>
                    </a:lnTo>
                    <a:lnTo>
                      <a:pt x="108" y="109"/>
                    </a:lnTo>
                    <a:lnTo>
                      <a:pt x="109" y="111"/>
                    </a:lnTo>
                    <a:lnTo>
                      <a:pt x="109" y="113"/>
                    </a:lnTo>
                    <a:lnTo>
                      <a:pt x="108" y="113"/>
                    </a:lnTo>
                    <a:lnTo>
                      <a:pt x="107" y="113"/>
                    </a:lnTo>
                    <a:lnTo>
                      <a:pt x="105" y="111"/>
                    </a:lnTo>
                    <a:lnTo>
                      <a:pt x="104" y="116"/>
                    </a:lnTo>
                    <a:lnTo>
                      <a:pt x="101" y="116"/>
                    </a:lnTo>
                    <a:lnTo>
                      <a:pt x="97" y="116"/>
                    </a:lnTo>
                    <a:lnTo>
                      <a:pt x="96" y="119"/>
                    </a:lnTo>
                    <a:lnTo>
                      <a:pt x="97" y="121"/>
                    </a:lnTo>
                    <a:lnTo>
                      <a:pt x="97" y="125"/>
                    </a:lnTo>
                    <a:lnTo>
                      <a:pt x="100" y="127"/>
                    </a:lnTo>
                    <a:lnTo>
                      <a:pt x="99" y="129"/>
                    </a:lnTo>
                    <a:lnTo>
                      <a:pt x="97" y="129"/>
                    </a:lnTo>
                    <a:lnTo>
                      <a:pt x="98" y="130"/>
                    </a:lnTo>
                    <a:lnTo>
                      <a:pt x="96" y="132"/>
                    </a:lnTo>
                    <a:lnTo>
                      <a:pt x="96" y="133"/>
                    </a:lnTo>
                    <a:lnTo>
                      <a:pt x="94" y="133"/>
                    </a:lnTo>
                    <a:lnTo>
                      <a:pt x="93" y="130"/>
                    </a:lnTo>
                    <a:lnTo>
                      <a:pt x="92" y="131"/>
                    </a:lnTo>
                    <a:lnTo>
                      <a:pt x="91" y="132"/>
                    </a:lnTo>
                    <a:lnTo>
                      <a:pt x="92" y="134"/>
                    </a:lnTo>
                    <a:lnTo>
                      <a:pt x="92" y="135"/>
                    </a:lnTo>
                    <a:lnTo>
                      <a:pt x="91" y="134"/>
                    </a:lnTo>
                    <a:lnTo>
                      <a:pt x="91" y="135"/>
                    </a:lnTo>
                    <a:lnTo>
                      <a:pt x="89" y="133"/>
                    </a:lnTo>
                    <a:lnTo>
                      <a:pt x="88" y="135"/>
                    </a:lnTo>
                    <a:lnTo>
                      <a:pt x="87" y="134"/>
                    </a:lnTo>
                    <a:lnTo>
                      <a:pt x="85" y="135"/>
                    </a:lnTo>
                    <a:lnTo>
                      <a:pt x="82" y="134"/>
                    </a:lnTo>
                    <a:lnTo>
                      <a:pt x="82" y="132"/>
                    </a:lnTo>
                    <a:lnTo>
                      <a:pt x="81" y="132"/>
                    </a:lnTo>
                    <a:lnTo>
                      <a:pt x="82" y="132"/>
                    </a:lnTo>
                    <a:lnTo>
                      <a:pt x="82" y="130"/>
                    </a:lnTo>
                    <a:lnTo>
                      <a:pt x="80" y="130"/>
                    </a:lnTo>
                    <a:lnTo>
                      <a:pt x="80" y="129"/>
                    </a:lnTo>
                    <a:lnTo>
                      <a:pt x="83" y="130"/>
                    </a:lnTo>
                    <a:lnTo>
                      <a:pt x="83" y="129"/>
                    </a:lnTo>
                    <a:lnTo>
                      <a:pt x="82" y="129"/>
                    </a:lnTo>
                    <a:lnTo>
                      <a:pt x="81" y="126"/>
                    </a:lnTo>
                    <a:lnTo>
                      <a:pt x="82" y="126"/>
                    </a:lnTo>
                    <a:lnTo>
                      <a:pt x="81" y="123"/>
                    </a:lnTo>
                    <a:lnTo>
                      <a:pt x="82" y="122"/>
                    </a:lnTo>
                    <a:lnTo>
                      <a:pt x="80" y="121"/>
                    </a:lnTo>
                    <a:lnTo>
                      <a:pt x="78" y="122"/>
                    </a:lnTo>
                    <a:lnTo>
                      <a:pt x="77" y="127"/>
                    </a:lnTo>
                    <a:lnTo>
                      <a:pt x="75" y="125"/>
                    </a:lnTo>
                    <a:lnTo>
                      <a:pt x="74" y="123"/>
                    </a:lnTo>
                    <a:lnTo>
                      <a:pt x="72" y="122"/>
                    </a:lnTo>
                    <a:lnTo>
                      <a:pt x="71" y="122"/>
                    </a:lnTo>
                    <a:lnTo>
                      <a:pt x="70" y="119"/>
                    </a:lnTo>
                    <a:lnTo>
                      <a:pt x="71" y="117"/>
                    </a:lnTo>
                    <a:lnTo>
                      <a:pt x="68" y="116"/>
                    </a:lnTo>
                    <a:lnTo>
                      <a:pt x="67" y="117"/>
                    </a:lnTo>
                    <a:lnTo>
                      <a:pt x="66" y="117"/>
                    </a:lnTo>
                    <a:lnTo>
                      <a:pt x="66" y="115"/>
                    </a:lnTo>
                    <a:lnTo>
                      <a:pt x="64" y="117"/>
                    </a:lnTo>
                    <a:lnTo>
                      <a:pt x="63" y="116"/>
                    </a:lnTo>
                    <a:lnTo>
                      <a:pt x="60" y="115"/>
                    </a:lnTo>
                    <a:lnTo>
                      <a:pt x="60" y="113"/>
                    </a:lnTo>
                    <a:lnTo>
                      <a:pt x="57" y="111"/>
                    </a:lnTo>
                    <a:lnTo>
                      <a:pt x="56" y="110"/>
                    </a:lnTo>
                    <a:lnTo>
                      <a:pt x="54" y="110"/>
                    </a:lnTo>
                    <a:lnTo>
                      <a:pt x="53" y="111"/>
                    </a:lnTo>
                    <a:lnTo>
                      <a:pt x="52" y="109"/>
                    </a:lnTo>
                    <a:lnTo>
                      <a:pt x="51" y="110"/>
                    </a:lnTo>
                    <a:lnTo>
                      <a:pt x="50" y="110"/>
                    </a:lnTo>
                    <a:lnTo>
                      <a:pt x="49" y="111"/>
                    </a:lnTo>
                    <a:lnTo>
                      <a:pt x="48" y="113"/>
                    </a:lnTo>
                    <a:lnTo>
                      <a:pt x="45" y="114"/>
                    </a:lnTo>
                    <a:lnTo>
                      <a:pt x="45" y="116"/>
                    </a:lnTo>
                    <a:lnTo>
                      <a:pt x="43" y="116"/>
                    </a:lnTo>
                    <a:lnTo>
                      <a:pt x="44" y="117"/>
                    </a:lnTo>
                    <a:lnTo>
                      <a:pt x="43" y="120"/>
                    </a:lnTo>
                    <a:lnTo>
                      <a:pt x="43" y="121"/>
                    </a:lnTo>
                    <a:lnTo>
                      <a:pt x="41" y="121"/>
                    </a:lnTo>
                    <a:lnTo>
                      <a:pt x="40" y="121"/>
                    </a:lnTo>
                    <a:lnTo>
                      <a:pt x="38" y="122"/>
                    </a:lnTo>
                    <a:lnTo>
                      <a:pt x="35" y="118"/>
                    </a:lnTo>
                    <a:lnTo>
                      <a:pt x="32" y="116"/>
                    </a:lnTo>
                    <a:lnTo>
                      <a:pt x="29" y="115"/>
                    </a:lnTo>
                    <a:lnTo>
                      <a:pt x="28" y="113"/>
                    </a:lnTo>
                    <a:lnTo>
                      <a:pt x="27" y="111"/>
                    </a:lnTo>
                    <a:lnTo>
                      <a:pt x="22" y="108"/>
                    </a:lnTo>
                    <a:lnTo>
                      <a:pt x="22" y="109"/>
                    </a:lnTo>
                    <a:lnTo>
                      <a:pt x="20" y="108"/>
                    </a:lnTo>
                    <a:lnTo>
                      <a:pt x="20" y="106"/>
                    </a:lnTo>
                    <a:lnTo>
                      <a:pt x="19" y="105"/>
                    </a:lnTo>
                    <a:lnTo>
                      <a:pt x="19" y="106"/>
                    </a:lnTo>
                    <a:lnTo>
                      <a:pt x="18" y="106"/>
                    </a:lnTo>
                    <a:lnTo>
                      <a:pt x="18" y="108"/>
                    </a:lnTo>
                    <a:lnTo>
                      <a:pt x="17" y="108"/>
                    </a:lnTo>
                    <a:lnTo>
                      <a:pt x="17" y="109"/>
                    </a:lnTo>
                    <a:lnTo>
                      <a:pt x="15" y="109"/>
                    </a:lnTo>
                    <a:lnTo>
                      <a:pt x="15" y="110"/>
                    </a:lnTo>
                    <a:lnTo>
                      <a:pt x="11" y="110"/>
                    </a:lnTo>
                    <a:lnTo>
                      <a:pt x="10" y="111"/>
                    </a:lnTo>
                    <a:lnTo>
                      <a:pt x="10" y="115"/>
                    </a:lnTo>
                    <a:lnTo>
                      <a:pt x="10" y="116"/>
                    </a:lnTo>
                    <a:lnTo>
                      <a:pt x="11" y="116"/>
                    </a:lnTo>
                    <a:lnTo>
                      <a:pt x="14" y="120"/>
                    </a:lnTo>
                    <a:lnTo>
                      <a:pt x="14" y="122"/>
                    </a:lnTo>
                    <a:lnTo>
                      <a:pt x="13" y="124"/>
                    </a:lnTo>
                    <a:lnTo>
                      <a:pt x="13" y="125"/>
                    </a:lnTo>
                    <a:lnTo>
                      <a:pt x="14" y="125"/>
                    </a:lnTo>
                    <a:lnTo>
                      <a:pt x="16" y="127"/>
                    </a:lnTo>
                    <a:lnTo>
                      <a:pt x="15" y="128"/>
                    </a:lnTo>
                    <a:lnTo>
                      <a:pt x="15" y="129"/>
                    </a:lnTo>
                    <a:lnTo>
                      <a:pt x="14" y="129"/>
                    </a:lnTo>
                    <a:lnTo>
                      <a:pt x="13" y="129"/>
                    </a:lnTo>
                    <a:lnTo>
                      <a:pt x="14" y="129"/>
                    </a:lnTo>
                    <a:lnTo>
                      <a:pt x="14" y="130"/>
                    </a:lnTo>
                    <a:lnTo>
                      <a:pt x="13" y="132"/>
                    </a:lnTo>
                    <a:lnTo>
                      <a:pt x="14" y="132"/>
                    </a:lnTo>
                    <a:lnTo>
                      <a:pt x="13" y="134"/>
                    </a:lnTo>
                    <a:lnTo>
                      <a:pt x="13" y="136"/>
                    </a:lnTo>
                    <a:lnTo>
                      <a:pt x="11" y="138"/>
                    </a:lnTo>
                    <a:lnTo>
                      <a:pt x="11" y="140"/>
                    </a:lnTo>
                    <a:lnTo>
                      <a:pt x="13" y="139"/>
                    </a:lnTo>
                    <a:lnTo>
                      <a:pt x="13" y="141"/>
                    </a:lnTo>
                    <a:lnTo>
                      <a:pt x="15" y="140"/>
                    </a:lnTo>
                    <a:lnTo>
                      <a:pt x="15" y="141"/>
                    </a:lnTo>
                    <a:lnTo>
                      <a:pt x="17" y="145"/>
                    </a:lnTo>
                    <a:lnTo>
                      <a:pt x="17" y="146"/>
                    </a:lnTo>
                    <a:lnTo>
                      <a:pt x="15" y="146"/>
                    </a:lnTo>
                    <a:lnTo>
                      <a:pt x="15" y="148"/>
                    </a:lnTo>
                    <a:lnTo>
                      <a:pt x="16" y="149"/>
                    </a:lnTo>
                    <a:lnTo>
                      <a:pt x="16" y="150"/>
                    </a:lnTo>
                    <a:lnTo>
                      <a:pt x="19" y="151"/>
                    </a:lnTo>
                    <a:lnTo>
                      <a:pt x="15" y="160"/>
                    </a:lnTo>
                    <a:lnTo>
                      <a:pt x="15" y="159"/>
                    </a:lnTo>
                    <a:lnTo>
                      <a:pt x="14" y="160"/>
                    </a:lnTo>
                    <a:lnTo>
                      <a:pt x="13" y="159"/>
                    </a:lnTo>
                    <a:lnTo>
                      <a:pt x="13" y="160"/>
                    </a:lnTo>
                    <a:lnTo>
                      <a:pt x="10" y="160"/>
                    </a:lnTo>
                    <a:lnTo>
                      <a:pt x="10" y="163"/>
                    </a:lnTo>
                    <a:lnTo>
                      <a:pt x="11" y="163"/>
                    </a:lnTo>
                    <a:lnTo>
                      <a:pt x="11" y="164"/>
                    </a:lnTo>
                    <a:lnTo>
                      <a:pt x="10" y="165"/>
                    </a:lnTo>
                    <a:lnTo>
                      <a:pt x="11" y="167"/>
                    </a:lnTo>
                    <a:lnTo>
                      <a:pt x="11" y="168"/>
                    </a:lnTo>
                    <a:lnTo>
                      <a:pt x="10" y="168"/>
                    </a:lnTo>
                    <a:lnTo>
                      <a:pt x="9" y="169"/>
                    </a:lnTo>
                    <a:lnTo>
                      <a:pt x="8" y="169"/>
                    </a:lnTo>
                    <a:lnTo>
                      <a:pt x="9" y="168"/>
                    </a:lnTo>
                    <a:lnTo>
                      <a:pt x="8" y="168"/>
                    </a:lnTo>
                    <a:lnTo>
                      <a:pt x="7" y="168"/>
                    </a:lnTo>
                    <a:lnTo>
                      <a:pt x="6" y="168"/>
                    </a:lnTo>
                    <a:lnTo>
                      <a:pt x="5" y="167"/>
                    </a:lnTo>
                    <a:lnTo>
                      <a:pt x="3" y="169"/>
                    </a:lnTo>
                    <a:lnTo>
                      <a:pt x="0" y="172"/>
                    </a:lnTo>
                    <a:lnTo>
                      <a:pt x="2" y="175"/>
                    </a:lnTo>
                    <a:lnTo>
                      <a:pt x="3" y="177"/>
                    </a:lnTo>
                    <a:lnTo>
                      <a:pt x="5" y="177"/>
                    </a:lnTo>
                    <a:lnTo>
                      <a:pt x="7" y="180"/>
                    </a:lnTo>
                    <a:lnTo>
                      <a:pt x="6" y="180"/>
                    </a:lnTo>
                    <a:lnTo>
                      <a:pt x="4" y="181"/>
                    </a:lnTo>
                    <a:lnTo>
                      <a:pt x="5" y="185"/>
                    </a:lnTo>
                    <a:lnTo>
                      <a:pt x="5" y="187"/>
                    </a:lnTo>
                    <a:lnTo>
                      <a:pt x="7" y="189"/>
                    </a:lnTo>
                    <a:lnTo>
                      <a:pt x="9" y="191"/>
                    </a:lnTo>
                    <a:lnTo>
                      <a:pt x="11" y="192"/>
                    </a:lnTo>
                    <a:lnTo>
                      <a:pt x="13" y="191"/>
                    </a:lnTo>
                    <a:lnTo>
                      <a:pt x="15" y="188"/>
                    </a:lnTo>
                    <a:lnTo>
                      <a:pt x="16" y="191"/>
                    </a:lnTo>
                    <a:lnTo>
                      <a:pt x="20" y="193"/>
                    </a:lnTo>
                    <a:lnTo>
                      <a:pt x="21" y="193"/>
                    </a:lnTo>
                    <a:lnTo>
                      <a:pt x="20" y="194"/>
                    </a:lnTo>
                    <a:lnTo>
                      <a:pt x="19" y="194"/>
                    </a:lnTo>
                    <a:lnTo>
                      <a:pt x="19" y="198"/>
                    </a:lnTo>
                    <a:lnTo>
                      <a:pt x="20" y="198"/>
                    </a:lnTo>
                    <a:lnTo>
                      <a:pt x="22" y="197"/>
                    </a:lnTo>
                    <a:lnTo>
                      <a:pt x="22" y="198"/>
                    </a:lnTo>
                    <a:lnTo>
                      <a:pt x="23" y="200"/>
                    </a:lnTo>
                    <a:lnTo>
                      <a:pt x="24" y="200"/>
                    </a:lnTo>
                    <a:lnTo>
                      <a:pt x="25" y="202"/>
                    </a:lnTo>
                    <a:lnTo>
                      <a:pt x="26" y="202"/>
                    </a:lnTo>
                    <a:lnTo>
                      <a:pt x="27" y="204"/>
                    </a:lnTo>
                    <a:lnTo>
                      <a:pt x="27" y="206"/>
                    </a:lnTo>
                    <a:lnTo>
                      <a:pt x="26" y="205"/>
                    </a:lnTo>
                    <a:lnTo>
                      <a:pt x="23" y="206"/>
                    </a:lnTo>
                    <a:lnTo>
                      <a:pt x="23" y="208"/>
                    </a:lnTo>
                    <a:lnTo>
                      <a:pt x="25" y="209"/>
                    </a:lnTo>
                    <a:lnTo>
                      <a:pt x="25" y="211"/>
                    </a:lnTo>
                    <a:lnTo>
                      <a:pt x="23" y="213"/>
                    </a:lnTo>
                    <a:lnTo>
                      <a:pt x="25" y="214"/>
                    </a:lnTo>
                    <a:lnTo>
                      <a:pt x="28" y="217"/>
                    </a:lnTo>
                    <a:lnTo>
                      <a:pt x="28" y="218"/>
                    </a:lnTo>
                    <a:lnTo>
                      <a:pt x="29" y="219"/>
                    </a:lnTo>
                    <a:lnTo>
                      <a:pt x="30" y="217"/>
                    </a:lnTo>
                    <a:lnTo>
                      <a:pt x="30" y="219"/>
                    </a:lnTo>
                    <a:lnTo>
                      <a:pt x="31" y="219"/>
                    </a:lnTo>
                    <a:lnTo>
                      <a:pt x="32" y="219"/>
                    </a:lnTo>
                    <a:lnTo>
                      <a:pt x="32" y="217"/>
                    </a:lnTo>
                    <a:lnTo>
                      <a:pt x="36" y="218"/>
                    </a:lnTo>
                    <a:lnTo>
                      <a:pt x="38" y="216"/>
                    </a:lnTo>
                    <a:lnTo>
                      <a:pt x="39" y="216"/>
                    </a:lnTo>
                    <a:lnTo>
                      <a:pt x="39" y="217"/>
                    </a:lnTo>
                    <a:lnTo>
                      <a:pt x="41" y="219"/>
                    </a:lnTo>
                    <a:lnTo>
                      <a:pt x="42" y="219"/>
                    </a:lnTo>
                    <a:lnTo>
                      <a:pt x="43" y="220"/>
                    </a:lnTo>
                    <a:lnTo>
                      <a:pt x="44" y="219"/>
                    </a:lnTo>
                    <a:lnTo>
                      <a:pt x="46" y="221"/>
                    </a:lnTo>
                    <a:lnTo>
                      <a:pt x="49" y="223"/>
                    </a:lnTo>
                    <a:lnTo>
                      <a:pt x="48" y="223"/>
                    </a:lnTo>
                    <a:lnTo>
                      <a:pt x="49" y="225"/>
                    </a:lnTo>
                    <a:lnTo>
                      <a:pt x="50" y="224"/>
                    </a:lnTo>
                    <a:lnTo>
                      <a:pt x="52" y="223"/>
                    </a:lnTo>
                    <a:lnTo>
                      <a:pt x="53" y="220"/>
                    </a:lnTo>
                    <a:lnTo>
                      <a:pt x="56" y="221"/>
                    </a:lnTo>
                    <a:lnTo>
                      <a:pt x="57" y="219"/>
                    </a:lnTo>
                    <a:lnTo>
                      <a:pt x="59" y="219"/>
                    </a:lnTo>
                    <a:lnTo>
                      <a:pt x="60" y="219"/>
                    </a:lnTo>
                    <a:lnTo>
                      <a:pt x="62" y="219"/>
                    </a:lnTo>
                    <a:lnTo>
                      <a:pt x="63" y="217"/>
                    </a:lnTo>
                    <a:lnTo>
                      <a:pt x="63" y="219"/>
                    </a:lnTo>
                    <a:lnTo>
                      <a:pt x="63" y="222"/>
                    </a:lnTo>
                    <a:lnTo>
                      <a:pt x="64" y="222"/>
                    </a:lnTo>
                    <a:lnTo>
                      <a:pt x="64" y="223"/>
                    </a:lnTo>
                    <a:lnTo>
                      <a:pt x="66" y="223"/>
                    </a:lnTo>
                    <a:lnTo>
                      <a:pt x="67" y="224"/>
                    </a:lnTo>
                    <a:lnTo>
                      <a:pt x="67" y="225"/>
                    </a:lnTo>
                    <a:lnTo>
                      <a:pt x="69" y="225"/>
                    </a:lnTo>
                    <a:lnTo>
                      <a:pt x="69" y="227"/>
                    </a:lnTo>
                    <a:lnTo>
                      <a:pt x="68" y="228"/>
                    </a:lnTo>
                    <a:lnTo>
                      <a:pt x="68" y="230"/>
                    </a:lnTo>
                    <a:lnTo>
                      <a:pt x="68" y="231"/>
                    </a:lnTo>
                    <a:lnTo>
                      <a:pt x="68" y="234"/>
                    </a:lnTo>
                    <a:lnTo>
                      <a:pt x="68" y="237"/>
                    </a:lnTo>
                    <a:lnTo>
                      <a:pt x="69" y="240"/>
                    </a:lnTo>
                    <a:lnTo>
                      <a:pt x="68" y="241"/>
                    </a:lnTo>
                    <a:lnTo>
                      <a:pt x="66" y="241"/>
                    </a:lnTo>
                    <a:lnTo>
                      <a:pt x="64" y="242"/>
                    </a:lnTo>
                    <a:lnTo>
                      <a:pt x="66" y="243"/>
                    </a:lnTo>
                    <a:lnTo>
                      <a:pt x="66" y="249"/>
                    </a:lnTo>
                    <a:lnTo>
                      <a:pt x="64" y="252"/>
                    </a:lnTo>
                    <a:lnTo>
                      <a:pt x="66" y="253"/>
                    </a:lnTo>
                    <a:lnTo>
                      <a:pt x="66" y="255"/>
                    </a:lnTo>
                    <a:lnTo>
                      <a:pt x="67" y="255"/>
                    </a:lnTo>
                    <a:lnTo>
                      <a:pt x="69" y="257"/>
                    </a:lnTo>
                    <a:lnTo>
                      <a:pt x="68" y="261"/>
                    </a:lnTo>
                    <a:lnTo>
                      <a:pt x="69" y="259"/>
                    </a:lnTo>
                    <a:lnTo>
                      <a:pt x="69" y="261"/>
                    </a:lnTo>
                    <a:lnTo>
                      <a:pt x="70" y="261"/>
                    </a:lnTo>
                    <a:lnTo>
                      <a:pt x="69" y="263"/>
                    </a:lnTo>
                    <a:lnTo>
                      <a:pt x="71" y="262"/>
                    </a:lnTo>
                    <a:lnTo>
                      <a:pt x="69" y="265"/>
                    </a:lnTo>
                    <a:lnTo>
                      <a:pt x="69" y="267"/>
                    </a:lnTo>
                    <a:lnTo>
                      <a:pt x="68" y="269"/>
                    </a:lnTo>
                    <a:lnTo>
                      <a:pt x="68" y="268"/>
                    </a:lnTo>
                    <a:lnTo>
                      <a:pt x="66" y="270"/>
                    </a:lnTo>
                    <a:lnTo>
                      <a:pt x="67" y="271"/>
                    </a:lnTo>
                    <a:lnTo>
                      <a:pt x="68" y="272"/>
                    </a:lnTo>
                    <a:lnTo>
                      <a:pt x="67" y="272"/>
                    </a:lnTo>
                    <a:lnTo>
                      <a:pt x="66" y="274"/>
                    </a:lnTo>
                    <a:lnTo>
                      <a:pt x="66" y="273"/>
                    </a:lnTo>
                    <a:lnTo>
                      <a:pt x="66" y="275"/>
                    </a:lnTo>
                    <a:lnTo>
                      <a:pt x="64" y="275"/>
                    </a:lnTo>
                    <a:lnTo>
                      <a:pt x="63" y="277"/>
                    </a:lnTo>
                    <a:lnTo>
                      <a:pt x="61" y="276"/>
                    </a:lnTo>
                    <a:lnTo>
                      <a:pt x="60" y="279"/>
                    </a:lnTo>
                    <a:lnTo>
                      <a:pt x="60" y="278"/>
                    </a:lnTo>
                    <a:lnTo>
                      <a:pt x="59" y="278"/>
                    </a:lnTo>
                    <a:lnTo>
                      <a:pt x="59" y="280"/>
                    </a:lnTo>
                    <a:lnTo>
                      <a:pt x="58" y="280"/>
                    </a:lnTo>
                    <a:lnTo>
                      <a:pt x="57" y="279"/>
                    </a:lnTo>
                    <a:lnTo>
                      <a:pt x="56" y="282"/>
                    </a:lnTo>
                    <a:lnTo>
                      <a:pt x="58" y="282"/>
                    </a:lnTo>
                    <a:lnTo>
                      <a:pt x="61" y="284"/>
                    </a:lnTo>
                    <a:lnTo>
                      <a:pt x="61" y="285"/>
                    </a:lnTo>
                    <a:lnTo>
                      <a:pt x="57" y="288"/>
                    </a:lnTo>
                    <a:lnTo>
                      <a:pt x="54" y="289"/>
                    </a:lnTo>
                    <a:lnTo>
                      <a:pt x="58" y="291"/>
                    </a:lnTo>
                    <a:lnTo>
                      <a:pt x="62" y="290"/>
                    </a:lnTo>
                    <a:lnTo>
                      <a:pt x="64" y="293"/>
                    </a:lnTo>
                    <a:lnTo>
                      <a:pt x="65" y="295"/>
                    </a:lnTo>
                    <a:lnTo>
                      <a:pt x="68" y="296"/>
                    </a:lnTo>
                    <a:lnTo>
                      <a:pt x="68" y="295"/>
                    </a:lnTo>
                    <a:lnTo>
                      <a:pt x="68" y="293"/>
                    </a:lnTo>
                    <a:lnTo>
                      <a:pt x="69" y="295"/>
                    </a:lnTo>
                    <a:lnTo>
                      <a:pt x="71" y="295"/>
                    </a:lnTo>
                    <a:lnTo>
                      <a:pt x="70" y="296"/>
                    </a:lnTo>
                    <a:lnTo>
                      <a:pt x="74" y="300"/>
                    </a:lnTo>
                    <a:lnTo>
                      <a:pt x="76" y="301"/>
                    </a:lnTo>
                    <a:lnTo>
                      <a:pt x="77" y="301"/>
                    </a:lnTo>
                    <a:lnTo>
                      <a:pt x="79" y="303"/>
                    </a:lnTo>
                    <a:lnTo>
                      <a:pt x="76" y="306"/>
                    </a:lnTo>
                    <a:lnTo>
                      <a:pt x="76" y="309"/>
                    </a:lnTo>
                    <a:lnTo>
                      <a:pt x="79" y="316"/>
                    </a:lnTo>
                    <a:lnTo>
                      <a:pt x="84" y="315"/>
                    </a:lnTo>
                    <a:lnTo>
                      <a:pt x="85" y="313"/>
                    </a:lnTo>
                    <a:lnTo>
                      <a:pt x="86" y="313"/>
                    </a:lnTo>
                    <a:lnTo>
                      <a:pt x="88" y="312"/>
                    </a:lnTo>
                    <a:lnTo>
                      <a:pt x="88" y="311"/>
                    </a:lnTo>
                    <a:lnTo>
                      <a:pt x="90" y="312"/>
                    </a:lnTo>
                    <a:lnTo>
                      <a:pt x="91" y="311"/>
                    </a:lnTo>
                    <a:lnTo>
                      <a:pt x="89" y="311"/>
                    </a:lnTo>
                    <a:lnTo>
                      <a:pt x="89" y="309"/>
                    </a:lnTo>
                    <a:lnTo>
                      <a:pt x="93" y="310"/>
                    </a:lnTo>
                    <a:lnTo>
                      <a:pt x="94" y="310"/>
                    </a:lnTo>
                    <a:lnTo>
                      <a:pt x="96" y="309"/>
                    </a:lnTo>
                    <a:lnTo>
                      <a:pt x="97" y="308"/>
                    </a:lnTo>
                    <a:lnTo>
                      <a:pt x="98" y="309"/>
                    </a:lnTo>
                    <a:lnTo>
                      <a:pt x="99" y="309"/>
                    </a:lnTo>
                    <a:lnTo>
                      <a:pt x="98" y="306"/>
                    </a:lnTo>
                    <a:lnTo>
                      <a:pt x="98" y="305"/>
                    </a:lnTo>
                    <a:lnTo>
                      <a:pt x="99" y="301"/>
                    </a:lnTo>
                    <a:lnTo>
                      <a:pt x="100" y="301"/>
                    </a:lnTo>
                    <a:lnTo>
                      <a:pt x="104" y="299"/>
                    </a:lnTo>
                    <a:lnTo>
                      <a:pt x="105" y="299"/>
                    </a:lnTo>
                    <a:lnTo>
                      <a:pt x="106" y="300"/>
                    </a:lnTo>
                    <a:lnTo>
                      <a:pt x="107" y="299"/>
                    </a:lnTo>
                    <a:lnTo>
                      <a:pt x="107" y="301"/>
                    </a:lnTo>
                    <a:lnTo>
                      <a:pt x="108" y="302"/>
                    </a:lnTo>
                    <a:lnTo>
                      <a:pt x="110" y="301"/>
                    </a:lnTo>
                    <a:lnTo>
                      <a:pt x="110" y="299"/>
                    </a:lnTo>
                    <a:lnTo>
                      <a:pt x="111" y="299"/>
                    </a:lnTo>
                    <a:lnTo>
                      <a:pt x="113" y="299"/>
                    </a:lnTo>
                    <a:lnTo>
                      <a:pt x="112" y="297"/>
                    </a:lnTo>
                    <a:lnTo>
                      <a:pt x="112" y="295"/>
                    </a:lnTo>
                    <a:lnTo>
                      <a:pt x="113" y="295"/>
                    </a:lnTo>
                    <a:lnTo>
                      <a:pt x="116" y="297"/>
                    </a:lnTo>
                    <a:lnTo>
                      <a:pt x="115" y="302"/>
                    </a:lnTo>
                    <a:lnTo>
                      <a:pt x="117" y="302"/>
                    </a:lnTo>
                    <a:lnTo>
                      <a:pt x="117" y="304"/>
                    </a:lnTo>
                    <a:lnTo>
                      <a:pt x="118" y="304"/>
                    </a:lnTo>
                    <a:lnTo>
                      <a:pt x="118" y="303"/>
                    </a:lnTo>
                    <a:lnTo>
                      <a:pt x="120" y="304"/>
                    </a:lnTo>
                    <a:lnTo>
                      <a:pt x="120" y="305"/>
                    </a:lnTo>
                    <a:lnTo>
                      <a:pt x="121" y="304"/>
                    </a:lnTo>
                    <a:lnTo>
                      <a:pt x="120" y="304"/>
                    </a:lnTo>
                    <a:lnTo>
                      <a:pt x="120" y="301"/>
                    </a:lnTo>
                    <a:lnTo>
                      <a:pt x="120" y="303"/>
                    </a:lnTo>
                    <a:lnTo>
                      <a:pt x="121" y="302"/>
                    </a:lnTo>
                    <a:lnTo>
                      <a:pt x="121" y="303"/>
                    </a:lnTo>
                    <a:lnTo>
                      <a:pt x="123" y="303"/>
                    </a:lnTo>
                    <a:lnTo>
                      <a:pt x="123" y="304"/>
                    </a:lnTo>
                    <a:lnTo>
                      <a:pt x="125" y="303"/>
                    </a:lnTo>
                    <a:lnTo>
                      <a:pt x="127" y="304"/>
                    </a:lnTo>
                    <a:lnTo>
                      <a:pt x="128" y="303"/>
                    </a:lnTo>
                    <a:lnTo>
                      <a:pt x="128" y="304"/>
                    </a:lnTo>
                    <a:lnTo>
                      <a:pt x="128" y="305"/>
                    </a:lnTo>
                    <a:lnTo>
                      <a:pt x="129" y="305"/>
                    </a:lnTo>
                    <a:lnTo>
                      <a:pt x="131" y="306"/>
                    </a:lnTo>
                    <a:lnTo>
                      <a:pt x="131" y="305"/>
                    </a:lnTo>
                    <a:lnTo>
                      <a:pt x="133" y="306"/>
                    </a:lnTo>
                    <a:lnTo>
                      <a:pt x="133" y="303"/>
                    </a:lnTo>
                    <a:lnTo>
                      <a:pt x="134" y="304"/>
                    </a:lnTo>
                    <a:lnTo>
                      <a:pt x="134" y="305"/>
                    </a:lnTo>
                    <a:lnTo>
                      <a:pt x="138" y="307"/>
                    </a:lnTo>
                    <a:lnTo>
                      <a:pt x="138" y="308"/>
                    </a:lnTo>
                    <a:lnTo>
                      <a:pt x="140" y="309"/>
                    </a:lnTo>
                    <a:lnTo>
                      <a:pt x="140" y="310"/>
                    </a:lnTo>
                    <a:lnTo>
                      <a:pt x="141" y="311"/>
                    </a:lnTo>
                    <a:lnTo>
                      <a:pt x="142" y="310"/>
                    </a:lnTo>
                    <a:lnTo>
                      <a:pt x="144" y="311"/>
                    </a:lnTo>
                    <a:lnTo>
                      <a:pt x="145" y="310"/>
                    </a:lnTo>
                    <a:lnTo>
                      <a:pt x="145" y="309"/>
                    </a:lnTo>
                    <a:lnTo>
                      <a:pt x="147" y="306"/>
                    </a:lnTo>
                    <a:lnTo>
                      <a:pt x="148" y="306"/>
                    </a:lnTo>
                    <a:lnTo>
                      <a:pt x="149" y="305"/>
                    </a:lnTo>
                    <a:lnTo>
                      <a:pt x="150" y="306"/>
                    </a:lnTo>
                    <a:lnTo>
                      <a:pt x="151" y="306"/>
                    </a:lnTo>
                    <a:lnTo>
                      <a:pt x="153" y="306"/>
                    </a:lnTo>
                    <a:lnTo>
                      <a:pt x="154" y="309"/>
                    </a:lnTo>
                    <a:lnTo>
                      <a:pt x="156" y="305"/>
                    </a:lnTo>
                    <a:lnTo>
                      <a:pt x="157" y="306"/>
                    </a:lnTo>
                    <a:lnTo>
                      <a:pt x="158" y="306"/>
                    </a:lnTo>
                    <a:lnTo>
                      <a:pt x="159" y="305"/>
                    </a:lnTo>
                    <a:lnTo>
                      <a:pt x="160" y="300"/>
                    </a:lnTo>
                    <a:lnTo>
                      <a:pt x="159" y="299"/>
                    </a:lnTo>
                    <a:lnTo>
                      <a:pt x="159" y="296"/>
                    </a:lnTo>
                    <a:lnTo>
                      <a:pt x="161" y="296"/>
                    </a:lnTo>
                    <a:lnTo>
                      <a:pt x="161" y="295"/>
                    </a:lnTo>
                    <a:lnTo>
                      <a:pt x="163" y="295"/>
                    </a:lnTo>
                    <a:lnTo>
                      <a:pt x="164" y="293"/>
                    </a:lnTo>
                    <a:lnTo>
                      <a:pt x="167" y="295"/>
                    </a:lnTo>
                    <a:lnTo>
                      <a:pt x="168" y="292"/>
                    </a:lnTo>
                    <a:lnTo>
                      <a:pt x="170" y="291"/>
                    </a:lnTo>
                    <a:lnTo>
                      <a:pt x="172" y="293"/>
                    </a:lnTo>
                    <a:lnTo>
                      <a:pt x="173" y="295"/>
                    </a:lnTo>
                    <a:lnTo>
                      <a:pt x="177" y="295"/>
                    </a:lnTo>
                    <a:lnTo>
                      <a:pt x="177" y="296"/>
                    </a:lnTo>
                    <a:lnTo>
                      <a:pt x="176" y="298"/>
                    </a:lnTo>
                    <a:lnTo>
                      <a:pt x="178" y="299"/>
                    </a:lnTo>
                    <a:lnTo>
                      <a:pt x="176" y="303"/>
                    </a:lnTo>
                    <a:lnTo>
                      <a:pt x="175" y="306"/>
                    </a:lnTo>
                    <a:lnTo>
                      <a:pt x="176" y="309"/>
                    </a:lnTo>
                    <a:lnTo>
                      <a:pt x="178" y="310"/>
                    </a:lnTo>
                    <a:lnTo>
                      <a:pt x="178" y="311"/>
                    </a:lnTo>
                    <a:lnTo>
                      <a:pt x="179" y="311"/>
                    </a:lnTo>
                    <a:lnTo>
                      <a:pt x="183" y="312"/>
                    </a:lnTo>
                    <a:lnTo>
                      <a:pt x="183" y="314"/>
                    </a:lnTo>
                    <a:lnTo>
                      <a:pt x="185" y="313"/>
                    </a:lnTo>
                    <a:lnTo>
                      <a:pt x="185" y="312"/>
                    </a:lnTo>
                    <a:lnTo>
                      <a:pt x="188" y="310"/>
                    </a:lnTo>
                    <a:lnTo>
                      <a:pt x="189" y="306"/>
                    </a:lnTo>
                    <a:lnTo>
                      <a:pt x="194" y="307"/>
                    </a:lnTo>
                    <a:lnTo>
                      <a:pt x="198" y="308"/>
                    </a:lnTo>
                    <a:lnTo>
                      <a:pt x="199" y="301"/>
                    </a:lnTo>
                    <a:lnTo>
                      <a:pt x="207" y="301"/>
                    </a:lnTo>
                    <a:lnTo>
                      <a:pt x="208" y="301"/>
                    </a:lnTo>
                    <a:lnTo>
                      <a:pt x="208" y="298"/>
                    </a:lnTo>
                    <a:lnTo>
                      <a:pt x="210" y="299"/>
                    </a:lnTo>
                    <a:lnTo>
                      <a:pt x="214" y="304"/>
                    </a:lnTo>
                    <a:lnTo>
                      <a:pt x="216" y="302"/>
                    </a:lnTo>
                    <a:lnTo>
                      <a:pt x="216" y="304"/>
                    </a:lnTo>
                    <a:lnTo>
                      <a:pt x="218" y="304"/>
                    </a:lnTo>
                    <a:lnTo>
                      <a:pt x="219" y="306"/>
                    </a:lnTo>
                    <a:lnTo>
                      <a:pt x="227" y="306"/>
                    </a:lnTo>
                    <a:lnTo>
                      <a:pt x="226" y="312"/>
                    </a:lnTo>
                    <a:lnTo>
                      <a:pt x="231" y="314"/>
                    </a:lnTo>
                    <a:lnTo>
                      <a:pt x="231" y="318"/>
                    </a:lnTo>
                    <a:lnTo>
                      <a:pt x="230" y="328"/>
                    </a:lnTo>
                    <a:lnTo>
                      <a:pt x="242" y="330"/>
                    </a:lnTo>
                    <a:lnTo>
                      <a:pt x="244" y="331"/>
                    </a:lnTo>
                    <a:lnTo>
                      <a:pt x="246" y="339"/>
                    </a:lnTo>
                    <a:lnTo>
                      <a:pt x="246" y="342"/>
                    </a:lnTo>
                    <a:lnTo>
                      <a:pt x="246" y="343"/>
                    </a:lnTo>
                    <a:lnTo>
                      <a:pt x="247" y="343"/>
                    </a:lnTo>
                    <a:lnTo>
                      <a:pt x="250" y="344"/>
                    </a:lnTo>
                    <a:lnTo>
                      <a:pt x="251" y="345"/>
                    </a:lnTo>
                    <a:lnTo>
                      <a:pt x="252" y="345"/>
                    </a:lnTo>
                    <a:lnTo>
                      <a:pt x="253" y="346"/>
                    </a:lnTo>
                    <a:lnTo>
                      <a:pt x="255" y="345"/>
                    </a:lnTo>
                    <a:lnTo>
                      <a:pt x="259" y="348"/>
                    </a:lnTo>
                    <a:lnTo>
                      <a:pt x="259" y="353"/>
                    </a:lnTo>
                    <a:lnTo>
                      <a:pt x="262" y="356"/>
                    </a:lnTo>
                    <a:lnTo>
                      <a:pt x="263" y="356"/>
                    </a:lnTo>
                    <a:lnTo>
                      <a:pt x="263" y="355"/>
                    </a:lnTo>
                    <a:lnTo>
                      <a:pt x="265" y="354"/>
                    </a:lnTo>
                    <a:lnTo>
                      <a:pt x="267" y="358"/>
                    </a:lnTo>
                    <a:lnTo>
                      <a:pt x="268" y="358"/>
                    </a:lnTo>
                    <a:lnTo>
                      <a:pt x="269" y="359"/>
                    </a:lnTo>
                    <a:lnTo>
                      <a:pt x="270" y="358"/>
                    </a:lnTo>
                    <a:lnTo>
                      <a:pt x="270" y="359"/>
                    </a:lnTo>
                    <a:lnTo>
                      <a:pt x="271" y="359"/>
                    </a:lnTo>
                    <a:lnTo>
                      <a:pt x="273" y="363"/>
                    </a:lnTo>
                    <a:lnTo>
                      <a:pt x="275" y="365"/>
                    </a:lnTo>
                    <a:lnTo>
                      <a:pt x="275" y="366"/>
                    </a:lnTo>
                    <a:lnTo>
                      <a:pt x="275" y="367"/>
                    </a:lnTo>
                    <a:lnTo>
                      <a:pt x="276" y="369"/>
                    </a:lnTo>
                    <a:lnTo>
                      <a:pt x="277" y="369"/>
                    </a:lnTo>
                    <a:lnTo>
                      <a:pt x="279" y="369"/>
                    </a:lnTo>
                    <a:lnTo>
                      <a:pt x="280" y="367"/>
                    </a:lnTo>
                    <a:lnTo>
                      <a:pt x="283" y="368"/>
                    </a:lnTo>
                    <a:lnTo>
                      <a:pt x="284" y="367"/>
                    </a:lnTo>
                    <a:lnTo>
                      <a:pt x="285" y="369"/>
                    </a:lnTo>
                    <a:lnTo>
                      <a:pt x="289" y="367"/>
                    </a:lnTo>
                    <a:lnTo>
                      <a:pt x="289" y="366"/>
                    </a:lnTo>
                    <a:lnTo>
                      <a:pt x="290" y="365"/>
                    </a:lnTo>
                    <a:lnTo>
                      <a:pt x="289" y="363"/>
                    </a:lnTo>
                    <a:lnTo>
                      <a:pt x="290" y="363"/>
                    </a:lnTo>
                    <a:lnTo>
                      <a:pt x="290" y="364"/>
                    </a:lnTo>
                    <a:lnTo>
                      <a:pt x="292" y="364"/>
                    </a:lnTo>
                    <a:lnTo>
                      <a:pt x="292" y="365"/>
                    </a:lnTo>
                    <a:lnTo>
                      <a:pt x="290" y="367"/>
                    </a:lnTo>
                    <a:lnTo>
                      <a:pt x="290" y="369"/>
                    </a:lnTo>
                    <a:lnTo>
                      <a:pt x="295" y="369"/>
                    </a:lnTo>
                    <a:lnTo>
                      <a:pt x="296" y="369"/>
                    </a:lnTo>
                    <a:lnTo>
                      <a:pt x="297" y="369"/>
                    </a:lnTo>
                    <a:lnTo>
                      <a:pt x="298" y="368"/>
                    </a:lnTo>
                    <a:lnTo>
                      <a:pt x="300" y="369"/>
                    </a:lnTo>
                    <a:lnTo>
                      <a:pt x="300" y="367"/>
                    </a:lnTo>
                    <a:lnTo>
                      <a:pt x="302" y="368"/>
                    </a:lnTo>
                    <a:lnTo>
                      <a:pt x="303" y="367"/>
                    </a:lnTo>
                    <a:lnTo>
                      <a:pt x="304" y="369"/>
                    </a:lnTo>
                    <a:lnTo>
                      <a:pt x="306" y="370"/>
                    </a:lnTo>
                    <a:lnTo>
                      <a:pt x="313" y="374"/>
                    </a:lnTo>
                    <a:lnTo>
                      <a:pt x="313" y="369"/>
                    </a:lnTo>
                    <a:lnTo>
                      <a:pt x="312" y="369"/>
                    </a:lnTo>
                    <a:lnTo>
                      <a:pt x="311" y="366"/>
                    </a:lnTo>
                    <a:lnTo>
                      <a:pt x="309" y="365"/>
                    </a:lnTo>
                    <a:lnTo>
                      <a:pt x="309" y="363"/>
                    </a:lnTo>
                    <a:lnTo>
                      <a:pt x="310" y="363"/>
                    </a:lnTo>
                    <a:lnTo>
                      <a:pt x="311" y="362"/>
                    </a:lnTo>
                    <a:lnTo>
                      <a:pt x="310" y="360"/>
                    </a:lnTo>
                    <a:lnTo>
                      <a:pt x="312" y="360"/>
                    </a:lnTo>
                    <a:lnTo>
                      <a:pt x="314" y="361"/>
                    </a:lnTo>
                    <a:lnTo>
                      <a:pt x="316" y="360"/>
                    </a:lnTo>
                    <a:lnTo>
                      <a:pt x="318" y="360"/>
                    </a:lnTo>
                    <a:lnTo>
                      <a:pt x="319" y="358"/>
                    </a:lnTo>
                    <a:lnTo>
                      <a:pt x="321" y="357"/>
                    </a:lnTo>
                    <a:lnTo>
                      <a:pt x="319" y="355"/>
                    </a:lnTo>
                    <a:lnTo>
                      <a:pt x="318" y="353"/>
                    </a:lnTo>
                    <a:lnTo>
                      <a:pt x="317" y="354"/>
                    </a:lnTo>
                    <a:lnTo>
                      <a:pt x="317" y="351"/>
                    </a:lnTo>
                    <a:lnTo>
                      <a:pt x="319" y="348"/>
                    </a:lnTo>
                    <a:lnTo>
                      <a:pt x="321" y="348"/>
                    </a:lnTo>
                    <a:lnTo>
                      <a:pt x="321" y="346"/>
                    </a:lnTo>
                    <a:lnTo>
                      <a:pt x="323" y="346"/>
                    </a:lnTo>
                    <a:lnTo>
                      <a:pt x="327" y="346"/>
                    </a:lnTo>
                    <a:lnTo>
                      <a:pt x="333" y="340"/>
                    </a:lnTo>
                    <a:lnTo>
                      <a:pt x="335" y="340"/>
                    </a:lnTo>
                    <a:lnTo>
                      <a:pt x="336" y="340"/>
                    </a:lnTo>
                    <a:lnTo>
                      <a:pt x="337" y="341"/>
                    </a:lnTo>
                    <a:lnTo>
                      <a:pt x="337" y="340"/>
                    </a:lnTo>
                    <a:lnTo>
                      <a:pt x="338" y="340"/>
                    </a:lnTo>
                    <a:lnTo>
                      <a:pt x="338" y="339"/>
                    </a:lnTo>
                    <a:lnTo>
                      <a:pt x="339" y="339"/>
                    </a:lnTo>
                    <a:lnTo>
                      <a:pt x="340" y="338"/>
                    </a:lnTo>
                    <a:lnTo>
                      <a:pt x="342" y="340"/>
                    </a:lnTo>
                    <a:lnTo>
                      <a:pt x="343" y="339"/>
                    </a:lnTo>
                    <a:lnTo>
                      <a:pt x="343" y="337"/>
                    </a:lnTo>
                    <a:lnTo>
                      <a:pt x="342" y="337"/>
                    </a:lnTo>
                    <a:lnTo>
                      <a:pt x="345" y="336"/>
                    </a:lnTo>
                    <a:lnTo>
                      <a:pt x="345" y="335"/>
                    </a:lnTo>
                    <a:lnTo>
                      <a:pt x="345" y="336"/>
                    </a:lnTo>
                    <a:lnTo>
                      <a:pt x="349" y="336"/>
                    </a:lnTo>
                    <a:lnTo>
                      <a:pt x="349" y="337"/>
                    </a:lnTo>
                    <a:lnTo>
                      <a:pt x="350" y="335"/>
                    </a:lnTo>
                    <a:lnTo>
                      <a:pt x="351" y="335"/>
                    </a:lnTo>
                    <a:lnTo>
                      <a:pt x="352" y="333"/>
                    </a:lnTo>
                    <a:lnTo>
                      <a:pt x="355" y="333"/>
                    </a:lnTo>
                    <a:lnTo>
                      <a:pt x="357" y="331"/>
                    </a:lnTo>
                    <a:lnTo>
                      <a:pt x="358" y="322"/>
                    </a:lnTo>
                    <a:lnTo>
                      <a:pt x="360" y="320"/>
                    </a:lnTo>
                    <a:lnTo>
                      <a:pt x="363" y="320"/>
                    </a:lnTo>
                    <a:lnTo>
                      <a:pt x="365" y="322"/>
                    </a:lnTo>
                    <a:lnTo>
                      <a:pt x="366" y="322"/>
                    </a:lnTo>
                    <a:lnTo>
                      <a:pt x="369" y="323"/>
                    </a:lnTo>
                    <a:lnTo>
                      <a:pt x="369" y="328"/>
                    </a:lnTo>
                    <a:lnTo>
                      <a:pt x="371" y="327"/>
                    </a:lnTo>
                    <a:lnTo>
                      <a:pt x="372" y="329"/>
                    </a:lnTo>
                    <a:lnTo>
                      <a:pt x="373" y="330"/>
                    </a:lnTo>
                    <a:lnTo>
                      <a:pt x="374" y="329"/>
                    </a:lnTo>
                    <a:lnTo>
                      <a:pt x="381" y="335"/>
                    </a:lnTo>
                    <a:lnTo>
                      <a:pt x="382" y="335"/>
                    </a:lnTo>
                    <a:lnTo>
                      <a:pt x="383" y="335"/>
                    </a:lnTo>
                    <a:lnTo>
                      <a:pt x="385" y="334"/>
                    </a:lnTo>
                    <a:lnTo>
                      <a:pt x="386" y="333"/>
                    </a:lnTo>
                    <a:lnTo>
                      <a:pt x="385" y="331"/>
                    </a:lnTo>
                    <a:lnTo>
                      <a:pt x="386" y="329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64" name="Group 59">
              <a:extLst>
                <a:ext uri="{FF2B5EF4-FFF2-40B4-BE49-F238E27FC236}">
                  <a16:creationId xmlns:a16="http://schemas.microsoft.com/office/drawing/2014/main" id="{66AD9235-526C-4FFE-90C9-A2CB4992E5B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5" y="3083"/>
              <a:ext cx="396" cy="548"/>
              <a:chOff x="505" y="3083"/>
              <a:chExt cx="396" cy="548"/>
            </a:xfrm>
          </p:grpSpPr>
          <p:sp>
            <p:nvSpPr>
              <p:cNvPr id="531" name="Freeform 57">
                <a:extLst>
                  <a:ext uri="{FF2B5EF4-FFF2-40B4-BE49-F238E27FC236}">
                    <a16:creationId xmlns:a16="http://schemas.microsoft.com/office/drawing/2014/main" id="{B037A544-0916-4563-94D2-61D57932B4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" y="3083"/>
                <a:ext cx="396" cy="548"/>
              </a:xfrm>
              <a:custGeom>
                <a:avLst/>
                <a:gdLst>
                  <a:gd name="T0" fmla="*/ 386 w 396"/>
                  <a:gd name="T1" fmla="*/ 99 h 548"/>
                  <a:gd name="T2" fmla="*/ 373 w 396"/>
                  <a:gd name="T3" fmla="*/ 83 h 548"/>
                  <a:gd name="T4" fmla="*/ 353 w 396"/>
                  <a:gd name="T5" fmla="*/ 62 h 548"/>
                  <a:gd name="T6" fmla="*/ 327 w 396"/>
                  <a:gd name="T7" fmla="*/ 55 h 548"/>
                  <a:gd name="T8" fmla="*/ 323 w 396"/>
                  <a:gd name="T9" fmla="*/ 43 h 548"/>
                  <a:gd name="T10" fmla="*/ 298 w 396"/>
                  <a:gd name="T11" fmla="*/ 37 h 548"/>
                  <a:gd name="T12" fmla="*/ 292 w 396"/>
                  <a:gd name="T13" fmla="*/ 25 h 548"/>
                  <a:gd name="T14" fmla="*/ 288 w 396"/>
                  <a:gd name="T15" fmla="*/ 13 h 548"/>
                  <a:gd name="T16" fmla="*/ 276 w 396"/>
                  <a:gd name="T17" fmla="*/ 2 h 548"/>
                  <a:gd name="T18" fmla="*/ 261 w 396"/>
                  <a:gd name="T19" fmla="*/ 0 h 548"/>
                  <a:gd name="T20" fmla="*/ 256 w 396"/>
                  <a:gd name="T21" fmla="*/ 17 h 548"/>
                  <a:gd name="T22" fmla="*/ 243 w 396"/>
                  <a:gd name="T23" fmla="*/ 22 h 548"/>
                  <a:gd name="T24" fmla="*/ 230 w 396"/>
                  <a:gd name="T25" fmla="*/ 38 h 548"/>
                  <a:gd name="T26" fmla="*/ 222 w 396"/>
                  <a:gd name="T27" fmla="*/ 29 h 548"/>
                  <a:gd name="T28" fmla="*/ 206 w 396"/>
                  <a:gd name="T29" fmla="*/ 23 h 548"/>
                  <a:gd name="T30" fmla="*/ 193 w 396"/>
                  <a:gd name="T31" fmla="*/ 30 h 548"/>
                  <a:gd name="T32" fmla="*/ 175 w 396"/>
                  <a:gd name="T33" fmla="*/ 43 h 548"/>
                  <a:gd name="T34" fmla="*/ 164 w 396"/>
                  <a:gd name="T35" fmla="*/ 57 h 548"/>
                  <a:gd name="T36" fmla="*/ 147 w 396"/>
                  <a:gd name="T37" fmla="*/ 61 h 548"/>
                  <a:gd name="T38" fmla="*/ 124 w 396"/>
                  <a:gd name="T39" fmla="*/ 54 h 548"/>
                  <a:gd name="T40" fmla="*/ 104 w 396"/>
                  <a:gd name="T41" fmla="*/ 51 h 548"/>
                  <a:gd name="T42" fmla="*/ 82 w 396"/>
                  <a:gd name="T43" fmla="*/ 67 h 548"/>
                  <a:gd name="T44" fmla="*/ 61 w 396"/>
                  <a:gd name="T45" fmla="*/ 60 h 548"/>
                  <a:gd name="T46" fmla="*/ 30 w 396"/>
                  <a:gd name="T47" fmla="*/ 83 h 548"/>
                  <a:gd name="T48" fmla="*/ 21 w 396"/>
                  <a:gd name="T49" fmla="*/ 106 h 548"/>
                  <a:gd name="T50" fmla="*/ 18 w 396"/>
                  <a:gd name="T51" fmla="*/ 153 h 548"/>
                  <a:gd name="T52" fmla="*/ 26 w 396"/>
                  <a:gd name="T53" fmla="*/ 178 h 548"/>
                  <a:gd name="T54" fmla="*/ 36 w 396"/>
                  <a:gd name="T55" fmla="*/ 205 h 548"/>
                  <a:gd name="T56" fmla="*/ 49 w 396"/>
                  <a:gd name="T57" fmla="*/ 232 h 548"/>
                  <a:gd name="T58" fmla="*/ 53 w 396"/>
                  <a:gd name="T59" fmla="*/ 284 h 548"/>
                  <a:gd name="T60" fmla="*/ 90 w 396"/>
                  <a:gd name="T61" fmla="*/ 331 h 548"/>
                  <a:gd name="T62" fmla="*/ 118 w 396"/>
                  <a:gd name="T63" fmla="*/ 336 h 548"/>
                  <a:gd name="T64" fmla="*/ 144 w 396"/>
                  <a:gd name="T65" fmla="*/ 377 h 548"/>
                  <a:gd name="T66" fmla="*/ 160 w 396"/>
                  <a:gd name="T67" fmla="*/ 412 h 548"/>
                  <a:gd name="T68" fmla="*/ 204 w 396"/>
                  <a:gd name="T69" fmla="*/ 463 h 548"/>
                  <a:gd name="T70" fmla="*/ 224 w 396"/>
                  <a:gd name="T71" fmla="*/ 492 h 548"/>
                  <a:gd name="T72" fmla="*/ 236 w 396"/>
                  <a:gd name="T73" fmla="*/ 537 h 548"/>
                  <a:gd name="T74" fmla="*/ 259 w 396"/>
                  <a:gd name="T75" fmla="*/ 532 h 548"/>
                  <a:gd name="T76" fmla="*/ 275 w 396"/>
                  <a:gd name="T77" fmla="*/ 504 h 548"/>
                  <a:gd name="T78" fmla="*/ 282 w 396"/>
                  <a:gd name="T79" fmla="*/ 466 h 548"/>
                  <a:gd name="T80" fmla="*/ 292 w 396"/>
                  <a:gd name="T81" fmla="*/ 462 h 548"/>
                  <a:gd name="T82" fmla="*/ 311 w 396"/>
                  <a:gd name="T83" fmla="*/ 456 h 548"/>
                  <a:gd name="T84" fmla="*/ 320 w 396"/>
                  <a:gd name="T85" fmla="*/ 437 h 548"/>
                  <a:gd name="T86" fmla="*/ 316 w 396"/>
                  <a:gd name="T87" fmla="*/ 421 h 548"/>
                  <a:gd name="T88" fmla="*/ 327 w 396"/>
                  <a:gd name="T89" fmla="*/ 411 h 548"/>
                  <a:gd name="T90" fmla="*/ 331 w 396"/>
                  <a:gd name="T91" fmla="*/ 396 h 548"/>
                  <a:gd name="T92" fmla="*/ 343 w 396"/>
                  <a:gd name="T93" fmla="*/ 381 h 548"/>
                  <a:gd name="T94" fmla="*/ 350 w 396"/>
                  <a:gd name="T95" fmla="*/ 364 h 548"/>
                  <a:gd name="T96" fmla="*/ 345 w 396"/>
                  <a:gd name="T97" fmla="*/ 347 h 548"/>
                  <a:gd name="T98" fmla="*/ 351 w 396"/>
                  <a:gd name="T99" fmla="*/ 331 h 548"/>
                  <a:gd name="T100" fmla="*/ 349 w 396"/>
                  <a:gd name="T101" fmla="*/ 321 h 548"/>
                  <a:gd name="T102" fmla="*/ 351 w 396"/>
                  <a:gd name="T103" fmla="*/ 309 h 548"/>
                  <a:gd name="T104" fmla="*/ 348 w 396"/>
                  <a:gd name="T105" fmla="*/ 298 h 548"/>
                  <a:gd name="T106" fmla="*/ 348 w 396"/>
                  <a:gd name="T107" fmla="*/ 277 h 548"/>
                  <a:gd name="T108" fmla="*/ 349 w 396"/>
                  <a:gd name="T109" fmla="*/ 238 h 548"/>
                  <a:gd name="T110" fmla="*/ 342 w 396"/>
                  <a:gd name="T111" fmla="*/ 232 h 548"/>
                  <a:gd name="T112" fmla="*/ 344 w 396"/>
                  <a:gd name="T113" fmla="*/ 218 h 548"/>
                  <a:gd name="T114" fmla="*/ 344 w 396"/>
                  <a:gd name="T115" fmla="*/ 212 h 548"/>
                  <a:gd name="T116" fmla="*/ 347 w 396"/>
                  <a:gd name="T117" fmla="*/ 195 h 548"/>
                  <a:gd name="T118" fmla="*/ 367 w 396"/>
                  <a:gd name="T119" fmla="*/ 195 h 548"/>
                  <a:gd name="T120" fmla="*/ 379 w 396"/>
                  <a:gd name="T121" fmla="*/ 180 h 548"/>
                  <a:gd name="T122" fmla="*/ 381 w 396"/>
                  <a:gd name="T123" fmla="*/ 161 h 548"/>
                  <a:gd name="T124" fmla="*/ 386 w 396"/>
                  <a:gd name="T125" fmla="*/ 131 h 54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6"/>
                  <a:gd name="T190" fmla="*/ 0 h 548"/>
                  <a:gd name="T191" fmla="*/ 396 w 396"/>
                  <a:gd name="T192" fmla="*/ 548 h 54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6" h="548">
                    <a:moveTo>
                      <a:pt x="392" y="121"/>
                    </a:moveTo>
                    <a:lnTo>
                      <a:pt x="392" y="118"/>
                    </a:lnTo>
                    <a:lnTo>
                      <a:pt x="392" y="116"/>
                    </a:lnTo>
                    <a:lnTo>
                      <a:pt x="392" y="114"/>
                    </a:lnTo>
                    <a:lnTo>
                      <a:pt x="391" y="113"/>
                    </a:lnTo>
                    <a:lnTo>
                      <a:pt x="392" y="111"/>
                    </a:lnTo>
                    <a:lnTo>
                      <a:pt x="392" y="110"/>
                    </a:lnTo>
                    <a:lnTo>
                      <a:pt x="392" y="107"/>
                    </a:lnTo>
                    <a:lnTo>
                      <a:pt x="393" y="105"/>
                    </a:lnTo>
                    <a:lnTo>
                      <a:pt x="396" y="104"/>
                    </a:lnTo>
                    <a:lnTo>
                      <a:pt x="392" y="104"/>
                    </a:lnTo>
                    <a:lnTo>
                      <a:pt x="390" y="103"/>
                    </a:lnTo>
                    <a:lnTo>
                      <a:pt x="386" y="99"/>
                    </a:lnTo>
                    <a:lnTo>
                      <a:pt x="384" y="96"/>
                    </a:lnTo>
                    <a:lnTo>
                      <a:pt x="379" y="95"/>
                    </a:lnTo>
                    <a:lnTo>
                      <a:pt x="378" y="94"/>
                    </a:lnTo>
                    <a:lnTo>
                      <a:pt x="375" y="95"/>
                    </a:lnTo>
                    <a:lnTo>
                      <a:pt x="373" y="94"/>
                    </a:lnTo>
                    <a:lnTo>
                      <a:pt x="373" y="93"/>
                    </a:lnTo>
                    <a:lnTo>
                      <a:pt x="375" y="94"/>
                    </a:lnTo>
                    <a:lnTo>
                      <a:pt x="376" y="89"/>
                    </a:lnTo>
                    <a:lnTo>
                      <a:pt x="376" y="87"/>
                    </a:lnTo>
                    <a:lnTo>
                      <a:pt x="376" y="86"/>
                    </a:lnTo>
                    <a:lnTo>
                      <a:pt x="376" y="83"/>
                    </a:lnTo>
                    <a:lnTo>
                      <a:pt x="373" y="83"/>
                    </a:lnTo>
                    <a:lnTo>
                      <a:pt x="371" y="82"/>
                    </a:lnTo>
                    <a:lnTo>
                      <a:pt x="369" y="81"/>
                    </a:lnTo>
                    <a:lnTo>
                      <a:pt x="365" y="81"/>
                    </a:lnTo>
                    <a:lnTo>
                      <a:pt x="363" y="82"/>
                    </a:lnTo>
                    <a:lnTo>
                      <a:pt x="363" y="79"/>
                    </a:lnTo>
                    <a:lnTo>
                      <a:pt x="362" y="75"/>
                    </a:lnTo>
                    <a:lnTo>
                      <a:pt x="360" y="74"/>
                    </a:lnTo>
                    <a:lnTo>
                      <a:pt x="359" y="75"/>
                    </a:lnTo>
                    <a:lnTo>
                      <a:pt x="359" y="74"/>
                    </a:lnTo>
                    <a:lnTo>
                      <a:pt x="357" y="71"/>
                    </a:lnTo>
                    <a:lnTo>
                      <a:pt x="356" y="71"/>
                    </a:lnTo>
                    <a:lnTo>
                      <a:pt x="356" y="65"/>
                    </a:lnTo>
                    <a:lnTo>
                      <a:pt x="354" y="64"/>
                    </a:lnTo>
                    <a:lnTo>
                      <a:pt x="353" y="62"/>
                    </a:lnTo>
                    <a:lnTo>
                      <a:pt x="351" y="62"/>
                    </a:lnTo>
                    <a:lnTo>
                      <a:pt x="350" y="61"/>
                    </a:lnTo>
                    <a:lnTo>
                      <a:pt x="349" y="63"/>
                    </a:lnTo>
                    <a:lnTo>
                      <a:pt x="348" y="63"/>
                    </a:lnTo>
                    <a:lnTo>
                      <a:pt x="346" y="62"/>
                    </a:lnTo>
                    <a:lnTo>
                      <a:pt x="346" y="63"/>
                    </a:lnTo>
                    <a:lnTo>
                      <a:pt x="346" y="64"/>
                    </a:lnTo>
                    <a:lnTo>
                      <a:pt x="339" y="64"/>
                    </a:lnTo>
                    <a:lnTo>
                      <a:pt x="337" y="63"/>
                    </a:lnTo>
                    <a:lnTo>
                      <a:pt x="329" y="61"/>
                    </a:lnTo>
                    <a:lnTo>
                      <a:pt x="329" y="60"/>
                    </a:lnTo>
                    <a:lnTo>
                      <a:pt x="328" y="59"/>
                    </a:lnTo>
                    <a:lnTo>
                      <a:pt x="328" y="58"/>
                    </a:lnTo>
                    <a:lnTo>
                      <a:pt x="326" y="56"/>
                    </a:lnTo>
                    <a:lnTo>
                      <a:pt x="327" y="55"/>
                    </a:lnTo>
                    <a:lnTo>
                      <a:pt x="326" y="54"/>
                    </a:lnTo>
                    <a:lnTo>
                      <a:pt x="324" y="53"/>
                    </a:lnTo>
                    <a:lnTo>
                      <a:pt x="323" y="51"/>
                    </a:lnTo>
                    <a:lnTo>
                      <a:pt x="322" y="51"/>
                    </a:lnTo>
                    <a:lnTo>
                      <a:pt x="321" y="50"/>
                    </a:lnTo>
                    <a:lnTo>
                      <a:pt x="318" y="50"/>
                    </a:lnTo>
                    <a:lnTo>
                      <a:pt x="317" y="47"/>
                    </a:lnTo>
                    <a:lnTo>
                      <a:pt x="315" y="47"/>
                    </a:lnTo>
                    <a:lnTo>
                      <a:pt x="313" y="46"/>
                    </a:lnTo>
                    <a:lnTo>
                      <a:pt x="314" y="42"/>
                    </a:lnTo>
                    <a:lnTo>
                      <a:pt x="315" y="43"/>
                    </a:lnTo>
                    <a:lnTo>
                      <a:pt x="316" y="42"/>
                    </a:lnTo>
                    <a:lnTo>
                      <a:pt x="320" y="42"/>
                    </a:lnTo>
                    <a:lnTo>
                      <a:pt x="323" y="44"/>
                    </a:lnTo>
                    <a:lnTo>
                      <a:pt x="323" y="43"/>
                    </a:lnTo>
                    <a:lnTo>
                      <a:pt x="321" y="42"/>
                    </a:lnTo>
                    <a:lnTo>
                      <a:pt x="320" y="42"/>
                    </a:lnTo>
                    <a:lnTo>
                      <a:pt x="319" y="37"/>
                    </a:lnTo>
                    <a:lnTo>
                      <a:pt x="318" y="37"/>
                    </a:lnTo>
                    <a:lnTo>
                      <a:pt x="313" y="37"/>
                    </a:lnTo>
                    <a:lnTo>
                      <a:pt x="311" y="40"/>
                    </a:lnTo>
                    <a:lnTo>
                      <a:pt x="309" y="40"/>
                    </a:lnTo>
                    <a:lnTo>
                      <a:pt x="308" y="38"/>
                    </a:lnTo>
                    <a:lnTo>
                      <a:pt x="308" y="37"/>
                    </a:lnTo>
                    <a:lnTo>
                      <a:pt x="308" y="36"/>
                    </a:lnTo>
                    <a:lnTo>
                      <a:pt x="307" y="36"/>
                    </a:lnTo>
                    <a:lnTo>
                      <a:pt x="306" y="34"/>
                    </a:lnTo>
                    <a:lnTo>
                      <a:pt x="305" y="36"/>
                    </a:lnTo>
                    <a:lnTo>
                      <a:pt x="299" y="34"/>
                    </a:lnTo>
                    <a:lnTo>
                      <a:pt x="298" y="37"/>
                    </a:lnTo>
                    <a:lnTo>
                      <a:pt x="296" y="37"/>
                    </a:lnTo>
                    <a:lnTo>
                      <a:pt x="295" y="40"/>
                    </a:lnTo>
                    <a:lnTo>
                      <a:pt x="294" y="40"/>
                    </a:lnTo>
                    <a:lnTo>
                      <a:pt x="293" y="39"/>
                    </a:lnTo>
                    <a:lnTo>
                      <a:pt x="293" y="36"/>
                    </a:lnTo>
                    <a:lnTo>
                      <a:pt x="288" y="36"/>
                    </a:lnTo>
                    <a:lnTo>
                      <a:pt x="286" y="36"/>
                    </a:lnTo>
                    <a:lnTo>
                      <a:pt x="286" y="34"/>
                    </a:lnTo>
                    <a:lnTo>
                      <a:pt x="288" y="32"/>
                    </a:lnTo>
                    <a:lnTo>
                      <a:pt x="288" y="30"/>
                    </a:lnTo>
                    <a:lnTo>
                      <a:pt x="290" y="29"/>
                    </a:lnTo>
                    <a:lnTo>
                      <a:pt x="291" y="29"/>
                    </a:lnTo>
                    <a:lnTo>
                      <a:pt x="290" y="27"/>
                    </a:lnTo>
                    <a:lnTo>
                      <a:pt x="292" y="25"/>
                    </a:lnTo>
                    <a:lnTo>
                      <a:pt x="292" y="23"/>
                    </a:lnTo>
                    <a:lnTo>
                      <a:pt x="294" y="24"/>
                    </a:lnTo>
                    <a:lnTo>
                      <a:pt x="296" y="24"/>
                    </a:lnTo>
                    <a:lnTo>
                      <a:pt x="297" y="20"/>
                    </a:lnTo>
                    <a:lnTo>
                      <a:pt x="296" y="17"/>
                    </a:lnTo>
                    <a:lnTo>
                      <a:pt x="294" y="16"/>
                    </a:lnTo>
                    <a:lnTo>
                      <a:pt x="294" y="13"/>
                    </a:lnTo>
                    <a:lnTo>
                      <a:pt x="292" y="15"/>
                    </a:lnTo>
                    <a:lnTo>
                      <a:pt x="291" y="13"/>
                    </a:lnTo>
                    <a:lnTo>
                      <a:pt x="292" y="10"/>
                    </a:lnTo>
                    <a:lnTo>
                      <a:pt x="291" y="9"/>
                    </a:lnTo>
                    <a:lnTo>
                      <a:pt x="291" y="12"/>
                    </a:lnTo>
                    <a:lnTo>
                      <a:pt x="288" y="13"/>
                    </a:lnTo>
                    <a:lnTo>
                      <a:pt x="287" y="13"/>
                    </a:lnTo>
                    <a:lnTo>
                      <a:pt x="286" y="13"/>
                    </a:lnTo>
                    <a:lnTo>
                      <a:pt x="283" y="14"/>
                    </a:lnTo>
                    <a:lnTo>
                      <a:pt x="282" y="13"/>
                    </a:lnTo>
                    <a:lnTo>
                      <a:pt x="282" y="7"/>
                    </a:lnTo>
                    <a:lnTo>
                      <a:pt x="281" y="7"/>
                    </a:lnTo>
                    <a:lnTo>
                      <a:pt x="280" y="7"/>
                    </a:lnTo>
                    <a:lnTo>
                      <a:pt x="279" y="7"/>
                    </a:lnTo>
                    <a:lnTo>
                      <a:pt x="280" y="4"/>
                    </a:lnTo>
                    <a:lnTo>
                      <a:pt x="278" y="3"/>
                    </a:lnTo>
                    <a:lnTo>
                      <a:pt x="278" y="2"/>
                    </a:lnTo>
                    <a:lnTo>
                      <a:pt x="280" y="2"/>
                    </a:lnTo>
                    <a:lnTo>
                      <a:pt x="279" y="1"/>
                    </a:lnTo>
                    <a:lnTo>
                      <a:pt x="277" y="2"/>
                    </a:lnTo>
                    <a:lnTo>
                      <a:pt x="276" y="2"/>
                    </a:lnTo>
                    <a:lnTo>
                      <a:pt x="275" y="3"/>
                    </a:lnTo>
                    <a:lnTo>
                      <a:pt x="275" y="6"/>
                    </a:lnTo>
                    <a:lnTo>
                      <a:pt x="273" y="6"/>
                    </a:lnTo>
                    <a:lnTo>
                      <a:pt x="272" y="7"/>
                    </a:lnTo>
                    <a:lnTo>
                      <a:pt x="270" y="7"/>
                    </a:lnTo>
                    <a:lnTo>
                      <a:pt x="271" y="3"/>
                    </a:lnTo>
                    <a:lnTo>
                      <a:pt x="271" y="0"/>
                    </a:lnTo>
                    <a:lnTo>
                      <a:pt x="270" y="0"/>
                    </a:lnTo>
                    <a:lnTo>
                      <a:pt x="270" y="1"/>
                    </a:lnTo>
                    <a:lnTo>
                      <a:pt x="265" y="0"/>
                    </a:lnTo>
                    <a:lnTo>
                      <a:pt x="264" y="0"/>
                    </a:lnTo>
                    <a:lnTo>
                      <a:pt x="264" y="1"/>
                    </a:lnTo>
                    <a:lnTo>
                      <a:pt x="263" y="2"/>
                    </a:lnTo>
                    <a:lnTo>
                      <a:pt x="262" y="1"/>
                    </a:lnTo>
                    <a:lnTo>
                      <a:pt x="261" y="0"/>
                    </a:lnTo>
                    <a:lnTo>
                      <a:pt x="259" y="0"/>
                    </a:lnTo>
                    <a:lnTo>
                      <a:pt x="261" y="1"/>
                    </a:lnTo>
                    <a:lnTo>
                      <a:pt x="261" y="2"/>
                    </a:lnTo>
                    <a:lnTo>
                      <a:pt x="257" y="9"/>
                    </a:lnTo>
                    <a:lnTo>
                      <a:pt x="258" y="11"/>
                    </a:lnTo>
                    <a:lnTo>
                      <a:pt x="261" y="10"/>
                    </a:lnTo>
                    <a:lnTo>
                      <a:pt x="261" y="12"/>
                    </a:lnTo>
                    <a:lnTo>
                      <a:pt x="262" y="12"/>
                    </a:lnTo>
                    <a:lnTo>
                      <a:pt x="262" y="14"/>
                    </a:lnTo>
                    <a:lnTo>
                      <a:pt x="261" y="15"/>
                    </a:lnTo>
                    <a:lnTo>
                      <a:pt x="260" y="18"/>
                    </a:lnTo>
                    <a:lnTo>
                      <a:pt x="257" y="19"/>
                    </a:lnTo>
                    <a:lnTo>
                      <a:pt x="256" y="17"/>
                    </a:lnTo>
                    <a:lnTo>
                      <a:pt x="255" y="17"/>
                    </a:lnTo>
                    <a:lnTo>
                      <a:pt x="256" y="20"/>
                    </a:lnTo>
                    <a:lnTo>
                      <a:pt x="256" y="21"/>
                    </a:lnTo>
                    <a:lnTo>
                      <a:pt x="254" y="20"/>
                    </a:lnTo>
                    <a:lnTo>
                      <a:pt x="252" y="21"/>
                    </a:lnTo>
                    <a:lnTo>
                      <a:pt x="249" y="20"/>
                    </a:lnTo>
                    <a:lnTo>
                      <a:pt x="249" y="23"/>
                    </a:lnTo>
                    <a:lnTo>
                      <a:pt x="247" y="23"/>
                    </a:lnTo>
                    <a:lnTo>
                      <a:pt x="247" y="20"/>
                    </a:lnTo>
                    <a:lnTo>
                      <a:pt x="246" y="23"/>
                    </a:lnTo>
                    <a:lnTo>
                      <a:pt x="245" y="22"/>
                    </a:lnTo>
                    <a:lnTo>
                      <a:pt x="244" y="20"/>
                    </a:lnTo>
                    <a:lnTo>
                      <a:pt x="242" y="20"/>
                    </a:lnTo>
                    <a:lnTo>
                      <a:pt x="243" y="22"/>
                    </a:lnTo>
                    <a:lnTo>
                      <a:pt x="242" y="23"/>
                    </a:lnTo>
                    <a:lnTo>
                      <a:pt x="241" y="24"/>
                    </a:lnTo>
                    <a:lnTo>
                      <a:pt x="242" y="24"/>
                    </a:lnTo>
                    <a:lnTo>
                      <a:pt x="244" y="26"/>
                    </a:lnTo>
                    <a:lnTo>
                      <a:pt x="242" y="26"/>
                    </a:lnTo>
                    <a:lnTo>
                      <a:pt x="244" y="32"/>
                    </a:lnTo>
                    <a:lnTo>
                      <a:pt x="244" y="33"/>
                    </a:lnTo>
                    <a:lnTo>
                      <a:pt x="242" y="33"/>
                    </a:lnTo>
                    <a:lnTo>
                      <a:pt x="239" y="37"/>
                    </a:lnTo>
                    <a:lnTo>
                      <a:pt x="239" y="41"/>
                    </a:lnTo>
                    <a:lnTo>
                      <a:pt x="241" y="44"/>
                    </a:lnTo>
                    <a:lnTo>
                      <a:pt x="239" y="45"/>
                    </a:lnTo>
                    <a:lnTo>
                      <a:pt x="237" y="46"/>
                    </a:lnTo>
                    <a:lnTo>
                      <a:pt x="233" y="43"/>
                    </a:lnTo>
                    <a:lnTo>
                      <a:pt x="230" y="38"/>
                    </a:lnTo>
                    <a:lnTo>
                      <a:pt x="228" y="36"/>
                    </a:lnTo>
                    <a:lnTo>
                      <a:pt x="228" y="35"/>
                    </a:lnTo>
                    <a:lnTo>
                      <a:pt x="228" y="33"/>
                    </a:lnTo>
                    <a:lnTo>
                      <a:pt x="227" y="37"/>
                    </a:lnTo>
                    <a:lnTo>
                      <a:pt x="226" y="36"/>
                    </a:lnTo>
                    <a:lnTo>
                      <a:pt x="226" y="34"/>
                    </a:lnTo>
                    <a:lnTo>
                      <a:pt x="226" y="33"/>
                    </a:lnTo>
                    <a:lnTo>
                      <a:pt x="225" y="33"/>
                    </a:lnTo>
                    <a:lnTo>
                      <a:pt x="225" y="32"/>
                    </a:lnTo>
                    <a:lnTo>
                      <a:pt x="224" y="32"/>
                    </a:lnTo>
                    <a:lnTo>
                      <a:pt x="223" y="30"/>
                    </a:lnTo>
                    <a:lnTo>
                      <a:pt x="223" y="31"/>
                    </a:lnTo>
                    <a:lnTo>
                      <a:pt x="222" y="31"/>
                    </a:lnTo>
                    <a:lnTo>
                      <a:pt x="222" y="29"/>
                    </a:lnTo>
                    <a:lnTo>
                      <a:pt x="221" y="29"/>
                    </a:lnTo>
                    <a:lnTo>
                      <a:pt x="218" y="28"/>
                    </a:lnTo>
                    <a:lnTo>
                      <a:pt x="219" y="28"/>
                    </a:lnTo>
                    <a:lnTo>
                      <a:pt x="219" y="26"/>
                    </a:lnTo>
                    <a:lnTo>
                      <a:pt x="216" y="28"/>
                    </a:lnTo>
                    <a:lnTo>
                      <a:pt x="214" y="27"/>
                    </a:lnTo>
                    <a:lnTo>
                      <a:pt x="214" y="28"/>
                    </a:lnTo>
                    <a:lnTo>
                      <a:pt x="213" y="26"/>
                    </a:lnTo>
                    <a:lnTo>
                      <a:pt x="211" y="28"/>
                    </a:lnTo>
                    <a:lnTo>
                      <a:pt x="209" y="25"/>
                    </a:lnTo>
                    <a:lnTo>
                      <a:pt x="208" y="26"/>
                    </a:lnTo>
                    <a:lnTo>
                      <a:pt x="207" y="25"/>
                    </a:lnTo>
                    <a:lnTo>
                      <a:pt x="207" y="23"/>
                    </a:lnTo>
                    <a:lnTo>
                      <a:pt x="206" y="23"/>
                    </a:lnTo>
                    <a:lnTo>
                      <a:pt x="206" y="20"/>
                    </a:lnTo>
                    <a:lnTo>
                      <a:pt x="204" y="23"/>
                    </a:lnTo>
                    <a:lnTo>
                      <a:pt x="203" y="23"/>
                    </a:lnTo>
                    <a:lnTo>
                      <a:pt x="201" y="24"/>
                    </a:lnTo>
                    <a:lnTo>
                      <a:pt x="201" y="23"/>
                    </a:lnTo>
                    <a:lnTo>
                      <a:pt x="201" y="24"/>
                    </a:lnTo>
                    <a:lnTo>
                      <a:pt x="201" y="28"/>
                    </a:lnTo>
                    <a:lnTo>
                      <a:pt x="199" y="28"/>
                    </a:lnTo>
                    <a:lnTo>
                      <a:pt x="197" y="26"/>
                    </a:lnTo>
                    <a:lnTo>
                      <a:pt x="196" y="29"/>
                    </a:lnTo>
                    <a:lnTo>
                      <a:pt x="198" y="29"/>
                    </a:lnTo>
                    <a:lnTo>
                      <a:pt x="198" y="30"/>
                    </a:lnTo>
                    <a:lnTo>
                      <a:pt x="196" y="32"/>
                    </a:lnTo>
                    <a:lnTo>
                      <a:pt x="193" y="30"/>
                    </a:lnTo>
                    <a:lnTo>
                      <a:pt x="192" y="31"/>
                    </a:lnTo>
                    <a:lnTo>
                      <a:pt x="191" y="33"/>
                    </a:lnTo>
                    <a:lnTo>
                      <a:pt x="190" y="34"/>
                    </a:lnTo>
                    <a:lnTo>
                      <a:pt x="187" y="33"/>
                    </a:lnTo>
                    <a:lnTo>
                      <a:pt x="187" y="35"/>
                    </a:lnTo>
                    <a:lnTo>
                      <a:pt x="186" y="36"/>
                    </a:lnTo>
                    <a:lnTo>
                      <a:pt x="184" y="36"/>
                    </a:lnTo>
                    <a:lnTo>
                      <a:pt x="182" y="37"/>
                    </a:lnTo>
                    <a:lnTo>
                      <a:pt x="182" y="38"/>
                    </a:lnTo>
                    <a:lnTo>
                      <a:pt x="181" y="40"/>
                    </a:lnTo>
                    <a:lnTo>
                      <a:pt x="180" y="37"/>
                    </a:lnTo>
                    <a:lnTo>
                      <a:pt x="176" y="37"/>
                    </a:lnTo>
                    <a:lnTo>
                      <a:pt x="176" y="43"/>
                    </a:lnTo>
                    <a:lnTo>
                      <a:pt x="175" y="43"/>
                    </a:lnTo>
                    <a:lnTo>
                      <a:pt x="176" y="42"/>
                    </a:lnTo>
                    <a:lnTo>
                      <a:pt x="174" y="41"/>
                    </a:lnTo>
                    <a:lnTo>
                      <a:pt x="172" y="43"/>
                    </a:lnTo>
                    <a:lnTo>
                      <a:pt x="169" y="42"/>
                    </a:lnTo>
                    <a:lnTo>
                      <a:pt x="166" y="42"/>
                    </a:lnTo>
                    <a:lnTo>
                      <a:pt x="164" y="43"/>
                    </a:lnTo>
                    <a:lnTo>
                      <a:pt x="163" y="46"/>
                    </a:lnTo>
                    <a:lnTo>
                      <a:pt x="166" y="51"/>
                    </a:lnTo>
                    <a:lnTo>
                      <a:pt x="166" y="53"/>
                    </a:lnTo>
                    <a:lnTo>
                      <a:pt x="164" y="52"/>
                    </a:lnTo>
                    <a:lnTo>
                      <a:pt x="163" y="53"/>
                    </a:lnTo>
                    <a:lnTo>
                      <a:pt x="164" y="53"/>
                    </a:lnTo>
                    <a:lnTo>
                      <a:pt x="163" y="54"/>
                    </a:lnTo>
                    <a:lnTo>
                      <a:pt x="164" y="55"/>
                    </a:lnTo>
                    <a:lnTo>
                      <a:pt x="164" y="57"/>
                    </a:lnTo>
                    <a:lnTo>
                      <a:pt x="163" y="59"/>
                    </a:lnTo>
                    <a:lnTo>
                      <a:pt x="162" y="60"/>
                    </a:lnTo>
                    <a:lnTo>
                      <a:pt x="161" y="59"/>
                    </a:lnTo>
                    <a:lnTo>
                      <a:pt x="160" y="60"/>
                    </a:lnTo>
                    <a:lnTo>
                      <a:pt x="158" y="61"/>
                    </a:lnTo>
                    <a:lnTo>
                      <a:pt x="156" y="63"/>
                    </a:lnTo>
                    <a:lnTo>
                      <a:pt x="155" y="63"/>
                    </a:lnTo>
                    <a:lnTo>
                      <a:pt x="155" y="64"/>
                    </a:lnTo>
                    <a:lnTo>
                      <a:pt x="153" y="63"/>
                    </a:lnTo>
                    <a:lnTo>
                      <a:pt x="153" y="66"/>
                    </a:lnTo>
                    <a:lnTo>
                      <a:pt x="152" y="66"/>
                    </a:lnTo>
                    <a:lnTo>
                      <a:pt x="148" y="63"/>
                    </a:lnTo>
                    <a:lnTo>
                      <a:pt x="147" y="61"/>
                    </a:lnTo>
                    <a:lnTo>
                      <a:pt x="147" y="60"/>
                    </a:lnTo>
                    <a:lnTo>
                      <a:pt x="145" y="59"/>
                    </a:lnTo>
                    <a:lnTo>
                      <a:pt x="143" y="58"/>
                    </a:lnTo>
                    <a:lnTo>
                      <a:pt x="139" y="62"/>
                    </a:lnTo>
                    <a:lnTo>
                      <a:pt x="136" y="60"/>
                    </a:lnTo>
                    <a:lnTo>
                      <a:pt x="133" y="60"/>
                    </a:lnTo>
                    <a:lnTo>
                      <a:pt x="132" y="61"/>
                    </a:lnTo>
                    <a:lnTo>
                      <a:pt x="132" y="58"/>
                    </a:lnTo>
                    <a:lnTo>
                      <a:pt x="130" y="55"/>
                    </a:lnTo>
                    <a:lnTo>
                      <a:pt x="127" y="57"/>
                    </a:lnTo>
                    <a:lnTo>
                      <a:pt x="125" y="55"/>
                    </a:lnTo>
                    <a:lnTo>
                      <a:pt x="125" y="57"/>
                    </a:lnTo>
                    <a:lnTo>
                      <a:pt x="124" y="57"/>
                    </a:lnTo>
                    <a:lnTo>
                      <a:pt x="123" y="55"/>
                    </a:lnTo>
                    <a:lnTo>
                      <a:pt x="124" y="54"/>
                    </a:lnTo>
                    <a:lnTo>
                      <a:pt x="123" y="54"/>
                    </a:lnTo>
                    <a:lnTo>
                      <a:pt x="123" y="53"/>
                    </a:lnTo>
                    <a:lnTo>
                      <a:pt x="122" y="52"/>
                    </a:lnTo>
                    <a:lnTo>
                      <a:pt x="120" y="52"/>
                    </a:lnTo>
                    <a:lnTo>
                      <a:pt x="119" y="50"/>
                    </a:lnTo>
                    <a:lnTo>
                      <a:pt x="117" y="50"/>
                    </a:lnTo>
                    <a:lnTo>
                      <a:pt x="116" y="52"/>
                    </a:lnTo>
                    <a:lnTo>
                      <a:pt x="114" y="53"/>
                    </a:lnTo>
                    <a:lnTo>
                      <a:pt x="112" y="54"/>
                    </a:lnTo>
                    <a:lnTo>
                      <a:pt x="111" y="53"/>
                    </a:lnTo>
                    <a:lnTo>
                      <a:pt x="110" y="51"/>
                    </a:lnTo>
                    <a:lnTo>
                      <a:pt x="109" y="52"/>
                    </a:lnTo>
                    <a:lnTo>
                      <a:pt x="109" y="53"/>
                    </a:lnTo>
                    <a:lnTo>
                      <a:pt x="106" y="53"/>
                    </a:lnTo>
                    <a:lnTo>
                      <a:pt x="104" y="51"/>
                    </a:lnTo>
                    <a:lnTo>
                      <a:pt x="104" y="53"/>
                    </a:lnTo>
                    <a:lnTo>
                      <a:pt x="100" y="56"/>
                    </a:lnTo>
                    <a:lnTo>
                      <a:pt x="98" y="56"/>
                    </a:lnTo>
                    <a:lnTo>
                      <a:pt x="96" y="54"/>
                    </a:lnTo>
                    <a:lnTo>
                      <a:pt x="93" y="53"/>
                    </a:lnTo>
                    <a:lnTo>
                      <a:pt x="92" y="53"/>
                    </a:lnTo>
                    <a:lnTo>
                      <a:pt x="94" y="56"/>
                    </a:lnTo>
                    <a:lnTo>
                      <a:pt x="94" y="60"/>
                    </a:lnTo>
                    <a:lnTo>
                      <a:pt x="89" y="59"/>
                    </a:lnTo>
                    <a:lnTo>
                      <a:pt x="84" y="60"/>
                    </a:lnTo>
                    <a:lnTo>
                      <a:pt x="85" y="62"/>
                    </a:lnTo>
                    <a:lnTo>
                      <a:pt x="85" y="66"/>
                    </a:lnTo>
                    <a:lnTo>
                      <a:pt x="85" y="68"/>
                    </a:lnTo>
                    <a:lnTo>
                      <a:pt x="82" y="67"/>
                    </a:lnTo>
                    <a:lnTo>
                      <a:pt x="82" y="66"/>
                    </a:lnTo>
                    <a:lnTo>
                      <a:pt x="82" y="65"/>
                    </a:lnTo>
                    <a:lnTo>
                      <a:pt x="82" y="59"/>
                    </a:lnTo>
                    <a:lnTo>
                      <a:pt x="80" y="57"/>
                    </a:lnTo>
                    <a:lnTo>
                      <a:pt x="76" y="54"/>
                    </a:lnTo>
                    <a:lnTo>
                      <a:pt x="71" y="54"/>
                    </a:lnTo>
                    <a:lnTo>
                      <a:pt x="71" y="56"/>
                    </a:lnTo>
                    <a:lnTo>
                      <a:pt x="70" y="55"/>
                    </a:lnTo>
                    <a:lnTo>
                      <a:pt x="70" y="57"/>
                    </a:lnTo>
                    <a:lnTo>
                      <a:pt x="68" y="57"/>
                    </a:lnTo>
                    <a:lnTo>
                      <a:pt x="66" y="57"/>
                    </a:lnTo>
                    <a:lnTo>
                      <a:pt x="66" y="62"/>
                    </a:lnTo>
                    <a:lnTo>
                      <a:pt x="63" y="60"/>
                    </a:lnTo>
                    <a:lnTo>
                      <a:pt x="62" y="63"/>
                    </a:lnTo>
                    <a:lnTo>
                      <a:pt x="61" y="60"/>
                    </a:lnTo>
                    <a:lnTo>
                      <a:pt x="58" y="57"/>
                    </a:lnTo>
                    <a:lnTo>
                      <a:pt x="54" y="57"/>
                    </a:lnTo>
                    <a:lnTo>
                      <a:pt x="50" y="55"/>
                    </a:lnTo>
                    <a:lnTo>
                      <a:pt x="49" y="59"/>
                    </a:lnTo>
                    <a:lnTo>
                      <a:pt x="47" y="61"/>
                    </a:lnTo>
                    <a:lnTo>
                      <a:pt x="46" y="61"/>
                    </a:lnTo>
                    <a:lnTo>
                      <a:pt x="41" y="64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8" y="72"/>
                    </a:lnTo>
                    <a:lnTo>
                      <a:pt x="37" y="75"/>
                    </a:lnTo>
                    <a:lnTo>
                      <a:pt x="33" y="75"/>
                    </a:lnTo>
                    <a:lnTo>
                      <a:pt x="32" y="84"/>
                    </a:lnTo>
                    <a:lnTo>
                      <a:pt x="31" y="83"/>
                    </a:lnTo>
                    <a:lnTo>
                      <a:pt x="30" y="83"/>
                    </a:lnTo>
                    <a:lnTo>
                      <a:pt x="29" y="81"/>
                    </a:lnTo>
                    <a:lnTo>
                      <a:pt x="28" y="81"/>
                    </a:lnTo>
                    <a:lnTo>
                      <a:pt x="26" y="83"/>
                    </a:lnTo>
                    <a:lnTo>
                      <a:pt x="24" y="85"/>
                    </a:lnTo>
                    <a:lnTo>
                      <a:pt x="25" y="89"/>
                    </a:lnTo>
                    <a:lnTo>
                      <a:pt x="24" y="91"/>
                    </a:lnTo>
                    <a:lnTo>
                      <a:pt x="23" y="94"/>
                    </a:lnTo>
                    <a:lnTo>
                      <a:pt x="21" y="94"/>
                    </a:lnTo>
                    <a:lnTo>
                      <a:pt x="21" y="95"/>
                    </a:lnTo>
                    <a:lnTo>
                      <a:pt x="22" y="100"/>
                    </a:lnTo>
                    <a:lnTo>
                      <a:pt x="20" y="102"/>
                    </a:lnTo>
                    <a:lnTo>
                      <a:pt x="22" y="104"/>
                    </a:lnTo>
                    <a:lnTo>
                      <a:pt x="22" y="106"/>
                    </a:lnTo>
                    <a:lnTo>
                      <a:pt x="21" y="107"/>
                    </a:lnTo>
                    <a:lnTo>
                      <a:pt x="21" y="106"/>
                    </a:lnTo>
                    <a:lnTo>
                      <a:pt x="2" y="114"/>
                    </a:lnTo>
                    <a:lnTo>
                      <a:pt x="0" y="118"/>
                    </a:lnTo>
                    <a:lnTo>
                      <a:pt x="1" y="121"/>
                    </a:lnTo>
                    <a:lnTo>
                      <a:pt x="0" y="123"/>
                    </a:lnTo>
                    <a:lnTo>
                      <a:pt x="1" y="125"/>
                    </a:lnTo>
                    <a:lnTo>
                      <a:pt x="2" y="127"/>
                    </a:lnTo>
                    <a:lnTo>
                      <a:pt x="1" y="128"/>
                    </a:lnTo>
                    <a:lnTo>
                      <a:pt x="5" y="130"/>
                    </a:lnTo>
                    <a:lnTo>
                      <a:pt x="5" y="131"/>
                    </a:lnTo>
                    <a:lnTo>
                      <a:pt x="5" y="134"/>
                    </a:lnTo>
                    <a:lnTo>
                      <a:pt x="7" y="142"/>
                    </a:lnTo>
                    <a:lnTo>
                      <a:pt x="9" y="144"/>
                    </a:lnTo>
                    <a:lnTo>
                      <a:pt x="12" y="145"/>
                    </a:lnTo>
                    <a:lnTo>
                      <a:pt x="18" y="150"/>
                    </a:lnTo>
                    <a:lnTo>
                      <a:pt x="18" y="153"/>
                    </a:lnTo>
                    <a:lnTo>
                      <a:pt x="21" y="154"/>
                    </a:lnTo>
                    <a:lnTo>
                      <a:pt x="22" y="154"/>
                    </a:lnTo>
                    <a:lnTo>
                      <a:pt x="23" y="155"/>
                    </a:lnTo>
                    <a:lnTo>
                      <a:pt x="26" y="154"/>
                    </a:lnTo>
                    <a:lnTo>
                      <a:pt x="28" y="155"/>
                    </a:lnTo>
                    <a:lnTo>
                      <a:pt x="27" y="159"/>
                    </a:lnTo>
                    <a:lnTo>
                      <a:pt x="29" y="165"/>
                    </a:lnTo>
                    <a:lnTo>
                      <a:pt x="26" y="168"/>
                    </a:lnTo>
                    <a:lnTo>
                      <a:pt x="27" y="171"/>
                    </a:lnTo>
                    <a:lnTo>
                      <a:pt x="24" y="173"/>
                    </a:lnTo>
                    <a:lnTo>
                      <a:pt x="24" y="174"/>
                    </a:lnTo>
                    <a:lnTo>
                      <a:pt x="24" y="175"/>
                    </a:lnTo>
                    <a:lnTo>
                      <a:pt x="26" y="176"/>
                    </a:lnTo>
                    <a:lnTo>
                      <a:pt x="27" y="177"/>
                    </a:lnTo>
                    <a:lnTo>
                      <a:pt x="26" y="178"/>
                    </a:lnTo>
                    <a:lnTo>
                      <a:pt x="24" y="180"/>
                    </a:lnTo>
                    <a:lnTo>
                      <a:pt x="24" y="183"/>
                    </a:lnTo>
                    <a:lnTo>
                      <a:pt x="27" y="184"/>
                    </a:lnTo>
                    <a:lnTo>
                      <a:pt x="27" y="185"/>
                    </a:lnTo>
                    <a:lnTo>
                      <a:pt x="25" y="185"/>
                    </a:lnTo>
                    <a:lnTo>
                      <a:pt x="25" y="187"/>
                    </a:lnTo>
                    <a:lnTo>
                      <a:pt x="27" y="188"/>
                    </a:lnTo>
                    <a:lnTo>
                      <a:pt x="30" y="187"/>
                    </a:lnTo>
                    <a:lnTo>
                      <a:pt x="33" y="187"/>
                    </a:lnTo>
                    <a:lnTo>
                      <a:pt x="34" y="188"/>
                    </a:lnTo>
                    <a:lnTo>
                      <a:pt x="33" y="189"/>
                    </a:lnTo>
                    <a:lnTo>
                      <a:pt x="32" y="190"/>
                    </a:lnTo>
                    <a:lnTo>
                      <a:pt x="34" y="193"/>
                    </a:lnTo>
                    <a:lnTo>
                      <a:pt x="33" y="199"/>
                    </a:lnTo>
                    <a:lnTo>
                      <a:pt x="36" y="205"/>
                    </a:lnTo>
                    <a:lnTo>
                      <a:pt x="34" y="212"/>
                    </a:lnTo>
                    <a:lnTo>
                      <a:pt x="34" y="217"/>
                    </a:lnTo>
                    <a:lnTo>
                      <a:pt x="35" y="219"/>
                    </a:lnTo>
                    <a:lnTo>
                      <a:pt x="35" y="222"/>
                    </a:lnTo>
                    <a:lnTo>
                      <a:pt x="37" y="225"/>
                    </a:lnTo>
                    <a:lnTo>
                      <a:pt x="38" y="226"/>
                    </a:lnTo>
                    <a:lnTo>
                      <a:pt x="36" y="228"/>
                    </a:lnTo>
                    <a:lnTo>
                      <a:pt x="40" y="232"/>
                    </a:lnTo>
                    <a:lnTo>
                      <a:pt x="42" y="232"/>
                    </a:lnTo>
                    <a:lnTo>
                      <a:pt x="42" y="234"/>
                    </a:lnTo>
                    <a:lnTo>
                      <a:pt x="43" y="233"/>
                    </a:lnTo>
                    <a:lnTo>
                      <a:pt x="44" y="234"/>
                    </a:lnTo>
                    <a:lnTo>
                      <a:pt x="46" y="234"/>
                    </a:lnTo>
                    <a:lnTo>
                      <a:pt x="47" y="233"/>
                    </a:lnTo>
                    <a:lnTo>
                      <a:pt x="49" y="232"/>
                    </a:lnTo>
                    <a:lnTo>
                      <a:pt x="50" y="238"/>
                    </a:lnTo>
                    <a:lnTo>
                      <a:pt x="49" y="239"/>
                    </a:lnTo>
                    <a:lnTo>
                      <a:pt x="49" y="243"/>
                    </a:lnTo>
                    <a:lnTo>
                      <a:pt x="47" y="247"/>
                    </a:lnTo>
                    <a:lnTo>
                      <a:pt x="48" y="251"/>
                    </a:lnTo>
                    <a:lnTo>
                      <a:pt x="47" y="254"/>
                    </a:lnTo>
                    <a:lnTo>
                      <a:pt x="43" y="259"/>
                    </a:lnTo>
                    <a:lnTo>
                      <a:pt x="45" y="259"/>
                    </a:lnTo>
                    <a:lnTo>
                      <a:pt x="46" y="262"/>
                    </a:lnTo>
                    <a:lnTo>
                      <a:pt x="47" y="263"/>
                    </a:lnTo>
                    <a:lnTo>
                      <a:pt x="49" y="271"/>
                    </a:lnTo>
                    <a:lnTo>
                      <a:pt x="48" y="272"/>
                    </a:lnTo>
                    <a:lnTo>
                      <a:pt x="48" y="277"/>
                    </a:lnTo>
                    <a:lnTo>
                      <a:pt x="47" y="279"/>
                    </a:lnTo>
                    <a:lnTo>
                      <a:pt x="53" y="284"/>
                    </a:lnTo>
                    <a:lnTo>
                      <a:pt x="61" y="286"/>
                    </a:lnTo>
                    <a:lnTo>
                      <a:pt x="62" y="291"/>
                    </a:lnTo>
                    <a:lnTo>
                      <a:pt x="66" y="294"/>
                    </a:lnTo>
                    <a:lnTo>
                      <a:pt x="72" y="302"/>
                    </a:lnTo>
                    <a:lnTo>
                      <a:pt x="72" y="308"/>
                    </a:lnTo>
                    <a:lnTo>
                      <a:pt x="71" y="312"/>
                    </a:lnTo>
                    <a:lnTo>
                      <a:pt x="73" y="317"/>
                    </a:lnTo>
                    <a:lnTo>
                      <a:pt x="75" y="318"/>
                    </a:lnTo>
                    <a:lnTo>
                      <a:pt x="76" y="320"/>
                    </a:lnTo>
                    <a:lnTo>
                      <a:pt x="74" y="324"/>
                    </a:lnTo>
                    <a:lnTo>
                      <a:pt x="74" y="325"/>
                    </a:lnTo>
                    <a:lnTo>
                      <a:pt x="76" y="326"/>
                    </a:lnTo>
                    <a:lnTo>
                      <a:pt x="79" y="329"/>
                    </a:lnTo>
                    <a:lnTo>
                      <a:pt x="83" y="330"/>
                    </a:lnTo>
                    <a:lnTo>
                      <a:pt x="90" y="331"/>
                    </a:lnTo>
                    <a:lnTo>
                      <a:pt x="92" y="331"/>
                    </a:lnTo>
                    <a:lnTo>
                      <a:pt x="92" y="330"/>
                    </a:lnTo>
                    <a:lnTo>
                      <a:pt x="93" y="330"/>
                    </a:lnTo>
                    <a:lnTo>
                      <a:pt x="94" y="333"/>
                    </a:lnTo>
                    <a:lnTo>
                      <a:pt x="96" y="333"/>
                    </a:lnTo>
                    <a:lnTo>
                      <a:pt x="100" y="337"/>
                    </a:lnTo>
                    <a:lnTo>
                      <a:pt x="103" y="338"/>
                    </a:lnTo>
                    <a:lnTo>
                      <a:pt x="103" y="334"/>
                    </a:lnTo>
                    <a:lnTo>
                      <a:pt x="103" y="332"/>
                    </a:lnTo>
                    <a:lnTo>
                      <a:pt x="103" y="329"/>
                    </a:lnTo>
                    <a:lnTo>
                      <a:pt x="109" y="331"/>
                    </a:lnTo>
                    <a:lnTo>
                      <a:pt x="111" y="333"/>
                    </a:lnTo>
                    <a:lnTo>
                      <a:pt x="112" y="334"/>
                    </a:lnTo>
                    <a:lnTo>
                      <a:pt x="115" y="333"/>
                    </a:lnTo>
                    <a:lnTo>
                      <a:pt x="118" y="336"/>
                    </a:lnTo>
                    <a:lnTo>
                      <a:pt x="120" y="336"/>
                    </a:lnTo>
                    <a:lnTo>
                      <a:pt x="121" y="336"/>
                    </a:lnTo>
                    <a:lnTo>
                      <a:pt x="123" y="339"/>
                    </a:lnTo>
                    <a:lnTo>
                      <a:pt x="124" y="339"/>
                    </a:lnTo>
                    <a:lnTo>
                      <a:pt x="127" y="341"/>
                    </a:lnTo>
                    <a:lnTo>
                      <a:pt x="130" y="347"/>
                    </a:lnTo>
                    <a:lnTo>
                      <a:pt x="131" y="350"/>
                    </a:lnTo>
                    <a:lnTo>
                      <a:pt x="133" y="353"/>
                    </a:lnTo>
                    <a:lnTo>
                      <a:pt x="134" y="356"/>
                    </a:lnTo>
                    <a:lnTo>
                      <a:pt x="139" y="358"/>
                    </a:lnTo>
                    <a:lnTo>
                      <a:pt x="139" y="366"/>
                    </a:lnTo>
                    <a:lnTo>
                      <a:pt x="138" y="366"/>
                    </a:lnTo>
                    <a:lnTo>
                      <a:pt x="137" y="369"/>
                    </a:lnTo>
                    <a:lnTo>
                      <a:pt x="138" y="376"/>
                    </a:lnTo>
                    <a:lnTo>
                      <a:pt x="144" y="377"/>
                    </a:lnTo>
                    <a:lnTo>
                      <a:pt x="144" y="379"/>
                    </a:lnTo>
                    <a:lnTo>
                      <a:pt x="144" y="381"/>
                    </a:lnTo>
                    <a:lnTo>
                      <a:pt x="144" y="383"/>
                    </a:lnTo>
                    <a:lnTo>
                      <a:pt x="146" y="384"/>
                    </a:lnTo>
                    <a:lnTo>
                      <a:pt x="147" y="387"/>
                    </a:lnTo>
                    <a:lnTo>
                      <a:pt x="150" y="387"/>
                    </a:lnTo>
                    <a:lnTo>
                      <a:pt x="151" y="389"/>
                    </a:lnTo>
                    <a:lnTo>
                      <a:pt x="152" y="391"/>
                    </a:lnTo>
                    <a:lnTo>
                      <a:pt x="150" y="395"/>
                    </a:lnTo>
                    <a:lnTo>
                      <a:pt x="157" y="402"/>
                    </a:lnTo>
                    <a:lnTo>
                      <a:pt x="156" y="405"/>
                    </a:lnTo>
                    <a:lnTo>
                      <a:pt x="155" y="407"/>
                    </a:lnTo>
                    <a:lnTo>
                      <a:pt x="155" y="408"/>
                    </a:lnTo>
                    <a:lnTo>
                      <a:pt x="158" y="412"/>
                    </a:lnTo>
                    <a:lnTo>
                      <a:pt x="160" y="412"/>
                    </a:lnTo>
                    <a:lnTo>
                      <a:pt x="162" y="415"/>
                    </a:lnTo>
                    <a:lnTo>
                      <a:pt x="163" y="416"/>
                    </a:lnTo>
                    <a:lnTo>
                      <a:pt x="164" y="419"/>
                    </a:lnTo>
                    <a:lnTo>
                      <a:pt x="168" y="424"/>
                    </a:lnTo>
                    <a:lnTo>
                      <a:pt x="170" y="425"/>
                    </a:lnTo>
                    <a:lnTo>
                      <a:pt x="171" y="427"/>
                    </a:lnTo>
                    <a:lnTo>
                      <a:pt x="171" y="430"/>
                    </a:lnTo>
                    <a:lnTo>
                      <a:pt x="168" y="439"/>
                    </a:lnTo>
                    <a:lnTo>
                      <a:pt x="171" y="444"/>
                    </a:lnTo>
                    <a:lnTo>
                      <a:pt x="176" y="451"/>
                    </a:lnTo>
                    <a:lnTo>
                      <a:pt x="184" y="456"/>
                    </a:lnTo>
                    <a:lnTo>
                      <a:pt x="190" y="455"/>
                    </a:lnTo>
                    <a:lnTo>
                      <a:pt x="196" y="455"/>
                    </a:lnTo>
                    <a:lnTo>
                      <a:pt x="198" y="456"/>
                    </a:lnTo>
                    <a:lnTo>
                      <a:pt x="204" y="463"/>
                    </a:lnTo>
                    <a:lnTo>
                      <a:pt x="205" y="464"/>
                    </a:lnTo>
                    <a:lnTo>
                      <a:pt x="207" y="466"/>
                    </a:lnTo>
                    <a:lnTo>
                      <a:pt x="207" y="468"/>
                    </a:lnTo>
                    <a:lnTo>
                      <a:pt x="210" y="470"/>
                    </a:lnTo>
                    <a:lnTo>
                      <a:pt x="212" y="473"/>
                    </a:lnTo>
                    <a:lnTo>
                      <a:pt x="212" y="476"/>
                    </a:lnTo>
                    <a:lnTo>
                      <a:pt x="214" y="478"/>
                    </a:lnTo>
                    <a:lnTo>
                      <a:pt x="216" y="482"/>
                    </a:lnTo>
                    <a:lnTo>
                      <a:pt x="217" y="483"/>
                    </a:lnTo>
                    <a:lnTo>
                      <a:pt x="218" y="484"/>
                    </a:lnTo>
                    <a:lnTo>
                      <a:pt x="219" y="489"/>
                    </a:lnTo>
                    <a:lnTo>
                      <a:pt x="221" y="489"/>
                    </a:lnTo>
                    <a:lnTo>
                      <a:pt x="221" y="491"/>
                    </a:lnTo>
                    <a:lnTo>
                      <a:pt x="223" y="491"/>
                    </a:lnTo>
                    <a:lnTo>
                      <a:pt x="224" y="492"/>
                    </a:lnTo>
                    <a:lnTo>
                      <a:pt x="223" y="495"/>
                    </a:lnTo>
                    <a:lnTo>
                      <a:pt x="222" y="496"/>
                    </a:lnTo>
                    <a:lnTo>
                      <a:pt x="223" y="499"/>
                    </a:lnTo>
                    <a:lnTo>
                      <a:pt x="225" y="505"/>
                    </a:lnTo>
                    <a:lnTo>
                      <a:pt x="223" y="507"/>
                    </a:lnTo>
                    <a:lnTo>
                      <a:pt x="222" y="510"/>
                    </a:lnTo>
                    <a:lnTo>
                      <a:pt x="224" y="515"/>
                    </a:lnTo>
                    <a:lnTo>
                      <a:pt x="222" y="519"/>
                    </a:lnTo>
                    <a:lnTo>
                      <a:pt x="221" y="522"/>
                    </a:lnTo>
                    <a:lnTo>
                      <a:pt x="227" y="528"/>
                    </a:lnTo>
                    <a:lnTo>
                      <a:pt x="227" y="530"/>
                    </a:lnTo>
                    <a:lnTo>
                      <a:pt x="229" y="531"/>
                    </a:lnTo>
                    <a:lnTo>
                      <a:pt x="231" y="534"/>
                    </a:lnTo>
                    <a:lnTo>
                      <a:pt x="236" y="537"/>
                    </a:lnTo>
                    <a:lnTo>
                      <a:pt x="237" y="540"/>
                    </a:lnTo>
                    <a:lnTo>
                      <a:pt x="241" y="543"/>
                    </a:lnTo>
                    <a:lnTo>
                      <a:pt x="241" y="545"/>
                    </a:lnTo>
                    <a:lnTo>
                      <a:pt x="244" y="548"/>
                    </a:lnTo>
                    <a:lnTo>
                      <a:pt x="247" y="548"/>
                    </a:lnTo>
                    <a:lnTo>
                      <a:pt x="248" y="539"/>
                    </a:lnTo>
                    <a:lnTo>
                      <a:pt x="249" y="535"/>
                    </a:lnTo>
                    <a:lnTo>
                      <a:pt x="251" y="536"/>
                    </a:lnTo>
                    <a:lnTo>
                      <a:pt x="254" y="534"/>
                    </a:lnTo>
                    <a:lnTo>
                      <a:pt x="256" y="534"/>
                    </a:lnTo>
                    <a:lnTo>
                      <a:pt x="259" y="538"/>
                    </a:lnTo>
                    <a:lnTo>
                      <a:pt x="261" y="538"/>
                    </a:lnTo>
                    <a:lnTo>
                      <a:pt x="261" y="535"/>
                    </a:lnTo>
                    <a:lnTo>
                      <a:pt x="262" y="533"/>
                    </a:lnTo>
                    <a:lnTo>
                      <a:pt x="259" y="532"/>
                    </a:lnTo>
                    <a:lnTo>
                      <a:pt x="258" y="529"/>
                    </a:lnTo>
                    <a:lnTo>
                      <a:pt x="259" y="526"/>
                    </a:lnTo>
                    <a:lnTo>
                      <a:pt x="259" y="524"/>
                    </a:lnTo>
                    <a:lnTo>
                      <a:pt x="262" y="521"/>
                    </a:lnTo>
                    <a:lnTo>
                      <a:pt x="262" y="519"/>
                    </a:lnTo>
                    <a:lnTo>
                      <a:pt x="262" y="516"/>
                    </a:lnTo>
                    <a:lnTo>
                      <a:pt x="262" y="515"/>
                    </a:lnTo>
                    <a:lnTo>
                      <a:pt x="265" y="511"/>
                    </a:lnTo>
                    <a:lnTo>
                      <a:pt x="267" y="506"/>
                    </a:lnTo>
                    <a:lnTo>
                      <a:pt x="271" y="502"/>
                    </a:lnTo>
                    <a:lnTo>
                      <a:pt x="271" y="500"/>
                    </a:lnTo>
                    <a:lnTo>
                      <a:pt x="272" y="500"/>
                    </a:lnTo>
                    <a:lnTo>
                      <a:pt x="272" y="502"/>
                    </a:lnTo>
                    <a:lnTo>
                      <a:pt x="273" y="502"/>
                    </a:lnTo>
                    <a:lnTo>
                      <a:pt x="275" y="504"/>
                    </a:lnTo>
                    <a:lnTo>
                      <a:pt x="280" y="500"/>
                    </a:lnTo>
                    <a:lnTo>
                      <a:pt x="282" y="496"/>
                    </a:lnTo>
                    <a:lnTo>
                      <a:pt x="282" y="495"/>
                    </a:lnTo>
                    <a:lnTo>
                      <a:pt x="282" y="492"/>
                    </a:lnTo>
                    <a:lnTo>
                      <a:pt x="280" y="487"/>
                    </a:lnTo>
                    <a:lnTo>
                      <a:pt x="281" y="484"/>
                    </a:lnTo>
                    <a:lnTo>
                      <a:pt x="280" y="483"/>
                    </a:lnTo>
                    <a:lnTo>
                      <a:pt x="278" y="480"/>
                    </a:lnTo>
                    <a:lnTo>
                      <a:pt x="277" y="476"/>
                    </a:lnTo>
                    <a:lnTo>
                      <a:pt x="277" y="475"/>
                    </a:lnTo>
                    <a:lnTo>
                      <a:pt x="282" y="475"/>
                    </a:lnTo>
                    <a:lnTo>
                      <a:pt x="282" y="474"/>
                    </a:lnTo>
                    <a:lnTo>
                      <a:pt x="282" y="468"/>
                    </a:lnTo>
                    <a:lnTo>
                      <a:pt x="281" y="468"/>
                    </a:lnTo>
                    <a:lnTo>
                      <a:pt x="282" y="466"/>
                    </a:lnTo>
                    <a:lnTo>
                      <a:pt x="282" y="464"/>
                    </a:lnTo>
                    <a:lnTo>
                      <a:pt x="283" y="461"/>
                    </a:lnTo>
                    <a:lnTo>
                      <a:pt x="285" y="460"/>
                    </a:lnTo>
                    <a:lnTo>
                      <a:pt x="285" y="458"/>
                    </a:lnTo>
                    <a:lnTo>
                      <a:pt x="282" y="457"/>
                    </a:lnTo>
                    <a:lnTo>
                      <a:pt x="283" y="456"/>
                    </a:lnTo>
                    <a:lnTo>
                      <a:pt x="288" y="457"/>
                    </a:lnTo>
                    <a:lnTo>
                      <a:pt x="288" y="458"/>
                    </a:lnTo>
                    <a:lnTo>
                      <a:pt x="286" y="458"/>
                    </a:lnTo>
                    <a:lnTo>
                      <a:pt x="290" y="460"/>
                    </a:lnTo>
                    <a:lnTo>
                      <a:pt x="291" y="460"/>
                    </a:lnTo>
                    <a:lnTo>
                      <a:pt x="292" y="462"/>
                    </a:lnTo>
                    <a:lnTo>
                      <a:pt x="293" y="463"/>
                    </a:lnTo>
                    <a:lnTo>
                      <a:pt x="297" y="460"/>
                    </a:lnTo>
                    <a:lnTo>
                      <a:pt x="298" y="458"/>
                    </a:lnTo>
                    <a:lnTo>
                      <a:pt x="299" y="458"/>
                    </a:lnTo>
                    <a:lnTo>
                      <a:pt x="301" y="458"/>
                    </a:lnTo>
                    <a:lnTo>
                      <a:pt x="301" y="457"/>
                    </a:lnTo>
                    <a:lnTo>
                      <a:pt x="302" y="456"/>
                    </a:lnTo>
                    <a:lnTo>
                      <a:pt x="302" y="454"/>
                    </a:lnTo>
                    <a:lnTo>
                      <a:pt x="305" y="455"/>
                    </a:lnTo>
                    <a:lnTo>
                      <a:pt x="307" y="453"/>
                    </a:lnTo>
                    <a:lnTo>
                      <a:pt x="308" y="454"/>
                    </a:lnTo>
                    <a:lnTo>
                      <a:pt x="309" y="453"/>
                    </a:lnTo>
                    <a:lnTo>
                      <a:pt x="310" y="454"/>
                    </a:lnTo>
                    <a:lnTo>
                      <a:pt x="311" y="454"/>
                    </a:lnTo>
                    <a:lnTo>
                      <a:pt x="311" y="456"/>
                    </a:lnTo>
                    <a:lnTo>
                      <a:pt x="311" y="455"/>
                    </a:lnTo>
                    <a:lnTo>
                      <a:pt x="313" y="453"/>
                    </a:lnTo>
                    <a:lnTo>
                      <a:pt x="311" y="453"/>
                    </a:lnTo>
                    <a:lnTo>
                      <a:pt x="310" y="452"/>
                    </a:lnTo>
                    <a:lnTo>
                      <a:pt x="312" y="451"/>
                    </a:lnTo>
                    <a:lnTo>
                      <a:pt x="313" y="444"/>
                    </a:lnTo>
                    <a:lnTo>
                      <a:pt x="316" y="440"/>
                    </a:lnTo>
                    <a:lnTo>
                      <a:pt x="317" y="440"/>
                    </a:lnTo>
                    <a:lnTo>
                      <a:pt x="319" y="441"/>
                    </a:lnTo>
                    <a:lnTo>
                      <a:pt x="321" y="440"/>
                    </a:lnTo>
                    <a:lnTo>
                      <a:pt x="320" y="437"/>
                    </a:lnTo>
                    <a:lnTo>
                      <a:pt x="320" y="434"/>
                    </a:lnTo>
                    <a:lnTo>
                      <a:pt x="319" y="433"/>
                    </a:lnTo>
                    <a:lnTo>
                      <a:pt x="319" y="432"/>
                    </a:lnTo>
                    <a:lnTo>
                      <a:pt x="316" y="430"/>
                    </a:lnTo>
                    <a:lnTo>
                      <a:pt x="316" y="427"/>
                    </a:lnTo>
                    <a:lnTo>
                      <a:pt x="315" y="428"/>
                    </a:lnTo>
                    <a:lnTo>
                      <a:pt x="315" y="425"/>
                    </a:lnTo>
                    <a:lnTo>
                      <a:pt x="316" y="425"/>
                    </a:lnTo>
                    <a:lnTo>
                      <a:pt x="314" y="425"/>
                    </a:lnTo>
                    <a:lnTo>
                      <a:pt x="314" y="423"/>
                    </a:lnTo>
                    <a:lnTo>
                      <a:pt x="315" y="423"/>
                    </a:lnTo>
                    <a:lnTo>
                      <a:pt x="316" y="423"/>
                    </a:lnTo>
                    <a:lnTo>
                      <a:pt x="316" y="422"/>
                    </a:lnTo>
                    <a:lnTo>
                      <a:pt x="316" y="421"/>
                    </a:lnTo>
                    <a:lnTo>
                      <a:pt x="318" y="419"/>
                    </a:lnTo>
                    <a:lnTo>
                      <a:pt x="321" y="421"/>
                    </a:lnTo>
                    <a:lnTo>
                      <a:pt x="321" y="418"/>
                    </a:lnTo>
                    <a:lnTo>
                      <a:pt x="320" y="417"/>
                    </a:lnTo>
                    <a:lnTo>
                      <a:pt x="321" y="415"/>
                    </a:lnTo>
                    <a:lnTo>
                      <a:pt x="322" y="417"/>
                    </a:lnTo>
                    <a:lnTo>
                      <a:pt x="325" y="418"/>
                    </a:lnTo>
                    <a:lnTo>
                      <a:pt x="326" y="418"/>
                    </a:lnTo>
                    <a:lnTo>
                      <a:pt x="324" y="415"/>
                    </a:lnTo>
                    <a:lnTo>
                      <a:pt x="327" y="412"/>
                    </a:lnTo>
                    <a:lnTo>
                      <a:pt x="329" y="412"/>
                    </a:lnTo>
                    <a:lnTo>
                      <a:pt x="328" y="411"/>
                    </a:lnTo>
                    <a:lnTo>
                      <a:pt x="327" y="411"/>
                    </a:lnTo>
                    <a:lnTo>
                      <a:pt x="323" y="411"/>
                    </a:lnTo>
                    <a:lnTo>
                      <a:pt x="322" y="410"/>
                    </a:lnTo>
                    <a:lnTo>
                      <a:pt x="321" y="410"/>
                    </a:lnTo>
                    <a:lnTo>
                      <a:pt x="321" y="406"/>
                    </a:lnTo>
                    <a:lnTo>
                      <a:pt x="321" y="402"/>
                    </a:lnTo>
                    <a:lnTo>
                      <a:pt x="320" y="400"/>
                    </a:lnTo>
                    <a:lnTo>
                      <a:pt x="321" y="400"/>
                    </a:lnTo>
                    <a:lnTo>
                      <a:pt x="323" y="400"/>
                    </a:lnTo>
                    <a:lnTo>
                      <a:pt x="325" y="400"/>
                    </a:lnTo>
                    <a:lnTo>
                      <a:pt x="326" y="402"/>
                    </a:lnTo>
                    <a:lnTo>
                      <a:pt x="327" y="402"/>
                    </a:lnTo>
                    <a:lnTo>
                      <a:pt x="329" y="402"/>
                    </a:lnTo>
                    <a:lnTo>
                      <a:pt x="329" y="399"/>
                    </a:lnTo>
                    <a:lnTo>
                      <a:pt x="330" y="398"/>
                    </a:lnTo>
                    <a:lnTo>
                      <a:pt x="331" y="396"/>
                    </a:lnTo>
                    <a:lnTo>
                      <a:pt x="330" y="395"/>
                    </a:lnTo>
                    <a:lnTo>
                      <a:pt x="329" y="395"/>
                    </a:lnTo>
                    <a:lnTo>
                      <a:pt x="327" y="392"/>
                    </a:lnTo>
                    <a:lnTo>
                      <a:pt x="328" y="392"/>
                    </a:lnTo>
                    <a:lnTo>
                      <a:pt x="329" y="391"/>
                    </a:lnTo>
                    <a:lnTo>
                      <a:pt x="329" y="387"/>
                    </a:lnTo>
                    <a:lnTo>
                      <a:pt x="332" y="389"/>
                    </a:lnTo>
                    <a:lnTo>
                      <a:pt x="333" y="384"/>
                    </a:lnTo>
                    <a:lnTo>
                      <a:pt x="335" y="384"/>
                    </a:lnTo>
                    <a:lnTo>
                      <a:pt x="336" y="384"/>
                    </a:lnTo>
                    <a:lnTo>
                      <a:pt x="337" y="382"/>
                    </a:lnTo>
                    <a:lnTo>
                      <a:pt x="338" y="381"/>
                    </a:lnTo>
                    <a:lnTo>
                      <a:pt x="342" y="383"/>
                    </a:lnTo>
                    <a:lnTo>
                      <a:pt x="342" y="382"/>
                    </a:lnTo>
                    <a:lnTo>
                      <a:pt x="343" y="381"/>
                    </a:lnTo>
                    <a:lnTo>
                      <a:pt x="342" y="377"/>
                    </a:lnTo>
                    <a:lnTo>
                      <a:pt x="343" y="377"/>
                    </a:lnTo>
                    <a:lnTo>
                      <a:pt x="343" y="376"/>
                    </a:lnTo>
                    <a:lnTo>
                      <a:pt x="344" y="373"/>
                    </a:lnTo>
                    <a:lnTo>
                      <a:pt x="346" y="370"/>
                    </a:lnTo>
                    <a:lnTo>
                      <a:pt x="349" y="370"/>
                    </a:lnTo>
                    <a:lnTo>
                      <a:pt x="348" y="370"/>
                    </a:lnTo>
                    <a:lnTo>
                      <a:pt x="348" y="366"/>
                    </a:lnTo>
                    <a:lnTo>
                      <a:pt x="347" y="368"/>
                    </a:lnTo>
                    <a:lnTo>
                      <a:pt x="346" y="367"/>
                    </a:lnTo>
                    <a:lnTo>
                      <a:pt x="348" y="366"/>
                    </a:lnTo>
                    <a:lnTo>
                      <a:pt x="349" y="366"/>
                    </a:lnTo>
                    <a:lnTo>
                      <a:pt x="349" y="364"/>
                    </a:lnTo>
                    <a:lnTo>
                      <a:pt x="350" y="365"/>
                    </a:lnTo>
                    <a:lnTo>
                      <a:pt x="350" y="364"/>
                    </a:lnTo>
                    <a:lnTo>
                      <a:pt x="350" y="361"/>
                    </a:lnTo>
                    <a:lnTo>
                      <a:pt x="349" y="360"/>
                    </a:lnTo>
                    <a:lnTo>
                      <a:pt x="350" y="359"/>
                    </a:lnTo>
                    <a:lnTo>
                      <a:pt x="348" y="360"/>
                    </a:lnTo>
                    <a:lnTo>
                      <a:pt x="347" y="358"/>
                    </a:lnTo>
                    <a:lnTo>
                      <a:pt x="346" y="358"/>
                    </a:lnTo>
                    <a:lnTo>
                      <a:pt x="346" y="357"/>
                    </a:lnTo>
                    <a:lnTo>
                      <a:pt x="347" y="357"/>
                    </a:lnTo>
                    <a:lnTo>
                      <a:pt x="346" y="356"/>
                    </a:lnTo>
                    <a:lnTo>
                      <a:pt x="347" y="356"/>
                    </a:lnTo>
                    <a:lnTo>
                      <a:pt x="346" y="354"/>
                    </a:lnTo>
                    <a:lnTo>
                      <a:pt x="345" y="352"/>
                    </a:lnTo>
                    <a:lnTo>
                      <a:pt x="345" y="350"/>
                    </a:lnTo>
                    <a:lnTo>
                      <a:pt x="344" y="347"/>
                    </a:lnTo>
                    <a:lnTo>
                      <a:pt x="345" y="347"/>
                    </a:lnTo>
                    <a:lnTo>
                      <a:pt x="344" y="347"/>
                    </a:lnTo>
                    <a:lnTo>
                      <a:pt x="345" y="346"/>
                    </a:lnTo>
                    <a:lnTo>
                      <a:pt x="344" y="346"/>
                    </a:lnTo>
                    <a:lnTo>
                      <a:pt x="344" y="345"/>
                    </a:lnTo>
                    <a:lnTo>
                      <a:pt x="345" y="345"/>
                    </a:lnTo>
                    <a:lnTo>
                      <a:pt x="346" y="342"/>
                    </a:lnTo>
                    <a:lnTo>
                      <a:pt x="346" y="339"/>
                    </a:lnTo>
                    <a:lnTo>
                      <a:pt x="347" y="337"/>
                    </a:lnTo>
                    <a:lnTo>
                      <a:pt x="346" y="336"/>
                    </a:lnTo>
                    <a:lnTo>
                      <a:pt x="348" y="336"/>
                    </a:lnTo>
                    <a:lnTo>
                      <a:pt x="350" y="333"/>
                    </a:lnTo>
                    <a:lnTo>
                      <a:pt x="351" y="331"/>
                    </a:lnTo>
                    <a:lnTo>
                      <a:pt x="353" y="332"/>
                    </a:lnTo>
                    <a:lnTo>
                      <a:pt x="355" y="332"/>
                    </a:lnTo>
                    <a:lnTo>
                      <a:pt x="355" y="331"/>
                    </a:lnTo>
                    <a:lnTo>
                      <a:pt x="351" y="330"/>
                    </a:lnTo>
                    <a:lnTo>
                      <a:pt x="351" y="329"/>
                    </a:lnTo>
                    <a:lnTo>
                      <a:pt x="352" y="329"/>
                    </a:lnTo>
                    <a:lnTo>
                      <a:pt x="351" y="329"/>
                    </a:lnTo>
                    <a:lnTo>
                      <a:pt x="351" y="327"/>
                    </a:lnTo>
                    <a:lnTo>
                      <a:pt x="350" y="326"/>
                    </a:lnTo>
                    <a:lnTo>
                      <a:pt x="350" y="325"/>
                    </a:lnTo>
                    <a:lnTo>
                      <a:pt x="349" y="323"/>
                    </a:lnTo>
                    <a:lnTo>
                      <a:pt x="348" y="323"/>
                    </a:lnTo>
                    <a:lnTo>
                      <a:pt x="349" y="321"/>
                    </a:lnTo>
                    <a:lnTo>
                      <a:pt x="349" y="320"/>
                    </a:lnTo>
                    <a:lnTo>
                      <a:pt x="350" y="319"/>
                    </a:lnTo>
                    <a:lnTo>
                      <a:pt x="348" y="319"/>
                    </a:lnTo>
                    <a:lnTo>
                      <a:pt x="349" y="317"/>
                    </a:lnTo>
                    <a:lnTo>
                      <a:pt x="350" y="316"/>
                    </a:lnTo>
                    <a:lnTo>
                      <a:pt x="350" y="313"/>
                    </a:lnTo>
                    <a:lnTo>
                      <a:pt x="350" y="312"/>
                    </a:lnTo>
                    <a:lnTo>
                      <a:pt x="349" y="312"/>
                    </a:lnTo>
                    <a:lnTo>
                      <a:pt x="350" y="311"/>
                    </a:lnTo>
                    <a:lnTo>
                      <a:pt x="350" y="309"/>
                    </a:lnTo>
                    <a:lnTo>
                      <a:pt x="349" y="311"/>
                    </a:lnTo>
                    <a:lnTo>
                      <a:pt x="350" y="309"/>
                    </a:lnTo>
                    <a:lnTo>
                      <a:pt x="349" y="308"/>
                    </a:lnTo>
                    <a:lnTo>
                      <a:pt x="351" y="309"/>
                    </a:lnTo>
                    <a:lnTo>
                      <a:pt x="351" y="308"/>
                    </a:lnTo>
                    <a:lnTo>
                      <a:pt x="349" y="307"/>
                    </a:lnTo>
                    <a:lnTo>
                      <a:pt x="349" y="308"/>
                    </a:lnTo>
                    <a:lnTo>
                      <a:pt x="349" y="307"/>
                    </a:lnTo>
                    <a:lnTo>
                      <a:pt x="348" y="307"/>
                    </a:lnTo>
                    <a:lnTo>
                      <a:pt x="346" y="307"/>
                    </a:lnTo>
                    <a:lnTo>
                      <a:pt x="346" y="304"/>
                    </a:lnTo>
                    <a:lnTo>
                      <a:pt x="347" y="303"/>
                    </a:lnTo>
                    <a:lnTo>
                      <a:pt x="346" y="302"/>
                    </a:lnTo>
                    <a:lnTo>
                      <a:pt x="348" y="302"/>
                    </a:lnTo>
                    <a:lnTo>
                      <a:pt x="348" y="301"/>
                    </a:lnTo>
                    <a:lnTo>
                      <a:pt x="350" y="302"/>
                    </a:lnTo>
                    <a:lnTo>
                      <a:pt x="350" y="300"/>
                    </a:lnTo>
                    <a:lnTo>
                      <a:pt x="350" y="299"/>
                    </a:lnTo>
                    <a:lnTo>
                      <a:pt x="348" y="298"/>
                    </a:lnTo>
                    <a:lnTo>
                      <a:pt x="349" y="296"/>
                    </a:lnTo>
                    <a:lnTo>
                      <a:pt x="351" y="295"/>
                    </a:lnTo>
                    <a:lnTo>
                      <a:pt x="351" y="294"/>
                    </a:lnTo>
                    <a:lnTo>
                      <a:pt x="353" y="295"/>
                    </a:lnTo>
                    <a:lnTo>
                      <a:pt x="353" y="292"/>
                    </a:lnTo>
                    <a:lnTo>
                      <a:pt x="354" y="291"/>
                    </a:lnTo>
                    <a:lnTo>
                      <a:pt x="355" y="286"/>
                    </a:lnTo>
                    <a:lnTo>
                      <a:pt x="356" y="283"/>
                    </a:lnTo>
                    <a:lnTo>
                      <a:pt x="354" y="282"/>
                    </a:lnTo>
                    <a:lnTo>
                      <a:pt x="355" y="279"/>
                    </a:lnTo>
                    <a:lnTo>
                      <a:pt x="351" y="276"/>
                    </a:lnTo>
                    <a:lnTo>
                      <a:pt x="350" y="276"/>
                    </a:lnTo>
                    <a:lnTo>
                      <a:pt x="347" y="279"/>
                    </a:lnTo>
                    <a:lnTo>
                      <a:pt x="346" y="278"/>
                    </a:lnTo>
                    <a:lnTo>
                      <a:pt x="348" y="277"/>
                    </a:lnTo>
                    <a:lnTo>
                      <a:pt x="350" y="272"/>
                    </a:lnTo>
                    <a:lnTo>
                      <a:pt x="349" y="271"/>
                    </a:lnTo>
                    <a:lnTo>
                      <a:pt x="348" y="270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1" y="258"/>
                    </a:lnTo>
                    <a:lnTo>
                      <a:pt x="353" y="255"/>
                    </a:lnTo>
                    <a:lnTo>
                      <a:pt x="354" y="249"/>
                    </a:lnTo>
                    <a:lnTo>
                      <a:pt x="355" y="247"/>
                    </a:lnTo>
                    <a:lnTo>
                      <a:pt x="356" y="244"/>
                    </a:lnTo>
                    <a:lnTo>
                      <a:pt x="355" y="242"/>
                    </a:lnTo>
                    <a:lnTo>
                      <a:pt x="353" y="243"/>
                    </a:lnTo>
                    <a:lnTo>
                      <a:pt x="350" y="242"/>
                    </a:lnTo>
                    <a:lnTo>
                      <a:pt x="350" y="239"/>
                    </a:lnTo>
                    <a:lnTo>
                      <a:pt x="349" y="238"/>
                    </a:lnTo>
                    <a:lnTo>
                      <a:pt x="347" y="239"/>
                    </a:lnTo>
                    <a:lnTo>
                      <a:pt x="346" y="239"/>
                    </a:lnTo>
                    <a:lnTo>
                      <a:pt x="344" y="238"/>
                    </a:lnTo>
                    <a:lnTo>
                      <a:pt x="344" y="236"/>
                    </a:lnTo>
                    <a:lnTo>
                      <a:pt x="345" y="236"/>
                    </a:lnTo>
                    <a:lnTo>
                      <a:pt x="346" y="235"/>
                    </a:lnTo>
                    <a:lnTo>
                      <a:pt x="342" y="234"/>
                    </a:lnTo>
                    <a:lnTo>
                      <a:pt x="342" y="233"/>
                    </a:lnTo>
                    <a:lnTo>
                      <a:pt x="340" y="233"/>
                    </a:lnTo>
                    <a:lnTo>
                      <a:pt x="339" y="232"/>
                    </a:lnTo>
                    <a:lnTo>
                      <a:pt x="338" y="232"/>
                    </a:lnTo>
                    <a:lnTo>
                      <a:pt x="337" y="229"/>
                    </a:lnTo>
                    <a:lnTo>
                      <a:pt x="336" y="228"/>
                    </a:lnTo>
                    <a:lnTo>
                      <a:pt x="339" y="229"/>
                    </a:lnTo>
                    <a:lnTo>
                      <a:pt x="342" y="232"/>
                    </a:lnTo>
                    <a:lnTo>
                      <a:pt x="345" y="232"/>
                    </a:lnTo>
                    <a:lnTo>
                      <a:pt x="345" y="231"/>
                    </a:lnTo>
                    <a:lnTo>
                      <a:pt x="347" y="231"/>
                    </a:lnTo>
                    <a:lnTo>
                      <a:pt x="348" y="230"/>
                    </a:lnTo>
                    <a:lnTo>
                      <a:pt x="347" y="230"/>
                    </a:lnTo>
                    <a:lnTo>
                      <a:pt x="345" y="224"/>
                    </a:lnTo>
                    <a:lnTo>
                      <a:pt x="342" y="223"/>
                    </a:lnTo>
                    <a:lnTo>
                      <a:pt x="340" y="221"/>
                    </a:lnTo>
                    <a:lnTo>
                      <a:pt x="342" y="219"/>
                    </a:lnTo>
                    <a:lnTo>
                      <a:pt x="341" y="218"/>
                    </a:lnTo>
                    <a:lnTo>
                      <a:pt x="342" y="217"/>
                    </a:lnTo>
                    <a:lnTo>
                      <a:pt x="342" y="218"/>
                    </a:lnTo>
                    <a:lnTo>
                      <a:pt x="342" y="219"/>
                    </a:lnTo>
                    <a:lnTo>
                      <a:pt x="343" y="219"/>
                    </a:lnTo>
                    <a:lnTo>
                      <a:pt x="344" y="218"/>
                    </a:lnTo>
                    <a:lnTo>
                      <a:pt x="344" y="219"/>
                    </a:lnTo>
                    <a:lnTo>
                      <a:pt x="345" y="219"/>
                    </a:lnTo>
                    <a:lnTo>
                      <a:pt x="345" y="218"/>
                    </a:lnTo>
                    <a:lnTo>
                      <a:pt x="348" y="217"/>
                    </a:lnTo>
                    <a:lnTo>
                      <a:pt x="350" y="218"/>
                    </a:lnTo>
                    <a:lnTo>
                      <a:pt x="353" y="215"/>
                    </a:lnTo>
                    <a:lnTo>
                      <a:pt x="351" y="215"/>
                    </a:lnTo>
                    <a:lnTo>
                      <a:pt x="351" y="213"/>
                    </a:lnTo>
                    <a:lnTo>
                      <a:pt x="349" y="213"/>
                    </a:lnTo>
                    <a:lnTo>
                      <a:pt x="348" y="212"/>
                    </a:lnTo>
                    <a:lnTo>
                      <a:pt x="346" y="213"/>
                    </a:lnTo>
                    <a:lnTo>
                      <a:pt x="347" y="211"/>
                    </a:lnTo>
                    <a:lnTo>
                      <a:pt x="346" y="211"/>
                    </a:lnTo>
                    <a:lnTo>
                      <a:pt x="344" y="212"/>
                    </a:lnTo>
                    <a:lnTo>
                      <a:pt x="343" y="211"/>
                    </a:lnTo>
                    <a:lnTo>
                      <a:pt x="342" y="211"/>
                    </a:lnTo>
                    <a:lnTo>
                      <a:pt x="342" y="213"/>
                    </a:lnTo>
                    <a:lnTo>
                      <a:pt x="340" y="213"/>
                    </a:lnTo>
                    <a:lnTo>
                      <a:pt x="340" y="215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9" y="211"/>
                    </a:lnTo>
                    <a:lnTo>
                      <a:pt x="339" y="210"/>
                    </a:lnTo>
                    <a:lnTo>
                      <a:pt x="338" y="209"/>
                    </a:lnTo>
                    <a:lnTo>
                      <a:pt x="340" y="208"/>
                    </a:lnTo>
                    <a:lnTo>
                      <a:pt x="338" y="205"/>
                    </a:lnTo>
                    <a:lnTo>
                      <a:pt x="340" y="203"/>
                    </a:lnTo>
                    <a:lnTo>
                      <a:pt x="343" y="202"/>
                    </a:lnTo>
                    <a:lnTo>
                      <a:pt x="347" y="195"/>
                    </a:lnTo>
                    <a:lnTo>
                      <a:pt x="356" y="192"/>
                    </a:lnTo>
                    <a:lnTo>
                      <a:pt x="359" y="191"/>
                    </a:lnTo>
                    <a:lnTo>
                      <a:pt x="361" y="191"/>
                    </a:lnTo>
                    <a:lnTo>
                      <a:pt x="360" y="191"/>
                    </a:lnTo>
                    <a:lnTo>
                      <a:pt x="360" y="194"/>
                    </a:lnTo>
                    <a:lnTo>
                      <a:pt x="362" y="195"/>
                    </a:lnTo>
                    <a:lnTo>
                      <a:pt x="363" y="197"/>
                    </a:lnTo>
                    <a:lnTo>
                      <a:pt x="363" y="198"/>
                    </a:lnTo>
                    <a:lnTo>
                      <a:pt x="365" y="198"/>
                    </a:lnTo>
                    <a:lnTo>
                      <a:pt x="366" y="198"/>
                    </a:lnTo>
                    <a:lnTo>
                      <a:pt x="367" y="196"/>
                    </a:lnTo>
                    <a:lnTo>
                      <a:pt x="367" y="195"/>
                    </a:lnTo>
                    <a:lnTo>
                      <a:pt x="368" y="194"/>
                    </a:lnTo>
                    <a:lnTo>
                      <a:pt x="368" y="192"/>
                    </a:lnTo>
                    <a:lnTo>
                      <a:pt x="370" y="191"/>
                    </a:lnTo>
                    <a:lnTo>
                      <a:pt x="371" y="188"/>
                    </a:lnTo>
                    <a:lnTo>
                      <a:pt x="372" y="188"/>
                    </a:lnTo>
                    <a:lnTo>
                      <a:pt x="375" y="188"/>
                    </a:lnTo>
                    <a:lnTo>
                      <a:pt x="375" y="187"/>
                    </a:lnTo>
                    <a:lnTo>
                      <a:pt x="376" y="187"/>
                    </a:lnTo>
                    <a:lnTo>
                      <a:pt x="377" y="187"/>
                    </a:lnTo>
                    <a:lnTo>
                      <a:pt x="379" y="185"/>
                    </a:lnTo>
                    <a:lnTo>
                      <a:pt x="379" y="186"/>
                    </a:lnTo>
                    <a:lnTo>
                      <a:pt x="381" y="183"/>
                    </a:lnTo>
                    <a:lnTo>
                      <a:pt x="381" y="181"/>
                    </a:lnTo>
                    <a:lnTo>
                      <a:pt x="379" y="180"/>
                    </a:lnTo>
                    <a:lnTo>
                      <a:pt x="378" y="179"/>
                    </a:lnTo>
                    <a:lnTo>
                      <a:pt x="377" y="178"/>
                    </a:lnTo>
                    <a:lnTo>
                      <a:pt x="376" y="179"/>
                    </a:lnTo>
                    <a:lnTo>
                      <a:pt x="375" y="179"/>
                    </a:lnTo>
                    <a:lnTo>
                      <a:pt x="373" y="181"/>
                    </a:lnTo>
                    <a:lnTo>
                      <a:pt x="372" y="180"/>
                    </a:lnTo>
                    <a:lnTo>
                      <a:pt x="373" y="177"/>
                    </a:lnTo>
                    <a:lnTo>
                      <a:pt x="376" y="176"/>
                    </a:lnTo>
                    <a:lnTo>
                      <a:pt x="378" y="171"/>
                    </a:lnTo>
                    <a:lnTo>
                      <a:pt x="378" y="168"/>
                    </a:lnTo>
                    <a:lnTo>
                      <a:pt x="377" y="166"/>
                    </a:lnTo>
                    <a:lnTo>
                      <a:pt x="377" y="165"/>
                    </a:lnTo>
                    <a:lnTo>
                      <a:pt x="376" y="162"/>
                    </a:lnTo>
                    <a:lnTo>
                      <a:pt x="377" y="161"/>
                    </a:lnTo>
                    <a:lnTo>
                      <a:pt x="381" y="161"/>
                    </a:lnTo>
                    <a:lnTo>
                      <a:pt x="381" y="158"/>
                    </a:lnTo>
                    <a:lnTo>
                      <a:pt x="383" y="157"/>
                    </a:lnTo>
                    <a:lnTo>
                      <a:pt x="382" y="157"/>
                    </a:lnTo>
                    <a:lnTo>
                      <a:pt x="383" y="153"/>
                    </a:lnTo>
                    <a:lnTo>
                      <a:pt x="381" y="151"/>
                    </a:lnTo>
                    <a:lnTo>
                      <a:pt x="381" y="148"/>
                    </a:lnTo>
                    <a:lnTo>
                      <a:pt x="384" y="145"/>
                    </a:lnTo>
                    <a:lnTo>
                      <a:pt x="383" y="144"/>
                    </a:lnTo>
                    <a:lnTo>
                      <a:pt x="382" y="141"/>
                    </a:lnTo>
                    <a:lnTo>
                      <a:pt x="383" y="140"/>
                    </a:lnTo>
                    <a:lnTo>
                      <a:pt x="384" y="141"/>
                    </a:lnTo>
                    <a:lnTo>
                      <a:pt x="386" y="138"/>
                    </a:lnTo>
                    <a:lnTo>
                      <a:pt x="385" y="135"/>
                    </a:lnTo>
                    <a:lnTo>
                      <a:pt x="386" y="135"/>
                    </a:lnTo>
                    <a:lnTo>
                      <a:pt x="386" y="131"/>
                    </a:lnTo>
                    <a:lnTo>
                      <a:pt x="387" y="131"/>
                    </a:lnTo>
                    <a:lnTo>
                      <a:pt x="388" y="131"/>
                    </a:lnTo>
                    <a:lnTo>
                      <a:pt x="389" y="131"/>
                    </a:lnTo>
                    <a:lnTo>
                      <a:pt x="391" y="131"/>
                    </a:lnTo>
                    <a:lnTo>
                      <a:pt x="392" y="131"/>
                    </a:lnTo>
                    <a:lnTo>
                      <a:pt x="392" y="133"/>
                    </a:lnTo>
                    <a:lnTo>
                      <a:pt x="393" y="132"/>
                    </a:lnTo>
                    <a:lnTo>
                      <a:pt x="392" y="126"/>
                    </a:lnTo>
                    <a:lnTo>
                      <a:pt x="392" y="1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2" name="Freeform 58">
                <a:extLst>
                  <a:ext uri="{FF2B5EF4-FFF2-40B4-BE49-F238E27FC236}">
                    <a16:creationId xmlns:a16="http://schemas.microsoft.com/office/drawing/2014/main" id="{9221452D-9B65-4DF6-AD75-CC1491B1D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" y="3083"/>
                <a:ext cx="396" cy="548"/>
              </a:xfrm>
              <a:custGeom>
                <a:avLst/>
                <a:gdLst>
                  <a:gd name="T0" fmla="*/ 386 w 396"/>
                  <a:gd name="T1" fmla="*/ 99 h 548"/>
                  <a:gd name="T2" fmla="*/ 373 w 396"/>
                  <a:gd name="T3" fmla="*/ 83 h 548"/>
                  <a:gd name="T4" fmla="*/ 353 w 396"/>
                  <a:gd name="T5" fmla="*/ 62 h 548"/>
                  <a:gd name="T6" fmla="*/ 327 w 396"/>
                  <a:gd name="T7" fmla="*/ 55 h 548"/>
                  <a:gd name="T8" fmla="*/ 323 w 396"/>
                  <a:gd name="T9" fmla="*/ 43 h 548"/>
                  <a:gd name="T10" fmla="*/ 298 w 396"/>
                  <a:gd name="T11" fmla="*/ 37 h 548"/>
                  <a:gd name="T12" fmla="*/ 292 w 396"/>
                  <a:gd name="T13" fmla="*/ 25 h 548"/>
                  <a:gd name="T14" fmla="*/ 288 w 396"/>
                  <a:gd name="T15" fmla="*/ 13 h 548"/>
                  <a:gd name="T16" fmla="*/ 276 w 396"/>
                  <a:gd name="T17" fmla="*/ 2 h 548"/>
                  <a:gd name="T18" fmla="*/ 261 w 396"/>
                  <a:gd name="T19" fmla="*/ 0 h 548"/>
                  <a:gd name="T20" fmla="*/ 256 w 396"/>
                  <a:gd name="T21" fmla="*/ 17 h 548"/>
                  <a:gd name="T22" fmla="*/ 243 w 396"/>
                  <a:gd name="T23" fmla="*/ 22 h 548"/>
                  <a:gd name="T24" fmla="*/ 230 w 396"/>
                  <a:gd name="T25" fmla="*/ 38 h 548"/>
                  <a:gd name="T26" fmla="*/ 222 w 396"/>
                  <a:gd name="T27" fmla="*/ 29 h 548"/>
                  <a:gd name="T28" fmla="*/ 206 w 396"/>
                  <a:gd name="T29" fmla="*/ 23 h 548"/>
                  <a:gd name="T30" fmla="*/ 193 w 396"/>
                  <a:gd name="T31" fmla="*/ 30 h 548"/>
                  <a:gd name="T32" fmla="*/ 175 w 396"/>
                  <a:gd name="T33" fmla="*/ 43 h 548"/>
                  <a:gd name="T34" fmla="*/ 164 w 396"/>
                  <a:gd name="T35" fmla="*/ 57 h 548"/>
                  <a:gd name="T36" fmla="*/ 147 w 396"/>
                  <a:gd name="T37" fmla="*/ 61 h 548"/>
                  <a:gd name="T38" fmla="*/ 124 w 396"/>
                  <a:gd name="T39" fmla="*/ 54 h 548"/>
                  <a:gd name="T40" fmla="*/ 104 w 396"/>
                  <a:gd name="T41" fmla="*/ 51 h 548"/>
                  <a:gd name="T42" fmla="*/ 82 w 396"/>
                  <a:gd name="T43" fmla="*/ 67 h 548"/>
                  <a:gd name="T44" fmla="*/ 61 w 396"/>
                  <a:gd name="T45" fmla="*/ 60 h 548"/>
                  <a:gd name="T46" fmla="*/ 30 w 396"/>
                  <a:gd name="T47" fmla="*/ 83 h 548"/>
                  <a:gd name="T48" fmla="*/ 21 w 396"/>
                  <a:gd name="T49" fmla="*/ 106 h 548"/>
                  <a:gd name="T50" fmla="*/ 18 w 396"/>
                  <a:gd name="T51" fmla="*/ 153 h 548"/>
                  <a:gd name="T52" fmla="*/ 26 w 396"/>
                  <a:gd name="T53" fmla="*/ 178 h 548"/>
                  <a:gd name="T54" fmla="*/ 36 w 396"/>
                  <a:gd name="T55" fmla="*/ 205 h 548"/>
                  <a:gd name="T56" fmla="*/ 49 w 396"/>
                  <a:gd name="T57" fmla="*/ 232 h 548"/>
                  <a:gd name="T58" fmla="*/ 53 w 396"/>
                  <a:gd name="T59" fmla="*/ 284 h 548"/>
                  <a:gd name="T60" fmla="*/ 90 w 396"/>
                  <a:gd name="T61" fmla="*/ 331 h 548"/>
                  <a:gd name="T62" fmla="*/ 118 w 396"/>
                  <a:gd name="T63" fmla="*/ 336 h 548"/>
                  <a:gd name="T64" fmla="*/ 144 w 396"/>
                  <a:gd name="T65" fmla="*/ 377 h 548"/>
                  <a:gd name="T66" fmla="*/ 160 w 396"/>
                  <a:gd name="T67" fmla="*/ 412 h 548"/>
                  <a:gd name="T68" fmla="*/ 204 w 396"/>
                  <a:gd name="T69" fmla="*/ 463 h 548"/>
                  <a:gd name="T70" fmla="*/ 224 w 396"/>
                  <a:gd name="T71" fmla="*/ 492 h 548"/>
                  <a:gd name="T72" fmla="*/ 236 w 396"/>
                  <a:gd name="T73" fmla="*/ 537 h 548"/>
                  <a:gd name="T74" fmla="*/ 259 w 396"/>
                  <a:gd name="T75" fmla="*/ 532 h 548"/>
                  <a:gd name="T76" fmla="*/ 275 w 396"/>
                  <a:gd name="T77" fmla="*/ 504 h 548"/>
                  <a:gd name="T78" fmla="*/ 282 w 396"/>
                  <a:gd name="T79" fmla="*/ 466 h 548"/>
                  <a:gd name="T80" fmla="*/ 292 w 396"/>
                  <a:gd name="T81" fmla="*/ 462 h 548"/>
                  <a:gd name="T82" fmla="*/ 311 w 396"/>
                  <a:gd name="T83" fmla="*/ 456 h 548"/>
                  <a:gd name="T84" fmla="*/ 320 w 396"/>
                  <a:gd name="T85" fmla="*/ 437 h 548"/>
                  <a:gd name="T86" fmla="*/ 316 w 396"/>
                  <a:gd name="T87" fmla="*/ 421 h 548"/>
                  <a:gd name="T88" fmla="*/ 327 w 396"/>
                  <a:gd name="T89" fmla="*/ 411 h 548"/>
                  <a:gd name="T90" fmla="*/ 331 w 396"/>
                  <a:gd name="T91" fmla="*/ 396 h 548"/>
                  <a:gd name="T92" fmla="*/ 343 w 396"/>
                  <a:gd name="T93" fmla="*/ 381 h 548"/>
                  <a:gd name="T94" fmla="*/ 350 w 396"/>
                  <a:gd name="T95" fmla="*/ 364 h 548"/>
                  <a:gd name="T96" fmla="*/ 345 w 396"/>
                  <a:gd name="T97" fmla="*/ 347 h 548"/>
                  <a:gd name="T98" fmla="*/ 351 w 396"/>
                  <a:gd name="T99" fmla="*/ 331 h 548"/>
                  <a:gd name="T100" fmla="*/ 349 w 396"/>
                  <a:gd name="T101" fmla="*/ 321 h 548"/>
                  <a:gd name="T102" fmla="*/ 351 w 396"/>
                  <a:gd name="T103" fmla="*/ 309 h 548"/>
                  <a:gd name="T104" fmla="*/ 348 w 396"/>
                  <a:gd name="T105" fmla="*/ 298 h 548"/>
                  <a:gd name="T106" fmla="*/ 348 w 396"/>
                  <a:gd name="T107" fmla="*/ 277 h 548"/>
                  <a:gd name="T108" fmla="*/ 349 w 396"/>
                  <a:gd name="T109" fmla="*/ 238 h 548"/>
                  <a:gd name="T110" fmla="*/ 342 w 396"/>
                  <a:gd name="T111" fmla="*/ 232 h 548"/>
                  <a:gd name="T112" fmla="*/ 344 w 396"/>
                  <a:gd name="T113" fmla="*/ 218 h 548"/>
                  <a:gd name="T114" fmla="*/ 344 w 396"/>
                  <a:gd name="T115" fmla="*/ 212 h 548"/>
                  <a:gd name="T116" fmla="*/ 347 w 396"/>
                  <a:gd name="T117" fmla="*/ 195 h 548"/>
                  <a:gd name="T118" fmla="*/ 367 w 396"/>
                  <a:gd name="T119" fmla="*/ 195 h 548"/>
                  <a:gd name="T120" fmla="*/ 379 w 396"/>
                  <a:gd name="T121" fmla="*/ 180 h 548"/>
                  <a:gd name="T122" fmla="*/ 381 w 396"/>
                  <a:gd name="T123" fmla="*/ 161 h 548"/>
                  <a:gd name="T124" fmla="*/ 386 w 396"/>
                  <a:gd name="T125" fmla="*/ 131 h 54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6"/>
                  <a:gd name="T190" fmla="*/ 0 h 548"/>
                  <a:gd name="T191" fmla="*/ 396 w 396"/>
                  <a:gd name="T192" fmla="*/ 548 h 54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6" h="548">
                    <a:moveTo>
                      <a:pt x="392" y="121"/>
                    </a:moveTo>
                    <a:lnTo>
                      <a:pt x="392" y="118"/>
                    </a:lnTo>
                    <a:lnTo>
                      <a:pt x="392" y="116"/>
                    </a:lnTo>
                    <a:lnTo>
                      <a:pt x="392" y="114"/>
                    </a:lnTo>
                    <a:lnTo>
                      <a:pt x="391" y="113"/>
                    </a:lnTo>
                    <a:lnTo>
                      <a:pt x="392" y="111"/>
                    </a:lnTo>
                    <a:lnTo>
                      <a:pt x="392" y="110"/>
                    </a:lnTo>
                    <a:lnTo>
                      <a:pt x="392" y="107"/>
                    </a:lnTo>
                    <a:lnTo>
                      <a:pt x="393" y="105"/>
                    </a:lnTo>
                    <a:lnTo>
                      <a:pt x="396" y="104"/>
                    </a:lnTo>
                    <a:lnTo>
                      <a:pt x="392" y="104"/>
                    </a:lnTo>
                    <a:lnTo>
                      <a:pt x="390" y="103"/>
                    </a:lnTo>
                    <a:lnTo>
                      <a:pt x="386" y="99"/>
                    </a:lnTo>
                    <a:lnTo>
                      <a:pt x="384" y="96"/>
                    </a:lnTo>
                    <a:lnTo>
                      <a:pt x="379" y="95"/>
                    </a:lnTo>
                    <a:lnTo>
                      <a:pt x="378" y="94"/>
                    </a:lnTo>
                    <a:lnTo>
                      <a:pt x="375" y="95"/>
                    </a:lnTo>
                    <a:lnTo>
                      <a:pt x="373" y="94"/>
                    </a:lnTo>
                    <a:lnTo>
                      <a:pt x="373" y="93"/>
                    </a:lnTo>
                    <a:lnTo>
                      <a:pt x="375" y="94"/>
                    </a:lnTo>
                    <a:lnTo>
                      <a:pt x="376" y="89"/>
                    </a:lnTo>
                    <a:lnTo>
                      <a:pt x="376" y="87"/>
                    </a:lnTo>
                    <a:lnTo>
                      <a:pt x="376" y="86"/>
                    </a:lnTo>
                    <a:lnTo>
                      <a:pt x="376" y="83"/>
                    </a:lnTo>
                    <a:lnTo>
                      <a:pt x="373" y="83"/>
                    </a:lnTo>
                    <a:lnTo>
                      <a:pt x="371" y="82"/>
                    </a:lnTo>
                    <a:lnTo>
                      <a:pt x="369" y="81"/>
                    </a:lnTo>
                    <a:lnTo>
                      <a:pt x="365" y="81"/>
                    </a:lnTo>
                    <a:lnTo>
                      <a:pt x="363" y="82"/>
                    </a:lnTo>
                    <a:lnTo>
                      <a:pt x="363" y="79"/>
                    </a:lnTo>
                    <a:lnTo>
                      <a:pt x="362" y="75"/>
                    </a:lnTo>
                    <a:lnTo>
                      <a:pt x="360" y="74"/>
                    </a:lnTo>
                    <a:lnTo>
                      <a:pt x="359" y="75"/>
                    </a:lnTo>
                    <a:lnTo>
                      <a:pt x="359" y="74"/>
                    </a:lnTo>
                    <a:lnTo>
                      <a:pt x="357" y="71"/>
                    </a:lnTo>
                    <a:lnTo>
                      <a:pt x="356" y="71"/>
                    </a:lnTo>
                    <a:lnTo>
                      <a:pt x="356" y="65"/>
                    </a:lnTo>
                    <a:lnTo>
                      <a:pt x="354" y="64"/>
                    </a:lnTo>
                    <a:lnTo>
                      <a:pt x="353" y="62"/>
                    </a:lnTo>
                    <a:lnTo>
                      <a:pt x="351" y="62"/>
                    </a:lnTo>
                    <a:lnTo>
                      <a:pt x="350" y="61"/>
                    </a:lnTo>
                    <a:lnTo>
                      <a:pt x="349" y="63"/>
                    </a:lnTo>
                    <a:lnTo>
                      <a:pt x="348" y="63"/>
                    </a:lnTo>
                    <a:lnTo>
                      <a:pt x="346" y="62"/>
                    </a:lnTo>
                    <a:lnTo>
                      <a:pt x="346" y="63"/>
                    </a:lnTo>
                    <a:lnTo>
                      <a:pt x="346" y="64"/>
                    </a:lnTo>
                    <a:lnTo>
                      <a:pt x="339" y="64"/>
                    </a:lnTo>
                    <a:lnTo>
                      <a:pt x="337" y="63"/>
                    </a:lnTo>
                    <a:lnTo>
                      <a:pt x="329" y="61"/>
                    </a:lnTo>
                    <a:lnTo>
                      <a:pt x="329" y="60"/>
                    </a:lnTo>
                    <a:lnTo>
                      <a:pt x="328" y="59"/>
                    </a:lnTo>
                    <a:lnTo>
                      <a:pt x="328" y="58"/>
                    </a:lnTo>
                    <a:lnTo>
                      <a:pt x="326" y="56"/>
                    </a:lnTo>
                    <a:lnTo>
                      <a:pt x="327" y="55"/>
                    </a:lnTo>
                    <a:lnTo>
                      <a:pt x="326" y="54"/>
                    </a:lnTo>
                    <a:lnTo>
                      <a:pt x="324" y="53"/>
                    </a:lnTo>
                    <a:lnTo>
                      <a:pt x="323" y="51"/>
                    </a:lnTo>
                    <a:lnTo>
                      <a:pt x="322" y="51"/>
                    </a:lnTo>
                    <a:lnTo>
                      <a:pt x="321" y="50"/>
                    </a:lnTo>
                    <a:lnTo>
                      <a:pt x="318" y="50"/>
                    </a:lnTo>
                    <a:lnTo>
                      <a:pt x="317" y="47"/>
                    </a:lnTo>
                    <a:lnTo>
                      <a:pt x="315" y="47"/>
                    </a:lnTo>
                    <a:lnTo>
                      <a:pt x="313" y="46"/>
                    </a:lnTo>
                    <a:lnTo>
                      <a:pt x="314" y="42"/>
                    </a:lnTo>
                    <a:lnTo>
                      <a:pt x="315" y="43"/>
                    </a:lnTo>
                    <a:lnTo>
                      <a:pt x="316" y="42"/>
                    </a:lnTo>
                    <a:lnTo>
                      <a:pt x="320" y="42"/>
                    </a:lnTo>
                    <a:lnTo>
                      <a:pt x="323" y="44"/>
                    </a:lnTo>
                    <a:lnTo>
                      <a:pt x="323" y="43"/>
                    </a:lnTo>
                    <a:lnTo>
                      <a:pt x="321" y="42"/>
                    </a:lnTo>
                    <a:lnTo>
                      <a:pt x="320" y="42"/>
                    </a:lnTo>
                    <a:lnTo>
                      <a:pt x="319" y="37"/>
                    </a:lnTo>
                    <a:lnTo>
                      <a:pt x="318" y="37"/>
                    </a:lnTo>
                    <a:lnTo>
                      <a:pt x="313" y="37"/>
                    </a:lnTo>
                    <a:lnTo>
                      <a:pt x="311" y="40"/>
                    </a:lnTo>
                    <a:lnTo>
                      <a:pt x="309" y="40"/>
                    </a:lnTo>
                    <a:lnTo>
                      <a:pt x="308" y="38"/>
                    </a:lnTo>
                    <a:lnTo>
                      <a:pt x="308" y="37"/>
                    </a:lnTo>
                    <a:lnTo>
                      <a:pt x="308" y="36"/>
                    </a:lnTo>
                    <a:lnTo>
                      <a:pt x="307" y="36"/>
                    </a:lnTo>
                    <a:lnTo>
                      <a:pt x="306" y="34"/>
                    </a:lnTo>
                    <a:lnTo>
                      <a:pt x="305" y="36"/>
                    </a:lnTo>
                    <a:lnTo>
                      <a:pt x="299" y="34"/>
                    </a:lnTo>
                    <a:lnTo>
                      <a:pt x="298" y="37"/>
                    </a:lnTo>
                    <a:lnTo>
                      <a:pt x="296" y="37"/>
                    </a:lnTo>
                    <a:lnTo>
                      <a:pt x="295" y="40"/>
                    </a:lnTo>
                    <a:lnTo>
                      <a:pt x="294" y="40"/>
                    </a:lnTo>
                    <a:lnTo>
                      <a:pt x="293" y="39"/>
                    </a:lnTo>
                    <a:lnTo>
                      <a:pt x="293" y="36"/>
                    </a:lnTo>
                    <a:lnTo>
                      <a:pt x="288" y="36"/>
                    </a:lnTo>
                    <a:lnTo>
                      <a:pt x="286" y="36"/>
                    </a:lnTo>
                    <a:lnTo>
                      <a:pt x="286" y="34"/>
                    </a:lnTo>
                    <a:lnTo>
                      <a:pt x="288" y="32"/>
                    </a:lnTo>
                    <a:lnTo>
                      <a:pt x="288" y="30"/>
                    </a:lnTo>
                    <a:lnTo>
                      <a:pt x="290" y="29"/>
                    </a:lnTo>
                    <a:lnTo>
                      <a:pt x="291" y="29"/>
                    </a:lnTo>
                    <a:lnTo>
                      <a:pt x="290" y="27"/>
                    </a:lnTo>
                    <a:lnTo>
                      <a:pt x="292" y="25"/>
                    </a:lnTo>
                    <a:lnTo>
                      <a:pt x="292" y="23"/>
                    </a:lnTo>
                    <a:lnTo>
                      <a:pt x="294" y="24"/>
                    </a:lnTo>
                    <a:lnTo>
                      <a:pt x="296" y="24"/>
                    </a:lnTo>
                    <a:lnTo>
                      <a:pt x="297" y="20"/>
                    </a:lnTo>
                    <a:lnTo>
                      <a:pt x="296" y="17"/>
                    </a:lnTo>
                    <a:lnTo>
                      <a:pt x="294" y="16"/>
                    </a:lnTo>
                    <a:lnTo>
                      <a:pt x="294" y="13"/>
                    </a:lnTo>
                    <a:lnTo>
                      <a:pt x="292" y="15"/>
                    </a:lnTo>
                    <a:lnTo>
                      <a:pt x="291" y="13"/>
                    </a:lnTo>
                    <a:lnTo>
                      <a:pt x="292" y="10"/>
                    </a:lnTo>
                    <a:lnTo>
                      <a:pt x="291" y="9"/>
                    </a:lnTo>
                    <a:lnTo>
                      <a:pt x="291" y="12"/>
                    </a:lnTo>
                    <a:lnTo>
                      <a:pt x="288" y="13"/>
                    </a:lnTo>
                    <a:lnTo>
                      <a:pt x="287" y="13"/>
                    </a:lnTo>
                    <a:lnTo>
                      <a:pt x="286" y="13"/>
                    </a:lnTo>
                    <a:lnTo>
                      <a:pt x="283" y="14"/>
                    </a:lnTo>
                    <a:lnTo>
                      <a:pt x="282" y="13"/>
                    </a:lnTo>
                    <a:lnTo>
                      <a:pt x="282" y="7"/>
                    </a:lnTo>
                    <a:lnTo>
                      <a:pt x="281" y="7"/>
                    </a:lnTo>
                    <a:lnTo>
                      <a:pt x="280" y="7"/>
                    </a:lnTo>
                    <a:lnTo>
                      <a:pt x="279" y="7"/>
                    </a:lnTo>
                    <a:lnTo>
                      <a:pt x="280" y="4"/>
                    </a:lnTo>
                    <a:lnTo>
                      <a:pt x="278" y="3"/>
                    </a:lnTo>
                    <a:lnTo>
                      <a:pt x="278" y="2"/>
                    </a:lnTo>
                    <a:lnTo>
                      <a:pt x="280" y="2"/>
                    </a:lnTo>
                    <a:lnTo>
                      <a:pt x="279" y="1"/>
                    </a:lnTo>
                    <a:lnTo>
                      <a:pt x="277" y="2"/>
                    </a:lnTo>
                    <a:lnTo>
                      <a:pt x="276" y="2"/>
                    </a:lnTo>
                    <a:lnTo>
                      <a:pt x="275" y="3"/>
                    </a:lnTo>
                    <a:lnTo>
                      <a:pt x="275" y="6"/>
                    </a:lnTo>
                    <a:lnTo>
                      <a:pt x="273" y="6"/>
                    </a:lnTo>
                    <a:lnTo>
                      <a:pt x="272" y="7"/>
                    </a:lnTo>
                    <a:lnTo>
                      <a:pt x="270" y="7"/>
                    </a:lnTo>
                    <a:lnTo>
                      <a:pt x="271" y="3"/>
                    </a:lnTo>
                    <a:lnTo>
                      <a:pt x="271" y="0"/>
                    </a:lnTo>
                    <a:lnTo>
                      <a:pt x="270" y="0"/>
                    </a:lnTo>
                    <a:lnTo>
                      <a:pt x="270" y="1"/>
                    </a:lnTo>
                    <a:lnTo>
                      <a:pt x="265" y="0"/>
                    </a:lnTo>
                    <a:lnTo>
                      <a:pt x="264" y="0"/>
                    </a:lnTo>
                    <a:lnTo>
                      <a:pt x="264" y="1"/>
                    </a:lnTo>
                    <a:lnTo>
                      <a:pt x="263" y="2"/>
                    </a:lnTo>
                    <a:lnTo>
                      <a:pt x="262" y="1"/>
                    </a:lnTo>
                    <a:lnTo>
                      <a:pt x="261" y="0"/>
                    </a:lnTo>
                    <a:lnTo>
                      <a:pt x="259" y="0"/>
                    </a:lnTo>
                    <a:lnTo>
                      <a:pt x="261" y="1"/>
                    </a:lnTo>
                    <a:lnTo>
                      <a:pt x="261" y="2"/>
                    </a:lnTo>
                    <a:lnTo>
                      <a:pt x="257" y="9"/>
                    </a:lnTo>
                    <a:lnTo>
                      <a:pt x="258" y="11"/>
                    </a:lnTo>
                    <a:lnTo>
                      <a:pt x="261" y="10"/>
                    </a:lnTo>
                    <a:lnTo>
                      <a:pt x="261" y="12"/>
                    </a:lnTo>
                    <a:lnTo>
                      <a:pt x="262" y="12"/>
                    </a:lnTo>
                    <a:lnTo>
                      <a:pt x="262" y="14"/>
                    </a:lnTo>
                    <a:lnTo>
                      <a:pt x="261" y="15"/>
                    </a:lnTo>
                    <a:lnTo>
                      <a:pt x="260" y="18"/>
                    </a:lnTo>
                    <a:lnTo>
                      <a:pt x="257" y="19"/>
                    </a:lnTo>
                    <a:lnTo>
                      <a:pt x="256" y="17"/>
                    </a:lnTo>
                    <a:lnTo>
                      <a:pt x="255" y="17"/>
                    </a:lnTo>
                    <a:lnTo>
                      <a:pt x="256" y="20"/>
                    </a:lnTo>
                    <a:lnTo>
                      <a:pt x="256" y="21"/>
                    </a:lnTo>
                    <a:lnTo>
                      <a:pt x="254" y="20"/>
                    </a:lnTo>
                    <a:lnTo>
                      <a:pt x="252" y="21"/>
                    </a:lnTo>
                    <a:lnTo>
                      <a:pt x="249" y="20"/>
                    </a:lnTo>
                    <a:lnTo>
                      <a:pt x="249" y="23"/>
                    </a:lnTo>
                    <a:lnTo>
                      <a:pt x="247" y="23"/>
                    </a:lnTo>
                    <a:lnTo>
                      <a:pt x="247" y="20"/>
                    </a:lnTo>
                    <a:lnTo>
                      <a:pt x="246" y="23"/>
                    </a:lnTo>
                    <a:lnTo>
                      <a:pt x="245" y="22"/>
                    </a:lnTo>
                    <a:lnTo>
                      <a:pt x="244" y="20"/>
                    </a:lnTo>
                    <a:lnTo>
                      <a:pt x="242" y="20"/>
                    </a:lnTo>
                    <a:lnTo>
                      <a:pt x="243" y="22"/>
                    </a:lnTo>
                    <a:lnTo>
                      <a:pt x="242" y="23"/>
                    </a:lnTo>
                    <a:lnTo>
                      <a:pt x="241" y="24"/>
                    </a:lnTo>
                    <a:lnTo>
                      <a:pt x="242" y="24"/>
                    </a:lnTo>
                    <a:lnTo>
                      <a:pt x="244" y="26"/>
                    </a:lnTo>
                    <a:lnTo>
                      <a:pt x="242" y="26"/>
                    </a:lnTo>
                    <a:lnTo>
                      <a:pt x="244" y="32"/>
                    </a:lnTo>
                    <a:lnTo>
                      <a:pt x="244" y="33"/>
                    </a:lnTo>
                    <a:lnTo>
                      <a:pt x="242" y="33"/>
                    </a:lnTo>
                    <a:lnTo>
                      <a:pt x="239" y="37"/>
                    </a:lnTo>
                    <a:lnTo>
                      <a:pt x="239" y="41"/>
                    </a:lnTo>
                    <a:lnTo>
                      <a:pt x="241" y="44"/>
                    </a:lnTo>
                    <a:lnTo>
                      <a:pt x="239" y="45"/>
                    </a:lnTo>
                    <a:lnTo>
                      <a:pt x="237" y="46"/>
                    </a:lnTo>
                    <a:lnTo>
                      <a:pt x="233" y="43"/>
                    </a:lnTo>
                    <a:lnTo>
                      <a:pt x="230" y="38"/>
                    </a:lnTo>
                    <a:lnTo>
                      <a:pt x="228" y="36"/>
                    </a:lnTo>
                    <a:lnTo>
                      <a:pt x="228" y="35"/>
                    </a:lnTo>
                    <a:lnTo>
                      <a:pt x="228" y="33"/>
                    </a:lnTo>
                    <a:lnTo>
                      <a:pt x="227" y="37"/>
                    </a:lnTo>
                    <a:lnTo>
                      <a:pt x="226" y="36"/>
                    </a:lnTo>
                    <a:lnTo>
                      <a:pt x="226" y="34"/>
                    </a:lnTo>
                    <a:lnTo>
                      <a:pt x="226" y="33"/>
                    </a:lnTo>
                    <a:lnTo>
                      <a:pt x="225" y="33"/>
                    </a:lnTo>
                    <a:lnTo>
                      <a:pt x="225" y="32"/>
                    </a:lnTo>
                    <a:lnTo>
                      <a:pt x="224" y="32"/>
                    </a:lnTo>
                    <a:lnTo>
                      <a:pt x="223" y="30"/>
                    </a:lnTo>
                    <a:lnTo>
                      <a:pt x="223" y="31"/>
                    </a:lnTo>
                    <a:lnTo>
                      <a:pt x="222" y="31"/>
                    </a:lnTo>
                    <a:lnTo>
                      <a:pt x="222" y="29"/>
                    </a:lnTo>
                    <a:lnTo>
                      <a:pt x="221" y="29"/>
                    </a:lnTo>
                    <a:lnTo>
                      <a:pt x="218" y="28"/>
                    </a:lnTo>
                    <a:lnTo>
                      <a:pt x="219" y="28"/>
                    </a:lnTo>
                    <a:lnTo>
                      <a:pt x="219" y="26"/>
                    </a:lnTo>
                    <a:lnTo>
                      <a:pt x="216" y="28"/>
                    </a:lnTo>
                    <a:lnTo>
                      <a:pt x="214" y="27"/>
                    </a:lnTo>
                    <a:lnTo>
                      <a:pt x="214" y="28"/>
                    </a:lnTo>
                    <a:lnTo>
                      <a:pt x="213" y="26"/>
                    </a:lnTo>
                    <a:lnTo>
                      <a:pt x="211" y="28"/>
                    </a:lnTo>
                    <a:lnTo>
                      <a:pt x="209" y="25"/>
                    </a:lnTo>
                    <a:lnTo>
                      <a:pt x="208" y="26"/>
                    </a:lnTo>
                    <a:lnTo>
                      <a:pt x="207" y="25"/>
                    </a:lnTo>
                    <a:lnTo>
                      <a:pt x="207" y="23"/>
                    </a:lnTo>
                    <a:lnTo>
                      <a:pt x="206" y="23"/>
                    </a:lnTo>
                    <a:lnTo>
                      <a:pt x="206" y="20"/>
                    </a:lnTo>
                    <a:lnTo>
                      <a:pt x="204" y="23"/>
                    </a:lnTo>
                    <a:lnTo>
                      <a:pt x="203" y="23"/>
                    </a:lnTo>
                    <a:lnTo>
                      <a:pt x="201" y="24"/>
                    </a:lnTo>
                    <a:lnTo>
                      <a:pt x="201" y="23"/>
                    </a:lnTo>
                    <a:lnTo>
                      <a:pt x="201" y="24"/>
                    </a:lnTo>
                    <a:lnTo>
                      <a:pt x="201" y="28"/>
                    </a:lnTo>
                    <a:lnTo>
                      <a:pt x="199" y="28"/>
                    </a:lnTo>
                    <a:lnTo>
                      <a:pt x="197" y="26"/>
                    </a:lnTo>
                    <a:lnTo>
                      <a:pt x="196" y="29"/>
                    </a:lnTo>
                    <a:lnTo>
                      <a:pt x="198" y="29"/>
                    </a:lnTo>
                    <a:lnTo>
                      <a:pt x="198" y="30"/>
                    </a:lnTo>
                    <a:lnTo>
                      <a:pt x="196" y="32"/>
                    </a:lnTo>
                    <a:lnTo>
                      <a:pt x="193" y="30"/>
                    </a:lnTo>
                    <a:lnTo>
                      <a:pt x="192" y="31"/>
                    </a:lnTo>
                    <a:lnTo>
                      <a:pt x="191" y="33"/>
                    </a:lnTo>
                    <a:lnTo>
                      <a:pt x="190" y="34"/>
                    </a:lnTo>
                    <a:lnTo>
                      <a:pt x="187" y="33"/>
                    </a:lnTo>
                    <a:lnTo>
                      <a:pt x="187" y="35"/>
                    </a:lnTo>
                    <a:lnTo>
                      <a:pt x="186" y="36"/>
                    </a:lnTo>
                    <a:lnTo>
                      <a:pt x="184" y="36"/>
                    </a:lnTo>
                    <a:lnTo>
                      <a:pt x="182" y="37"/>
                    </a:lnTo>
                    <a:lnTo>
                      <a:pt x="182" y="38"/>
                    </a:lnTo>
                    <a:lnTo>
                      <a:pt x="181" y="40"/>
                    </a:lnTo>
                    <a:lnTo>
                      <a:pt x="180" y="37"/>
                    </a:lnTo>
                    <a:lnTo>
                      <a:pt x="176" y="37"/>
                    </a:lnTo>
                    <a:lnTo>
                      <a:pt x="176" y="43"/>
                    </a:lnTo>
                    <a:lnTo>
                      <a:pt x="175" y="43"/>
                    </a:lnTo>
                    <a:lnTo>
                      <a:pt x="176" y="42"/>
                    </a:lnTo>
                    <a:lnTo>
                      <a:pt x="174" y="41"/>
                    </a:lnTo>
                    <a:lnTo>
                      <a:pt x="172" y="43"/>
                    </a:lnTo>
                    <a:lnTo>
                      <a:pt x="169" y="42"/>
                    </a:lnTo>
                    <a:lnTo>
                      <a:pt x="166" y="42"/>
                    </a:lnTo>
                    <a:lnTo>
                      <a:pt x="164" y="43"/>
                    </a:lnTo>
                    <a:lnTo>
                      <a:pt x="163" y="46"/>
                    </a:lnTo>
                    <a:lnTo>
                      <a:pt x="166" y="51"/>
                    </a:lnTo>
                    <a:lnTo>
                      <a:pt x="166" y="53"/>
                    </a:lnTo>
                    <a:lnTo>
                      <a:pt x="164" y="52"/>
                    </a:lnTo>
                    <a:lnTo>
                      <a:pt x="163" y="53"/>
                    </a:lnTo>
                    <a:lnTo>
                      <a:pt x="164" y="53"/>
                    </a:lnTo>
                    <a:lnTo>
                      <a:pt x="163" y="54"/>
                    </a:lnTo>
                    <a:lnTo>
                      <a:pt x="164" y="55"/>
                    </a:lnTo>
                    <a:lnTo>
                      <a:pt x="164" y="57"/>
                    </a:lnTo>
                    <a:lnTo>
                      <a:pt x="163" y="59"/>
                    </a:lnTo>
                    <a:lnTo>
                      <a:pt x="162" y="60"/>
                    </a:lnTo>
                    <a:lnTo>
                      <a:pt x="161" y="59"/>
                    </a:lnTo>
                    <a:lnTo>
                      <a:pt x="160" y="60"/>
                    </a:lnTo>
                    <a:lnTo>
                      <a:pt x="158" y="61"/>
                    </a:lnTo>
                    <a:lnTo>
                      <a:pt x="156" y="63"/>
                    </a:lnTo>
                    <a:lnTo>
                      <a:pt x="155" y="63"/>
                    </a:lnTo>
                    <a:lnTo>
                      <a:pt x="155" y="64"/>
                    </a:lnTo>
                    <a:lnTo>
                      <a:pt x="153" y="63"/>
                    </a:lnTo>
                    <a:lnTo>
                      <a:pt x="153" y="66"/>
                    </a:lnTo>
                    <a:lnTo>
                      <a:pt x="152" y="66"/>
                    </a:lnTo>
                    <a:lnTo>
                      <a:pt x="148" y="63"/>
                    </a:lnTo>
                    <a:lnTo>
                      <a:pt x="147" y="61"/>
                    </a:lnTo>
                    <a:lnTo>
                      <a:pt x="147" y="60"/>
                    </a:lnTo>
                    <a:lnTo>
                      <a:pt x="145" y="59"/>
                    </a:lnTo>
                    <a:lnTo>
                      <a:pt x="143" y="58"/>
                    </a:lnTo>
                    <a:lnTo>
                      <a:pt x="139" y="62"/>
                    </a:lnTo>
                    <a:lnTo>
                      <a:pt x="136" y="60"/>
                    </a:lnTo>
                    <a:lnTo>
                      <a:pt x="133" y="60"/>
                    </a:lnTo>
                    <a:lnTo>
                      <a:pt x="132" y="61"/>
                    </a:lnTo>
                    <a:lnTo>
                      <a:pt x="132" y="58"/>
                    </a:lnTo>
                    <a:lnTo>
                      <a:pt x="130" y="55"/>
                    </a:lnTo>
                    <a:lnTo>
                      <a:pt x="127" y="57"/>
                    </a:lnTo>
                    <a:lnTo>
                      <a:pt x="125" y="55"/>
                    </a:lnTo>
                    <a:lnTo>
                      <a:pt x="125" y="57"/>
                    </a:lnTo>
                    <a:lnTo>
                      <a:pt x="124" y="57"/>
                    </a:lnTo>
                    <a:lnTo>
                      <a:pt x="123" y="55"/>
                    </a:lnTo>
                    <a:lnTo>
                      <a:pt x="124" y="54"/>
                    </a:lnTo>
                    <a:lnTo>
                      <a:pt x="123" y="54"/>
                    </a:lnTo>
                    <a:lnTo>
                      <a:pt x="123" y="53"/>
                    </a:lnTo>
                    <a:lnTo>
                      <a:pt x="122" y="52"/>
                    </a:lnTo>
                    <a:lnTo>
                      <a:pt x="120" y="52"/>
                    </a:lnTo>
                    <a:lnTo>
                      <a:pt x="119" y="50"/>
                    </a:lnTo>
                    <a:lnTo>
                      <a:pt x="117" y="50"/>
                    </a:lnTo>
                    <a:lnTo>
                      <a:pt x="116" y="52"/>
                    </a:lnTo>
                    <a:lnTo>
                      <a:pt x="114" y="53"/>
                    </a:lnTo>
                    <a:lnTo>
                      <a:pt x="112" y="54"/>
                    </a:lnTo>
                    <a:lnTo>
                      <a:pt x="111" y="53"/>
                    </a:lnTo>
                    <a:lnTo>
                      <a:pt x="110" y="51"/>
                    </a:lnTo>
                    <a:lnTo>
                      <a:pt x="109" y="52"/>
                    </a:lnTo>
                    <a:lnTo>
                      <a:pt x="109" y="53"/>
                    </a:lnTo>
                    <a:lnTo>
                      <a:pt x="106" y="53"/>
                    </a:lnTo>
                    <a:lnTo>
                      <a:pt x="104" y="51"/>
                    </a:lnTo>
                    <a:lnTo>
                      <a:pt x="104" y="53"/>
                    </a:lnTo>
                    <a:lnTo>
                      <a:pt x="100" y="56"/>
                    </a:lnTo>
                    <a:lnTo>
                      <a:pt x="98" y="56"/>
                    </a:lnTo>
                    <a:lnTo>
                      <a:pt x="96" y="54"/>
                    </a:lnTo>
                    <a:lnTo>
                      <a:pt x="93" y="53"/>
                    </a:lnTo>
                    <a:lnTo>
                      <a:pt x="92" y="53"/>
                    </a:lnTo>
                    <a:lnTo>
                      <a:pt x="94" y="56"/>
                    </a:lnTo>
                    <a:lnTo>
                      <a:pt x="94" y="60"/>
                    </a:lnTo>
                    <a:lnTo>
                      <a:pt x="89" y="59"/>
                    </a:lnTo>
                    <a:lnTo>
                      <a:pt x="84" y="60"/>
                    </a:lnTo>
                    <a:lnTo>
                      <a:pt x="85" y="62"/>
                    </a:lnTo>
                    <a:lnTo>
                      <a:pt x="85" y="66"/>
                    </a:lnTo>
                    <a:lnTo>
                      <a:pt x="85" y="68"/>
                    </a:lnTo>
                    <a:lnTo>
                      <a:pt x="82" y="67"/>
                    </a:lnTo>
                    <a:lnTo>
                      <a:pt x="82" y="66"/>
                    </a:lnTo>
                    <a:lnTo>
                      <a:pt x="82" y="65"/>
                    </a:lnTo>
                    <a:lnTo>
                      <a:pt x="82" y="59"/>
                    </a:lnTo>
                    <a:lnTo>
                      <a:pt x="80" y="57"/>
                    </a:lnTo>
                    <a:lnTo>
                      <a:pt x="76" y="54"/>
                    </a:lnTo>
                    <a:lnTo>
                      <a:pt x="71" y="54"/>
                    </a:lnTo>
                    <a:lnTo>
                      <a:pt x="71" y="56"/>
                    </a:lnTo>
                    <a:lnTo>
                      <a:pt x="70" y="55"/>
                    </a:lnTo>
                    <a:lnTo>
                      <a:pt x="70" y="57"/>
                    </a:lnTo>
                    <a:lnTo>
                      <a:pt x="68" y="57"/>
                    </a:lnTo>
                    <a:lnTo>
                      <a:pt x="66" y="57"/>
                    </a:lnTo>
                    <a:lnTo>
                      <a:pt x="66" y="62"/>
                    </a:lnTo>
                    <a:lnTo>
                      <a:pt x="63" y="60"/>
                    </a:lnTo>
                    <a:lnTo>
                      <a:pt x="62" y="63"/>
                    </a:lnTo>
                    <a:lnTo>
                      <a:pt x="61" y="60"/>
                    </a:lnTo>
                    <a:lnTo>
                      <a:pt x="58" y="57"/>
                    </a:lnTo>
                    <a:lnTo>
                      <a:pt x="54" y="57"/>
                    </a:lnTo>
                    <a:lnTo>
                      <a:pt x="50" y="55"/>
                    </a:lnTo>
                    <a:lnTo>
                      <a:pt x="49" y="59"/>
                    </a:lnTo>
                    <a:lnTo>
                      <a:pt x="47" y="61"/>
                    </a:lnTo>
                    <a:lnTo>
                      <a:pt x="46" y="61"/>
                    </a:lnTo>
                    <a:lnTo>
                      <a:pt x="41" y="64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8" y="72"/>
                    </a:lnTo>
                    <a:lnTo>
                      <a:pt x="37" y="75"/>
                    </a:lnTo>
                    <a:lnTo>
                      <a:pt x="33" y="75"/>
                    </a:lnTo>
                    <a:lnTo>
                      <a:pt x="32" y="84"/>
                    </a:lnTo>
                    <a:lnTo>
                      <a:pt x="31" y="83"/>
                    </a:lnTo>
                    <a:lnTo>
                      <a:pt x="30" y="83"/>
                    </a:lnTo>
                    <a:lnTo>
                      <a:pt x="29" y="81"/>
                    </a:lnTo>
                    <a:lnTo>
                      <a:pt x="28" y="81"/>
                    </a:lnTo>
                    <a:lnTo>
                      <a:pt x="26" y="83"/>
                    </a:lnTo>
                    <a:lnTo>
                      <a:pt x="24" y="85"/>
                    </a:lnTo>
                    <a:lnTo>
                      <a:pt x="25" y="89"/>
                    </a:lnTo>
                    <a:lnTo>
                      <a:pt x="24" y="91"/>
                    </a:lnTo>
                    <a:lnTo>
                      <a:pt x="23" y="94"/>
                    </a:lnTo>
                    <a:lnTo>
                      <a:pt x="21" y="94"/>
                    </a:lnTo>
                    <a:lnTo>
                      <a:pt x="21" y="95"/>
                    </a:lnTo>
                    <a:lnTo>
                      <a:pt x="22" y="100"/>
                    </a:lnTo>
                    <a:lnTo>
                      <a:pt x="20" y="102"/>
                    </a:lnTo>
                    <a:lnTo>
                      <a:pt x="22" y="104"/>
                    </a:lnTo>
                    <a:lnTo>
                      <a:pt x="22" y="106"/>
                    </a:lnTo>
                    <a:lnTo>
                      <a:pt x="21" y="107"/>
                    </a:lnTo>
                    <a:lnTo>
                      <a:pt x="21" y="106"/>
                    </a:lnTo>
                    <a:lnTo>
                      <a:pt x="2" y="114"/>
                    </a:lnTo>
                    <a:lnTo>
                      <a:pt x="0" y="118"/>
                    </a:lnTo>
                    <a:lnTo>
                      <a:pt x="1" y="121"/>
                    </a:lnTo>
                    <a:lnTo>
                      <a:pt x="0" y="123"/>
                    </a:lnTo>
                    <a:lnTo>
                      <a:pt x="1" y="125"/>
                    </a:lnTo>
                    <a:lnTo>
                      <a:pt x="2" y="127"/>
                    </a:lnTo>
                    <a:lnTo>
                      <a:pt x="1" y="128"/>
                    </a:lnTo>
                    <a:lnTo>
                      <a:pt x="5" y="130"/>
                    </a:lnTo>
                    <a:lnTo>
                      <a:pt x="5" y="131"/>
                    </a:lnTo>
                    <a:lnTo>
                      <a:pt x="5" y="134"/>
                    </a:lnTo>
                    <a:lnTo>
                      <a:pt x="7" y="142"/>
                    </a:lnTo>
                    <a:lnTo>
                      <a:pt x="9" y="144"/>
                    </a:lnTo>
                    <a:lnTo>
                      <a:pt x="12" y="145"/>
                    </a:lnTo>
                    <a:lnTo>
                      <a:pt x="18" y="150"/>
                    </a:lnTo>
                    <a:lnTo>
                      <a:pt x="18" y="153"/>
                    </a:lnTo>
                    <a:lnTo>
                      <a:pt x="21" y="154"/>
                    </a:lnTo>
                    <a:lnTo>
                      <a:pt x="22" y="154"/>
                    </a:lnTo>
                    <a:lnTo>
                      <a:pt x="23" y="155"/>
                    </a:lnTo>
                    <a:lnTo>
                      <a:pt x="26" y="154"/>
                    </a:lnTo>
                    <a:lnTo>
                      <a:pt x="28" y="155"/>
                    </a:lnTo>
                    <a:lnTo>
                      <a:pt x="27" y="159"/>
                    </a:lnTo>
                    <a:lnTo>
                      <a:pt x="29" y="165"/>
                    </a:lnTo>
                    <a:lnTo>
                      <a:pt x="26" y="168"/>
                    </a:lnTo>
                    <a:lnTo>
                      <a:pt x="27" y="171"/>
                    </a:lnTo>
                    <a:lnTo>
                      <a:pt x="24" y="173"/>
                    </a:lnTo>
                    <a:lnTo>
                      <a:pt x="24" y="174"/>
                    </a:lnTo>
                    <a:lnTo>
                      <a:pt x="24" y="175"/>
                    </a:lnTo>
                    <a:lnTo>
                      <a:pt x="26" y="176"/>
                    </a:lnTo>
                    <a:lnTo>
                      <a:pt x="27" y="177"/>
                    </a:lnTo>
                    <a:lnTo>
                      <a:pt x="26" y="178"/>
                    </a:lnTo>
                    <a:lnTo>
                      <a:pt x="24" y="180"/>
                    </a:lnTo>
                    <a:lnTo>
                      <a:pt x="24" y="183"/>
                    </a:lnTo>
                    <a:lnTo>
                      <a:pt x="27" y="184"/>
                    </a:lnTo>
                    <a:lnTo>
                      <a:pt x="27" y="185"/>
                    </a:lnTo>
                    <a:lnTo>
                      <a:pt x="25" y="185"/>
                    </a:lnTo>
                    <a:lnTo>
                      <a:pt x="25" y="187"/>
                    </a:lnTo>
                    <a:lnTo>
                      <a:pt x="27" y="188"/>
                    </a:lnTo>
                    <a:lnTo>
                      <a:pt x="30" y="187"/>
                    </a:lnTo>
                    <a:lnTo>
                      <a:pt x="33" y="187"/>
                    </a:lnTo>
                    <a:lnTo>
                      <a:pt x="34" y="188"/>
                    </a:lnTo>
                    <a:lnTo>
                      <a:pt x="33" y="189"/>
                    </a:lnTo>
                    <a:lnTo>
                      <a:pt x="32" y="190"/>
                    </a:lnTo>
                    <a:lnTo>
                      <a:pt x="34" y="193"/>
                    </a:lnTo>
                    <a:lnTo>
                      <a:pt x="33" y="199"/>
                    </a:lnTo>
                    <a:lnTo>
                      <a:pt x="36" y="205"/>
                    </a:lnTo>
                    <a:lnTo>
                      <a:pt x="34" y="212"/>
                    </a:lnTo>
                    <a:lnTo>
                      <a:pt x="34" y="217"/>
                    </a:lnTo>
                    <a:lnTo>
                      <a:pt x="35" y="219"/>
                    </a:lnTo>
                    <a:lnTo>
                      <a:pt x="35" y="222"/>
                    </a:lnTo>
                    <a:lnTo>
                      <a:pt x="37" y="225"/>
                    </a:lnTo>
                    <a:lnTo>
                      <a:pt x="38" y="226"/>
                    </a:lnTo>
                    <a:lnTo>
                      <a:pt x="36" y="228"/>
                    </a:lnTo>
                    <a:lnTo>
                      <a:pt x="40" y="232"/>
                    </a:lnTo>
                    <a:lnTo>
                      <a:pt x="42" y="232"/>
                    </a:lnTo>
                    <a:lnTo>
                      <a:pt x="42" y="234"/>
                    </a:lnTo>
                    <a:lnTo>
                      <a:pt x="43" y="233"/>
                    </a:lnTo>
                    <a:lnTo>
                      <a:pt x="44" y="234"/>
                    </a:lnTo>
                    <a:lnTo>
                      <a:pt x="46" y="234"/>
                    </a:lnTo>
                    <a:lnTo>
                      <a:pt x="47" y="233"/>
                    </a:lnTo>
                    <a:lnTo>
                      <a:pt x="49" y="232"/>
                    </a:lnTo>
                    <a:lnTo>
                      <a:pt x="50" y="238"/>
                    </a:lnTo>
                    <a:lnTo>
                      <a:pt x="49" y="239"/>
                    </a:lnTo>
                    <a:lnTo>
                      <a:pt x="49" y="243"/>
                    </a:lnTo>
                    <a:lnTo>
                      <a:pt x="47" y="247"/>
                    </a:lnTo>
                    <a:lnTo>
                      <a:pt x="48" y="251"/>
                    </a:lnTo>
                    <a:lnTo>
                      <a:pt x="47" y="254"/>
                    </a:lnTo>
                    <a:lnTo>
                      <a:pt x="43" y="259"/>
                    </a:lnTo>
                    <a:lnTo>
                      <a:pt x="45" y="259"/>
                    </a:lnTo>
                    <a:lnTo>
                      <a:pt x="46" y="262"/>
                    </a:lnTo>
                    <a:lnTo>
                      <a:pt x="47" y="263"/>
                    </a:lnTo>
                    <a:lnTo>
                      <a:pt x="49" y="271"/>
                    </a:lnTo>
                    <a:lnTo>
                      <a:pt x="48" y="272"/>
                    </a:lnTo>
                    <a:lnTo>
                      <a:pt x="48" y="277"/>
                    </a:lnTo>
                    <a:lnTo>
                      <a:pt x="47" y="279"/>
                    </a:lnTo>
                    <a:lnTo>
                      <a:pt x="53" y="284"/>
                    </a:lnTo>
                    <a:lnTo>
                      <a:pt x="61" y="286"/>
                    </a:lnTo>
                    <a:lnTo>
                      <a:pt x="62" y="291"/>
                    </a:lnTo>
                    <a:lnTo>
                      <a:pt x="66" y="294"/>
                    </a:lnTo>
                    <a:lnTo>
                      <a:pt x="72" y="302"/>
                    </a:lnTo>
                    <a:lnTo>
                      <a:pt x="72" y="308"/>
                    </a:lnTo>
                    <a:lnTo>
                      <a:pt x="71" y="312"/>
                    </a:lnTo>
                    <a:lnTo>
                      <a:pt x="73" y="317"/>
                    </a:lnTo>
                    <a:lnTo>
                      <a:pt x="75" y="318"/>
                    </a:lnTo>
                    <a:lnTo>
                      <a:pt x="76" y="320"/>
                    </a:lnTo>
                    <a:lnTo>
                      <a:pt x="74" y="324"/>
                    </a:lnTo>
                    <a:lnTo>
                      <a:pt x="74" y="325"/>
                    </a:lnTo>
                    <a:lnTo>
                      <a:pt x="76" y="326"/>
                    </a:lnTo>
                    <a:lnTo>
                      <a:pt x="79" y="329"/>
                    </a:lnTo>
                    <a:lnTo>
                      <a:pt x="83" y="330"/>
                    </a:lnTo>
                    <a:lnTo>
                      <a:pt x="90" y="331"/>
                    </a:lnTo>
                    <a:lnTo>
                      <a:pt x="92" y="331"/>
                    </a:lnTo>
                    <a:lnTo>
                      <a:pt x="92" y="330"/>
                    </a:lnTo>
                    <a:lnTo>
                      <a:pt x="93" y="330"/>
                    </a:lnTo>
                    <a:lnTo>
                      <a:pt x="94" y="333"/>
                    </a:lnTo>
                    <a:lnTo>
                      <a:pt x="96" y="333"/>
                    </a:lnTo>
                    <a:lnTo>
                      <a:pt x="100" y="337"/>
                    </a:lnTo>
                    <a:lnTo>
                      <a:pt x="103" y="338"/>
                    </a:lnTo>
                    <a:lnTo>
                      <a:pt x="103" y="334"/>
                    </a:lnTo>
                    <a:lnTo>
                      <a:pt x="103" y="332"/>
                    </a:lnTo>
                    <a:lnTo>
                      <a:pt x="103" y="329"/>
                    </a:lnTo>
                    <a:lnTo>
                      <a:pt x="109" y="331"/>
                    </a:lnTo>
                    <a:lnTo>
                      <a:pt x="111" y="333"/>
                    </a:lnTo>
                    <a:lnTo>
                      <a:pt x="112" y="334"/>
                    </a:lnTo>
                    <a:lnTo>
                      <a:pt x="115" y="333"/>
                    </a:lnTo>
                    <a:lnTo>
                      <a:pt x="118" y="336"/>
                    </a:lnTo>
                    <a:lnTo>
                      <a:pt x="120" y="336"/>
                    </a:lnTo>
                    <a:lnTo>
                      <a:pt x="121" y="336"/>
                    </a:lnTo>
                    <a:lnTo>
                      <a:pt x="123" y="339"/>
                    </a:lnTo>
                    <a:lnTo>
                      <a:pt x="124" y="339"/>
                    </a:lnTo>
                    <a:lnTo>
                      <a:pt x="127" y="341"/>
                    </a:lnTo>
                    <a:lnTo>
                      <a:pt x="130" y="347"/>
                    </a:lnTo>
                    <a:lnTo>
                      <a:pt x="131" y="350"/>
                    </a:lnTo>
                    <a:lnTo>
                      <a:pt x="133" y="353"/>
                    </a:lnTo>
                    <a:lnTo>
                      <a:pt x="134" y="356"/>
                    </a:lnTo>
                    <a:lnTo>
                      <a:pt x="139" y="358"/>
                    </a:lnTo>
                    <a:lnTo>
                      <a:pt x="139" y="366"/>
                    </a:lnTo>
                    <a:lnTo>
                      <a:pt x="138" y="366"/>
                    </a:lnTo>
                    <a:lnTo>
                      <a:pt x="137" y="369"/>
                    </a:lnTo>
                    <a:lnTo>
                      <a:pt x="138" y="376"/>
                    </a:lnTo>
                    <a:lnTo>
                      <a:pt x="144" y="377"/>
                    </a:lnTo>
                    <a:lnTo>
                      <a:pt x="144" y="379"/>
                    </a:lnTo>
                    <a:lnTo>
                      <a:pt x="144" y="381"/>
                    </a:lnTo>
                    <a:lnTo>
                      <a:pt x="144" y="383"/>
                    </a:lnTo>
                    <a:lnTo>
                      <a:pt x="146" y="384"/>
                    </a:lnTo>
                    <a:lnTo>
                      <a:pt x="147" y="387"/>
                    </a:lnTo>
                    <a:lnTo>
                      <a:pt x="150" y="387"/>
                    </a:lnTo>
                    <a:lnTo>
                      <a:pt x="151" y="389"/>
                    </a:lnTo>
                    <a:lnTo>
                      <a:pt x="152" y="391"/>
                    </a:lnTo>
                    <a:lnTo>
                      <a:pt x="150" y="395"/>
                    </a:lnTo>
                    <a:lnTo>
                      <a:pt x="157" y="402"/>
                    </a:lnTo>
                    <a:lnTo>
                      <a:pt x="156" y="405"/>
                    </a:lnTo>
                    <a:lnTo>
                      <a:pt x="155" y="407"/>
                    </a:lnTo>
                    <a:lnTo>
                      <a:pt x="155" y="408"/>
                    </a:lnTo>
                    <a:lnTo>
                      <a:pt x="158" y="412"/>
                    </a:lnTo>
                    <a:lnTo>
                      <a:pt x="160" y="412"/>
                    </a:lnTo>
                    <a:lnTo>
                      <a:pt x="162" y="415"/>
                    </a:lnTo>
                    <a:lnTo>
                      <a:pt x="163" y="416"/>
                    </a:lnTo>
                    <a:lnTo>
                      <a:pt x="164" y="419"/>
                    </a:lnTo>
                    <a:lnTo>
                      <a:pt x="168" y="424"/>
                    </a:lnTo>
                    <a:lnTo>
                      <a:pt x="170" y="425"/>
                    </a:lnTo>
                    <a:lnTo>
                      <a:pt x="171" y="427"/>
                    </a:lnTo>
                    <a:lnTo>
                      <a:pt x="171" y="430"/>
                    </a:lnTo>
                    <a:lnTo>
                      <a:pt x="168" y="439"/>
                    </a:lnTo>
                    <a:lnTo>
                      <a:pt x="171" y="444"/>
                    </a:lnTo>
                    <a:lnTo>
                      <a:pt x="176" y="451"/>
                    </a:lnTo>
                    <a:lnTo>
                      <a:pt x="184" y="456"/>
                    </a:lnTo>
                    <a:lnTo>
                      <a:pt x="190" y="455"/>
                    </a:lnTo>
                    <a:lnTo>
                      <a:pt x="196" y="455"/>
                    </a:lnTo>
                    <a:lnTo>
                      <a:pt x="198" y="456"/>
                    </a:lnTo>
                    <a:lnTo>
                      <a:pt x="204" y="463"/>
                    </a:lnTo>
                    <a:lnTo>
                      <a:pt x="205" y="464"/>
                    </a:lnTo>
                    <a:lnTo>
                      <a:pt x="207" y="466"/>
                    </a:lnTo>
                    <a:lnTo>
                      <a:pt x="207" y="468"/>
                    </a:lnTo>
                    <a:lnTo>
                      <a:pt x="210" y="470"/>
                    </a:lnTo>
                    <a:lnTo>
                      <a:pt x="212" y="473"/>
                    </a:lnTo>
                    <a:lnTo>
                      <a:pt x="212" y="476"/>
                    </a:lnTo>
                    <a:lnTo>
                      <a:pt x="214" y="478"/>
                    </a:lnTo>
                    <a:lnTo>
                      <a:pt x="216" y="482"/>
                    </a:lnTo>
                    <a:lnTo>
                      <a:pt x="217" y="483"/>
                    </a:lnTo>
                    <a:lnTo>
                      <a:pt x="218" y="484"/>
                    </a:lnTo>
                    <a:lnTo>
                      <a:pt x="219" y="489"/>
                    </a:lnTo>
                    <a:lnTo>
                      <a:pt x="221" y="489"/>
                    </a:lnTo>
                    <a:lnTo>
                      <a:pt x="221" y="491"/>
                    </a:lnTo>
                    <a:lnTo>
                      <a:pt x="223" y="491"/>
                    </a:lnTo>
                    <a:lnTo>
                      <a:pt x="224" y="492"/>
                    </a:lnTo>
                    <a:lnTo>
                      <a:pt x="223" y="495"/>
                    </a:lnTo>
                    <a:lnTo>
                      <a:pt x="222" y="496"/>
                    </a:lnTo>
                    <a:lnTo>
                      <a:pt x="223" y="499"/>
                    </a:lnTo>
                    <a:lnTo>
                      <a:pt x="225" y="505"/>
                    </a:lnTo>
                    <a:lnTo>
                      <a:pt x="223" y="507"/>
                    </a:lnTo>
                    <a:lnTo>
                      <a:pt x="222" y="510"/>
                    </a:lnTo>
                    <a:lnTo>
                      <a:pt x="224" y="515"/>
                    </a:lnTo>
                    <a:lnTo>
                      <a:pt x="222" y="519"/>
                    </a:lnTo>
                    <a:lnTo>
                      <a:pt x="221" y="522"/>
                    </a:lnTo>
                    <a:lnTo>
                      <a:pt x="227" y="528"/>
                    </a:lnTo>
                    <a:lnTo>
                      <a:pt x="227" y="530"/>
                    </a:lnTo>
                    <a:lnTo>
                      <a:pt x="229" y="531"/>
                    </a:lnTo>
                    <a:lnTo>
                      <a:pt x="231" y="534"/>
                    </a:lnTo>
                    <a:lnTo>
                      <a:pt x="236" y="537"/>
                    </a:lnTo>
                    <a:lnTo>
                      <a:pt x="237" y="540"/>
                    </a:lnTo>
                    <a:lnTo>
                      <a:pt x="241" y="543"/>
                    </a:lnTo>
                    <a:lnTo>
                      <a:pt x="241" y="545"/>
                    </a:lnTo>
                    <a:lnTo>
                      <a:pt x="244" y="548"/>
                    </a:lnTo>
                    <a:lnTo>
                      <a:pt x="247" y="548"/>
                    </a:lnTo>
                    <a:lnTo>
                      <a:pt x="248" y="539"/>
                    </a:lnTo>
                    <a:lnTo>
                      <a:pt x="249" y="535"/>
                    </a:lnTo>
                    <a:lnTo>
                      <a:pt x="251" y="536"/>
                    </a:lnTo>
                    <a:lnTo>
                      <a:pt x="254" y="534"/>
                    </a:lnTo>
                    <a:lnTo>
                      <a:pt x="256" y="534"/>
                    </a:lnTo>
                    <a:lnTo>
                      <a:pt x="259" y="538"/>
                    </a:lnTo>
                    <a:lnTo>
                      <a:pt x="261" y="538"/>
                    </a:lnTo>
                    <a:lnTo>
                      <a:pt x="261" y="535"/>
                    </a:lnTo>
                    <a:lnTo>
                      <a:pt x="262" y="533"/>
                    </a:lnTo>
                    <a:lnTo>
                      <a:pt x="259" y="532"/>
                    </a:lnTo>
                    <a:lnTo>
                      <a:pt x="258" y="529"/>
                    </a:lnTo>
                    <a:lnTo>
                      <a:pt x="259" y="526"/>
                    </a:lnTo>
                    <a:lnTo>
                      <a:pt x="259" y="524"/>
                    </a:lnTo>
                    <a:lnTo>
                      <a:pt x="262" y="521"/>
                    </a:lnTo>
                    <a:lnTo>
                      <a:pt x="262" y="519"/>
                    </a:lnTo>
                    <a:lnTo>
                      <a:pt x="262" y="516"/>
                    </a:lnTo>
                    <a:lnTo>
                      <a:pt x="262" y="515"/>
                    </a:lnTo>
                    <a:lnTo>
                      <a:pt x="265" y="511"/>
                    </a:lnTo>
                    <a:lnTo>
                      <a:pt x="267" y="506"/>
                    </a:lnTo>
                    <a:lnTo>
                      <a:pt x="271" y="502"/>
                    </a:lnTo>
                    <a:lnTo>
                      <a:pt x="271" y="500"/>
                    </a:lnTo>
                    <a:lnTo>
                      <a:pt x="272" y="500"/>
                    </a:lnTo>
                    <a:lnTo>
                      <a:pt x="272" y="502"/>
                    </a:lnTo>
                    <a:lnTo>
                      <a:pt x="273" y="502"/>
                    </a:lnTo>
                    <a:lnTo>
                      <a:pt x="275" y="504"/>
                    </a:lnTo>
                    <a:lnTo>
                      <a:pt x="280" y="500"/>
                    </a:lnTo>
                    <a:lnTo>
                      <a:pt x="282" y="496"/>
                    </a:lnTo>
                    <a:lnTo>
                      <a:pt x="282" y="495"/>
                    </a:lnTo>
                    <a:lnTo>
                      <a:pt x="282" y="492"/>
                    </a:lnTo>
                    <a:lnTo>
                      <a:pt x="280" y="487"/>
                    </a:lnTo>
                    <a:lnTo>
                      <a:pt x="281" y="484"/>
                    </a:lnTo>
                    <a:lnTo>
                      <a:pt x="280" y="483"/>
                    </a:lnTo>
                    <a:lnTo>
                      <a:pt x="278" y="480"/>
                    </a:lnTo>
                    <a:lnTo>
                      <a:pt x="277" y="476"/>
                    </a:lnTo>
                    <a:lnTo>
                      <a:pt x="277" y="475"/>
                    </a:lnTo>
                    <a:lnTo>
                      <a:pt x="282" y="475"/>
                    </a:lnTo>
                    <a:lnTo>
                      <a:pt x="282" y="474"/>
                    </a:lnTo>
                    <a:lnTo>
                      <a:pt x="282" y="468"/>
                    </a:lnTo>
                    <a:lnTo>
                      <a:pt x="281" y="468"/>
                    </a:lnTo>
                    <a:lnTo>
                      <a:pt x="282" y="466"/>
                    </a:lnTo>
                    <a:lnTo>
                      <a:pt x="282" y="464"/>
                    </a:lnTo>
                    <a:lnTo>
                      <a:pt x="283" y="461"/>
                    </a:lnTo>
                    <a:lnTo>
                      <a:pt x="285" y="460"/>
                    </a:lnTo>
                    <a:lnTo>
                      <a:pt x="285" y="458"/>
                    </a:lnTo>
                    <a:lnTo>
                      <a:pt x="282" y="457"/>
                    </a:lnTo>
                    <a:lnTo>
                      <a:pt x="283" y="456"/>
                    </a:lnTo>
                    <a:lnTo>
                      <a:pt x="288" y="457"/>
                    </a:lnTo>
                    <a:lnTo>
                      <a:pt x="288" y="458"/>
                    </a:lnTo>
                    <a:lnTo>
                      <a:pt x="286" y="458"/>
                    </a:lnTo>
                    <a:lnTo>
                      <a:pt x="290" y="460"/>
                    </a:lnTo>
                    <a:lnTo>
                      <a:pt x="291" y="460"/>
                    </a:lnTo>
                    <a:lnTo>
                      <a:pt x="292" y="462"/>
                    </a:lnTo>
                    <a:lnTo>
                      <a:pt x="293" y="463"/>
                    </a:lnTo>
                    <a:lnTo>
                      <a:pt x="297" y="460"/>
                    </a:lnTo>
                    <a:lnTo>
                      <a:pt x="298" y="458"/>
                    </a:lnTo>
                    <a:lnTo>
                      <a:pt x="299" y="458"/>
                    </a:lnTo>
                    <a:lnTo>
                      <a:pt x="301" y="458"/>
                    </a:lnTo>
                    <a:lnTo>
                      <a:pt x="301" y="457"/>
                    </a:lnTo>
                    <a:lnTo>
                      <a:pt x="302" y="456"/>
                    </a:lnTo>
                    <a:lnTo>
                      <a:pt x="302" y="454"/>
                    </a:lnTo>
                    <a:lnTo>
                      <a:pt x="305" y="455"/>
                    </a:lnTo>
                    <a:lnTo>
                      <a:pt x="307" y="453"/>
                    </a:lnTo>
                    <a:lnTo>
                      <a:pt x="308" y="454"/>
                    </a:lnTo>
                    <a:lnTo>
                      <a:pt x="309" y="453"/>
                    </a:lnTo>
                    <a:lnTo>
                      <a:pt x="310" y="454"/>
                    </a:lnTo>
                    <a:lnTo>
                      <a:pt x="311" y="454"/>
                    </a:lnTo>
                    <a:lnTo>
                      <a:pt x="311" y="456"/>
                    </a:lnTo>
                    <a:lnTo>
                      <a:pt x="311" y="455"/>
                    </a:lnTo>
                    <a:lnTo>
                      <a:pt x="313" y="453"/>
                    </a:lnTo>
                    <a:lnTo>
                      <a:pt x="311" y="453"/>
                    </a:lnTo>
                    <a:lnTo>
                      <a:pt x="310" y="452"/>
                    </a:lnTo>
                    <a:lnTo>
                      <a:pt x="312" y="451"/>
                    </a:lnTo>
                    <a:lnTo>
                      <a:pt x="313" y="444"/>
                    </a:lnTo>
                    <a:lnTo>
                      <a:pt x="316" y="440"/>
                    </a:lnTo>
                    <a:lnTo>
                      <a:pt x="317" y="440"/>
                    </a:lnTo>
                    <a:lnTo>
                      <a:pt x="319" y="441"/>
                    </a:lnTo>
                    <a:lnTo>
                      <a:pt x="321" y="440"/>
                    </a:lnTo>
                    <a:lnTo>
                      <a:pt x="320" y="437"/>
                    </a:lnTo>
                    <a:lnTo>
                      <a:pt x="320" y="434"/>
                    </a:lnTo>
                    <a:lnTo>
                      <a:pt x="319" y="433"/>
                    </a:lnTo>
                    <a:lnTo>
                      <a:pt x="319" y="432"/>
                    </a:lnTo>
                    <a:lnTo>
                      <a:pt x="316" y="430"/>
                    </a:lnTo>
                    <a:lnTo>
                      <a:pt x="316" y="427"/>
                    </a:lnTo>
                    <a:lnTo>
                      <a:pt x="315" y="428"/>
                    </a:lnTo>
                    <a:lnTo>
                      <a:pt x="315" y="425"/>
                    </a:lnTo>
                    <a:lnTo>
                      <a:pt x="316" y="425"/>
                    </a:lnTo>
                    <a:lnTo>
                      <a:pt x="314" y="425"/>
                    </a:lnTo>
                    <a:lnTo>
                      <a:pt x="314" y="423"/>
                    </a:lnTo>
                    <a:lnTo>
                      <a:pt x="315" y="423"/>
                    </a:lnTo>
                    <a:lnTo>
                      <a:pt x="316" y="423"/>
                    </a:lnTo>
                    <a:lnTo>
                      <a:pt x="316" y="422"/>
                    </a:lnTo>
                    <a:lnTo>
                      <a:pt x="316" y="421"/>
                    </a:lnTo>
                    <a:lnTo>
                      <a:pt x="318" y="419"/>
                    </a:lnTo>
                    <a:lnTo>
                      <a:pt x="321" y="421"/>
                    </a:lnTo>
                    <a:lnTo>
                      <a:pt x="321" y="418"/>
                    </a:lnTo>
                    <a:lnTo>
                      <a:pt x="320" y="417"/>
                    </a:lnTo>
                    <a:lnTo>
                      <a:pt x="321" y="415"/>
                    </a:lnTo>
                    <a:lnTo>
                      <a:pt x="322" y="417"/>
                    </a:lnTo>
                    <a:lnTo>
                      <a:pt x="325" y="418"/>
                    </a:lnTo>
                    <a:lnTo>
                      <a:pt x="326" y="418"/>
                    </a:lnTo>
                    <a:lnTo>
                      <a:pt x="324" y="415"/>
                    </a:lnTo>
                    <a:lnTo>
                      <a:pt x="327" y="412"/>
                    </a:lnTo>
                    <a:lnTo>
                      <a:pt x="329" y="412"/>
                    </a:lnTo>
                    <a:lnTo>
                      <a:pt x="328" y="411"/>
                    </a:lnTo>
                    <a:lnTo>
                      <a:pt x="327" y="411"/>
                    </a:lnTo>
                    <a:lnTo>
                      <a:pt x="323" y="411"/>
                    </a:lnTo>
                    <a:lnTo>
                      <a:pt x="322" y="410"/>
                    </a:lnTo>
                    <a:lnTo>
                      <a:pt x="321" y="410"/>
                    </a:lnTo>
                    <a:lnTo>
                      <a:pt x="321" y="406"/>
                    </a:lnTo>
                    <a:lnTo>
                      <a:pt x="321" y="402"/>
                    </a:lnTo>
                    <a:lnTo>
                      <a:pt x="320" y="400"/>
                    </a:lnTo>
                    <a:lnTo>
                      <a:pt x="321" y="400"/>
                    </a:lnTo>
                    <a:lnTo>
                      <a:pt x="323" y="400"/>
                    </a:lnTo>
                    <a:lnTo>
                      <a:pt x="325" y="400"/>
                    </a:lnTo>
                    <a:lnTo>
                      <a:pt x="326" y="402"/>
                    </a:lnTo>
                    <a:lnTo>
                      <a:pt x="327" y="402"/>
                    </a:lnTo>
                    <a:lnTo>
                      <a:pt x="329" y="402"/>
                    </a:lnTo>
                    <a:lnTo>
                      <a:pt x="329" y="399"/>
                    </a:lnTo>
                    <a:lnTo>
                      <a:pt x="330" y="398"/>
                    </a:lnTo>
                    <a:lnTo>
                      <a:pt x="331" y="396"/>
                    </a:lnTo>
                    <a:lnTo>
                      <a:pt x="330" y="395"/>
                    </a:lnTo>
                    <a:lnTo>
                      <a:pt x="329" y="395"/>
                    </a:lnTo>
                    <a:lnTo>
                      <a:pt x="327" y="392"/>
                    </a:lnTo>
                    <a:lnTo>
                      <a:pt x="328" y="392"/>
                    </a:lnTo>
                    <a:lnTo>
                      <a:pt x="329" y="391"/>
                    </a:lnTo>
                    <a:lnTo>
                      <a:pt x="329" y="387"/>
                    </a:lnTo>
                    <a:lnTo>
                      <a:pt x="332" y="389"/>
                    </a:lnTo>
                    <a:lnTo>
                      <a:pt x="333" y="384"/>
                    </a:lnTo>
                    <a:lnTo>
                      <a:pt x="335" y="384"/>
                    </a:lnTo>
                    <a:lnTo>
                      <a:pt x="336" y="384"/>
                    </a:lnTo>
                    <a:lnTo>
                      <a:pt x="337" y="382"/>
                    </a:lnTo>
                    <a:lnTo>
                      <a:pt x="338" y="381"/>
                    </a:lnTo>
                    <a:lnTo>
                      <a:pt x="342" y="383"/>
                    </a:lnTo>
                    <a:lnTo>
                      <a:pt x="342" y="382"/>
                    </a:lnTo>
                    <a:lnTo>
                      <a:pt x="343" y="381"/>
                    </a:lnTo>
                    <a:lnTo>
                      <a:pt x="342" y="377"/>
                    </a:lnTo>
                    <a:lnTo>
                      <a:pt x="343" y="377"/>
                    </a:lnTo>
                    <a:lnTo>
                      <a:pt x="343" y="376"/>
                    </a:lnTo>
                    <a:lnTo>
                      <a:pt x="344" y="373"/>
                    </a:lnTo>
                    <a:lnTo>
                      <a:pt x="346" y="370"/>
                    </a:lnTo>
                    <a:lnTo>
                      <a:pt x="349" y="370"/>
                    </a:lnTo>
                    <a:lnTo>
                      <a:pt x="348" y="370"/>
                    </a:lnTo>
                    <a:lnTo>
                      <a:pt x="348" y="366"/>
                    </a:lnTo>
                    <a:lnTo>
                      <a:pt x="347" y="368"/>
                    </a:lnTo>
                    <a:lnTo>
                      <a:pt x="346" y="367"/>
                    </a:lnTo>
                    <a:lnTo>
                      <a:pt x="348" y="366"/>
                    </a:lnTo>
                    <a:lnTo>
                      <a:pt x="349" y="366"/>
                    </a:lnTo>
                    <a:lnTo>
                      <a:pt x="349" y="364"/>
                    </a:lnTo>
                    <a:lnTo>
                      <a:pt x="350" y="365"/>
                    </a:lnTo>
                    <a:lnTo>
                      <a:pt x="350" y="364"/>
                    </a:lnTo>
                    <a:lnTo>
                      <a:pt x="350" y="361"/>
                    </a:lnTo>
                    <a:lnTo>
                      <a:pt x="349" y="360"/>
                    </a:lnTo>
                    <a:lnTo>
                      <a:pt x="350" y="359"/>
                    </a:lnTo>
                    <a:lnTo>
                      <a:pt x="348" y="360"/>
                    </a:lnTo>
                    <a:lnTo>
                      <a:pt x="347" y="358"/>
                    </a:lnTo>
                    <a:lnTo>
                      <a:pt x="346" y="358"/>
                    </a:lnTo>
                    <a:lnTo>
                      <a:pt x="346" y="357"/>
                    </a:lnTo>
                    <a:lnTo>
                      <a:pt x="347" y="357"/>
                    </a:lnTo>
                    <a:lnTo>
                      <a:pt x="346" y="356"/>
                    </a:lnTo>
                    <a:lnTo>
                      <a:pt x="347" y="356"/>
                    </a:lnTo>
                    <a:lnTo>
                      <a:pt x="346" y="354"/>
                    </a:lnTo>
                    <a:lnTo>
                      <a:pt x="345" y="352"/>
                    </a:lnTo>
                    <a:lnTo>
                      <a:pt x="345" y="350"/>
                    </a:lnTo>
                    <a:lnTo>
                      <a:pt x="344" y="347"/>
                    </a:lnTo>
                    <a:lnTo>
                      <a:pt x="345" y="347"/>
                    </a:lnTo>
                    <a:lnTo>
                      <a:pt x="344" y="347"/>
                    </a:lnTo>
                    <a:lnTo>
                      <a:pt x="345" y="346"/>
                    </a:lnTo>
                    <a:lnTo>
                      <a:pt x="344" y="346"/>
                    </a:lnTo>
                    <a:lnTo>
                      <a:pt x="344" y="345"/>
                    </a:lnTo>
                    <a:lnTo>
                      <a:pt x="345" y="345"/>
                    </a:lnTo>
                    <a:lnTo>
                      <a:pt x="346" y="342"/>
                    </a:lnTo>
                    <a:lnTo>
                      <a:pt x="346" y="339"/>
                    </a:lnTo>
                    <a:lnTo>
                      <a:pt x="347" y="337"/>
                    </a:lnTo>
                    <a:lnTo>
                      <a:pt x="346" y="336"/>
                    </a:lnTo>
                    <a:lnTo>
                      <a:pt x="348" y="336"/>
                    </a:lnTo>
                    <a:lnTo>
                      <a:pt x="350" y="333"/>
                    </a:lnTo>
                    <a:lnTo>
                      <a:pt x="351" y="331"/>
                    </a:lnTo>
                    <a:lnTo>
                      <a:pt x="353" y="332"/>
                    </a:lnTo>
                    <a:lnTo>
                      <a:pt x="355" y="332"/>
                    </a:lnTo>
                    <a:lnTo>
                      <a:pt x="355" y="331"/>
                    </a:lnTo>
                    <a:lnTo>
                      <a:pt x="351" y="330"/>
                    </a:lnTo>
                    <a:lnTo>
                      <a:pt x="351" y="329"/>
                    </a:lnTo>
                    <a:lnTo>
                      <a:pt x="352" y="329"/>
                    </a:lnTo>
                    <a:lnTo>
                      <a:pt x="351" y="329"/>
                    </a:lnTo>
                    <a:lnTo>
                      <a:pt x="351" y="327"/>
                    </a:lnTo>
                    <a:lnTo>
                      <a:pt x="350" y="326"/>
                    </a:lnTo>
                    <a:lnTo>
                      <a:pt x="350" y="325"/>
                    </a:lnTo>
                    <a:lnTo>
                      <a:pt x="349" y="323"/>
                    </a:lnTo>
                    <a:lnTo>
                      <a:pt x="348" y="323"/>
                    </a:lnTo>
                    <a:lnTo>
                      <a:pt x="349" y="321"/>
                    </a:lnTo>
                    <a:lnTo>
                      <a:pt x="349" y="320"/>
                    </a:lnTo>
                    <a:lnTo>
                      <a:pt x="350" y="319"/>
                    </a:lnTo>
                    <a:lnTo>
                      <a:pt x="348" y="319"/>
                    </a:lnTo>
                    <a:lnTo>
                      <a:pt x="349" y="317"/>
                    </a:lnTo>
                    <a:lnTo>
                      <a:pt x="350" y="316"/>
                    </a:lnTo>
                    <a:lnTo>
                      <a:pt x="350" y="313"/>
                    </a:lnTo>
                    <a:lnTo>
                      <a:pt x="350" y="312"/>
                    </a:lnTo>
                    <a:lnTo>
                      <a:pt x="349" y="312"/>
                    </a:lnTo>
                    <a:lnTo>
                      <a:pt x="350" y="311"/>
                    </a:lnTo>
                    <a:lnTo>
                      <a:pt x="350" y="309"/>
                    </a:lnTo>
                    <a:lnTo>
                      <a:pt x="349" y="311"/>
                    </a:lnTo>
                    <a:lnTo>
                      <a:pt x="350" y="309"/>
                    </a:lnTo>
                    <a:lnTo>
                      <a:pt x="349" y="308"/>
                    </a:lnTo>
                    <a:lnTo>
                      <a:pt x="351" y="309"/>
                    </a:lnTo>
                    <a:lnTo>
                      <a:pt x="351" y="308"/>
                    </a:lnTo>
                    <a:lnTo>
                      <a:pt x="349" y="307"/>
                    </a:lnTo>
                    <a:lnTo>
                      <a:pt x="349" y="308"/>
                    </a:lnTo>
                    <a:lnTo>
                      <a:pt x="349" y="307"/>
                    </a:lnTo>
                    <a:lnTo>
                      <a:pt x="348" y="307"/>
                    </a:lnTo>
                    <a:lnTo>
                      <a:pt x="346" y="307"/>
                    </a:lnTo>
                    <a:lnTo>
                      <a:pt x="346" y="304"/>
                    </a:lnTo>
                    <a:lnTo>
                      <a:pt x="347" y="303"/>
                    </a:lnTo>
                    <a:lnTo>
                      <a:pt x="346" y="302"/>
                    </a:lnTo>
                    <a:lnTo>
                      <a:pt x="348" y="302"/>
                    </a:lnTo>
                    <a:lnTo>
                      <a:pt x="348" y="301"/>
                    </a:lnTo>
                    <a:lnTo>
                      <a:pt x="350" y="302"/>
                    </a:lnTo>
                    <a:lnTo>
                      <a:pt x="350" y="300"/>
                    </a:lnTo>
                    <a:lnTo>
                      <a:pt x="350" y="299"/>
                    </a:lnTo>
                    <a:lnTo>
                      <a:pt x="348" y="298"/>
                    </a:lnTo>
                    <a:lnTo>
                      <a:pt x="349" y="296"/>
                    </a:lnTo>
                    <a:lnTo>
                      <a:pt x="351" y="295"/>
                    </a:lnTo>
                    <a:lnTo>
                      <a:pt x="351" y="294"/>
                    </a:lnTo>
                    <a:lnTo>
                      <a:pt x="353" y="295"/>
                    </a:lnTo>
                    <a:lnTo>
                      <a:pt x="353" y="292"/>
                    </a:lnTo>
                    <a:lnTo>
                      <a:pt x="354" y="291"/>
                    </a:lnTo>
                    <a:lnTo>
                      <a:pt x="355" y="286"/>
                    </a:lnTo>
                    <a:lnTo>
                      <a:pt x="356" y="283"/>
                    </a:lnTo>
                    <a:lnTo>
                      <a:pt x="354" y="282"/>
                    </a:lnTo>
                    <a:lnTo>
                      <a:pt x="355" y="279"/>
                    </a:lnTo>
                    <a:lnTo>
                      <a:pt x="351" y="276"/>
                    </a:lnTo>
                    <a:lnTo>
                      <a:pt x="350" y="276"/>
                    </a:lnTo>
                    <a:lnTo>
                      <a:pt x="347" y="279"/>
                    </a:lnTo>
                    <a:lnTo>
                      <a:pt x="346" y="278"/>
                    </a:lnTo>
                    <a:lnTo>
                      <a:pt x="348" y="277"/>
                    </a:lnTo>
                    <a:lnTo>
                      <a:pt x="350" y="272"/>
                    </a:lnTo>
                    <a:lnTo>
                      <a:pt x="349" y="271"/>
                    </a:lnTo>
                    <a:lnTo>
                      <a:pt x="348" y="270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1" y="258"/>
                    </a:lnTo>
                    <a:lnTo>
                      <a:pt x="353" y="255"/>
                    </a:lnTo>
                    <a:lnTo>
                      <a:pt x="354" y="249"/>
                    </a:lnTo>
                    <a:lnTo>
                      <a:pt x="355" y="247"/>
                    </a:lnTo>
                    <a:lnTo>
                      <a:pt x="356" y="244"/>
                    </a:lnTo>
                    <a:lnTo>
                      <a:pt x="355" y="242"/>
                    </a:lnTo>
                    <a:lnTo>
                      <a:pt x="353" y="243"/>
                    </a:lnTo>
                    <a:lnTo>
                      <a:pt x="350" y="242"/>
                    </a:lnTo>
                    <a:lnTo>
                      <a:pt x="350" y="239"/>
                    </a:lnTo>
                    <a:lnTo>
                      <a:pt x="349" y="238"/>
                    </a:lnTo>
                    <a:lnTo>
                      <a:pt x="347" y="239"/>
                    </a:lnTo>
                    <a:lnTo>
                      <a:pt x="346" y="239"/>
                    </a:lnTo>
                    <a:lnTo>
                      <a:pt x="344" y="238"/>
                    </a:lnTo>
                    <a:lnTo>
                      <a:pt x="344" y="236"/>
                    </a:lnTo>
                    <a:lnTo>
                      <a:pt x="345" y="236"/>
                    </a:lnTo>
                    <a:lnTo>
                      <a:pt x="346" y="235"/>
                    </a:lnTo>
                    <a:lnTo>
                      <a:pt x="342" y="234"/>
                    </a:lnTo>
                    <a:lnTo>
                      <a:pt x="342" y="233"/>
                    </a:lnTo>
                    <a:lnTo>
                      <a:pt x="340" y="233"/>
                    </a:lnTo>
                    <a:lnTo>
                      <a:pt x="339" y="232"/>
                    </a:lnTo>
                    <a:lnTo>
                      <a:pt x="338" y="232"/>
                    </a:lnTo>
                    <a:lnTo>
                      <a:pt x="337" y="229"/>
                    </a:lnTo>
                    <a:lnTo>
                      <a:pt x="336" y="228"/>
                    </a:lnTo>
                    <a:lnTo>
                      <a:pt x="339" y="229"/>
                    </a:lnTo>
                    <a:lnTo>
                      <a:pt x="342" y="232"/>
                    </a:lnTo>
                    <a:lnTo>
                      <a:pt x="345" y="232"/>
                    </a:lnTo>
                    <a:lnTo>
                      <a:pt x="345" y="231"/>
                    </a:lnTo>
                    <a:lnTo>
                      <a:pt x="347" y="231"/>
                    </a:lnTo>
                    <a:lnTo>
                      <a:pt x="348" y="230"/>
                    </a:lnTo>
                    <a:lnTo>
                      <a:pt x="347" y="230"/>
                    </a:lnTo>
                    <a:lnTo>
                      <a:pt x="345" y="224"/>
                    </a:lnTo>
                    <a:lnTo>
                      <a:pt x="342" y="223"/>
                    </a:lnTo>
                    <a:lnTo>
                      <a:pt x="340" y="221"/>
                    </a:lnTo>
                    <a:lnTo>
                      <a:pt x="342" y="219"/>
                    </a:lnTo>
                    <a:lnTo>
                      <a:pt x="341" y="218"/>
                    </a:lnTo>
                    <a:lnTo>
                      <a:pt x="342" y="217"/>
                    </a:lnTo>
                    <a:lnTo>
                      <a:pt x="342" y="218"/>
                    </a:lnTo>
                    <a:lnTo>
                      <a:pt x="342" y="219"/>
                    </a:lnTo>
                    <a:lnTo>
                      <a:pt x="343" y="219"/>
                    </a:lnTo>
                    <a:lnTo>
                      <a:pt x="344" y="218"/>
                    </a:lnTo>
                    <a:lnTo>
                      <a:pt x="344" y="219"/>
                    </a:lnTo>
                    <a:lnTo>
                      <a:pt x="345" y="219"/>
                    </a:lnTo>
                    <a:lnTo>
                      <a:pt x="345" y="218"/>
                    </a:lnTo>
                    <a:lnTo>
                      <a:pt x="348" y="217"/>
                    </a:lnTo>
                    <a:lnTo>
                      <a:pt x="350" y="218"/>
                    </a:lnTo>
                    <a:lnTo>
                      <a:pt x="353" y="215"/>
                    </a:lnTo>
                    <a:lnTo>
                      <a:pt x="351" y="215"/>
                    </a:lnTo>
                    <a:lnTo>
                      <a:pt x="351" y="213"/>
                    </a:lnTo>
                    <a:lnTo>
                      <a:pt x="349" y="213"/>
                    </a:lnTo>
                    <a:lnTo>
                      <a:pt x="348" y="212"/>
                    </a:lnTo>
                    <a:lnTo>
                      <a:pt x="346" y="213"/>
                    </a:lnTo>
                    <a:lnTo>
                      <a:pt x="347" y="211"/>
                    </a:lnTo>
                    <a:lnTo>
                      <a:pt x="346" y="211"/>
                    </a:lnTo>
                    <a:lnTo>
                      <a:pt x="344" y="212"/>
                    </a:lnTo>
                    <a:lnTo>
                      <a:pt x="343" y="211"/>
                    </a:lnTo>
                    <a:lnTo>
                      <a:pt x="342" y="211"/>
                    </a:lnTo>
                    <a:lnTo>
                      <a:pt x="342" y="213"/>
                    </a:lnTo>
                    <a:lnTo>
                      <a:pt x="340" y="213"/>
                    </a:lnTo>
                    <a:lnTo>
                      <a:pt x="340" y="215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9" y="211"/>
                    </a:lnTo>
                    <a:lnTo>
                      <a:pt x="339" y="210"/>
                    </a:lnTo>
                    <a:lnTo>
                      <a:pt x="338" y="209"/>
                    </a:lnTo>
                    <a:lnTo>
                      <a:pt x="340" y="208"/>
                    </a:lnTo>
                    <a:lnTo>
                      <a:pt x="338" y="205"/>
                    </a:lnTo>
                    <a:lnTo>
                      <a:pt x="340" y="203"/>
                    </a:lnTo>
                    <a:lnTo>
                      <a:pt x="343" y="202"/>
                    </a:lnTo>
                    <a:lnTo>
                      <a:pt x="347" y="195"/>
                    </a:lnTo>
                    <a:lnTo>
                      <a:pt x="356" y="192"/>
                    </a:lnTo>
                    <a:lnTo>
                      <a:pt x="359" y="191"/>
                    </a:lnTo>
                    <a:lnTo>
                      <a:pt x="361" y="191"/>
                    </a:lnTo>
                    <a:lnTo>
                      <a:pt x="360" y="191"/>
                    </a:lnTo>
                    <a:lnTo>
                      <a:pt x="360" y="194"/>
                    </a:lnTo>
                    <a:lnTo>
                      <a:pt x="362" y="195"/>
                    </a:lnTo>
                    <a:lnTo>
                      <a:pt x="363" y="197"/>
                    </a:lnTo>
                    <a:lnTo>
                      <a:pt x="363" y="198"/>
                    </a:lnTo>
                    <a:lnTo>
                      <a:pt x="365" y="198"/>
                    </a:lnTo>
                    <a:lnTo>
                      <a:pt x="366" y="198"/>
                    </a:lnTo>
                    <a:lnTo>
                      <a:pt x="367" y="196"/>
                    </a:lnTo>
                    <a:lnTo>
                      <a:pt x="367" y="195"/>
                    </a:lnTo>
                    <a:lnTo>
                      <a:pt x="368" y="194"/>
                    </a:lnTo>
                    <a:lnTo>
                      <a:pt x="368" y="192"/>
                    </a:lnTo>
                    <a:lnTo>
                      <a:pt x="370" y="191"/>
                    </a:lnTo>
                    <a:lnTo>
                      <a:pt x="371" y="188"/>
                    </a:lnTo>
                    <a:lnTo>
                      <a:pt x="372" y="188"/>
                    </a:lnTo>
                    <a:lnTo>
                      <a:pt x="375" y="188"/>
                    </a:lnTo>
                    <a:lnTo>
                      <a:pt x="375" y="187"/>
                    </a:lnTo>
                    <a:lnTo>
                      <a:pt x="376" y="187"/>
                    </a:lnTo>
                    <a:lnTo>
                      <a:pt x="377" y="187"/>
                    </a:lnTo>
                    <a:lnTo>
                      <a:pt x="379" y="185"/>
                    </a:lnTo>
                    <a:lnTo>
                      <a:pt x="379" y="186"/>
                    </a:lnTo>
                    <a:lnTo>
                      <a:pt x="381" y="183"/>
                    </a:lnTo>
                    <a:lnTo>
                      <a:pt x="381" y="181"/>
                    </a:lnTo>
                    <a:lnTo>
                      <a:pt x="379" y="180"/>
                    </a:lnTo>
                    <a:lnTo>
                      <a:pt x="378" y="179"/>
                    </a:lnTo>
                    <a:lnTo>
                      <a:pt x="377" y="178"/>
                    </a:lnTo>
                    <a:lnTo>
                      <a:pt x="376" y="179"/>
                    </a:lnTo>
                    <a:lnTo>
                      <a:pt x="375" y="179"/>
                    </a:lnTo>
                    <a:lnTo>
                      <a:pt x="373" y="181"/>
                    </a:lnTo>
                    <a:lnTo>
                      <a:pt x="372" y="180"/>
                    </a:lnTo>
                    <a:lnTo>
                      <a:pt x="373" y="177"/>
                    </a:lnTo>
                    <a:lnTo>
                      <a:pt x="376" y="176"/>
                    </a:lnTo>
                    <a:lnTo>
                      <a:pt x="378" y="171"/>
                    </a:lnTo>
                    <a:lnTo>
                      <a:pt x="378" y="168"/>
                    </a:lnTo>
                    <a:lnTo>
                      <a:pt x="377" y="166"/>
                    </a:lnTo>
                    <a:lnTo>
                      <a:pt x="377" y="165"/>
                    </a:lnTo>
                    <a:lnTo>
                      <a:pt x="376" y="162"/>
                    </a:lnTo>
                    <a:lnTo>
                      <a:pt x="377" y="161"/>
                    </a:lnTo>
                    <a:lnTo>
                      <a:pt x="381" y="161"/>
                    </a:lnTo>
                    <a:lnTo>
                      <a:pt x="381" y="158"/>
                    </a:lnTo>
                    <a:lnTo>
                      <a:pt x="383" y="157"/>
                    </a:lnTo>
                    <a:lnTo>
                      <a:pt x="382" y="157"/>
                    </a:lnTo>
                    <a:lnTo>
                      <a:pt x="383" y="153"/>
                    </a:lnTo>
                    <a:lnTo>
                      <a:pt x="381" y="151"/>
                    </a:lnTo>
                    <a:lnTo>
                      <a:pt x="381" y="148"/>
                    </a:lnTo>
                    <a:lnTo>
                      <a:pt x="384" y="145"/>
                    </a:lnTo>
                    <a:lnTo>
                      <a:pt x="383" y="144"/>
                    </a:lnTo>
                    <a:lnTo>
                      <a:pt x="382" y="141"/>
                    </a:lnTo>
                    <a:lnTo>
                      <a:pt x="383" y="140"/>
                    </a:lnTo>
                    <a:lnTo>
                      <a:pt x="384" y="141"/>
                    </a:lnTo>
                    <a:lnTo>
                      <a:pt x="386" y="138"/>
                    </a:lnTo>
                    <a:lnTo>
                      <a:pt x="385" y="135"/>
                    </a:lnTo>
                    <a:lnTo>
                      <a:pt x="386" y="135"/>
                    </a:lnTo>
                    <a:lnTo>
                      <a:pt x="386" y="131"/>
                    </a:lnTo>
                    <a:lnTo>
                      <a:pt x="387" y="131"/>
                    </a:lnTo>
                    <a:lnTo>
                      <a:pt x="388" y="131"/>
                    </a:lnTo>
                    <a:lnTo>
                      <a:pt x="389" y="131"/>
                    </a:lnTo>
                    <a:lnTo>
                      <a:pt x="391" y="131"/>
                    </a:lnTo>
                    <a:lnTo>
                      <a:pt x="392" y="131"/>
                    </a:lnTo>
                    <a:lnTo>
                      <a:pt x="392" y="133"/>
                    </a:lnTo>
                    <a:lnTo>
                      <a:pt x="393" y="132"/>
                    </a:lnTo>
                    <a:lnTo>
                      <a:pt x="392" y="126"/>
                    </a:lnTo>
                    <a:lnTo>
                      <a:pt x="392" y="121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65" name="Group 62">
              <a:extLst>
                <a:ext uri="{FF2B5EF4-FFF2-40B4-BE49-F238E27FC236}">
                  <a16:creationId xmlns:a16="http://schemas.microsoft.com/office/drawing/2014/main" id="{C75715AB-B2F9-4A74-8A3F-0BD3611A678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19" y="3149"/>
              <a:ext cx="411" cy="305"/>
              <a:chOff x="1319" y="3149"/>
              <a:chExt cx="411" cy="305"/>
            </a:xfrm>
          </p:grpSpPr>
          <p:sp>
            <p:nvSpPr>
              <p:cNvPr id="529" name="Freeform 60">
                <a:extLst>
                  <a:ext uri="{FF2B5EF4-FFF2-40B4-BE49-F238E27FC236}">
                    <a16:creationId xmlns:a16="http://schemas.microsoft.com/office/drawing/2014/main" id="{E20BCEBE-FD19-4E36-A290-18CBE3C082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9" y="3149"/>
                <a:ext cx="411" cy="305"/>
              </a:xfrm>
              <a:custGeom>
                <a:avLst/>
                <a:gdLst>
                  <a:gd name="T0" fmla="*/ 390 w 411"/>
                  <a:gd name="T1" fmla="*/ 42 h 305"/>
                  <a:gd name="T2" fmla="*/ 357 w 411"/>
                  <a:gd name="T3" fmla="*/ 65 h 305"/>
                  <a:gd name="T4" fmla="*/ 321 w 411"/>
                  <a:gd name="T5" fmla="*/ 39 h 305"/>
                  <a:gd name="T6" fmla="*/ 299 w 411"/>
                  <a:gd name="T7" fmla="*/ 44 h 305"/>
                  <a:gd name="T8" fmla="*/ 286 w 411"/>
                  <a:gd name="T9" fmla="*/ 48 h 305"/>
                  <a:gd name="T10" fmla="*/ 265 w 411"/>
                  <a:gd name="T11" fmla="*/ 62 h 305"/>
                  <a:gd name="T12" fmla="*/ 257 w 411"/>
                  <a:gd name="T13" fmla="*/ 74 h 305"/>
                  <a:gd name="T14" fmla="*/ 245 w 411"/>
                  <a:gd name="T15" fmla="*/ 78 h 305"/>
                  <a:gd name="T16" fmla="*/ 233 w 411"/>
                  <a:gd name="T17" fmla="*/ 78 h 305"/>
                  <a:gd name="T18" fmla="*/ 218 w 411"/>
                  <a:gd name="T19" fmla="*/ 67 h 305"/>
                  <a:gd name="T20" fmla="*/ 199 w 411"/>
                  <a:gd name="T21" fmla="*/ 54 h 305"/>
                  <a:gd name="T22" fmla="*/ 166 w 411"/>
                  <a:gd name="T23" fmla="*/ 13 h 305"/>
                  <a:gd name="T24" fmla="*/ 133 w 411"/>
                  <a:gd name="T25" fmla="*/ 22 h 305"/>
                  <a:gd name="T26" fmla="*/ 120 w 411"/>
                  <a:gd name="T27" fmla="*/ 2 h 305"/>
                  <a:gd name="T28" fmla="*/ 105 w 411"/>
                  <a:gd name="T29" fmla="*/ 15 h 305"/>
                  <a:gd name="T30" fmla="*/ 90 w 411"/>
                  <a:gd name="T31" fmla="*/ 19 h 305"/>
                  <a:gd name="T32" fmla="*/ 76 w 411"/>
                  <a:gd name="T33" fmla="*/ 14 h 305"/>
                  <a:gd name="T34" fmla="*/ 68 w 411"/>
                  <a:gd name="T35" fmla="*/ 10 h 305"/>
                  <a:gd name="T36" fmla="*/ 61 w 411"/>
                  <a:gd name="T37" fmla="*/ 5 h 305"/>
                  <a:gd name="T38" fmla="*/ 48 w 411"/>
                  <a:gd name="T39" fmla="*/ 10 h 305"/>
                  <a:gd name="T40" fmla="*/ 39 w 411"/>
                  <a:gd name="T41" fmla="*/ 20 h 305"/>
                  <a:gd name="T42" fmla="*/ 19 w 411"/>
                  <a:gd name="T43" fmla="*/ 19 h 305"/>
                  <a:gd name="T44" fmla="*/ 15 w 411"/>
                  <a:gd name="T45" fmla="*/ 34 h 305"/>
                  <a:gd name="T46" fmla="*/ 9 w 411"/>
                  <a:gd name="T47" fmla="*/ 45 h 305"/>
                  <a:gd name="T48" fmla="*/ 2 w 411"/>
                  <a:gd name="T49" fmla="*/ 49 h 305"/>
                  <a:gd name="T50" fmla="*/ 14 w 411"/>
                  <a:gd name="T51" fmla="*/ 60 h 305"/>
                  <a:gd name="T52" fmla="*/ 24 w 411"/>
                  <a:gd name="T53" fmla="*/ 65 h 305"/>
                  <a:gd name="T54" fmla="*/ 24 w 411"/>
                  <a:gd name="T55" fmla="*/ 76 h 305"/>
                  <a:gd name="T56" fmla="*/ 41 w 411"/>
                  <a:gd name="T57" fmla="*/ 92 h 305"/>
                  <a:gd name="T58" fmla="*/ 38 w 411"/>
                  <a:gd name="T59" fmla="*/ 109 h 305"/>
                  <a:gd name="T60" fmla="*/ 30 w 411"/>
                  <a:gd name="T61" fmla="*/ 127 h 305"/>
                  <a:gd name="T62" fmla="*/ 36 w 411"/>
                  <a:gd name="T63" fmla="*/ 147 h 305"/>
                  <a:gd name="T64" fmla="*/ 50 w 411"/>
                  <a:gd name="T65" fmla="*/ 163 h 305"/>
                  <a:gd name="T66" fmla="*/ 60 w 411"/>
                  <a:gd name="T67" fmla="*/ 163 h 305"/>
                  <a:gd name="T68" fmla="*/ 76 w 411"/>
                  <a:gd name="T69" fmla="*/ 169 h 305"/>
                  <a:gd name="T70" fmla="*/ 83 w 411"/>
                  <a:gd name="T71" fmla="*/ 177 h 305"/>
                  <a:gd name="T72" fmla="*/ 98 w 411"/>
                  <a:gd name="T73" fmla="*/ 186 h 305"/>
                  <a:gd name="T74" fmla="*/ 105 w 411"/>
                  <a:gd name="T75" fmla="*/ 196 h 305"/>
                  <a:gd name="T76" fmla="*/ 116 w 411"/>
                  <a:gd name="T77" fmla="*/ 220 h 305"/>
                  <a:gd name="T78" fmla="*/ 143 w 411"/>
                  <a:gd name="T79" fmla="*/ 233 h 305"/>
                  <a:gd name="T80" fmla="*/ 159 w 411"/>
                  <a:gd name="T81" fmla="*/ 217 h 305"/>
                  <a:gd name="T82" fmla="*/ 176 w 411"/>
                  <a:gd name="T83" fmla="*/ 229 h 305"/>
                  <a:gd name="T84" fmla="*/ 195 w 411"/>
                  <a:gd name="T85" fmla="*/ 246 h 305"/>
                  <a:gd name="T86" fmla="*/ 215 w 411"/>
                  <a:gd name="T87" fmla="*/ 255 h 305"/>
                  <a:gd name="T88" fmla="*/ 237 w 411"/>
                  <a:gd name="T89" fmla="*/ 278 h 305"/>
                  <a:gd name="T90" fmla="*/ 263 w 411"/>
                  <a:gd name="T91" fmla="*/ 298 h 305"/>
                  <a:gd name="T92" fmla="*/ 278 w 411"/>
                  <a:gd name="T93" fmla="*/ 297 h 305"/>
                  <a:gd name="T94" fmla="*/ 296 w 411"/>
                  <a:gd name="T95" fmla="*/ 295 h 305"/>
                  <a:gd name="T96" fmla="*/ 310 w 411"/>
                  <a:gd name="T97" fmla="*/ 286 h 305"/>
                  <a:gd name="T98" fmla="*/ 333 w 411"/>
                  <a:gd name="T99" fmla="*/ 287 h 305"/>
                  <a:gd name="T100" fmla="*/ 356 w 411"/>
                  <a:gd name="T101" fmla="*/ 300 h 305"/>
                  <a:gd name="T102" fmla="*/ 373 w 411"/>
                  <a:gd name="T103" fmla="*/ 293 h 305"/>
                  <a:gd name="T104" fmla="*/ 378 w 411"/>
                  <a:gd name="T105" fmla="*/ 271 h 305"/>
                  <a:gd name="T106" fmla="*/ 379 w 411"/>
                  <a:gd name="T107" fmla="*/ 244 h 305"/>
                  <a:gd name="T108" fmla="*/ 373 w 411"/>
                  <a:gd name="T109" fmla="*/ 229 h 305"/>
                  <a:gd name="T110" fmla="*/ 365 w 411"/>
                  <a:gd name="T111" fmla="*/ 199 h 305"/>
                  <a:gd name="T112" fmla="*/ 370 w 411"/>
                  <a:gd name="T113" fmla="*/ 175 h 305"/>
                  <a:gd name="T114" fmla="*/ 366 w 411"/>
                  <a:gd name="T115" fmla="*/ 140 h 305"/>
                  <a:gd name="T116" fmla="*/ 373 w 411"/>
                  <a:gd name="T117" fmla="*/ 116 h 305"/>
                  <a:gd name="T118" fmla="*/ 392 w 411"/>
                  <a:gd name="T119" fmla="*/ 96 h 305"/>
                  <a:gd name="T120" fmla="*/ 398 w 411"/>
                  <a:gd name="T121" fmla="*/ 57 h 305"/>
                  <a:gd name="T122" fmla="*/ 411 w 411"/>
                  <a:gd name="T123" fmla="*/ 31 h 30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11"/>
                  <a:gd name="T187" fmla="*/ 0 h 305"/>
                  <a:gd name="T188" fmla="*/ 411 w 411"/>
                  <a:gd name="T189" fmla="*/ 305 h 30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11" h="305">
                    <a:moveTo>
                      <a:pt x="410" y="29"/>
                    </a:moveTo>
                    <a:lnTo>
                      <a:pt x="411" y="26"/>
                    </a:lnTo>
                    <a:lnTo>
                      <a:pt x="410" y="24"/>
                    </a:lnTo>
                    <a:lnTo>
                      <a:pt x="407" y="21"/>
                    </a:lnTo>
                    <a:lnTo>
                      <a:pt x="404" y="23"/>
                    </a:lnTo>
                    <a:lnTo>
                      <a:pt x="403" y="25"/>
                    </a:lnTo>
                    <a:lnTo>
                      <a:pt x="402" y="25"/>
                    </a:lnTo>
                    <a:lnTo>
                      <a:pt x="401" y="27"/>
                    </a:lnTo>
                    <a:lnTo>
                      <a:pt x="399" y="29"/>
                    </a:lnTo>
                    <a:lnTo>
                      <a:pt x="398" y="27"/>
                    </a:lnTo>
                    <a:lnTo>
                      <a:pt x="396" y="28"/>
                    </a:lnTo>
                    <a:lnTo>
                      <a:pt x="393" y="32"/>
                    </a:lnTo>
                    <a:lnTo>
                      <a:pt x="392" y="39"/>
                    </a:lnTo>
                    <a:lnTo>
                      <a:pt x="390" y="42"/>
                    </a:lnTo>
                    <a:lnTo>
                      <a:pt x="386" y="45"/>
                    </a:lnTo>
                    <a:lnTo>
                      <a:pt x="387" y="47"/>
                    </a:lnTo>
                    <a:lnTo>
                      <a:pt x="386" y="48"/>
                    </a:lnTo>
                    <a:lnTo>
                      <a:pt x="382" y="50"/>
                    </a:lnTo>
                    <a:lnTo>
                      <a:pt x="379" y="52"/>
                    </a:lnTo>
                    <a:lnTo>
                      <a:pt x="378" y="52"/>
                    </a:lnTo>
                    <a:lnTo>
                      <a:pt x="377" y="52"/>
                    </a:lnTo>
                    <a:lnTo>
                      <a:pt x="371" y="60"/>
                    </a:lnTo>
                    <a:lnTo>
                      <a:pt x="369" y="65"/>
                    </a:lnTo>
                    <a:lnTo>
                      <a:pt x="368" y="66"/>
                    </a:lnTo>
                    <a:lnTo>
                      <a:pt x="364" y="69"/>
                    </a:lnTo>
                    <a:lnTo>
                      <a:pt x="361" y="67"/>
                    </a:lnTo>
                    <a:lnTo>
                      <a:pt x="358" y="66"/>
                    </a:lnTo>
                    <a:lnTo>
                      <a:pt x="357" y="65"/>
                    </a:lnTo>
                    <a:lnTo>
                      <a:pt x="350" y="60"/>
                    </a:lnTo>
                    <a:lnTo>
                      <a:pt x="347" y="59"/>
                    </a:lnTo>
                    <a:lnTo>
                      <a:pt x="345" y="59"/>
                    </a:lnTo>
                    <a:lnTo>
                      <a:pt x="344" y="55"/>
                    </a:lnTo>
                    <a:lnTo>
                      <a:pt x="341" y="52"/>
                    </a:lnTo>
                    <a:lnTo>
                      <a:pt x="341" y="49"/>
                    </a:lnTo>
                    <a:lnTo>
                      <a:pt x="338" y="47"/>
                    </a:lnTo>
                    <a:lnTo>
                      <a:pt x="337" y="44"/>
                    </a:lnTo>
                    <a:lnTo>
                      <a:pt x="332" y="43"/>
                    </a:lnTo>
                    <a:lnTo>
                      <a:pt x="331" y="44"/>
                    </a:lnTo>
                    <a:lnTo>
                      <a:pt x="330" y="44"/>
                    </a:lnTo>
                    <a:lnTo>
                      <a:pt x="329" y="44"/>
                    </a:lnTo>
                    <a:lnTo>
                      <a:pt x="322" y="38"/>
                    </a:lnTo>
                    <a:lnTo>
                      <a:pt x="321" y="39"/>
                    </a:lnTo>
                    <a:lnTo>
                      <a:pt x="320" y="38"/>
                    </a:lnTo>
                    <a:lnTo>
                      <a:pt x="319" y="36"/>
                    </a:lnTo>
                    <a:lnTo>
                      <a:pt x="317" y="37"/>
                    </a:lnTo>
                    <a:lnTo>
                      <a:pt x="317" y="32"/>
                    </a:lnTo>
                    <a:lnTo>
                      <a:pt x="314" y="31"/>
                    </a:lnTo>
                    <a:lnTo>
                      <a:pt x="313" y="31"/>
                    </a:lnTo>
                    <a:lnTo>
                      <a:pt x="311" y="29"/>
                    </a:lnTo>
                    <a:lnTo>
                      <a:pt x="308" y="29"/>
                    </a:lnTo>
                    <a:lnTo>
                      <a:pt x="306" y="31"/>
                    </a:lnTo>
                    <a:lnTo>
                      <a:pt x="305" y="40"/>
                    </a:lnTo>
                    <a:lnTo>
                      <a:pt x="303" y="42"/>
                    </a:lnTo>
                    <a:lnTo>
                      <a:pt x="300" y="42"/>
                    </a:lnTo>
                    <a:lnTo>
                      <a:pt x="299" y="44"/>
                    </a:lnTo>
                    <a:lnTo>
                      <a:pt x="298" y="44"/>
                    </a:lnTo>
                    <a:lnTo>
                      <a:pt x="297" y="46"/>
                    </a:lnTo>
                    <a:lnTo>
                      <a:pt x="297" y="45"/>
                    </a:lnTo>
                    <a:lnTo>
                      <a:pt x="293" y="45"/>
                    </a:lnTo>
                    <a:lnTo>
                      <a:pt x="293" y="44"/>
                    </a:lnTo>
                    <a:lnTo>
                      <a:pt x="293" y="45"/>
                    </a:lnTo>
                    <a:lnTo>
                      <a:pt x="290" y="46"/>
                    </a:lnTo>
                    <a:lnTo>
                      <a:pt x="291" y="46"/>
                    </a:lnTo>
                    <a:lnTo>
                      <a:pt x="291" y="48"/>
                    </a:lnTo>
                    <a:lnTo>
                      <a:pt x="290" y="49"/>
                    </a:lnTo>
                    <a:lnTo>
                      <a:pt x="288" y="47"/>
                    </a:lnTo>
                    <a:lnTo>
                      <a:pt x="287" y="48"/>
                    </a:lnTo>
                    <a:lnTo>
                      <a:pt x="286" y="48"/>
                    </a:lnTo>
                    <a:lnTo>
                      <a:pt x="286" y="49"/>
                    </a:lnTo>
                    <a:lnTo>
                      <a:pt x="284" y="49"/>
                    </a:lnTo>
                    <a:lnTo>
                      <a:pt x="284" y="50"/>
                    </a:lnTo>
                    <a:lnTo>
                      <a:pt x="284" y="49"/>
                    </a:lnTo>
                    <a:lnTo>
                      <a:pt x="283" y="49"/>
                    </a:lnTo>
                    <a:lnTo>
                      <a:pt x="281" y="49"/>
                    </a:lnTo>
                    <a:lnTo>
                      <a:pt x="275" y="55"/>
                    </a:lnTo>
                    <a:lnTo>
                      <a:pt x="271" y="55"/>
                    </a:lnTo>
                    <a:lnTo>
                      <a:pt x="269" y="55"/>
                    </a:lnTo>
                    <a:lnTo>
                      <a:pt x="269" y="57"/>
                    </a:lnTo>
                    <a:lnTo>
                      <a:pt x="267" y="57"/>
                    </a:lnTo>
                    <a:lnTo>
                      <a:pt x="265" y="60"/>
                    </a:lnTo>
                    <a:lnTo>
                      <a:pt x="265" y="62"/>
                    </a:lnTo>
                    <a:lnTo>
                      <a:pt x="266" y="62"/>
                    </a:lnTo>
                    <a:lnTo>
                      <a:pt x="267" y="64"/>
                    </a:lnTo>
                    <a:lnTo>
                      <a:pt x="269" y="66"/>
                    </a:lnTo>
                    <a:lnTo>
                      <a:pt x="267" y="67"/>
                    </a:lnTo>
                    <a:lnTo>
                      <a:pt x="266" y="69"/>
                    </a:lnTo>
                    <a:lnTo>
                      <a:pt x="264" y="69"/>
                    </a:lnTo>
                    <a:lnTo>
                      <a:pt x="262" y="70"/>
                    </a:lnTo>
                    <a:lnTo>
                      <a:pt x="260" y="69"/>
                    </a:lnTo>
                    <a:lnTo>
                      <a:pt x="258" y="69"/>
                    </a:lnTo>
                    <a:lnTo>
                      <a:pt x="259" y="71"/>
                    </a:lnTo>
                    <a:lnTo>
                      <a:pt x="258" y="72"/>
                    </a:lnTo>
                    <a:lnTo>
                      <a:pt x="257" y="72"/>
                    </a:lnTo>
                    <a:lnTo>
                      <a:pt x="257" y="74"/>
                    </a:lnTo>
                    <a:lnTo>
                      <a:pt x="259" y="75"/>
                    </a:lnTo>
                    <a:lnTo>
                      <a:pt x="260" y="78"/>
                    </a:lnTo>
                    <a:lnTo>
                      <a:pt x="261" y="78"/>
                    </a:lnTo>
                    <a:lnTo>
                      <a:pt x="261" y="83"/>
                    </a:lnTo>
                    <a:lnTo>
                      <a:pt x="254" y="79"/>
                    </a:lnTo>
                    <a:lnTo>
                      <a:pt x="252" y="78"/>
                    </a:lnTo>
                    <a:lnTo>
                      <a:pt x="251" y="76"/>
                    </a:lnTo>
                    <a:lnTo>
                      <a:pt x="250" y="77"/>
                    </a:lnTo>
                    <a:lnTo>
                      <a:pt x="248" y="76"/>
                    </a:lnTo>
                    <a:lnTo>
                      <a:pt x="248" y="78"/>
                    </a:lnTo>
                    <a:lnTo>
                      <a:pt x="246" y="77"/>
                    </a:lnTo>
                    <a:lnTo>
                      <a:pt x="245" y="78"/>
                    </a:lnTo>
                    <a:lnTo>
                      <a:pt x="244" y="78"/>
                    </a:lnTo>
                    <a:lnTo>
                      <a:pt x="243" y="78"/>
                    </a:lnTo>
                    <a:lnTo>
                      <a:pt x="238" y="78"/>
                    </a:lnTo>
                    <a:lnTo>
                      <a:pt x="238" y="76"/>
                    </a:lnTo>
                    <a:lnTo>
                      <a:pt x="240" y="74"/>
                    </a:lnTo>
                    <a:lnTo>
                      <a:pt x="240" y="73"/>
                    </a:lnTo>
                    <a:lnTo>
                      <a:pt x="237" y="73"/>
                    </a:lnTo>
                    <a:lnTo>
                      <a:pt x="237" y="72"/>
                    </a:lnTo>
                    <a:lnTo>
                      <a:pt x="237" y="74"/>
                    </a:lnTo>
                    <a:lnTo>
                      <a:pt x="237" y="75"/>
                    </a:lnTo>
                    <a:lnTo>
                      <a:pt x="237" y="76"/>
                    </a:lnTo>
                    <a:lnTo>
                      <a:pt x="233" y="78"/>
                    </a:lnTo>
                    <a:lnTo>
                      <a:pt x="232" y="76"/>
                    </a:lnTo>
                    <a:lnTo>
                      <a:pt x="231" y="77"/>
                    </a:lnTo>
                    <a:lnTo>
                      <a:pt x="228" y="76"/>
                    </a:lnTo>
                    <a:lnTo>
                      <a:pt x="227" y="78"/>
                    </a:lnTo>
                    <a:lnTo>
                      <a:pt x="225" y="78"/>
                    </a:lnTo>
                    <a:lnTo>
                      <a:pt x="224" y="78"/>
                    </a:lnTo>
                    <a:lnTo>
                      <a:pt x="223" y="76"/>
                    </a:lnTo>
                    <a:lnTo>
                      <a:pt x="223" y="75"/>
                    </a:lnTo>
                    <a:lnTo>
                      <a:pt x="223" y="74"/>
                    </a:lnTo>
                    <a:lnTo>
                      <a:pt x="221" y="72"/>
                    </a:lnTo>
                    <a:lnTo>
                      <a:pt x="219" y="68"/>
                    </a:lnTo>
                    <a:lnTo>
                      <a:pt x="218" y="68"/>
                    </a:lnTo>
                    <a:lnTo>
                      <a:pt x="218" y="67"/>
                    </a:lnTo>
                    <a:lnTo>
                      <a:pt x="217" y="68"/>
                    </a:lnTo>
                    <a:lnTo>
                      <a:pt x="216" y="67"/>
                    </a:lnTo>
                    <a:lnTo>
                      <a:pt x="215" y="67"/>
                    </a:lnTo>
                    <a:lnTo>
                      <a:pt x="213" y="63"/>
                    </a:lnTo>
                    <a:lnTo>
                      <a:pt x="211" y="64"/>
                    </a:lnTo>
                    <a:lnTo>
                      <a:pt x="211" y="65"/>
                    </a:lnTo>
                    <a:lnTo>
                      <a:pt x="210" y="65"/>
                    </a:lnTo>
                    <a:lnTo>
                      <a:pt x="207" y="62"/>
                    </a:lnTo>
                    <a:lnTo>
                      <a:pt x="207" y="57"/>
                    </a:lnTo>
                    <a:lnTo>
                      <a:pt x="203" y="54"/>
                    </a:lnTo>
                    <a:lnTo>
                      <a:pt x="201" y="55"/>
                    </a:lnTo>
                    <a:lnTo>
                      <a:pt x="200" y="54"/>
                    </a:lnTo>
                    <a:lnTo>
                      <a:pt x="199" y="54"/>
                    </a:lnTo>
                    <a:lnTo>
                      <a:pt x="198" y="53"/>
                    </a:lnTo>
                    <a:lnTo>
                      <a:pt x="195" y="52"/>
                    </a:lnTo>
                    <a:lnTo>
                      <a:pt x="194" y="52"/>
                    </a:lnTo>
                    <a:lnTo>
                      <a:pt x="194" y="51"/>
                    </a:lnTo>
                    <a:lnTo>
                      <a:pt x="194" y="48"/>
                    </a:lnTo>
                    <a:lnTo>
                      <a:pt x="192" y="40"/>
                    </a:lnTo>
                    <a:lnTo>
                      <a:pt x="190" y="39"/>
                    </a:lnTo>
                    <a:lnTo>
                      <a:pt x="178" y="37"/>
                    </a:lnTo>
                    <a:lnTo>
                      <a:pt x="179" y="27"/>
                    </a:lnTo>
                    <a:lnTo>
                      <a:pt x="179" y="23"/>
                    </a:lnTo>
                    <a:lnTo>
                      <a:pt x="174" y="21"/>
                    </a:lnTo>
                    <a:lnTo>
                      <a:pt x="175" y="15"/>
                    </a:lnTo>
                    <a:lnTo>
                      <a:pt x="167" y="15"/>
                    </a:lnTo>
                    <a:lnTo>
                      <a:pt x="166" y="13"/>
                    </a:lnTo>
                    <a:lnTo>
                      <a:pt x="164" y="13"/>
                    </a:lnTo>
                    <a:lnTo>
                      <a:pt x="164" y="11"/>
                    </a:lnTo>
                    <a:lnTo>
                      <a:pt x="162" y="13"/>
                    </a:lnTo>
                    <a:lnTo>
                      <a:pt x="158" y="8"/>
                    </a:lnTo>
                    <a:lnTo>
                      <a:pt x="156" y="7"/>
                    </a:lnTo>
                    <a:lnTo>
                      <a:pt x="156" y="10"/>
                    </a:lnTo>
                    <a:lnTo>
                      <a:pt x="155" y="10"/>
                    </a:lnTo>
                    <a:lnTo>
                      <a:pt x="147" y="10"/>
                    </a:lnTo>
                    <a:lnTo>
                      <a:pt x="146" y="17"/>
                    </a:lnTo>
                    <a:lnTo>
                      <a:pt x="142" y="16"/>
                    </a:lnTo>
                    <a:lnTo>
                      <a:pt x="137" y="15"/>
                    </a:lnTo>
                    <a:lnTo>
                      <a:pt x="136" y="19"/>
                    </a:lnTo>
                    <a:lnTo>
                      <a:pt x="133" y="21"/>
                    </a:lnTo>
                    <a:lnTo>
                      <a:pt x="133" y="22"/>
                    </a:lnTo>
                    <a:lnTo>
                      <a:pt x="131" y="23"/>
                    </a:lnTo>
                    <a:lnTo>
                      <a:pt x="131" y="21"/>
                    </a:lnTo>
                    <a:lnTo>
                      <a:pt x="127" y="20"/>
                    </a:lnTo>
                    <a:lnTo>
                      <a:pt x="126" y="20"/>
                    </a:lnTo>
                    <a:lnTo>
                      <a:pt x="126" y="19"/>
                    </a:lnTo>
                    <a:lnTo>
                      <a:pt x="124" y="18"/>
                    </a:lnTo>
                    <a:lnTo>
                      <a:pt x="123" y="15"/>
                    </a:lnTo>
                    <a:lnTo>
                      <a:pt x="124" y="12"/>
                    </a:lnTo>
                    <a:lnTo>
                      <a:pt x="126" y="8"/>
                    </a:lnTo>
                    <a:lnTo>
                      <a:pt x="124" y="7"/>
                    </a:lnTo>
                    <a:lnTo>
                      <a:pt x="125" y="6"/>
                    </a:lnTo>
                    <a:lnTo>
                      <a:pt x="125" y="5"/>
                    </a:lnTo>
                    <a:lnTo>
                      <a:pt x="121" y="4"/>
                    </a:lnTo>
                    <a:lnTo>
                      <a:pt x="120" y="2"/>
                    </a:lnTo>
                    <a:lnTo>
                      <a:pt x="118" y="0"/>
                    </a:lnTo>
                    <a:lnTo>
                      <a:pt x="116" y="1"/>
                    </a:lnTo>
                    <a:lnTo>
                      <a:pt x="115" y="4"/>
                    </a:lnTo>
                    <a:lnTo>
                      <a:pt x="112" y="2"/>
                    </a:lnTo>
                    <a:lnTo>
                      <a:pt x="111" y="5"/>
                    </a:lnTo>
                    <a:lnTo>
                      <a:pt x="109" y="5"/>
                    </a:lnTo>
                    <a:lnTo>
                      <a:pt x="107" y="6"/>
                    </a:lnTo>
                    <a:lnTo>
                      <a:pt x="107" y="8"/>
                    </a:lnTo>
                    <a:lnTo>
                      <a:pt x="108" y="9"/>
                    </a:lnTo>
                    <a:lnTo>
                      <a:pt x="107" y="14"/>
                    </a:lnTo>
                    <a:lnTo>
                      <a:pt x="106" y="15"/>
                    </a:lnTo>
                    <a:lnTo>
                      <a:pt x="105" y="15"/>
                    </a:lnTo>
                    <a:lnTo>
                      <a:pt x="104" y="14"/>
                    </a:lnTo>
                    <a:lnTo>
                      <a:pt x="102" y="18"/>
                    </a:lnTo>
                    <a:lnTo>
                      <a:pt x="101" y="15"/>
                    </a:lnTo>
                    <a:lnTo>
                      <a:pt x="99" y="15"/>
                    </a:lnTo>
                    <a:lnTo>
                      <a:pt x="98" y="15"/>
                    </a:lnTo>
                    <a:lnTo>
                      <a:pt x="97" y="14"/>
                    </a:lnTo>
                    <a:lnTo>
                      <a:pt x="96" y="15"/>
                    </a:lnTo>
                    <a:lnTo>
                      <a:pt x="95" y="15"/>
                    </a:lnTo>
                    <a:lnTo>
                      <a:pt x="94" y="18"/>
                    </a:lnTo>
                    <a:lnTo>
                      <a:pt x="93" y="18"/>
                    </a:lnTo>
                    <a:lnTo>
                      <a:pt x="93" y="19"/>
                    </a:lnTo>
                    <a:lnTo>
                      <a:pt x="92" y="20"/>
                    </a:lnTo>
                    <a:lnTo>
                      <a:pt x="90" y="19"/>
                    </a:lnTo>
                    <a:lnTo>
                      <a:pt x="89" y="20"/>
                    </a:lnTo>
                    <a:lnTo>
                      <a:pt x="88" y="19"/>
                    </a:lnTo>
                    <a:lnTo>
                      <a:pt x="88" y="18"/>
                    </a:lnTo>
                    <a:lnTo>
                      <a:pt x="86" y="17"/>
                    </a:lnTo>
                    <a:lnTo>
                      <a:pt x="86" y="16"/>
                    </a:lnTo>
                    <a:lnTo>
                      <a:pt x="82" y="14"/>
                    </a:lnTo>
                    <a:lnTo>
                      <a:pt x="82" y="13"/>
                    </a:lnTo>
                    <a:lnTo>
                      <a:pt x="81" y="12"/>
                    </a:lnTo>
                    <a:lnTo>
                      <a:pt x="81" y="15"/>
                    </a:lnTo>
                    <a:lnTo>
                      <a:pt x="79" y="14"/>
                    </a:lnTo>
                    <a:lnTo>
                      <a:pt x="79" y="15"/>
                    </a:lnTo>
                    <a:lnTo>
                      <a:pt x="77" y="14"/>
                    </a:lnTo>
                    <a:lnTo>
                      <a:pt x="76" y="14"/>
                    </a:lnTo>
                    <a:lnTo>
                      <a:pt x="76" y="13"/>
                    </a:lnTo>
                    <a:lnTo>
                      <a:pt x="76" y="12"/>
                    </a:lnTo>
                    <a:lnTo>
                      <a:pt x="75" y="13"/>
                    </a:lnTo>
                    <a:lnTo>
                      <a:pt x="73" y="12"/>
                    </a:lnTo>
                    <a:lnTo>
                      <a:pt x="71" y="13"/>
                    </a:lnTo>
                    <a:lnTo>
                      <a:pt x="71" y="12"/>
                    </a:lnTo>
                    <a:lnTo>
                      <a:pt x="69" y="12"/>
                    </a:lnTo>
                    <a:lnTo>
                      <a:pt x="69" y="11"/>
                    </a:lnTo>
                    <a:lnTo>
                      <a:pt x="68" y="12"/>
                    </a:lnTo>
                    <a:lnTo>
                      <a:pt x="68" y="10"/>
                    </a:lnTo>
                    <a:lnTo>
                      <a:pt x="68" y="13"/>
                    </a:lnTo>
                    <a:lnTo>
                      <a:pt x="69" y="13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6" y="12"/>
                    </a:lnTo>
                    <a:lnTo>
                      <a:pt x="66" y="13"/>
                    </a:lnTo>
                    <a:lnTo>
                      <a:pt x="65" y="13"/>
                    </a:lnTo>
                    <a:lnTo>
                      <a:pt x="65" y="11"/>
                    </a:lnTo>
                    <a:lnTo>
                      <a:pt x="63" y="11"/>
                    </a:lnTo>
                    <a:lnTo>
                      <a:pt x="64" y="6"/>
                    </a:lnTo>
                    <a:lnTo>
                      <a:pt x="61" y="5"/>
                    </a:lnTo>
                    <a:lnTo>
                      <a:pt x="60" y="5"/>
                    </a:lnTo>
                    <a:lnTo>
                      <a:pt x="60" y="6"/>
                    </a:lnTo>
                    <a:lnTo>
                      <a:pt x="61" y="8"/>
                    </a:lnTo>
                    <a:lnTo>
                      <a:pt x="59" y="8"/>
                    </a:lnTo>
                    <a:lnTo>
                      <a:pt x="58" y="8"/>
                    </a:lnTo>
                    <a:lnTo>
                      <a:pt x="58" y="10"/>
                    </a:lnTo>
                    <a:lnTo>
                      <a:pt x="56" y="11"/>
                    </a:lnTo>
                    <a:lnTo>
                      <a:pt x="55" y="10"/>
                    </a:lnTo>
                    <a:lnTo>
                      <a:pt x="55" y="8"/>
                    </a:lnTo>
                    <a:lnTo>
                      <a:pt x="54" y="9"/>
                    </a:lnTo>
                    <a:lnTo>
                      <a:pt x="53" y="8"/>
                    </a:lnTo>
                    <a:lnTo>
                      <a:pt x="52" y="8"/>
                    </a:lnTo>
                    <a:lnTo>
                      <a:pt x="48" y="10"/>
                    </a:lnTo>
                    <a:lnTo>
                      <a:pt x="47" y="10"/>
                    </a:lnTo>
                    <a:lnTo>
                      <a:pt x="47" y="14"/>
                    </a:lnTo>
                    <a:lnTo>
                      <a:pt x="46" y="15"/>
                    </a:lnTo>
                    <a:lnTo>
                      <a:pt x="47" y="15"/>
                    </a:lnTo>
                    <a:lnTo>
                      <a:pt x="47" y="18"/>
                    </a:lnTo>
                    <a:lnTo>
                      <a:pt x="45" y="17"/>
                    </a:lnTo>
                    <a:lnTo>
                      <a:pt x="44" y="18"/>
                    </a:lnTo>
                    <a:lnTo>
                      <a:pt x="42" y="19"/>
                    </a:lnTo>
                    <a:lnTo>
                      <a:pt x="41" y="19"/>
                    </a:lnTo>
                    <a:lnTo>
                      <a:pt x="37" y="18"/>
                    </a:lnTo>
                    <a:lnTo>
                      <a:pt x="37" y="20"/>
                    </a:lnTo>
                    <a:lnTo>
                      <a:pt x="39" y="20"/>
                    </a:lnTo>
                    <a:lnTo>
                      <a:pt x="38" y="21"/>
                    </a:lnTo>
                    <a:lnTo>
                      <a:pt x="36" y="20"/>
                    </a:lnTo>
                    <a:lnTo>
                      <a:pt x="36" y="21"/>
                    </a:lnTo>
                    <a:lnTo>
                      <a:pt x="34" y="22"/>
                    </a:lnTo>
                    <a:lnTo>
                      <a:pt x="33" y="22"/>
                    </a:lnTo>
                    <a:lnTo>
                      <a:pt x="32" y="24"/>
                    </a:lnTo>
                    <a:lnTo>
                      <a:pt x="27" y="25"/>
                    </a:lnTo>
                    <a:lnTo>
                      <a:pt x="24" y="18"/>
                    </a:lnTo>
                    <a:lnTo>
                      <a:pt x="23" y="18"/>
                    </a:lnTo>
                    <a:lnTo>
                      <a:pt x="22" y="18"/>
                    </a:lnTo>
                    <a:lnTo>
                      <a:pt x="23" y="21"/>
                    </a:lnTo>
                    <a:lnTo>
                      <a:pt x="20" y="23"/>
                    </a:lnTo>
                    <a:lnTo>
                      <a:pt x="19" y="21"/>
                    </a:lnTo>
                    <a:lnTo>
                      <a:pt x="19" y="19"/>
                    </a:lnTo>
                    <a:lnTo>
                      <a:pt x="17" y="18"/>
                    </a:lnTo>
                    <a:lnTo>
                      <a:pt x="15" y="19"/>
                    </a:lnTo>
                    <a:lnTo>
                      <a:pt x="13" y="23"/>
                    </a:lnTo>
                    <a:lnTo>
                      <a:pt x="16" y="26"/>
                    </a:lnTo>
                    <a:lnTo>
                      <a:pt x="17" y="25"/>
                    </a:lnTo>
                    <a:lnTo>
                      <a:pt x="19" y="28"/>
                    </a:lnTo>
                    <a:lnTo>
                      <a:pt x="20" y="28"/>
                    </a:lnTo>
                    <a:lnTo>
                      <a:pt x="18" y="29"/>
                    </a:lnTo>
                    <a:lnTo>
                      <a:pt x="17" y="27"/>
                    </a:lnTo>
                    <a:lnTo>
                      <a:pt x="16" y="28"/>
                    </a:lnTo>
                    <a:lnTo>
                      <a:pt x="14" y="28"/>
                    </a:lnTo>
                    <a:lnTo>
                      <a:pt x="14" y="29"/>
                    </a:lnTo>
                    <a:lnTo>
                      <a:pt x="14" y="32"/>
                    </a:lnTo>
                    <a:lnTo>
                      <a:pt x="15" y="34"/>
                    </a:lnTo>
                    <a:lnTo>
                      <a:pt x="14" y="40"/>
                    </a:lnTo>
                    <a:lnTo>
                      <a:pt x="12" y="39"/>
                    </a:lnTo>
                    <a:lnTo>
                      <a:pt x="10" y="40"/>
                    </a:lnTo>
                    <a:lnTo>
                      <a:pt x="9" y="39"/>
                    </a:lnTo>
                    <a:lnTo>
                      <a:pt x="9" y="40"/>
                    </a:lnTo>
                    <a:lnTo>
                      <a:pt x="8" y="40"/>
                    </a:lnTo>
                    <a:lnTo>
                      <a:pt x="6" y="39"/>
                    </a:lnTo>
                    <a:lnTo>
                      <a:pt x="6" y="40"/>
                    </a:lnTo>
                    <a:lnTo>
                      <a:pt x="4" y="41"/>
                    </a:lnTo>
                    <a:lnTo>
                      <a:pt x="4" y="42"/>
                    </a:lnTo>
                    <a:lnTo>
                      <a:pt x="6" y="43"/>
                    </a:lnTo>
                    <a:lnTo>
                      <a:pt x="10" y="44"/>
                    </a:lnTo>
                    <a:lnTo>
                      <a:pt x="9" y="45"/>
                    </a:lnTo>
                    <a:lnTo>
                      <a:pt x="11" y="44"/>
                    </a:lnTo>
                    <a:lnTo>
                      <a:pt x="11" y="46"/>
                    </a:lnTo>
                    <a:lnTo>
                      <a:pt x="11" y="47"/>
                    </a:lnTo>
                    <a:lnTo>
                      <a:pt x="10" y="46"/>
                    </a:lnTo>
                    <a:lnTo>
                      <a:pt x="9" y="47"/>
                    </a:lnTo>
                    <a:lnTo>
                      <a:pt x="8" y="46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6" y="46"/>
                    </a:lnTo>
                    <a:lnTo>
                      <a:pt x="5" y="45"/>
                    </a:lnTo>
                    <a:lnTo>
                      <a:pt x="2" y="47"/>
                    </a:lnTo>
                    <a:lnTo>
                      <a:pt x="0" y="48"/>
                    </a:lnTo>
                    <a:lnTo>
                      <a:pt x="2" y="49"/>
                    </a:lnTo>
                    <a:lnTo>
                      <a:pt x="2" y="51"/>
                    </a:lnTo>
                    <a:lnTo>
                      <a:pt x="2" y="53"/>
                    </a:lnTo>
                    <a:lnTo>
                      <a:pt x="4" y="55"/>
                    </a:lnTo>
                    <a:lnTo>
                      <a:pt x="5" y="55"/>
                    </a:lnTo>
                    <a:lnTo>
                      <a:pt x="5" y="57"/>
                    </a:lnTo>
                    <a:lnTo>
                      <a:pt x="7" y="58"/>
                    </a:lnTo>
                    <a:lnTo>
                      <a:pt x="9" y="59"/>
                    </a:lnTo>
                    <a:lnTo>
                      <a:pt x="9" y="60"/>
                    </a:lnTo>
                    <a:lnTo>
                      <a:pt x="11" y="58"/>
                    </a:lnTo>
                    <a:lnTo>
                      <a:pt x="14" y="59"/>
                    </a:lnTo>
                    <a:lnTo>
                      <a:pt x="14" y="60"/>
                    </a:lnTo>
                    <a:lnTo>
                      <a:pt x="13" y="59"/>
                    </a:lnTo>
                    <a:lnTo>
                      <a:pt x="14" y="61"/>
                    </a:lnTo>
                    <a:lnTo>
                      <a:pt x="16" y="61"/>
                    </a:lnTo>
                    <a:lnTo>
                      <a:pt x="17" y="62"/>
                    </a:lnTo>
                    <a:lnTo>
                      <a:pt x="16" y="63"/>
                    </a:lnTo>
                    <a:lnTo>
                      <a:pt x="14" y="63"/>
                    </a:lnTo>
                    <a:lnTo>
                      <a:pt x="15" y="65"/>
                    </a:lnTo>
                    <a:lnTo>
                      <a:pt x="16" y="65"/>
                    </a:lnTo>
                    <a:lnTo>
                      <a:pt x="17" y="65"/>
                    </a:lnTo>
                    <a:lnTo>
                      <a:pt x="17" y="66"/>
                    </a:lnTo>
                    <a:lnTo>
                      <a:pt x="18" y="65"/>
                    </a:lnTo>
                    <a:lnTo>
                      <a:pt x="19" y="66"/>
                    </a:lnTo>
                    <a:lnTo>
                      <a:pt x="20" y="67"/>
                    </a:lnTo>
                    <a:lnTo>
                      <a:pt x="24" y="65"/>
                    </a:lnTo>
                    <a:lnTo>
                      <a:pt x="24" y="66"/>
                    </a:lnTo>
                    <a:lnTo>
                      <a:pt x="24" y="67"/>
                    </a:lnTo>
                    <a:lnTo>
                      <a:pt x="25" y="68"/>
                    </a:lnTo>
                    <a:lnTo>
                      <a:pt x="24" y="69"/>
                    </a:lnTo>
                    <a:lnTo>
                      <a:pt x="24" y="71"/>
                    </a:lnTo>
                    <a:lnTo>
                      <a:pt x="25" y="71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7" y="70"/>
                    </a:lnTo>
                    <a:lnTo>
                      <a:pt x="28" y="70"/>
                    </a:lnTo>
                    <a:lnTo>
                      <a:pt x="27" y="72"/>
                    </a:lnTo>
                    <a:lnTo>
                      <a:pt x="27" y="74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7" y="80"/>
                    </a:lnTo>
                    <a:lnTo>
                      <a:pt x="34" y="87"/>
                    </a:lnTo>
                    <a:lnTo>
                      <a:pt x="35" y="86"/>
                    </a:lnTo>
                    <a:lnTo>
                      <a:pt x="36" y="86"/>
                    </a:lnTo>
                    <a:lnTo>
                      <a:pt x="36" y="88"/>
                    </a:lnTo>
                    <a:lnTo>
                      <a:pt x="37" y="87"/>
                    </a:lnTo>
                    <a:lnTo>
                      <a:pt x="38" y="88"/>
                    </a:lnTo>
                    <a:lnTo>
                      <a:pt x="38" y="89"/>
                    </a:lnTo>
                    <a:lnTo>
                      <a:pt x="38" y="90"/>
                    </a:lnTo>
                    <a:lnTo>
                      <a:pt x="39" y="91"/>
                    </a:lnTo>
                    <a:lnTo>
                      <a:pt x="40" y="89"/>
                    </a:lnTo>
                    <a:lnTo>
                      <a:pt x="41" y="92"/>
                    </a:lnTo>
                    <a:lnTo>
                      <a:pt x="40" y="94"/>
                    </a:lnTo>
                    <a:lnTo>
                      <a:pt x="41" y="95"/>
                    </a:lnTo>
                    <a:lnTo>
                      <a:pt x="40" y="96"/>
                    </a:lnTo>
                    <a:lnTo>
                      <a:pt x="41" y="98"/>
                    </a:lnTo>
                    <a:lnTo>
                      <a:pt x="40" y="97"/>
                    </a:lnTo>
                    <a:lnTo>
                      <a:pt x="38" y="98"/>
                    </a:lnTo>
                    <a:lnTo>
                      <a:pt x="36" y="100"/>
                    </a:lnTo>
                    <a:lnTo>
                      <a:pt x="39" y="105"/>
                    </a:lnTo>
                    <a:lnTo>
                      <a:pt x="40" y="106"/>
                    </a:lnTo>
                    <a:lnTo>
                      <a:pt x="40" y="108"/>
                    </a:lnTo>
                    <a:lnTo>
                      <a:pt x="40" y="109"/>
                    </a:lnTo>
                    <a:lnTo>
                      <a:pt x="39" y="110"/>
                    </a:lnTo>
                    <a:lnTo>
                      <a:pt x="38" y="109"/>
                    </a:lnTo>
                    <a:lnTo>
                      <a:pt x="38" y="112"/>
                    </a:lnTo>
                    <a:lnTo>
                      <a:pt x="37" y="112"/>
                    </a:lnTo>
                    <a:lnTo>
                      <a:pt x="36" y="113"/>
                    </a:lnTo>
                    <a:lnTo>
                      <a:pt x="36" y="114"/>
                    </a:lnTo>
                    <a:lnTo>
                      <a:pt x="33" y="117"/>
                    </a:lnTo>
                    <a:lnTo>
                      <a:pt x="35" y="119"/>
                    </a:lnTo>
                    <a:lnTo>
                      <a:pt x="33" y="119"/>
                    </a:lnTo>
                    <a:lnTo>
                      <a:pt x="30" y="120"/>
                    </a:lnTo>
                    <a:lnTo>
                      <a:pt x="29" y="120"/>
                    </a:lnTo>
                    <a:lnTo>
                      <a:pt x="29" y="122"/>
                    </a:lnTo>
                    <a:lnTo>
                      <a:pt x="28" y="123"/>
                    </a:lnTo>
                    <a:lnTo>
                      <a:pt x="30" y="124"/>
                    </a:lnTo>
                    <a:lnTo>
                      <a:pt x="30" y="127"/>
                    </a:lnTo>
                    <a:lnTo>
                      <a:pt x="29" y="129"/>
                    </a:lnTo>
                    <a:lnTo>
                      <a:pt x="30" y="129"/>
                    </a:lnTo>
                    <a:lnTo>
                      <a:pt x="29" y="132"/>
                    </a:lnTo>
                    <a:lnTo>
                      <a:pt x="28" y="132"/>
                    </a:lnTo>
                    <a:lnTo>
                      <a:pt x="28" y="130"/>
                    </a:lnTo>
                    <a:lnTo>
                      <a:pt x="27" y="133"/>
                    </a:lnTo>
                    <a:lnTo>
                      <a:pt x="28" y="134"/>
                    </a:lnTo>
                    <a:lnTo>
                      <a:pt x="28" y="136"/>
                    </a:lnTo>
                    <a:lnTo>
                      <a:pt x="27" y="136"/>
                    </a:lnTo>
                    <a:lnTo>
                      <a:pt x="30" y="140"/>
                    </a:lnTo>
                    <a:lnTo>
                      <a:pt x="32" y="142"/>
                    </a:lnTo>
                    <a:lnTo>
                      <a:pt x="33" y="143"/>
                    </a:lnTo>
                    <a:lnTo>
                      <a:pt x="35" y="146"/>
                    </a:lnTo>
                    <a:lnTo>
                      <a:pt x="36" y="147"/>
                    </a:lnTo>
                    <a:lnTo>
                      <a:pt x="38" y="147"/>
                    </a:lnTo>
                    <a:lnTo>
                      <a:pt x="41" y="152"/>
                    </a:lnTo>
                    <a:lnTo>
                      <a:pt x="43" y="152"/>
                    </a:lnTo>
                    <a:lnTo>
                      <a:pt x="43" y="153"/>
                    </a:lnTo>
                    <a:lnTo>
                      <a:pt x="44" y="155"/>
                    </a:lnTo>
                    <a:lnTo>
                      <a:pt x="47" y="155"/>
                    </a:lnTo>
                    <a:lnTo>
                      <a:pt x="46" y="157"/>
                    </a:lnTo>
                    <a:lnTo>
                      <a:pt x="47" y="159"/>
                    </a:lnTo>
                    <a:lnTo>
                      <a:pt x="49" y="159"/>
                    </a:lnTo>
                    <a:lnTo>
                      <a:pt x="49" y="160"/>
                    </a:lnTo>
                    <a:lnTo>
                      <a:pt x="50" y="160"/>
                    </a:lnTo>
                    <a:lnTo>
                      <a:pt x="49" y="160"/>
                    </a:lnTo>
                    <a:lnTo>
                      <a:pt x="50" y="163"/>
                    </a:lnTo>
                    <a:lnTo>
                      <a:pt x="49" y="164"/>
                    </a:lnTo>
                    <a:lnTo>
                      <a:pt x="49" y="165"/>
                    </a:lnTo>
                    <a:lnTo>
                      <a:pt x="50" y="163"/>
                    </a:lnTo>
                    <a:lnTo>
                      <a:pt x="50" y="164"/>
                    </a:lnTo>
                    <a:lnTo>
                      <a:pt x="52" y="163"/>
                    </a:lnTo>
                    <a:lnTo>
                      <a:pt x="52" y="164"/>
                    </a:lnTo>
                    <a:lnTo>
                      <a:pt x="53" y="164"/>
                    </a:lnTo>
                    <a:lnTo>
                      <a:pt x="55" y="164"/>
                    </a:lnTo>
                    <a:lnTo>
                      <a:pt x="57" y="164"/>
                    </a:lnTo>
                    <a:lnTo>
                      <a:pt x="57" y="165"/>
                    </a:lnTo>
                    <a:lnTo>
                      <a:pt x="58" y="165"/>
                    </a:lnTo>
                    <a:lnTo>
                      <a:pt x="58" y="164"/>
                    </a:lnTo>
                    <a:lnTo>
                      <a:pt x="60" y="164"/>
                    </a:lnTo>
                    <a:lnTo>
                      <a:pt x="60" y="163"/>
                    </a:lnTo>
                    <a:lnTo>
                      <a:pt x="63" y="163"/>
                    </a:lnTo>
                    <a:lnTo>
                      <a:pt x="62" y="164"/>
                    </a:lnTo>
                    <a:lnTo>
                      <a:pt x="63" y="168"/>
                    </a:lnTo>
                    <a:lnTo>
                      <a:pt x="64" y="167"/>
                    </a:lnTo>
                    <a:lnTo>
                      <a:pt x="65" y="168"/>
                    </a:lnTo>
                    <a:lnTo>
                      <a:pt x="67" y="168"/>
                    </a:lnTo>
                    <a:lnTo>
                      <a:pt x="68" y="164"/>
                    </a:lnTo>
                    <a:lnTo>
                      <a:pt x="69" y="163"/>
                    </a:lnTo>
                    <a:lnTo>
                      <a:pt x="70" y="166"/>
                    </a:lnTo>
                    <a:lnTo>
                      <a:pt x="71" y="166"/>
                    </a:lnTo>
                    <a:lnTo>
                      <a:pt x="72" y="166"/>
                    </a:lnTo>
                    <a:lnTo>
                      <a:pt x="72" y="167"/>
                    </a:lnTo>
                    <a:lnTo>
                      <a:pt x="75" y="167"/>
                    </a:lnTo>
                    <a:lnTo>
                      <a:pt x="76" y="169"/>
                    </a:lnTo>
                    <a:lnTo>
                      <a:pt x="74" y="169"/>
                    </a:lnTo>
                    <a:lnTo>
                      <a:pt x="74" y="170"/>
                    </a:lnTo>
                    <a:lnTo>
                      <a:pt x="76" y="172"/>
                    </a:lnTo>
                    <a:lnTo>
                      <a:pt x="77" y="170"/>
                    </a:lnTo>
                    <a:lnTo>
                      <a:pt x="77" y="172"/>
                    </a:lnTo>
                    <a:lnTo>
                      <a:pt x="79" y="173"/>
                    </a:lnTo>
                    <a:lnTo>
                      <a:pt x="81" y="171"/>
                    </a:lnTo>
                    <a:lnTo>
                      <a:pt x="81" y="172"/>
                    </a:lnTo>
                    <a:lnTo>
                      <a:pt x="82" y="173"/>
                    </a:lnTo>
                    <a:lnTo>
                      <a:pt x="82" y="176"/>
                    </a:lnTo>
                    <a:lnTo>
                      <a:pt x="83" y="176"/>
                    </a:lnTo>
                    <a:lnTo>
                      <a:pt x="84" y="176"/>
                    </a:lnTo>
                    <a:lnTo>
                      <a:pt x="83" y="177"/>
                    </a:lnTo>
                    <a:lnTo>
                      <a:pt x="82" y="177"/>
                    </a:lnTo>
                    <a:lnTo>
                      <a:pt x="83" y="178"/>
                    </a:lnTo>
                    <a:lnTo>
                      <a:pt x="84" y="178"/>
                    </a:lnTo>
                    <a:lnTo>
                      <a:pt x="84" y="179"/>
                    </a:lnTo>
                    <a:lnTo>
                      <a:pt x="85" y="178"/>
                    </a:lnTo>
                    <a:lnTo>
                      <a:pt x="85" y="179"/>
                    </a:lnTo>
                    <a:lnTo>
                      <a:pt x="86" y="181"/>
                    </a:lnTo>
                    <a:lnTo>
                      <a:pt x="85" y="181"/>
                    </a:lnTo>
                    <a:lnTo>
                      <a:pt x="89" y="184"/>
                    </a:lnTo>
                    <a:lnTo>
                      <a:pt x="89" y="183"/>
                    </a:lnTo>
                    <a:lnTo>
                      <a:pt x="93" y="183"/>
                    </a:lnTo>
                    <a:lnTo>
                      <a:pt x="94" y="185"/>
                    </a:lnTo>
                    <a:lnTo>
                      <a:pt x="96" y="185"/>
                    </a:lnTo>
                    <a:lnTo>
                      <a:pt x="98" y="186"/>
                    </a:lnTo>
                    <a:lnTo>
                      <a:pt x="98" y="185"/>
                    </a:lnTo>
                    <a:lnTo>
                      <a:pt x="100" y="185"/>
                    </a:lnTo>
                    <a:lnTo>
                      <a:pt x="99" y="187"/>
                    </a:lnTo>
                    <a:lnTo>
                      <a:pt x="97" y="192"/>
                    </a:lnTo>
                    <a:lnTo>
                      <a:pt x="97" y="195"/>
                    </a:lnTo>
                    <a:lnTo>
                      <a:pt x="97" y="197"/>
                    </a:lnTo>
                    <a:lnTo>
                      <a:pt x="99" y="197"/>
                    </a:lnTo>
                    <a:lnTo>
                      <a:pt x="101" y="195"/>
                    </a:lnTo>
                    <a:lnTo>
                      <a:pt x="101" y="196"/>
                    </a:lnTo>
                    <a:lnTo>
                      <a:pt x="101" y="195"/>
                    </a:lnTo>
                    <a:lnTo>
                      <a:pt x="102" y="194"/>
                    </a:lnTo>
                    <a:lnTo>
                      <a:pt x="104" y="197"/>
                    </a:lnTo>
                    <a:lnTo>
                      <a:pt x="105" y="196"/>
                    </a:lnTo>
                    <a:lnTo>
                      <a:pt x="106" y="197"/>
                    </a:lnTo>
                    <a:lnTo>
                      <a:pt x="108" y="199"/>
                    </a:lnTo>
                    <a:lnTo>
                      <a:pt x="109" y="199"/>
                    </a:lnTo>
                    <a:lnTo>
                      <a:pt x="111" y="204"/>
                    </a:lnTo>
                    <a:lnTo>
                      <a:pt x="115" y="206"/>
                    </a:lnTo>
                    <a:lnTo>
                      <a:pt x="116" y="208"/>
                    </a:lnTo>
                    <a:lnTo>
                      <a:pt x="118" y="206"/>
                    </a:lnTo>
                    <a:lnTo>
                      <a:pt x="120" y="205"/>
                    </a:lnTo>
                    <a:lnTo>
                      <a:pt x="120" y="210"/>
                    </a:lnTo>
                    <a:lnTo>
                      <a:pt x="118" y="211"/>
                    </a:lnTo>
                    <a:lnTo>
                      <a:pt x="115" y="216"/>
                    </a:lnTo>
                    <a:lnTo>
                      <a:pt x="117" y="219"/>
                    </a:lnTo>
                    <a:lnTo>
                      <a:pt x="116" y="220"/>
                    </a:lnTo>
                    <a:lnTo>
                      <a:pt x="120" y="224"/>
                    </a:lnTo>
                    <a:lnTo>
                      <a:pt x="123" y="224"/>
                    </a:lnTo>
                    <a:lnTo>
                      <a:pt x="126" y="227"/>
                    </a:lnTo>
                    <a:lnTo>
                      <a:pt x="128" y="228"/>
                    </a:lnTo>
                    <a:lnTo>
                      <a:pt x="128" y="229"/>
                    </a:lnTo>
                    <a:lnTo>
                      <a:pt x="129" y="229"/>
                    </a:lnTo>
                    <a:lnTo>
                      <a:pt x="132" y="234"/>
                    </a:lnTo>
                    <a:lnTo>
                      <a:pt x="133" y="234"/>
                    </a:lnTo>
                    <a:lnTo>
                      <a:pt x="134" y="233"/>
                    </a:lnTo>
                    <a:lnTo>
                      <a:pt x="136" y="233"/>
                    </a:lnTo>
                    <a:lnTo>
                      <a:pt x="138" y="234"/>
                    </a:lnTo>
                    <a:lnTo>
                      <a:pt x="140" y="234"/>
                    </a:lnTo>
                    <a:lnTo>
                      <a:pt x="143" y="233"/>
                    </a:lnTo>
                    <a:lnTo>
                      <a:pt x="142" y="227"/>
                    </a:lnTo>
                    <a:lnTo>
                      <a:pt x="146" y="229"/>
                    </a:lnTo>
                    <a:lnTo>
                      <a:pt x="147" y="228"/>
                    </a:lnTo>
                    <a:lnTo>
                      <a:pt x="148" y="228"/>
                    </a:lnTo>
                    <a:lnTo>
                      <a:pt x="147" y="224"/>
                    </a:lnTo>
                    <a:lnTo>
                      <a:pt x="148" y="220"/>
                    </a:lnTo>
                    <a:lnTo>
                      <a:pt x="155" y="215"/>
                    </a:lnTo>
                    <a:lnTo>
                      <a:pt x="156" y="212"/>
                    </a:lnTo>
                    <a:lnTo>
                      <a:pt x="158" y="212"/>
                    </a:lnTo>
                    <a:lnTo>
                      <a:pt x="158" y="214"/>
                    </a:lnTo>
                    <a:lnTo>
                      <a:pt x="159" y="213"/>
                    </a:lnTo>
                    <a:lnTo>
                      <a:pt x="159" y="214"/>
                    </a:lnTo>
                    <a:lnTo>
                      <a:pt x="158" y="215"/>
                    </a:lnTo>
                    <a:lnTo>
                      <a:pt x="159" y="217"/>
                    </a:lnTo>
                    <a:lnTo>
                      <a:pt x="158" y="217"/>
                    </a:lnTo>
                    <a:lnTo>
                      <a:pt x="158" y="219"/>
                    </a:lnTo>
                    <a:lnTo>
                      <a:pt x="161" y="223"/>
                    </a:lnTo>
                    <a:lnTo>
                      <a:pt x="163" y="223"/>
                    </a:lnTo>
                    <a:lnTo>
                      <a:pt x="165" y="223"/>
                    </a:lnTo>
                    <a:lnTo>
                      <a:pt x="166" y="224"/>
                    </a:lnTo>
                    <a:lnTo>
                      <a:pt x="168" y="226"/>
                    </a:lnTo>
                    <a:lnTo>
                      <a:pt x="169" y="227"/>
                    </a:lnTo>
                    <a:lnTo>
                      <a:pt x="170" y="224"/>
                    </a:lnTo>
                    <a:lnTo>
                      <a:pt x="171" y="225"/>
                    </a:lnTo>
                    <a:lnTo>
                      <a:pt x="172" y="225"/>
                    </a:lnTo>
                    <a:lnTo>
                      <a:pt x="174" y="227"/>
                    </a:lnTo>
                    <a:lnTo>
                      <a:pt x="175" y="227"/>
                    </a:lnTo>
                    <a:lnTo>
                      <a:pt x="176" y="229"/>
                    </a:lnTo>
                    <a:lnTo>
                      <a:pt x="177" y="230"/>
                    </a:lnTo>
                    <a:lnTo>
                      <a:pt x="177" y="231"/>
                    </a:lnTo>
                    <a:lnTo>
                      <a:pt x="179" y="233"/>
                    </a:lnTo>
                    <a:lnTo>
                      <a:pt x="180" y="239"/>
                    </a:lnTo>
                    <a:lnTo>
                      <a:pt x="182" y="241"/>
                    </a:lnTo>
                    <a:lnTo>
                      <a:pt x="183" y="240"/>
                    </a:lnTo>
                    <a:lnTo>
                      <a:pt x="185" y="240"/>
                    </a:lnTo>
                    <a:lnTo>
                      <a:pt x="189" y="241"/>
                    </a:lnTo>
                    <a:lnTo>
                      <a:pt x="192" y="239"/>
                    </a:lnTo>
                    <a:lnTo>
                      <a:pt x="194" y="241"/>
                    </a:lnTo>
                    <a:lnTo>
                      <a:pt x="195" y="244"/>
                    </a:lnTo>
                    <a:lnTo>
                      <a:pt x="194" y="245"/>
                    </a:lnTo>
                    <a:lnTo>
                      <a:pt x="195" y="246"/>
                    </a:lnTo>
                    <a:lnTo>
                      <a:pt x="197" y="244"/>
                    </a:lnTo>
                    <a:lnTo>
                      <a:pt x="200" y="244"/>
                    </a:lnTo>
                    <a:lnTo>
                      <a:pt x="201" y="246"/>
                    </a:lnTo>
                    <a:lnTo>
                      <a:pt x="203" y="249"/>
                    </a:lnTo>
                    <a:lnTo>
                      <a:pt x="205" y="249"/>
                    </a:lnTo>
                    <a:lnTo>
                      <a:pt x="205" y="247"/>
                    </a:lnTo>
                    <a:lnTo>
                      <a:pt x="207" y="247"/>
                    </a:lnTo>
                    <a:lnTo>
                      <a:pt x="207" y="250"/>
                    </a:lnTo>
                    <a:lnTo>
                      <a:pt x="209" y="251"/>
                    </a:lnTo>
                    <a:lnTo>
                      <a:pt x="209" y="253"/>
                    </a:lnTo>
                    <a:lnTo>
                      <a:pt x="211" y="253"/>
                    </a:lnTo>
                    <a:lnTo>
                      <a:pt x="211" y="254"/>
                    </a:lnTo>
                    <a:lnTo>
                      <a:pt x="212" y="253"/>
                    </a:lnTo>
                    <a:lnTo>
                      <a:pt x="215" y="255"/>
                    </a:lnTo>
                    <a:lnTo>
                      <a:pt x="218" y="256"/>
                    </a:lnTo>
                    <a:lnTo>
                      <a:pt x="219" y="258"/>
                    </a:lnTo>
                    <a:lnTo>
                      <a:pt x="222" y="264"/>
                    </a:lnTo>
                    <a:lnTo>
                      <a:pt x="224" y="267"/>
                    </a:lnTo>
                    <a:lnTo>
                      <a:pt x="226" y="268"/>
                    </a:lnTo>
                    <a:lnTo>
                      <a:pt x="224" y="272"/>
                    </a:lnTo>
                    <a:lnTo>
                      <a:pt x="227" y="274"/>
                    </a:lnTo>
                    <a:lnTo>
                      <a:pt x="228" y="275"/>
                    </a:lnTo>
                    <a:lnTo>
                      <a:pt x="229" y="278"/>
                    </a:lnTo>
                    <a:lnTo>
                      <a:pt x="231" y="278"/>
                    </a:lnTo>
                    <a:lnTo>
                      <a:pt x="232" y="278"/>
                    </a:lnTo>
                    <a:lnTo>
                      <a:pt x="233" y="276"/>
                    </a:lnTo>
                    <a:lnTo>
                      <a:pt x="236" y="279"/>
                    </a:lnTo>
                    <a:lnTo>
                      <a:pt x="237" y="278"/>
                    </a:lnTo>
                    <a:lnTo>
                      <a:pt x="240" y="281"/>
                    </a:lnTo>
                    <a:lnTo>
                      <a:pt x="243" y="281"/>
                    </a:lnTo>
                    <a:lnTo>
                      <a:pt x="245" y="283"/>
                    </a:lnTo>
                    <a:lnTo>
                      <a:pt x="246" y="285"/>
                    </a:lnTo>
                    <a:lnTo>
                      <a:pt x="248" y="289"/>
                    </a:lnTo>
                    <a:lnTo>
                      <a:pt x="250" y="289"/>
                    </a:lnTo>
                    <a:lnTo>
                      <a:pt x="252" y="291"/>
                    </a:lnTo>
                    <a:lnTo>
                      <a:pt x="252" y="293"/>
                    </a:lnTo>
                    <a:lnTo>
                      <a:pt x="255" y="299"/>
                    </a:lnTo>
                    <a:lnTo>
                      <a:pt x="256" y="300"/>
                    </a:lnTo>
                    <a:lnTo>
                      <a:pt x="257" y="302"/>
                    </a:lnTo>
                    <a:lnTo>
                      <a:pt x="259" y="304"/>
                    </a:lnTo>
                    <a:lnTo>
                      <a:pt x="259" y="301"/>
                    </a:lnTo>
                    <a:lnTo>
                      <a:pt x="263" y="298"/>
                    </a:lnTo>
                    <a:lnTo>
                      <a:pt x="262" y="295"/>
                    </a:lnTo>
                    <a:lnTo>
                      <a:pt x="263" y="293"/>
                    </a:lnTo>
                    <a:lnTo>
                      <a:pt x="265" y="294"/>
                    </a:lnTo>
                    <a:lnTo>
                      <a:pt x="267" y="294"/>
                    </a:lnTo>
                    <a:lnTo>
                      <a:pt x="268" y="292"/>
                    </a:lnTo>
                    <a:lnTo>
                      <a:pt x="269" y="293"/>
                    </a:lnTo>
                    <a:lnTo>
                      <a:pt x="270" y="293"/>
                    </a:lnTo>
                    <a:lnTo>
                      <a:pt x="272" y="294"/>
                    </a:lnTo>
                    <a:lnTo>
                      <a:pt x="270" y="298"/>
                    </a:lnTo>
                    <a:lnTo>
                      <a:pt x="272" y="298"/>
                    </a:lnTo>
                    <a:lnTo>
                      <a:pt x="273" y="297"/>
                    </a:lnTo>
                    <a:lnTo>
                      <a:pt x="274" y="297"/>
                    </a:lnTo>
                    <a:lnTo>
                      <a:pt x="275" y="297"/>
                    </a:lnTo>
                    <a:lnTo>
                      <a:pt x="278" y="297"/>
                    </a:lnTo>
                    <a:lnTo>
                      <a:pt x="282" y="294"/>
                    </a:lnTo>
                    <a:lnTo>
                      <a:pt x="284" y="294"/>
                    </a:lnTo>
                    <a:lnTo>
                      <a:pt x="286" y="298"/>
                    </a:lnTo>
                    <a:lnTo>
                      <a:pt x="288" y="298"/>
                    </a:lnTo>
                    <a:lnTo>
                      <a:pt x="290" y="299"/>
                    </a:lnTo>
                    <a:lnTo>
                      <a:pt x="290" y="298"/>
                    </a:lnTo>
                    <a:lnTo>
                      <a:pt x="295" y="299"/>
                    </a:lnTo>
                    <a:lnTo>
                      <a:pt x="296" y="298"/>
                    </a:lnTo>
                    <a:lnTo>
                      <a:pt x="296" y="300"/>
                    </a:lnTo>
                    <a:lnTo>
                      <a:pt x="297" y="299"/>
                    </a:lnTo>
                    <a:lnTo>
                      <a:pt x="297" y="298"/>
                    </a:lnTo>
                    <a:lnTo>
                      <a:pt x="296" y="295"/>
                    </a:lnTo>
                    <a:lnTo>
                      <a:pt x="298" y="293"/>
                    </a:lnTo>
                    <a:lnTo>
                      <a:pt x="298" y="292"/>
                    </a:lnTo>
                    <a:lnTo>
                      <a:pt x="299" y="291"/>
                    </a:lnTo>
                    <a:lnTo>
                      <a:pt x="299" y="289"/>
                    </a:lnTo>
                    <a:lnTo>
                      <a:pt x="299" y="286"/>
                    </a:lnTo>
                    <a:lnTo>
                      <a:pt x="301" y="284"/>
                    </a:lnTo>
                    <a:lnTo>
                      <a:pt x="301" y="283"/>
                    </a:lnTo>
                    <a:lnTo>
                      <a:pt x="302" y="282"/>
                    </a:lnTo>
                    <a:lnTo>
                      <a:pt x="304" y="282"/>
                    </a:lnTo>
                    <a:lnTo>
                      <a:pt x="305" y="284"/>
                    </a:lnTo>
                    <a:lnTo>
                      <a:pt x="306" y="284"/>
                    </a:lnTo>
                    <a:lnTo>
                      <a:pt x="308" y="282"/>
                    </a:lnTo>
                    <a:lnTo>
                      <a:pt x="308" y="284"/>
                    </a:lnTo>
                    <a:lnTo>
                      <a:pt x="310" y="286"/>
                    </a:lnTo>
                    <a:lnTo>
                      <a:pt x="312" y="285"/>
                    </a:lnTo>
                    <a:lnTo>
                      <a:pt x="314" y="286"/>
                    </a:lnTo>
                    <a:lnTo>
                      <a:pt x="315" y="287"/>
                    </a:lnTo>
                    <a:lnTo>
                      <a:pt x="318" y="287"/>
                    </a:lnTo>
                    <a:lnTo>
                      <a:pt x="318" y="286"/>
                    </a:lnTo>
                    <a:lnTo>
                      <a:pt x="319" y="286"/>
                    </a:lnTo>
                    <a:lnTo>
                      <a:pt x="319" y="285"/>
                    </a:lnTo>
                    <a:lnTo>
                      <a:pt x="319" y="283"/>
                    </a:lnTo>
                    <a:lnTo>
                      <a:pt x="320" y="283"/>
                    </a:lnTo>
                    <a:lnTo>
                      <a:pt x="324" y="285"/>
                    </a:lnTo>
                    <a:lnTo>
                      <a:pt x="328" y="290"/>
                    </a:lnTo>
                    <a:lnTo>
                      <a:pt x="331" y="287"/>
                    </a:lnTo>
                    <a:lnTo>
                      <a:pt x="333" y="289"/>
                    </a:lnTo>
                    <a:lnTo>
                      <a:pt x="333" y="287"/>
                    </a:lnTo>
                    <a:lnTo>
                      <a:pt x="332" y="287"/>
                    </a:lnTo>
                    <a:lnTo>
                      <a:pt x="332" y="286"/>
                    </a:lnTo>
                    <a:lnTo>
                      <a:pt x="336" y="289"/>
                    </a:lnTo>
                    <a:lnTo>
                      <a:pt x="337" y="289"/>
                    </a:lnTo>
                    <a:lnTo>
                      <a:pt x="339" y="289"/>
                    </a:lnTo>
                    <a:lnTo>
                      <a:pt x="341" y="288"/>
                    </a:lnTo>
                    <a:lnTo>
                      <a:pt x="340" y="289"/>
                    </a:lnTo>
                    <a:lnTo>
                      <a:pt x="345" y="291"/>
                    </a:lnTo>
                    <a:lnTo>
                      <a:pt x="346" y="294"/>
                    </a:lnTo>
                    <a:lnTo>
                      <a:pt x="347" y="294"/>
                    </a:lnTo>
                    <a:lnTo>
                      <a:pt x="348" y="294"/>
                    </a:lnTo>
                    <a:lnTo>
                      <a:pt x="355" y="299"/>
                    </a:lnTo>
                    <a:lnTo>
                      <a:pt x="356" y="300"/>
                    </a:lnTo>
                    <a:lnTo>
                      <a:pt x="360" y="303"/>
                    </a:lnTo>
                    <a:lnTo>
                      <a:pt x="363" y="305"/>
                    </a:lnTo>
                    <a:lnTo>
                      <a:pt x="368" y="304"/>
                    </a:lnTo>
                    <a:lnTo>
                      <a:pt x="368" y="302"/>
                    </a:lnTo>
                    <a:lnTo>
                      <a:pt x="369" y="301"/>
                    </a:lnTo>
                    <a:lnTo>
                      <a:pt x="369" y="300"/>
                    </a:lnTo>
                    <a:lnTo>
                      <a:pt x="368" y="298"/>
                    </a:lnTo>
                    <a:lnTo>
                      <a:pt x="370" y="297"/>
                    </a:lnTo>
                    <a:lnTo>
                      <a:pt x="371" y="293"/>
                    </a:lnTo>
                    <a:lnTo>
                      <a:pt x="372" y="292"/>
                    </a:lnTo>
                    <a:lnTo>
                      <a:pt x="372" y="291"/>
                    </a:lnTo>
                    <a:lnTo>
                      <a:pt x="373" y="291"/>
                    </a:lnTo>
                    <a:lnTo>
                      <a:pt x="373" y="293"/>
                    </a:lnTo>
                    <a:lnTo>
                      <a:pt x="374" y="294"/>
                    </a:lnTo>
                    <a:lnTo>
                      <a:pt x="375" y="293"/>
                    </a:lnTo>
                    <a:lnTo>
                      <a:pt x="372" y="290"/>
                    </a:lnTo>
                    <a:lnTo>
                      <a:pt x="370" y="286"/>
                    </a:lnTo>
                    <a:lnTo>
                      <a:pt x="370" y="284"/>
                    </a:lnTo>
                    <a:lnTo>
                      <a:pt x="371" y="283"/>
                    </a:lnTo>
                    <a:lnTo>
                      <a:pt x="371" y="278"/>
                    </a:lnTo>
                    <a:lnTo>
                      <a:pt x="373" y="278"/>
                    </a:lnTo>
                    <a:lnTo>
                      <a:pt x="373" y="276"/>
                    </a:lnTo>
                    <a:lnTo>
                      <a:pt x="375" y="274"/>
                    </a:lnTo>
                    <a:lnTo>
                      <a:pt x="377" y="274"/>
                    </a:lnTo>
                    <a:lnTo>
                      <a:pt x="378" y="274"/>
                    </a:lnTo>
                    <a:lnTo>
                      <a:pt x="378" y="273"/>
                    </a:lnTo>
                    <a:lnTo>
                      <a:pt x="378" y="271"/>
                    </a:lnTo>
                    <a:lnTo>
                      <a:pt x="380" y="270"/>
                    </a:lnTo>
                    <a:lnTo>
                      <a:pt x="382" y="270"/>
                    </a:lnTo>
                    <a:lnTo>
                      <a:pt x="384" y="268"/>
                    </a:lnTo>
                    <a:lnTo>
                      <a:pt x="383" y="265"/>
                    </a:lnTo>
                    <a:lnTo>
                      <a:pt x="385" y="258"/>
                    </a:lnTo>
                    <a:lnTo>
                      <a:pt x="385" y="256"/>
                    </a:lnTo>
                    <a:lnTo>
                      <a:pt x="384" y="257"/>
                    </a:lnTo>
                    <a:lnTo>
                      <a:pt x="384" y="255"/>
                    </a:lnTo>
                    <a:lnTo>
                      <a:pt x="383" y="255"/>
                    </a:lnTo>
                    <a:lnTo>
                      <a:pt x="385" y="251"/>
                    </a:lnTo>
                    <a:lnTo>
                      <a:pt x="386" y="249"/>
                    </a:lnTo>
                    <a:lnTo>
                      <a:pt x="383" y="247"/>
                    </a:lnTo>
                    <a:lnTo>
                      <a:pt x="382" y="244"/>
                    </a:lnTo>
                    <a:lnTo>
                      <a:pt x="379" y="244"/>
                    </a:lnTo>
                    <a:lnTo>
                      <a:pt x="378" y="245"/>
                    </a:lnTo>
                    <a:lnTo>
                      <a:pt x="377" y="244"/>
                    </a:lnTo>
                    <a:lnTo>
                      <a:pt x="377" y="242"/>
                    </a:lnTo>
                    <a:lnTo>
                      <a:pt x="375" y="242"/>
                    </a:lnTo>
                    <a:lnTo>
                      <a:pt x="375" y="244"/>
                    </a:lnTo>
                    <a:lnTo>
                      <a:pt x="373" y="244"/>
                    </a:lnTo>
                    <a:lnTo>
                      <a:pt x="371" y="244"/>
                    </a:lnTo>
                    <a:lnTo>
                      <a:pt x="371" y="242"/>
                    </a:lnTo>
                    <a:lnTo>
                      <a:pt x="373" y="241"/>
                    </a:lnTo>
                    <a:lnTo>
                      <a:pt x="375" y="238"/>
                    </a:lnTo>
                    <a:lnTo>
                      <a:pt x="376" y="238"/>
                    </a:lnTo>
                    <a:lnTo>
                      <a:pt x="378" y="235"/>
                    </a:lnTo>
                    <a:lnTo>
                      <a:pt x="376" y="234"/>
                    </a:lnTo>
                    <a:lnTo>
                      <a:pt x="373" y="229"/>
                    </a:lnTo>
                    <a:lnTo>
                      <a:pt x="375" y="228"/>
                    </a:lnTo>
                    <a:lnTo>
                      <a:pt x="375" y="227"/>
                    </a:lnTo>
                    <a:lnTo>
                      <a:pt x="375" y="226"/>
                    </a:lnTo>
                    <a:lnTo>
                      <a:pt x="376" y="225"/>
                    </a:lnTo>
                    <a:lnTo>
                      <a:pt x="375" y="223"/>
                    </a:lnTo>
                    <a:lnTo>
                      <a:pt x="373" y="222"/>
                    </a:lnTo>
                    <a:lnTo>
                      <a:pt x="371" y="220"/>
                    </a:lnTo>
                    <a:lnTo>
                      <a:pt x="367" y="213"/>
                    </a:lnTo>
                    <a:lnTo>
                      <a:pt x="365" y="207"/>
                    </a:lnTo>
                    <a:lnTo>
                      <a:pt x="366" y="204"/>
                    </a:lnTo>
                    <a:lnTo>
                      <a:pt x="365" y="202"/>
                    </a:lnTo>
                    <a:lnTo>
                      <a:pt x="366" y="200"/>
                    </a:lnTo>
                    <a:lnTo>
                      <a:pt x="365" y="199"/>
                    </a:lnTo>
                    <a:lnTo>
                      <a:pt x="364" y="198"/>
                    </a:lnTo>
                    <a:lnTo>
                      <a:pt x="363" y="197"/>
                    </a:lnTo>
                    <a:lnTo>
                      <a:pt x="363" y="196"/>
                    </a:lnTo>
                    <a:lnTo>
                      <a:pt x="361" y="195"/>
                    </a:lnTo>
                    <a:lnTo>
                      <a:pt x="360" y="192"/>
                    </a:lnTo>
                    <a:lnTo>
                      <a:pt x="362" y="189"/>
                    </a:lnTo>
                    <a:lnTo>
                      <a:pt x="361" y="188"/>
                    </a:lnTo>
                    <a:lnTo>
                      <a:pt x="361" y="186"/>
                    </a:lnTo>
                    <a:lnTo>
                      <a:pt x="362" y="180"/>
                    </a:lnTo>
                    <a:lnTo>
                      <a:pt x="363" y="179"/>
                    </a:lnTo>
                    <a:lnTo>
                      <a:pt x="366" y="177"/>
                    </a:lnTo>
                    <a:lnTo>
                      <a:pt x="367" y="177"/>
                    </a:lnTo>
                    <a:lnTo>
                      <a:pt x="371" y="176"/>
                    </a:lnTo>
                    <a:lnTo>
                      <a:pt x="370" y="175"/>
                    </a:lnTo>
                    <a:lnTo>
                      <a:pt x="371" y="174"/>
                    </a:lnTo>
                    <a:lnTo>
                      <a:pt x="369" y="173"/>
                    </a:lnTo>
                    <a:lnTo>
                      <a:pt x="369" y="170"/>
                    </a:lnTo>
                    <a:lnTo>
                      <a:pt x="367" y="164"/>
                    </a:lnTo>
                    <a:lnTo>
                      <a:pt x="369" y="162"/>
                    </a:lnTo>
                    <a:lnTo>
                      <a:pt x="368" y="160"/>
                    </a:lnTo>
                    <a:lnTo>
                      <a:pt x="368" y="158"/>
                    </a:lnTo>
                    <a:lnTo>
                      <a:pt x="369" y="156"/>
                    </a:lnTo>
                    <a:lnTo>
                      <a:pt x="369" y="154"/>
                    </a:lnTo>
                    <a:lnTo>
                      <a:pt x="370" y="152"/>
                    </a:lnTo>
                    <a:lnTo>
                      <a:pt x="367" y="150"/>
                    </a:lnTo>
                    <a:lnTo>
                      <a:pt x="369" y="147"/>
                    </a:lnTo>
                    <a:lnTo>
                      <a:pt x="366" y="145"/>
                    </a:lnTo>
                    <a:lnTo>
                      <a:pt x="366" y="140"/>
                    </a:lnTo>
                    <a:lnTo>
                      <a:pt x="365" y="139"/>
                    </a:lnTo>
                    <a:lnTo>
                      <a:pt x="365" y="137"/>
                    </a:lnTo>
                    <a:lnTo>
                      <a:pt x="365" y="133"/>
                    </a:lnTo>
                    <a:lnTo>
                      <a:pt x="366" y="130"/>
                    </a:lnTo>
                    <a:lnTo>
                      <a:pt x="365" y="127"/>
                    </a:lnTo>
                    <a:lnTo>
                      <a:pt x="365" y="125"/>
                    </a:lnTo>
                    <a:lnTo>
                      <a:pt x="364" y="123"/>
                    </a:lnTo>
                    <a:lnTo>
                      <a:pt x="362" y="121"/>
                    </a:lnTo>
                    <a:lnTo>
                      <a:pt x="361" y="113"/>
                    </a:lnTo>
                    <a:lnTo>
                      <a:pt x="364" y="113"/>
                    </a:lnTo>
                    <a:lnTo>
                      <a:pt x="369" y="114"/>
                    </a:lnTo>
                    <a:lnTo>
                      <a:pt x="371" y="117"/>
                    </a:lnTo>
                    <a:lnTo>
                      <a:pt x="373" y="117"/>
                    </a:lnTo>
                    <a:lnTo>
                      <a:pt x="373" y="116"/>
                    </a:lnTo>
                    <a:lnTo>
                      <a:pt x="375" y="113"/>
                    </a:lnTo>
                    <a:lnTo>
                      <a:pt x="377" y="112"/>
                    </a:lnTo>
                    <a:lnTo>
                      <a:pt x="377" y="111"/>
                    </a:lnTo>
                    <a:lnTo>
                      <a:pt x="377" y="109"/>
                    </a:lnTo>
                    <a:lnTo>
                      <a:pt x="378" y="107"/>
                    </a:lnTo>
                    <a:lnTo>
                      <a:pt x="379" y="108"/>
                    </a:lnTo>
                    <a:lnTo>
                      <a:pt x="381" y="105"/>
                    </a:lnTo>
                    <a:lnTo>
                      <a:pt x="385" y="104"/>
                    </a:lnTo>
                    <a:lnTo>
                      <a:pt x="385" y="102"/>
                    </a:lnTo>
                    <a:lnTo>
                      <a:pt x="388" y="102"/>
                    </a:lnTo>
                    <a:lnTo>
                      <a:pt x="389" y="101"/>
                    </a:lnTo>
                    <a:lnTo>
                      <a:pt x="389" y="100"/>
                    </a:lnTo>
                    <a:lnTo>
                      <a:pt x="390" y="98"/>
                    </a:lnTo>
                    <a:lnTo>
                      <a:pt x="392" y="96"/>
                    </a:lnTo>
                    <a:lnTo>
                      <a:pt x="390" y="92"/>
                    </a:lnTo>
                    <a:lnTo>
                      <a:pt x="391" y="89"/>
                    </a:lnTo>
                    <a:lnTo>
                      <a:pt x="388" y="85"/>
                    </a:lnTo>
                    <a:lnTo>
                      <a:pt x="389" y="83"/>
                    </a:lnTo>
                    <a:lnTo>
                      <a:pt x="392" y="80"/>
                    </a:lnTo>
                    <a:lnTo>
                      <a:pt x="395" y="78"/>
                    </a:lnTo>
                    <a:lnTo>
                      <a:pt x="394" y="76"/>
                    </a:lnTo>
                    <a:lnTo>
                      <a:pt x="394" y="73"/>
                    </a:lnTo>
                    <a:lnTo>
                      <a:pt x="392" y="67"/>
                    </a:lnTo>
                    <a:lnTo>
                      <a:pt x="391" y="66"/>
                    </a:lnTo>
                    <a:lnTo>
                      <a:pt x="392" y="65"/>
                    </a:lnTo>
                    <a:lnTo>
                      <a:pt x="395" y="65"/>
                    </a:lnTo>
                    <a:lnTo>
                      <a:pt x="398" y="63"/>
                    </a:lnTo>
                    <a:lnTo>
                      <a:pt x="398" y="57"/>
                    </a:lnTo>
                    <a:lnTo>
                      <a:pt x="399" y="57"/>
                    </a:lnTo>
                    <a:lnTo>
                      <a:pt x="399" y="59"/>
                    </a:lnTo>
                    <a:lnTo>
                      <a:pt x="401" y="57"/>
                    </a:lnTo>
                    <a:lnTo>
                      <a:pt x="401" y="54"/>
                    </a:lnTo>
                    <a:lnTo>
                      <a:pt x="402" y="50"/>
                    </a:lnTo>
                    <a:lnTo>
                      <a:pt x="403" y="49"/>
                    </a:lnTo>
                    <a:lnTo>
                      <a:pt x="404" y="46"/>
                    </a:lnTo>
                    <a:lnTo>
                      <a:pt x="406" y="42"/>
                    </a:lnTo>
                    <a:lnTo>
                      <a:pt x="406" y="40"/>
                    </a:lnTo>
                    <a:lnTo>
                      <a:pt x="409" y="38"/>
                    </a:lnTo>
                    <a:lnTo>
                      <a:pt x="410" y="36"/>
                    </a:lnTo>
                    <a:lnTo>
                      <a:pt x="410" y="32"/>
                    </a:lnTo>
                    <a:lnTo>
                      <a:pt x="411" y="31"/>
                    </a:lnTo>
                    <a:lnTo>
                      <a:pt x="410" y="2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0" name="Freeform 61">
                <a:extLst>
                  <a:ext uri="{FF2B5EF4-FFF2-40B4-BE49-F238E27FC236}">
                    <a16:creationId xmlns:a16="http://schemas.microsoft.com/office/drawing/2014/main" id="{C497E506-76A6-4102-A45F-948F3659B3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9" y="3149"/>
                <a:ext cx="411" cy="305"/>
              </a:xfrm>
              <a:custGeom>
                <a:avLst/>
                <a:gdLst>
                  <a:gd name="T0" fmla="*/ 390 w 411"/>
                  <a:gd name="T1" fmla="*/ 42 h 305"/>
                  <a:gd name="T2" fmla="*/ 357 w 411"/>
                  <a:gd name="T3" fmla="*/ 65 h 305"/>
                  <a:gd name="T4" fmla="*/ 321 w 411"/>
                  <a:gd name="T5" fmla="*/ 39 h 305"/>
                  <a:gd name="T6" fmla="*/ 299 w 411"/>
                  <a:gd name="T7" fmla="*/ 44 h 305"/>
                  <a:gd name="T8" fmla="*/ 286 w 411"/>
                  <a:gd name="T9" fmla="*/ 48 h 305"/>
                  <a:gd name="T10" fmla="*/ 265 w 411"/>
                  <a:gd name="T11" fmla="*/ 62 h 305"/>
                  <a:gd name="T12" fmla="*/ 257 w 411"/>
                  <a:gd name="T13" fmla="*/ 74 h 305"/>
                  <a:gd name="T14" fmla="*/ 245 w 411"/>
                  <a:gd name="T15" fmla="*/ 78 h 305"/>
                  <a:gd name="T16" fmla="*/ 233 w 411"/>
                  <a:gd name="T17" fmla="*/ 78 h 305"/>
                  <a:gd name="T18" fmla="*/ 218 w 411"/>
                  <a:gd name="T19" fmla="*/ 67 h 305"/>
                  <a:gd name="T20" fmla="*/ 199 w 411"/>
                  <a:gd name="T21" fmla="*/ 54 h 305"/>
                  <a:gd name="T22" fmla="*/ 166 w 411"/>
                  <a:gd name="T23" fmla="*/ 13 h 305"/>
                  <a:gd name="T24" fmla="*/ 133 w 411"/>
                  <a:gd name="T25" fmla="*/ 22 h 305"/>
                  <a:gd name="T26" fmla="*/ 120 w 411"/>
                  <a:gd name="T27" fmla="*/ 2 h 305"/>
                  <a:gd name="T28" fmla="*/ 105 w 411"/>
                  <a:gd name="T29" fmla="*/ 15 h 305"/>
                  <a:gd name="T30" fmla="*/ 90 w 411"/>
                  <a:gd name="T31" fmla="*/ 19 h 305"/>
                  <a:gd name="T32" fmla="*/ 76 w 411"/>
                  <a:gd name="T33" fmla="*/ 14 h 305"/>
                  <a:gd name="T34" fmla="*/ 68 w 411"/>
                  <a:gd name="T35" fmla="*/ 10 h 305"/>
                  <a:gd name="T36" fmla="*/ 61 w 411"/>
                  <a:gd name="T37" fmla="*/ 5 h 305"/>
                  <a:gd name="T38" fmla="*/ 48 w 411"/>
                  <a:gd name="T39" fmla="*/ 10 h 305"/>
                  <a:gd name="T40" fmla="*/ 39 w 411"/>
                  <a:gd name="T41" fmla="*/ 20 h 305"/>
                  <a:gd name="T42" fmla="*/ 19 w 411"/>
                  <a:gd name="T43" fmla="*/ 19 h 305"/>
                  <a:gd name="T44" fmla="*/ 15 w 411"/>
                  <a:gd name="T45" fmla="*/ 34 h 305"/>
                  <a:gd name="T46" fmla="*/ 9 w 411"/>
                  <a:gd name="T47" fmla="*/ 45 h 305"/>
                  <a:gd name="T48" fmla="*/ 2 w 411"/>
                  <a:gd name="T49" fmla="*/ 49 h 305"/>
                  <a:gd name="T50" fmla="*/ 14 w 411"/>
                  <a:gd name="T51" fmla="*/ 60 h 305"/>
                  <a:gd name="T52" fmla="*/ 24 w 411"/>
                  <a:gd name="T53" fmla="*/ 65 h 305"/>
                  <a:gd name="T54" fmla="*/ 24 w 411"/>
                  <a:gd name="T55" fmla="*/ 76 h 305"/>
                  <a:gd name="T56" fmla="*/ 41 w 411"/>
                  <a:gd name="T57" fmla="*/ 92 h 305"/>
                  <a:gd name="T58" fmla="*/ 38 w 411"/>
                  <a:gd name="T59" fmla="*/ 109 h 305"/>
                  <a:gd name="T60" fmla="*/ 30 w 411"/>
                  <a:gd name="T61" fmla="*/ 127 h 305"/>
                  <a:gd name="T62" fmla="*/ 36 w 411"/>
                  <a:gd name="T63" fmla="*/ 147 h 305"/>
                  <a:gd name="T64" fmla="*/ 50 w 411"/>
                  <a:gd name="T65" fmla="*/ 163 h 305"/>
                  <a:gd name="T66" fmla="*/ 60 w 411"/>
                  <a:gd name="T67" fmla="*/ 163 h 305"/>
                  <a:gd name="T68" fmla="*/ 76 w 411"/>
                  <a:gd name="T69" fmla="*/ 169 h 305"/>
                  <a:gd name="T70" fmla="*/ 83 w 411"/>
                  <a:gd name="T71" fmla="*/ 177 h 305"/>
                  <a:gd name="T72" fmla="*/ 98 w 411"/>
                  <a:gd name="T73" fmla="*/ 186 h 305"/>
                  <a:gd name="T74" fmla="*/ 105 w 411"/>
                  <a:gd name="T75" fmla="*/ 196 h 305"/>
                  <a:gd name="T76" fmla="*/ 116 w 411"/>
                  <a:gd name="T77" fmla="*/ 220 h 305"/>
                  <a:gd name="T78" fmla="*/ 143 w 411"/>
                  <a:gd name="T79" fmla="*/ 233 h 305"/>
                  <a:gd name="T80" fmla="*/ 159 w 411"/>
                  <a:gd name="T81" fmla="*/ 217 h 305"/>
                  <a:gd name="T82" fmla="*/ 176 w 411"/>
                  <a:gd name="T83" fmla="*/ 229 h 305"/>
                  <a:gd name="T84" fmla="*/ 195 w 411"/>
                  <a:gd name="T85" fmla="*/ 246 h 305"/>
                  <a:gd name="T86" fmla="*/ 215 w 411"/>
                  <a:gd name="T87" fmla="*/ 255 h 305"/>
                  <a:gd name="T88" fmla="*/ 237 w 411"/>
                  <a:gd name="T89" fmla="*/ 278 h 305"/>
                  <a:gd name="T90" fmla="*/ 263 w 411"/>
                  <a:gd name="T91" fmla="*/ 298 h 305"/>
                  <a:gd name="T92" fmla="*/ 278 w 411"/>
                  <a:gd name="T93" fmla="*/ 297 h 305"/>
                  <a:gd name="T94" fmla="*/ 296 w 411"/>
                  <a:gd name="T95" fmla="*/ 295 h 305"/>
                  <a:gd name="T96" fmla="*/ 310 w 411"/>
                  <a:gd name="T97" fmla="*/ 286 h 305"/>
                  <a:gd name="T98" fmla="*/ 333 w 411"/>
                  <a:gd name="T99" fmla="*/ 287 h 305"/>
                  <a:gd name="T100" fmla="*/ 356 w 411"/>
                  <a:gd name="T101" fmla="*/ 300 h 305"/>
                  <a:gd name="T102" fmla="*/ 373 w 411"/>
                  <a:gd name="T103" fmla="*/ 293 h 305"/>
                  <a:gd name="T104" fmla="*/ 378 w 411"/>
                  <a:gd name="T105" fmla="*/ 271 h 305"/>
                  <a:gd name="T106" fmla="*/ 379 w 411"/>
                  <a:gd name="T107" fmla="*/ 244 h 305"/>
                  <a:gd name="T108" fmla="*/ 373 w 411"/>
                  <a:gd name="T109" fmla="*/ 229 h 305"/>
                  <a:gd name="T110" fmla="*/ 365 w 411"/>
                  <a:gd name="T111" fmla="*/ 199 h 305"/>
                  <a:gd name="T112" fmla="*/ 370 w 411"/>
                  <a:gd name="T113" fmla="*/ 175 h 305"/>
                  <a:gd name="T114" fmla="*/ 366 w 411"/>
                  <a:gd name="T115" fmla="*/ 140 h 305"/>
                  <a:gd name="T116" fmla="*/ 373 w 411"/>
                  <a:gd name="T117" fmla="*/ 116 h 305"/>
                  <a:gd name="T118" fmla="*/ 392 w 411"/>
                  <a:gd name="T119" fmla="*/ 96 h 305"/>
                  <a:gd name="T120" fmla="*/ 398 w 411"/>
                  <a:gd name="T121" fmla="*/ 57 h 305"/>
                  <a:gd name="T122" fmla="*/ 411 w 411"/>
                  <a:gd name="T123" fmla="*/ 31 h 30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11"/>
                  <a:gd name="T187" fmla="*/ 0 h 305"/>
                  <a:gd name="T188" fmla="*/ 411 w 411"/>
                  <a:gd name="T189" fmla="*/ 305 h 30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11" h="305">
                    <a:moveTo>
                      <a:pt x="410" y="29"/>
                    </a:moveTo>
                    <a:lnTo>
                      <a:pt x="411" y="26"/>
                    </a:lnTo>
                    <a:lnTo>
                      <a:pt x="410" y="24"/>
                    </a:lnTo>
                    <a:lnTo>
                      <a:pt x="407" y="21"/>
                    </a:lnTo>
                    <a:lnTo>
                      <a:pt x="404" y="23"/>
                    </a:lnTo>
                    <a:lnTo>
                      <a:pt x="403" y="25"/>
                    </a:lnTo>
                    <a:lnTo>
                      <a:pt x="402" y="25"/>
                    </a:lnTo>
                    <a:lnTo>
                      <a:pt x="401" y="27"/>
                    </a:lnTo>
                    <a:lnTo>
                      <a:pt x="399" y="29"/>
                    </a:lnTo>
                    <a:lnTo>
                      <a:pt x="398" y="27"/>
                    </a:lnTo>
                    <a:lnTo>
                      <a:pt x="396" y="28"/>
                    </a:lnTo>
                    <a:lnTo>
                      <a:pt x="393" y="32"/>
                    </a:lnTo>
                    <a:lnTo>
                      <a:pt x="392" y="39"/>
                    </a:lnTo>
                    <a:lnTo>
                      <a:pt x="390" y="42"/>
                    </a:lnTo>
                    <a:lnTo>
                      <a:pt x="386" y="45"/>
                    </a:lnTo>
                    <a:lnTo>
                      <a:pt x="387" y="47"/>
                    </a:lnTo>
                    <a:lnTo>
                      <a:pt x="386" y="48"/>
                    </a:lnTo>
                    <a:lnTo>
                      <a:pt x="382" y="50"/>
                    </a:lnTo>
                    <a:lnTo>
                      <a:pt x="379" y="52"/>
                    </a:lnTo>
                    <a:lnTo>
                      <a:pt x="378" y="52"/>
                    </a:lnTo>
                    <a:lnTo>
                      <a:pt x="377" y="52"/>
                    </a:lnTo>
                    <a:lnTo>
                      <a:pt x="371" y="60"/>
                    </a:lnTo>
                    <a:lnTo>
                      <a:pt x="369" y="65"/>
                    </a:lnTo>
                    <a:lnTo>
                      <a:pt x="368" y="66"/>
                    </a:lnTo>
                    <a:lnTo>
                      <a:pt x="364" y="69"/>
                    </a:lnTo>
                    <a:lnTo>
                      <a:pt x="361" y="67"/>
                    </a:lnTo>
                    <a:lnTo>
                      <a:pt x="358" y="66"/>
                    </a:lnTo>
                    <a:lnTo>
                      <a:pt x="357" y="65"/>
                    </a:lnTo>
                    <a:lnTo>
                      <a:pt x="350" y="60"/>
                    </a:lnTo>
                    <a:lnTo>
                      <a:pt x="347" y="59"/>
                    </a:lnTo>
                    <a:lnTo>
                      <a:pt x="345" y="59"/>
                    </a:lnTo>
                    <a:lnTo>
                      <a:pt x="344" y="55"/>
                    </a:lnTo>
                    <a:lnTo>
                      <a:pt x="341" y="52"/>
                    </a:lnTo>
                    <a:lnTo>
                      <a:pt x="341" y="49"/>
                    </a:lnTo>
                    <a:lnTo>
                      <a:pt x="338" y="47"/>
                    </a:lnTo>
                    <a:lnTo>
                      <a:pt x="337" y="44"/>
                    </a:lnTo>
                    <a:lnTo>
                      <a:pt x="332" y="43"/>
                    </a:lnTo>
                    <a:lnTo>
                      <a:pt x="331" y="44"/>
                    </a:lnTo>
                    <a:lnTo>
                      <a:pt x="330" y="44"/>
                    </a:lnTo>
                    <a:lnTo>
                      <a:pt x="329" y="44"/>
                    </a:lnTo>
                    <a:lnTo>
                      <a:pt x="322" y="38"/>
                    </a:lnTo>
                    <a:lnTo>
                      <a:pt x="321" y="39"/>
                    </a:lnTo>
                    <a:lnTo>
                      <a:pt x="320" y="38"/>
                    </a:lnTo>
                    <a:lnTo>
                      <a:pt x="319" y="36"/>
                    </a:lnTo>
                    <a:lnTo>
                      <a:pt x="317" y="37"/>
                    </a:lnTo>
                    <a:lnTo>
                      <a:pt x="317" y="32"/>
                    </a:lnTo>
                    <a:lnTo>
                      <a:pt x="314" y="31"/>
                    </a:lnTo>
                    <a:lnTo>
                      <a:pt x="313" y="31"/>
                    </a:lnTo>
                    <a:lnTo>
                      <a:pt x="311" y="29"/>
                    </a:lnTo>
                    <a:lnTo>
                      <a:pt x="308" y="29"/>
                    </a:lnTo>
                    <a:lnTo>
                      <a:pt x="306" y="31"/>
                    </a:lnTo>
                    <a:lnTo>
                      <a:pt x="305" y="40"/>
                    </a:lnTo>
                    <a:lnTo>
                      <a:pt x="303" y="42"/>
                    </a:lnTo>
                    <a:lnTo>
                      <a:pt x="300" y="42"/>
                    </a:lnTo>
                    <a:lnTo>
                      <a:pt x="299" y="44"/>
                    </a:lnTo>
                    <a:lnTo>
                      <a:pt x="298" y="44"/>
                    </a:lnTo>
                    <a:lnTo>
                      <a:pt x="297" y="46"/>
                    </a:lnTo>
                    <a:lnTo>
                      <a:pt x="297" y="45"/>
                    </a:lnTo>
                    <a:lnTo>
                      <a:pt x="293" y="45"/>
                    </a:lnTo>
                    <a:lnTo>
                      <a:pt x="293" y="44"/>
                    </a:lnTo>
                    <a:lnTo>
                      <a:pt x="293" y="45"/>
                    </a:lnTo>
                    <a:lnTo>
                      <a:pt x="290" y="46"/>
                    </a:lnTo>
                    <a:lnTo>
                      <a:pt x="291" y="46"/>
                    </a:lnTo>
                    <a:lnTo>
                      <a:pt x="291" y="48"/>
                    </a:lnTo>
                    <a:lnTo>
                      <a:pt x="290" y="49"/>
                    </a:lnTo>
                    <a:lnTo>
                      <a:pt x="288" y="47"/>
                    </a:lnTo>
                    <a:lnTo>
                      <a:pt x="287" y="48"/>
                    </a:lnTo>
                    <a:lnTo>
                      <a:pt x="286" y="48"/>
                    </a:lnTo>
                    <a:lnTo>
                      <a:pt x="286" y="49"/>
                    </a:lnTo>
                    <a:lnTo>
                      <a:pt x="284" y="49"/>
                    </a:lnTo>
                    <a:lnTo>
                      <a:pt x="284" y="50"/>
                    </a:lnTo>
                    <a:lnTo>
                      <a:pt x="284" y="49"/>
                    </a:lnTo>
                    <a:lnTo>
                      <a:pt x="283" y="49"/>
                    </a:lnTo>
                    <a:lnTo>
                      <a:pt x="281" y="49"/>
                    </a:lnTo>
                    <a:lnTo>
                      <a:pt x="275" y="55"/>
                    </a:lnTo>
                    <a:lnTo>
                      <a:pt x="271" y="55"/>
                    </a:lnTo>
                    <a:lnTo>
                      <a:pt x="269" y="55"/>
                    </a:lnTo>
                    <a:lnTo>
                      <a:pt x="269" y="57"/>
                    </a:lnTo>
                    <a:lnTo>
                      <a:pt x="267" y="57"/>
                    </a:lnTo>
                    <a:lnTo>
                      <a:pt x="265" y="60"/>
                    </a:lnTo>
                    <a:lnTo>
                      <a:pt x="265" y="62"/>
                    </a:lnTo>
                    <a:lnTo>
                      <a:pt x="266" y="62"/>
                    </a:lnTo>
                    <a:lnTo>
                      <a:pt x="267" y="64"/>
                    </a:lnTo>
                    <a:lnTo>
                      <a:pt x="269" y="66"/>
                    </a:lnTo>
                    <a:lnTo>
                      <a:pt x="267" y="67"/>
                    </a:lnTo>
                    <a:lnTo>
                      <a:pt x="266" y="69"/>
                    </a:lnTo>
                    <a:lnTo>
                      <a:pt x="264" y="69"/>
                    </a:lnTo>
                    <a:lnTo>
                      <a:pt x="262" y="70"/>
                    </a:lnTo>
                    <a:lnTo>
                      <a:pt x="260" y="69"/>
                    </a:lnTo>
                    <a:lnTo>
                      <a:pt x="258" y="69"/>
                    </a:lnTo>
                    <a:lnTo>
                      <a:pt x="259" y="71"/>
                    </a:lnTo>
                    <a:lnTo>
                      <a:pt x="258" y="72"/>
                    </a:lnTo>
                    <a:lnTo>
                      <a:pt x="257" y="72"/>
                    </a:lnTo>
                    <a:lnTo>
                      <a:pt x="257" y="74"/>
                    </a:lnTo>
                    <a:lnTo>
                      <a:pt x="259" y="75"/>
                    </a:lnTo>
                    <a:lnTo>
                      <a:pt x="260" y="78"/>
                    </a:lnTo>
                    <a:lnTo>
                      <a:pt x="261" y="78"/>
                    </a:lnTo>
                    <a:lnTo>
                      <a:pt x="261" y="83"/>
                    </a:lnTo>
                    <a:lnTo>
                      <a:pt x="254" y="79"/>
                    </a:lnTo>
                    <a:lnTo>
                      <a:pt x="252" y="78"/>
                    </a:lnTo>
                    <a:lnTo>
                      <a:pt x="251" y="76"/>
                    </a:lnTo>
                    <a:lnTo>
                      <a:pt x="250" y="77"/>
                    </a:lnTo>
                    <a:lnTo>
                      <a:pt x="248" y="76"/>
                    </a:lnTo>
                    <a:lnTo>
                      <a:pt x="248" y="78"/>
                    </a:lnTo>
                    <a:lnTo>
                      <a:pt x="246" y="77"/>
                    </a:lnTo>
                    <a:lnTo>
                      <a:pt x="245" y="78"/>
                    </a:lnTo>
                    <a:lnTo>
                      <a:pt x="244" y="78"/>
                    </a:lnTo>
                    <a:lnTo>
                      <a:pt x="243" y="78"/>
                    </a:lnTo>
                    <a:lnTo>
                      <a:pt x="238" y="78"/>
                    </a:lnTo>
                    <a:lnTo>
                      <a:pt x="238" y="76"/>
                    </a:lnTo>
                    <a:lnTo>
                      <a:pt x="240" y="74"/>
                    </a:lnTo>
                    <a:lnTo>
                      <a:pt x="240" y="73"/>
                    </a:lnTo>
                    <a:lnTo>
                      <a:pt x="237" y="73"/>
                    </a:lnTo>
                    <a:lnTo>
                      <a:pt x="237" y="72"/>
                    </a:lnTo>
                    <a:lnTo>
                      <a:pt x="237" y="74"/>
                    </a:lnTo>
                    <a:lnTo>
                      <a:pt x="237" y="75"/>
                    </a:lnTo>
                    <a:lnTo>
                      <a:pt x="237" y="76"/>
                    </a:lnTo>
                    <a:lnTo>
                      <a:pt x="233" y="78"/>
                    </a:lnTo>
                    <a:lnTo>
                      <a:pt x="232" y="76"/>
                    </a:lnTo>
                    <a:lnTo>
                      <a:pt x="231" y="77"/>
                    </a:lnTo>
                    <a:lnTo>
                      <a:pt x="228" y="76"/>
                    </a:lnTo>
                    <a:lnTo>
                      <a:pt x="227" y="78"/>
                    </a:lnTo>
                    <a:lnTo>
                      <a:pt x="225" y="78"/>
                    </a:lnTo>
                    <a:lnTo>
                      <a:pt x="224" y="78"/>
                    </a:lnTo>
                    <a:lnTo>
                      <a:pt x="223" y="76"/>
                    </a:lnTo>
                    <a:lnTo>
                      <a:pt x="223" y="75"/>
                    </a:lnTo>
                    <a:lnTo>
                      <a:pt x="223" y="74"/>
                    </a:lnTo>
                    <a:lnTo>
                      <a:pt x="221" y="72"/>
                    </a:lnTo>
                    <a:lnTo>
                      <a:pt x="219" y="68"/>
                    </a:lnTo>
                    <a:lnTo>
                      <a:pt x="218" y="68"/>
                    </a:lnTo>
                    <a:lnTo>
                      <a:pt x="218" y="67"/>
                    </a:lnTo>
                    <a:lnTo>
                      <a:pt x="217" y="68"/>
                    </a:lnTo>
                    <a:lnTo>
                      <a:pt x="216" y="67"/>
                    </a:lnTo>
                    <a:lnTo>
                      <a:pt x="215" y="67"/>
                    </a:lnTo>
                    <a:lnTo>
                      <a:pt x="213" y="63"/>
                    </a:lnTo>
                    <a:lnTo>
                      <a:pt x="211" y="64"/>
                    </a:lnTo>
                    <a:lnTo>
                      <a:pt x="211" y="65"/>
                    </a:lnTo>
                    <a:lnTo>
                      <a:pt x="210" y="65"/>
                    </a:lnTo>
                    <a:lnTo>
                      <a:pt x="207" y="62"/>
                    </a:lnTo>
                    <a:lnTo>
                      <a:pt x="207" y="57"/>
                    </a:lnTo>
                    <a:lnTo>
                      <a:pt x="203" y="54"/>
                    </a:lnTo>
                    <a:lnTo>
                      <a:pt x="201" y="55"/>
                    </a:lnTo>
                    <a:lnTo>
                      <a:pt x="200" y="54"/>
                    </a:lnTo>
                    <a:lnTo>
                      <a:pt x="199" y="54"/>
                    </a:lnTo>
                    <a:lnTo>
                      <a:pt x="198" y="53"/>
                    </a:lnTo>
                    <a:lnTo>
                      <a:pt x="195" y="52"/>
                    </a:lnTo>
                    <a:lnTo>
                      <a:pt x="194" y="52"/>
                    </a:lnTo>
                    <a:lnTo>
                      <a:pt x="194" y="51"/>
                    </a:lnTo>
                    <a:lnTo>
                      <a:pt x="194" y="48"/>
                    </a:lnTo>
                    <a:lnTo>
                      <a:pt x="192" y="40"/>
                    </a:lnTo>
                    <a:lnTo>
                      <a:pt x="190" y="39"/>
                    </a:lnTo>
                    <a:lnTo>
                      <a:pt x="178" y="37"/>
                    </a:lnTo>
                    <a:lnTo>
                      <a:pt x="179" y="27"/>
                    </a:lnTo>
                    <a:lnTo>
                      <a:pt x="179" y="23"/>
                    </a:lnTo>
                    <a:lnTo>
                      <a:pt x="174" y="21"/>
                    </a:lnTo>
                    <a:lnTo>
                      <a:pt x="175" y="15"/>
                    </a:lnTo>
                    <a:lnTo>
                      <a:pt x="167" y="15"/>
                    </a:lnTo>
                    <a:lnTo>
                      <a:pt x="166" y="13"/>
                    </a:lnTo>
                    <a:lnTo>
                      <a:pt x="164" y="13"/>
                    </a:lnTo>
                    <a:lnTo>
                      <a:pt x="164" y="11"/>
                    </a:lnTo>
                    <a:lnTo>
                      <a:pt x="162" y="13"/>
                    </a:lnTo>
                    <a:lnTo>
                      <a:pt x="158" y="8"/>
                    </a:lnTo>
                    <a:lnTo>
                      <a:pt x="156" y="7"/>
                    </a:lnTo>
                    <a:lnTo>
                      <a:pt x="156" y="10"/>
                    </a:lnTo>
                    <a:lnTo>
                      <a:pt x="155" y="10"/>
                    </a:lnTo>
                    <a:lnTo>
                      <a:pt x="147" y="10"/>
                    </a:lnTo>
                    <a:lnTo>
                      <a:pt x="146" y="17"/>
                    </a:lnTo>
                    <a:lnTo>
                      <a:pt x="142" y="16"/>
                    </a:lnTo>
                    <a:lnTo>
                      <a:pt x="137" y="15"/>
                    </a:lnTo>
                    <a:lnTo>
                      <a:pt x="136" y="19"/>
                    </a:lnTo>
                    <a:lnTo>
                      <a:pt x="133" y="21"/>
                    </a:lnTo>
                    <a:lnTo>
                      <a:pt x="133" y="22"/>
                    </a:lnTo>
                    <a:lnTo>
                      <a:pt x="131" y="23"/>
                    </a:lnTo>
                    <a:lnTo>
                      <a:pt x="131" y="21"/>
                    </a:lnTo>
                    <a:lnTo>
                      <a:pt x="127" y="20"/>
                    </a:lnTo>
                    <a:lnTo>
                      <a:pt x="126" y="20"/>
                    </a:lnTo>
                    <a:lnTo>
                      <a:pt x="126" y="19"/>
                    </a:lnTo>
                    <a:lnTo>
                      <a:pt x="124" y="18"/>
                    </a:lnTo>
                    <a:lnTo>
                      <a:pt x="123" y="15"/>
                    </a:lnTo>
                    <a:lnTo>
                      <a:pt x="124" y="12"/>
                    </a:lnTo>
                    <a:lnTo>
                      <a:pt x="126" y="8"/>
                    </a:lnTo>
                    <a:lnTo>
                      <a:pt x="124" y="7"/>
                    </a:lnTo>
                    <a:lnTo>
                      <a:pt x="125" y="6"/>
                    </a:lnTo>
                    <a:lnTo>
                      <a:pt x="125" y="5"/>
                    </a:lnTo>
                    <a:lnTo>
                      <a:pt x="121" y="4"/>
                    </a:lnTo>
                    <a:lnTo>
                      <a:pt x="120" y="2"/>
                    </a:lnTo>
                    <a:lnTo>
                      <a:pt x="118" y="0"/>
                    </a:lnTo>
                    <a:lnTo>
                      <a:pt x="116" y="1"/>
                    </a:lnTo>
                    <a:lnTo>
                      <a:pt x="115" y="4"/>
                    </a:lnTo>
                    <a:lnTo>
                      <a:pt x="112" y="2"/>
                    </a:lnTo>
                    <a:lnTo>
                      <a:pt x="111" y="5"/>
                    </a:lnTo>
                    <a:lnTo>
                      <a:pt x="109" y="5"/>
                    </a:lnTo>
                    <a:lnTo>
                      <a:pt x="107" y="6"/>
                    </a:lnTo>
                    <a:lnTo>
                      <a:pt x="107" y="8"/>
                    </a:lnTo>
                    <a:lnTo>
                      <a:pt x="108" y="9"/>
                    </a:lnTo>
                    <a:lnTo>
                      <a:pt x="107" y="14"/>
                    </a:lnTo>
                    <a:lnTo>
                      <a:pt x="106" y="15"/>
                    </a:lnTo>
                    <a:lnTo>
                      <a:pt x="105" y="15"/>
                    </a:lnTo>
                    <a:lnTo>
                      <a:pt x="104" y="14"/>
                    </a:lnTo>
                    <a:lnTo>
                      <a:pt x="102" y="18"/>
                    </a:lnTo>
                    <a:lnTo>
                      <a:pt x="101" y="15"/>
                    </a:lnTo>
                    <a:lnTo>
                      <a:pt x="99" y="15"/>
                    </a:lnTo>
                    <a:lnTo>
                      <a:pt x="98" y="15"/>
                    </a:lnTo>
                    <a:lnTo>
                      <a:pt x="97" y="14"/>
                    </a:lnTo>
                    <a:lnTo>
                      <a:pt x="96" y="15"/>
                    </a:lnTo>
                    <a:lnTo>
                      <a:pt x="95" y="15"/>
                    </a:lnTo>
                    <a:lnTo>
                      <a:pt x="94" y="18"/>
                    </a:lnTo>
                    <a:lnTo>
                      <a:pt x="93" y="18"/>
                    </a:lnTo>
                    <a:lnTo>
                      <a:pt x="93" y="19"/>
                    </a:lnTo>
                    <a:lnTo>
                      <a:pt x="92" y="20"/>
                    </a:lnTo>
                    <a:lnTo>
                      <a:pt x="90" y="19"/>
                    </a:lnTo>
                    <a:lnTo>
                      <a:pt x="89" y="20"/>
                    </a:lnTo>
                    <a:lnTo>
                      <a:pt x="88" y="19"/>
                    </a:lnTo>
                    <a:lnTo>
                      <a:pt x="88" y="18"/>
                    </a:lnTo>
                    <a:lnTo>
                      <a:pt x="86" y="17"/>
                    </a:lnTo>
                    <a:lnTo>
                      <a:pt x="86" y="16"/>
                    </a:lnTo>
                    <a:lnTo>
                      <a:pt x="82" y="14"/>
                    </a:lnTo>
                    <a:lnTo>
                      <a:pt x="82" y="13"/>
                    </a:lnTo>
                    <a:lnTo>
                      <a:pt x="81" y="12"/>
                    </a:lnTo>
                    <a:lnTo>
                      <a:pt x="81" y="15"/>
                    </a:lnTo>
                    <a:lnTo>
                      <a:pt x="79" y="14"/>
                    </a:lnTo>
                    <a:lnTo>
                      <a:pt x="79" y="15"/>
                    </a:lnTo>
                    <a:lnTo>
                      <a:pt x="77" y="14"/>
                    </a:lnTo>
                    <a:lnTo>
                      <a:pt x="76" y="14"/>
                    </a:lnTo>
                    <a:lnTo>
                      <a:pt x="76" y="13"/>
                    </a:lnTo>
                    <a:lnTo>
                      <a:pt x="76" y="12"/>
                    </a:lnTo>
                    <a:lnTo>
                      <a:pt x="75" y="13"/>
                    </a:lnTo>
                    <a:lnTo>
                      <a:pt x="73" y="12"/>
                    </a:lnTo>
                    <a:lnTo>
                      <a:pt x="71" y="13"/>
                    </a:lnTo>
                    <a:lnTo>
                      <a:pt x="71" y="12"/>
                    </a:lnTo>
                    <a:lnTo>
                      <a:pt x="69" y="12"/>
                    </a:lnTo>
                    <a:lnTo>
                      <a:pt x="69" y="11"/>
                    </a:lnTo>
                    <a:lnTo>
                      <a:pt x="68" y="12"/>
                    </a:lnTo>
                    <a:lnTo>
                      <a:pt x="68" y="10"/>
                    </a:lnTo>
                    <a:lnTo>
                      <a:pt x="68" y="13"/>
                    </a:lnTo>
                    <a:lnTo>
                      <a:pt x="69" y="13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6" y="12"/>
                    </a:lnTo>
                    <a:lnTo>
                      <a:pt x="66" y="13"/>
                    </a:lnTo>
                    <a:lnTo>
                      <a:pt x="65" y="13"/>
                    </a:lnTo>
                    <a:lnTo>
                      <a:pt x="65" y="11"/>
                    </a:lnTo>
                    <a:lnTo>
                      <a:pt x="63" y="11"/>
                    </a:lnTo>
                    <a:lnTo>
                      <a:pt x="64" y="6"/>
                    </a:lnTo>
                    <a:lnTo>
                      <a:pt x="61" y="5"/>
                    </a:lnTo>
                    <a:lnTo>
                      <a:pt x="60" y="5"/>
                    </a:lnTo>
                    <a:lnTo>
                      <a:pt x="60" y="6"/>
                    </a:lnTo>
                    <a:lnTo>
                      <a:pt x="61" y="8"/>
                    </a:lnTo>
                    <a:lnTo>
                      <a:pt x="59" y="8"/>
                    </a:lnTo>
                    <a:lnTo>
                      <a:pt x="58" y="8"/>
                    </a:lnTo>
                    <a:lnTo>
                      <a:pt x="58" y="10"/>
                    </a:lnTo>
                    <a:lnTo>
                      <a:pt x="56" y="11"/>
                    </a:lnTo>
                    <a:lnTo>
                      <a:pt x="55" y="10"/>
                    </a:lnTo>
                    <a:lnTo>
                      <a:pt x="55" y="8"/>
                    </a:lnTo>
                    <a:lnTo>
                      <a:pt x="54" y="9"/>
                    </a:lnTo>
                    <a:lnTo>
                      <a:pt x="53" y="8"/>
                    </a:lnTo>
                    <a:lnTo>
                      <a:pt x="52" y="8"/>
                    </a:lnTo>
                    <a:lnTo>
                      <a:pt x="48" y="10"/>
                    </a:lnTo>
                    <a:lnTo>
                      <a:pt x="47" y="10"/>
                    </a:lnTo>
                    <a:lnTo>
                      <a:pt x="47" y="14"/>
                    </a:lnTo>
                    <a:lnTo>
                      <a:pt x="46" y="15"/>
                    </a:lnTo>
                    <a:lnTo>
                      <a:pt x="47" y="15"/>
                    </a:lnTo>
                    <a:lnTo>
                      <a:pt x="47" y="18"/>
                    </a:lnTo>
                    <a:lnTo>
                      <a:pt x="45" y="17"/>
                    </a:lnTo>
                    <a:lnTo>
                      <a:pt x="44" y="18"/>
                    </a:lnTo>
                    <a:lnTo>
                      <a:pt x="42" y="19"/>
                    </a:lnTo>
                    <a:lnTo>
                      <a:pt x="41" y="19"/>
                    </a:lnTo>
                    <a:lnTo>
                      <a:pt x="37" y="18"/>
                    </a:lnTo>
                    <a:lnTo>
                      <a:pt x="37" y="20"/>
                    </a:lnTo>
                    <a:lnTo>
                      <a:pt x="39" y="20"/>
                    </a:lnTo>
                    <a:lnTo>
                      <a:pt x="38" y="21"/>
                    </a:lnTo>
                    <a:lnTo>
                      <a:pt x="36" y="20"/>
                    </a:lnTo>
                    <a:lnTo>
                      <a:pt x="36" y="21"/>
                    </a:lnTo>
                    <a:lnTo>
                      <a:pt x="34" y="22"/>
                    </a:lnTo>
                    <a:lnTo>
                      <a:pt x="33" y="22"/>
                    </a:lnTo>
                    <a:lnTo>
                      <a:pt x="32" y="24"/>
                    </a:lnTo>
                    <a:lnTo>
                      <a:pt x="27" y="25"/>
                    </a:lnTo>
                    <a:lnTo>
                      <a:pt x="24" y="18"/>
                    </a:lnTo>
                    <a:lnTo>
                      <a:pt x="23" y="18"/>
                    </a:lnTo>
                    <a:lnTo>
                      <a:pt x="22" y="18"/>
                    </a:lnTo>
                    <a:lnTo>
                      <a:pt x="23" y="21"/>
                    </a:lnTo>
                    <a:lnTo>
                      <a:pt x="20" y="23"/>
                    </a:lnTo>
                    <a:lnTo>
                      <a:pt x="19" y="21"/>
                    </a:lnTo>
                    <a:lnTo>
                      <a:pt x="19" y="19"/>
                    </a:lnTo>
                    <a:lnTo>
                      <a:pt x="17" y="18"/>
                    </a:lnTo>
                    <a:lnTo>
                      <a:pt x="15" y="19"/>
                    </a:lnTo>
                    <a:lnTo>
                      <a:pt x="13" y="23"/>
                    </a:lnTo>
                    <a:lnTo>
                      <a:pt x="16" y="26"/>
                    </a:lnTo>
                    <a:lnTo>
                      <a:pt x="17" y="25"/>
                    </a:lnTo>
                    <a:lnTo>
                      <a:pt x="19" y="28"/>
                    </a:lnTo>
                    <a:lnTo>
                      <a:pt x="20" y="28"/>
                    </a:lnTo>
                    <a:lnTo>
                      <a:pt x="18" y="29"/>
                    </a:lnTo>
                    <a:lnTo>
                      <a:pt x="17" y="27"/>
                    </a:lnTo>
                    <a:lnTo>
                      <a:pt x="16" y="28"/>
                    </a:lnTo>
                    <a:lnTo>
                      <a:pt x="14" y="28"/>
                    </a:lnTo>
                    <a:lnTo>
                      <a:pt x="14" y="29"/>
                    </a:lnTo>
                    <a:lnTo>
                      <a:pt x="14" y="32"/>
                    </a:lnTo>
                    <a:lnTo>
                      <a:pt x="15" y="34"/>
                    </a:lnTo>
                    <a:lnTo>
                      <a:pt x="14" y="40"/>
                    </a:lnTo>
                    <a:lnTo>
                      <a:pt x="12" y="39"/>
                    </a:lnTo>
                    <a:lnTo>
                      <a:pt x="10" y="40"/>
                    </a:lnTo>
                    <a:lnTo>
                      <a:pt x="9" y="39"/>
                    </a:lnTo>
                    <a:lnTo>
                      <a:pt x="9" y="40"/>
                    </a:lnTo>
                    <a:lnTo>
                      <a:pt x="8" y="40"/>
                    </a:lnTo>
                    <a:lnTo>
                      <a:pt x="6" y="39"/>
                    </a:lnTo>
                    <a:lnTo>
                      <a:pt x="6" y="40"/>
                    </a:lnTo>
                    <a:lnTo>
                      <a:pt x="4" y="41"/>
                    </a:lnTo>
                    <a:lnTo>
                      <a:pt x="4" y="42"/>
                    </a:lnTo>
                    <a:lnTo>
                      <a:pt x="6" y="43"/>
                    </a:lnTo>
                    <a:lnTo>
                      <a:pt x="10" y="44"/>
                    </a:lnTo>
                    <a:lnTo>
                      <a:pt x="9" y="45"/>
                    </a:lnTo>
                    <a:lnTo>
                      <a:pt x="11" y="44"/>
                    </a:lnTo>
                    <a:lnTo>
                      <a:pt x="11" y="46"/>
                    </a:lnTo>
                    <a:lnTo>
                      <a:pt x="11" y="47"/>
                    </a:lnTo>
                    <a:lnTo>
                      <a:pt x="10" y="46"/>
                    </a:lnTo>
                    <a:lnTo>
                      <a:pt x="9" y="47"/>
                    </a:lnTo>
                    <a:lnTo>
                      <a:pt x="8" y="46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6" y="46"/>
                    </a:lnTo>
                    <a:lnTo>
                      <a:pt x="5" y="45"/>
                    </a:lnTo>
                    <a:lnTo>
                      <a:pt x="2" y="47"/>
                    </a:lnTo>
                    <a:lnTo>
                      <a:pt x="0" y="48"/>
                    </a:lnTo>
                    <a:lnTo>
                      <a:pt x="2" y="49"/>
                    </a:lnTo>
                    <a:lnTo>
                      <a:pt x="2" y="51"/>
                    </a:lnTo>
                    <a:lnTo>
                      <a:pt x="2" y="53"/>
                    </a:lnTo>
                    <a:lnTo>
                      <a:pt x="4" y="55"/>
                    </a:lnTo>
                    <a:lnTo>
                      <a:pt x="5" y="55"/>
                    </a:lnTo>
                    <a:lnTo>
                      <a:pt x="5" y="57"/>
                    </a:lnTo>
                    <a:lnTo>
                      <a:pt x="7" y="58"/>
                    </a:lnTo>
                    <a:lnTo>
                      <a:pt x="9" y="59"/>
                    </a:lnTo>
                    <a:lnTo>
                      <a:pt x="9" y="60"/>
                    </a:lnTo>
                    <a:lnTo>
                      <a:pt x="11" y="58"/>
                    </a:lnTo>
                    <a:lnTo>
                      <a:pt x="14" y="59"/>
                    </a:lnTo>
                    <a:lnTo>
                      <a:pt x="14" y="60"/>
                    </a:lnTo>
                    <a:lnTo>
                      <a:pt x="13" y="59"/>
                    </a:lnTo>
                    <a:lnTo>
                      <a:pt x="14" y="61"/>
                    </a:lnTo>
                    <a:lnTo>
                      <a:pt x="16" y="61"/>
                    </a:lnTo>
                    <a:lnTo>
                      <a:pt x="17" y="62"/>
                    </a:lnTo>
                    <a:lnTo>
                      <a:pt x="16" y="63"/>
                    </a:lnTo>
                    <a:lnTo>
                      <a:pt x="14" y="63"/>
                    </a:lnTo>
                    <a:lnTo>
                      <a:pt x="15" y="65"/>
                    </a:lnTo>
                    <a:lnTo>
                      <a:pt x="16" y="65"/>
                    </a:lnTo>
                    <a:lnTo>
                      <a:pt x="17" y="65"/>
                    </a:lnTo>
                    <a:lnTo>
                      <a:pt x="17" y="66"/>
                    </a:lnTo>
                    <a:lnTo>
                      <a:pt x="18" y="65"/>
                    </a:lnTo>
                    <a:lnTo>
                      <a:pt x="19" y="66"/>
                    </a:lnTo>
                    <a:lnTo>
                      <a:pt x="20" y="67"/>
                    </a:lnTo>
                    <a:lnTo>
                      <a:pt x="24" y="65"/>
                    </a:lnTo>
                    <a:lnTo>
                      <a:pt x="24" y="66"/>
                    </a:lnTo>
                    <a:lnTo>
                      <a:pt x="24" y="67"/>
                    </a:lnTo>
                    <a:lnTo>
                      <a:pt x="25" y="68"/>
                    </a:lnTo>
                    <a:lnTo>
                      <a:pt x="24" y="69"/>
                    </a:lnTo>
                    <a:lnTo>
                      <a:pt x="24" y="71"/>
                    </a:lnTo>
                    <a:lnTo>
                      <a:pt x="25" y="71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7" y="70"/>
                    </a:lnTo>
                    <a:lnTo>
                      <a:pt x="28" y="70"/>
                    </a:lnTo>
                    <a:lnTo>
                      <a:pt x="27" y="72"/>
                    </a:lnTo>
                    <a:lnTo>
                      <a:pt x="27" y="74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7" y="80"/>
                    </a:lnTo>
                    <a:lnTo>
                      <a:pt x="34" y="87"/>
                    </a:lnTo>
                    <a:lnTo>
                      <a:pt x="35" y="86"/>
                    </a:lnTo>
                    <a:lnTo>
                      <a:pt x="36" y="86"/>
                    </a:lnTo>
                    <a:lnTo>
                      <a:pt x="36" y="88"/>
                    </a:lnTo>
                    <a:lnTo>
                      <a:pt x="37" y="87"/>
                    </a:lnTo>
                    <a:lnTo>
                      <a:pt x="38" y="88"/>
                    </a:lnTo>
                    <a:lnTo>
                      <a:pt x="38" y="89"/>
                    </a:lnTo>
                    <a:lnTo>
                      <a:pt x="38" y="90"/>
                    </a:lnTo>
                    <a:lnTo>
                      <a:pt x="39" y="91"/>
                    </a:lnTo>
                    <a:lnTo>
                      <a:pt x="40" y="89"/>
                    </a:lnTo>
                    <a:lnTo>
                      <a:pt x="41" y="92"/>
                    </a:lnTo>
                    <a:lnTo>
                      <a:pt x="40" y="94"/>
                    </a:lnTo>
                    <a:lnTo>
                      <a:pt x="41" y="95"/>
                    </a:lnTo>
                    <a:lnTo>
                      <a:pt x="40" y="96"/>
                    </a:lnTo>
                    <a:lnTo>
                      <a:pt x="41" y="98"/>
                    </a:lnTo>
                    <a:lnTo>
                      <a:pt x="40" y="97"/>
                    </a:lnTo>
                    <a:lnTo>
                      <a:pt x="38" y="98"/>
                    </a:lnTo>
                    <a:lnTo>
                      <a:pt x="36" y="100"/>
                    </a:lnTo>
                    <a:lnTo>
                      <a:pt x="39" y="105"/>
                    </a:lnTo>
                    <a:lnTo>
                      <a:pt x="40" y="106"/>
                    </a:lnTo>
                    <a:lnTo>
                      <a:pt x="40" y="108"/>
                    </a:lnTo>
                    <a:lnTo>
                      <a:pt x="40" y="109"/>
                    </a:lnTo>
                    <a:lnTo>
                      <a:pt x="39" y="110"/>
                    </a:lnTo>
                    <a:lnTo>
                      <a:pt x="38" y="109"/>
                    </a:lnTo>
                    <a:lnTo>
                      <a:pt x="38" y="112"/>
                    </a:lnTo>
                    <a:lnTo>
                      <a:pt x="37" y="112"/>
                    </a:lnTo>
                    <a:lnTo>
                      <a:pt x="36" y="113"/>
                    </a:lnTo>
                    <a:lnTo>
                      <a:pt x="36" y="114"/>
                    </a:lnTo>
                    <a:lnTo>
                      <a:pt x="33" y="117"/>
                    </a:lnTo>
                    <a:lnTo>
                      <a:pt x="35" y="119"/>
                    </a:lnTo>
                    <a:lnTo>
                      <a:pt x="33" y="119"/>
                    </a:lnTo>
                    <a:lnTo>
                      <a:pt x="30" y="120"/>
                    </a:lnTo>
                    <a:lnTo>
                      <a:pt x="29" y="120"/>
                    </a:lnTo>
                    <a:lnTo>
                      <a:pt x="29" y="122"/>
                    </a:lnTo>
                    <a:lnTo>
                      <a:pt x="28" y="123"/>
                    </a:lnTo>
                    <a:lnTo>
                      <a:pt x="30" y="124"/>
                    </a:lnTo>
                    <a:lnTo>
                      <a:pt x="30" y="127"/>
                    </a:lnTo>
                    <a:lnTo>
                      <a:pt x="29" y="129"/>
                    </a:lnTo>
                    <a:lnTo>
                      <a:pt x="30" y="129"/>
                    </a:lnTo>
                    <a:lnTo>
                      <a:pt x="29" y="132"/>
                    </a:lnTo>
                    <a:lnTo>
                      <a:pt x="28" y="132"/>
                    </a:lnTo>
                    <a:lnTo>
                      <a:pt x="28" y="130"/>
                    </a:lnTo>
                    <a:lnTo>
                      <a:pt x="27" y="133"/>
                    </a:lnTo>
                    <a:lnTo>
                      <a:pt x="28" y="134"/>
                    </a:lnTo>
                    <a:lnTo>
                      <a:pt x="28" y="136"/>
                    </a:lnTo>
                    <a:lnTo>
                      <a:pt x="27" y="136"/>
                    </a:lnTo>
                    <a:lnTo>
                      <a:pt x="30" y="140"/>
                    </a:lnTo>
                    <a:lnTo>
                      <a:pt x="32" y="142"/>
                    </a:lnTo>
                    <a:lnTo>
                      <a:pt x="33" y="143"/>
                    </a:lnTo>
                    <a:lnTo>
                      <a:pt x="35" y="146"/>
                    </a:lnTo>
                    <a:lnTo>
                      <a:pt x="36" y="147"/>
                    </a:lnTo>
                    <a:lnTo>
                      <a:pt x="38" y="147"/>
                    </a:lnTo>
                    <a:lnTo>
                      <a:pt x="41" y="152"/>
                    </a:lnTo>
                    <a:lnTo>
                      <a:pt x="43" y="152"/>
                    </a:lnTo>
                    <a:lnTo>
                      <a:pt x="43" y="153"/>
                    </a:lnTo>
                    <a:lnTo>
                      <a:pt x="44" y="155"/>
                    </a:lnTo>
                    <a:lnTo>
                      <a:pt x="47" y="155"/>
                    </a:lnTo>
                    <a:lnTo>
                      <a:pt x="46" y="157"/>
                    </a:lnTo>
                    <a:lnTo>
                      <a:pt x="47" y="159"/>
                    </a:lnTo>
                    <a:lnTo>
                      <a:pt x="49" y="159"/>
                    </a:lnTo>
                    <a:lnTo>
                      <a:pt x="49" y="160"/>
                    </a:lnTo>
                    <a:lnTo>
                      <a:pt x="50" y="160"/>
                    </a:lnTo>
                    <a:lnTo>
                      <a:pt x="49" y="160"/>
                    </a:lnTo>
                    <a:lnTo>
                      <a:pt x="50" y="163"/>
                    </a:lnTo>
                    <a:lnTo>
                      <a:pt x="49" y="164"/>
                    </a:lnTo>
                    <a:lnTo>
                      <a:pt x="49" y="165"/>
                    </a:lnTo>
                    <a:lnTo>
                      <a:pt x="50" y="163"/>
                    </a:lnTo>
                    <a:lnTo>
                      <a:pt x="50" y="164"/>
                    </a:lnTo>
                    <a:lnTo>
                      <a:pt x="52" y="163"/>
                    </a:lnTo>
                    <a:lnTo>
                      <a:pt x="52" y="164"/>
                    </a:lnTo>
                    <a:lnTo>
                      <a:pt x="53" y="164"/>
                    </a:lnTo>
                    <a:lnTo>
                      <a:pt x="55" y="164"/>
                    </a:lnTo>
                    <a:lnTo>
                      <a:pt x="57" y="164"/>
                    </a:lnTo>
                    <a:lnTo>
                      <a:pt x="57" y="165"/>
                    </a:lnTo>
                    <a:lnTo>
                      <a:pt x="58" y="165"/>
                    </a:lnTo>
                    <a:lnTo>
                      <a:pt x="58" y="164"/>
                    </a:lnTo>
                    <a:lnTo>
                      <a:pt x="60" y="164"/>
                    </a:lnTo>
                    <a:lnTo>
                      <a:pt x="60" y="163"/>
                    </a:lnTo>
                    <a:lnTo>
                      <a:pt x="63" y="163"/>
                    </a:lnTo>
                    <a:lnTo>
                      <a:pt x="62" y="164"/>
                    </a:lnTo>
                    <a:lnTo>
                      <a:pt x="63" y="168"/>
                    </a:lnTo>
                    <a:lnTo>
                      <a:pt x="64" y="167"/>
                    </a:lnTo>
                    <a:lnTo>
                      <a:pt x="65" y="168"/>
                    </a:lnTo>
                    <a:lnTo>
                      <a:pt x="67" y="168"/>
                    </a:lnTo>
                    <a:lnTo>
                      <a:pt x="68" y="164"/>
                    </a:lnTo>
                    <a:lnTo>
                      <a:pt x="69" y="163"/>
                    </a:lnTo>
                    <a:lnTo>
                      <a:pt x="70" y="166"/>
                    </a:lnTo>
                    <a:lnTo>
                      <a:pt x="71" y="166"/>
                    </a:lnTo>
                    <a:lnTo>
                      <a:pt x="72" y="166"/>
                    </a:lnTo>
                    <a:lnTo>
                      <a:pt x="72" y="167"/>
                    </a:lnTo>
                    <a:lnTo>
                      <a:pt x="75" y="167"/>
                    </a:lnTo>
                    <a:lnTo>
                      <a:pt x="76" y="169"/>
                    </a:lnTo>
                    <a:lnTo>
                      <a:pt x="74" y="169"/>
                    </a:lnTo>
                    <a:lnTo>
                      <a:pt x="74" y="170"/>
                    </a:lnTo>
                    <a:lnTo>
                      <a:pt x="76" y="172"/>
                    </a:lnTo>
                    <a:lnTo>
                      <a:pt x="77" y="170"/>
                    </a:lnTo>
                    <a:lnTo>
                      <a:pt x="77" y="172"/>
                    </a:lnTo>
                    <a:lnTo>
                      <a:pt x="79" y="173"/>
                    </a:lnTo>
                    <a:lnTo>
                      <a:pt x="81" y="171"/>
                    </a:lnTo>
                    <a:lnTo>
                      <a:pt x="81" y="172"/>
                    </a:lnTo>
                    <a:lnTo>
                      <a:pt x="82" y="173"/>
                    </a:lnTo>
                    <a:lnTo>
                      <a:pt x="82" y="176"/>
                    </a:lnTo>
                    <a:lnTo>
                      <a:pt x="83" y="176"/>
                    </a:lnTo>
                    <a:lnTo>
                      <a:pt x="84" y="176"/>
                    </a:lnTo>
                    <a:lnTo>
                      <a:pt x="83" y="177"/>
                    </a:lnTo>
                    <a:lnTo>
                      <a:pt x="82" y="177"/>
                    </a:lnTo>
                    <a:lnTo>
                      <a:pt x="83" y="178"/>
                    </a:lnTo>
                    <a:lnTo>
                      <a:pt x="84" y="178"/>
                    </a:lnTo>
                    <a:lnTo>
                      <a:pt x="84" y="179"/>
                    </a:lnTo>
                    <a:lnTo>
                      <a:pt x="85" y="178"/>
                    </a:lnTo>
                    <a:lnTo>
                      <a:pt x="85" y="179"/>
                    </a:lnTo>
                    <a:lnTo>
                      <a:pt x="86" y="181"/>
                    </a:lnTo>
                    <a:lnTo>
                      <a:pt x="85" y="181"/>
                    </a:lnTo>
                    <a:lnTo>
                      <a:pt x="89" y="184"/>
                    </a:lnTo>
                    <a:lnTo>
                      <a:pt x="89" y="183"/>
                    </a:lnTo>
                    <a:lnTo>
                      <a:pt x="93" y="183"/>
                    </a:lnTo>
                    <a:lnTo>
                      <a:pt x="94" y="185"/>
                    </a:lnTo>
                    <a:lnTo>
                      <a:pt x="96" y="185"/>
                    </a:lnTo>
                    <a:lnTo>
                      <a:pt x="98" y="186"/>
                    </a:lnTo>
                    <a:lnTo>
                      <a:pt x="98" y="185"/>
                    </a:lnTo>
                    <a:lnTo>
                      <a:pt x="100" y="185"/>
                    </a:lnTo>
                    <a:lnTo>
                      <a:pt x="99" y="187"/>
                    </a:lnTo>
                    <a:lnTo>
                      <a:pt x="97" y="192"/>
                    </a:lnTo>
                    <a:lnTo>
                      <a:pt x="97" y="195"/>
                    </a:lnTo>
                    <a:lnTo>
                      <a:pt x="97" y="197"/>
                    </a:lnTo>
                    <a:lnTo>
                      <a:pt x="99" y="197"/>
                    </a:lnTo>
                    <a:lnTo>
                      <a:pt x="101" y="195"/>
                    </a:lnTo>
                    <a:lnTo>
                      <a:pt x="101" y="196"/>
                    </a:lnTo>
                    <a:lnTo>
                      <a:pt x="101" y="195"/>
                    </a:lnTo>
                    <a:lnTo>
                      <a:pt x="102" y="194"/>
                    </a:lnTo>
                    <a:lnTo>
                      <a:pt x="104" y="197"/>
                    </a:lnTo>
                    <a:lnTo>
                      <a:pt x="105" y="196"/>
                    </a:lnTo>
                    <a:lnTo>
                      <a:pt x="106" y="197"/>
                    </a:lnTo>
                    <a:lnTo>
                      <a:pt x="108" y="199"/>
                    </a:lnTo>
                    <a:lnTo>
                      <a:pt x="109" y="199"/>
                    </a:lnTo>
                    <a:lnTo>
                      <a:pt x="111" y="204"/>
                    </a:lnTo>
                    <a:lnTo>
                      <a:pt x="115" y="206"/>
                    </a:lnTo>
                    <a:lnTo>
                      <a:pt x="116" y="208"/>
                    </a:lnTo>
                    <a:lnTo>
                      <a:pt x="118" y="206"/>
                    </a:lnTo>
                    <a:lnTo>
                      <a:pt x="120" y="205"/>
                    </a:lnTo>
                    <a:lnTo>
                      <a:pt x="120" y="210"/>
                    </a:lnTo>
                    <a:lnTo>
                      <a:pt x="118" y="211"/>
                    </a:lnTo>
                    <a:lnTo>
                      <a:pt x="115" y="216"/>
                    </a:lnTo>
                    <a:lnTo>
                      <a:pt x="117" y="219"/>
                    </a:lnTo>
                    <a:lnTo>
                      <a:pt x="116" y="220"/>
                    </a:lnTo>
                    <a:lnTo>
                      <a:pt x="120" y="224"/>
                    </a:lnTo>
                    <a:lnTo>
                      <a:pt x="123" y="224"/>
                    </a:lnTo>
                    <a:lnTo>
                      <a:pt x="126" y="227"/>
                    </a:lnTo>
                    <a:lnTo>
                      <a:pt x="128" y="228"/>
                    </a:lnTo>
                    <a:lnTo>
                      <a:pt x="128" y="229"/>
                    </a:lnTo>
                    <a:lnTo>
                      <a:pt x="129" y="229"/>
                    </a:lnTo>
                    <a:lnTo>
                      <a:pt x="132" y="234"/>
                    </a:lnTo>
                    <a:lnTo>
                      <a:pt x="133" y="234"/>
                    </a:lnTo>
                    <a:lnTo>
                      <a:pt x="134" y="233"/>
                    </a:lnTo>
                    <a:lnTo>
                      <a:pt x="136" y="233"/>
                    </a:lnTo>
                    <a:lnTo>
                      <a:pt x="138" y="234"/>
                    </a:lnTo>
                    <a:lnTo>
                      <a:pt x="140" y="234"/>
                    </a:lnTo>
                    <a:lnTo>
                      <a:pt x="143" y="233"/>
                    </a:lnTo>
                    <a:lnTo>
                      <a:pt x="142" y="227"/>
                    </a:lnTo>
                    <a:lnTo>
                      <a:pt x="146" y="229"/>
                    </a:lnTo>
                    <a:lnTo>
                      <a:pt x="147" y="228"/>
                    </a:lnTo>
                    <a:lnTo>
                      <a:pt x="148" y="228"/>
                    </a:lnTo>
                    <a:lnTo>
                      <a:pt x="147" y="224"/>
                    </a:lnTo>
                    <a:lnTo>
                      <a:pt x="148" y="220"/>
                    </a:lnTo>
                    <a:lnTo>
                      <a:pt x="155" y="215"/>
                    </a:lnTo>
                    <a:lnTo>
                      <a:pt x="156" y="212"/>
                    </a:lnTo>
                    <a:lnTo>
                      <a:pt x="158" y="212"/>
                    </a:lnTo>
                    <a:lnTo>
                      <a:pt x="158" y="214"/>
                    </a:lnTo>
                    <a:lnTo>
                      <a:pt x="159" y="213"/>
                    </a:lnTo>
                    <a:lnTo>
                      <a:pt x="159" y="214"/>
                    </a:lnTo>
                    <a:lnTo>
                      <a:pt x="158" y="215"/>
                    </a:lnTo>
                    <a:lnTo>
                      <a:pt x="159" y="217"/>
                    </a:lnTo>
                    <a:lnTo>
                      <a:pt x="158" y="217"/>
                    </a:lnTo>
                    <a:lnTo>
                      <a:pt x="158" y="219"/>
                    </a:lnTo>
                    <a:lnTo>
                      <a:pt x="161" y="223"/>
                    </a:lnTo>
                    <a:lnTo>
                      <a:pt x="163" y="223"/>
                    </a:lnTo>
                    <a:lnTo>
                      <a:pt x="165" y="223"/>
                    </a:lnTo>
                    <a:lnTo>
                      <a:pt x="166" y="224"/>
                    </a:lnTo>
                    <a:lnTo>
                      <a:pt x="168" y="226"/>
                    </a:lnTo>
                    <a:lnTo>
                      <a:pt x="169" y="227"/>
                    </a:lnTo>
                    <a:lnTo>
                      <a:pt x="170" y="224"/>
                    </a:lnTo>
                    <a:lnTo>
                      <a:pt x="171" y="225"/>
                    </a:lnTo>
                    <a:lnTo>
                      <a:pt x="172" y="225"/>
                    </a:lnTo>
                    <a:lnTo>
                      <a:pt x="174" y="227"/>
                    </a:lnTo>
                    <a:lnTo>
                      <a:pt x="175" y="227"/>
                    </a:lnTo>
                    <a:lnTo>
                      <a:pt x="176" y="229"/>
                    </a:lnTo>
                    <a:lnTo>
                      <a:pt x="177" y="230"/>
                    </a:lnTo>
                    <a:lnTo>
                      <a:pt x="177" y="231"/>
                    </a:lnTo>
                    <a:lnTo>
                      <a:pt x="179" y="233"/>
                    </a:lnTo>
                    <a:lnTo>
                      <a:pt x="180" y="239"/>
                    </a:lnTo>
                    <a:lnTo>
                      <a:pt x="182" y="241"/>
                    </a:lnTo>
                    <a:lnTo>
                      <a:pt x="183" y="240"/>
                    </a:lnTo>
                    <a:lnTo>
                      <a:pt x="185" y="240"/>
                    </a:lnTo>
                    <a:lnTo>
                      <a:pt x="189" y="241"/>
                    </a:lnTo>
                    <a:lnTo>
                      <a:pt x="192" y="239"/>
                    </a:lnTo>
                    <a:lnTo>
                      <a:pt x="194" y="241"/>
                    </a:lnTo>
                    <a:lnTo>
                      <a:pt x="195" y="244"/>
                    </a:lnTo>
                    <a:lnTo>
                      <a:pt x="194" y="245"/>
                    </a:lnTo>
                    <a:lnTo>
                      <a:pt x="195" y="246"/>
                    </a:lnTo>
                    <a:lnTo>
                      <a:pt x="197" y="244"/>
                    </a:lnTo>
                    <a:lnTo>
                      <a:pt x="200" y="244"/>
                    </a:lnTo>
                    <a:lnTo>
                      <a:pt x="201" y="246"/>
                    </a:lnTo>
                    <a:lnTo>
                      <a:pt x="203" y="249"/>
                    </a:lnTo>
                    <a:lnTo>
                      <a:pt x="205" y="249"/>
                    </a:lnTo>
                    <a:lnTo>
                      <a:pt x="205" y="247"/>
                    </a:lnTo>
                    <a:lnTo>
                      <a:pt x="207" y="247"/>
                    </a:lnTo>
                    <a:lnTo>
                      <a:pt x="207" y="250"/>
                    </a:lnTo>
                    <a:lnTo>
                      <a:pt x="209" y="251"/>
                    </a:lnTo>
                    <a:lnTo>
                      <a:pt x="209" y="253"/>
                    </a:lnTo>
                    <a:lnTo>
                      <a:pt x="211" y="253"/>
                    </a:lnTo>
                    <a:lnTo>
                      <a:pt x="211" y="254"/>
                    </a:lnTo>
                    <a:lnTo>
                      <a:pt x="212" y="253"/>
                    </a:lnTo>
                    <a:lnTo>
                      <a:pt x="215" y="255"/>
                    </a:lnTo>
                    <a:lnTo>
                      <a:pt x="218" y="256"/>
                    </a:lnTo>
                    <a:lnTo>
                      <a:pt x="219" y="258"/>
                    </a:lnTo>
                    <a:lnTo>
                      <a:pt x="222" y="264"/>
                    </a:lnTo>
                    <a:lnTo>
                      <a:pt x="224" y="267"/>
                    </a:lnTo>
                    <a:lnTo>
                      <a:pt x="226" y="268"/>
                    </a:lnTo>
                    <a:lnTo>
                      <a:pt x="224" y="272"/>
                    </a:lnTo>
                    <a:lnTo>
                      <a:pt x="227" y="274"/>
                    </a:lnTo>
                    <a:lnTo>
                      <a:pt x="228" y="275"/>
                    </a:lnTo>
                    <a:lnTo>
                      <a:pt x="229" y="278"/>
                    </a:lnTo>
                    <a:lnTo>
                      <a:pt x="231" y="278"/>
                    </a:lnTo>
                    <a:lnTo>
                      <a:pt x="232" y="278"/>
                    </a:lnTo>
                    <a:lnTo>
                      <a:pt x="233" y="276"/>
                    </a:lnTo>
                    <a:lnTo>
                      <a:pt x="236" y="279"/>
                    </a:lnTo>
                    <a:lnTo>
                      <a:pt x="237" y="278"/>
                    </a:lnTo>
                    <a:lnTo>
                      <a:pt x="240" y="281"/>
                    </a:lnTo>
                    <a:lnTo>
                      <a:pt x="243" y="281"/>
                    </a:lnTo>
                    <a:lnTo>
                      <a:pt x="245" y="283"/>
                    </a:lnTo>
                    <a:lnTo>
                      <a:pt x="246" y="285"/>
                    </a:lnTo>
                    <a:lnTo>
                      <a:pt x="248" y="289"/>
                    </a:lnTo>
                    <a:lnTo>
                      <a:pt x="250" y="289"/>
                    </a:lnTo>
                    <a:lnTo>
                      <a:pt x="252" y="291"/>
                    </a:lnTo>
                    <a:lnTo>
                      <a:pt x="252" y="293"/>
                    </a:lnTo>
                    <a:lnTo>
                      <a:pt x="255" y="299"/>
                    </a:lnTo>
                    <a:lnTo>
                      <a:pt x="256" y="300"/>
                    </a:lnTo>
                    <a:lnTo>
                      <a:pt x="257" y="302"/>
                    </a:lnTo>
                    <a:lnTo>
                      <a:pt x="259" y="304"/>
                    </a:lnTo>
                    <a:lnTo>
                      <a:pt x="259" y="301"/>
                    </a:lnTo>
                    <a:lnTo>
                      <a:pt x="263" y="298"/>
                    </a:lnTo>
                    <a:lnTo>
                      <a:pt x="262" y="295"/>
                    </a:lnTo>
                    <a:lnTo>
                      <a:pt x="263" y="293"/>
                    </a:lnTo>
                    <a:lnTo>
                      <a:pt x="265" y="294"/>
                    </a:lnTo>
                    <a:lnTo>
                      <a:pt x="267" y="294"/>
                    </a:lnTo>
                    <a:lnTo>
                      <a:pt x="268" y="292"/>
                    </a:lnTo>
                    <a:lnTo>
                      <a:pt x="269" y="293"/>
                    </a:lnTo>
                    <a:lnTo>
                      <a:pt x="270" y="293"/>
                    </a:lnTo>
                    <a:lnTo>
                      <a:pt x="272" y="294"/>
                    </a:lnTo>
                    <a:lnTo>
                      <a:pt x="270" y="298"/>
                    </a:lnTo>
                    <a:lnTo>
                      <a:pt x="272" y="298"/>
                    </a:lnTo>
                    <a:lnTo>
                      <a:pt x="273" y="297"/>
                    </a:lnTo>
                    <a:lnTo>
                      <a:pt x="274" y="297"/>
                    </a:lnTo>
                    <a:lnTo>
                      <a:pt x="275" y="297"/>
                    </a:lnTo>
                    <a:lnTo>
                      <a:pt x="278" y="297"/>
                    </a:lnTo>
                    <a:lnTo>
                      <a:pt x="282" y="294"/>
                    </a:lnTo>
                    <a:lnTo>
                      <a:pt x="284" y="294"/>
                    </a:lnTo>
                    <a:lnTo>
                      <a:pt x="286" y="298"/>
                    </a:lnTo>
                    <a:lnTo>
                      <a:pt x="288" y="298"/>
                    </a:lnTo>
                    <a:lnTo>
                      <a:pt x="290" y="299"/>
                    </a:lnTo>
                    <a:lnTo>
                      <a:pt x="290" y="298"/>
                    </a:lnTo>
                    <a:lnTo>
                      <a:pt x="295" y="299"/>
                    </a:lnTo>
                    <a:lnTo>
                      <a:pt x="296" y="298"/>
                    </a:lnTo>
                    <a:lnTo>
                      <a:pt x="296" y="300"/>
                    </a:lnTo>
                    <a:lnTo>
                      <a:pt x="297" y="299"/>
                    </a:lnTo>
                    <a:lnTo>
                      <a:pt x="297" y="298"/>
                    </a:lnTo>
                    <a:lnTo>
                      <a:pt x="296" y="295"/>
                    </a:lnTo>
                    <a:lnTo>
                      <a:pt x="298" y="293"/>
                    </a:lnTo>
                    <a:lnTo>
                      <a:pt x="298" y="292"/>
                    </a:lnTo>
                    <a:lnTo>
                      <a:pt x="299" y="291"/>
                    </a:lnTo>
                    <a:lnTo>
                      <a:pt x="299" y="289"/>
                    </a:lnTo>
                    <a:lnTo>
                      <a:pt x="299" y="286"/>
                    </a:lnTo>
                    <a:lnTo>
                      <a:pt x="301" y="284"/>
                    </a:lnTo>
                    <a:lnTo>
                      <a:pt x="301" y="283"/>
                    </a:lnTo>
                    <a:lnTo>
                      <a:pt x="302" y="282"/>
                    </a:lnTo>
                    <a:lnTo>
                      <a:pt x="304" y="282"/>
                    </a:lnTo>
                    <a:lnTo>
                      <a:pt x="305" y="284"/>
                    </a:lnTo>
                    <a:lnTo>
                      <a:pt x="306" y="284"/>
                    </a:lnTo>
                    <a:lnTo>
                      <a:pt x="308" y="282"/>
                    </a:lnTo>
                    <a:lnTo>
                      <a:pt x="308" y="284"/>
                    </a:lnTo>
                    <a:lnTo>
                      <a:pt x="310" y="286"/>
                    </a:lnTo>
                    <a:lnTo>
                      <a:pt x="312" y="285"/>
                    </a:lnTo>
                    <a:lnTo>
                      <a:pt x="314" y="286"/>
                    </a:lnTo>
                    <a:lnTo>
                      <a:pt x="315" y="287"/>
                    </a:lnTo>
                    <a:lnTo>
                      <a:pt x="318" y="287"/>
                    </a:lnTo>
                    <a:lnTo>
                      <a:pt x="318" y="286"/>
                    </a:lnTo>
                    <a:lnTo>
                      <a:pt x="319" y="286"/>
                    </a:lnTo>
                    <a:lnTo>
                      <a:pt x="319" y="285"/>
                    </a:lnTo>
                    <a:lnTo>
                      <a:pt x="319" y="283"/>
                    </a:lnTo>
                    <a:lnTo>
                      <a:pt x="320" y="283"/>
                    </a:lnTo>
                    <a:lnTo>
                      <a:pt x="324" y="285"/>
                    </a:lnTo>
                    <a:lnTo>
                      <a:pt x="328" y="290"/>
                    </a:lnTo>
                    <a:lnTo>
                      <a:pt x="331" y="287"/>
                    </a:lnTo>
                    <a:lnTo>
                      <a:pt x="333" y="289"/>
                    </a:lnTo>
                    <a:lnTo>
                      <a:pt x="333" y="287"/>
                    </a:lnTo>
                    <a:lnTo>
                      <a:pt x="332" y="287"/>
                    </a:lnTo>
                    <a:lnTo>
                      <a:pt x="332" y="286"/>
                    </a:lnTo>
                    <a:lnTo>
                      <a:pt x="336" y="289"/>
                    </a:lnTo>
                    <a:lnTo>
                      <a:pt x="337" y="289"/>
                    </a:lnTo>
                    <a:lnTo>
                      <a:pt x="339" y="289"/>
                    </a:lnTo>
                    <a:lnTo>
                      <a:pt x="341" y="288"/>
                    </a:lnTo>
                    <a:lnTo>
                      <a:pt x="340" y="289"/>
                    </a:lnTo>
                    <a:lnTo>
                      <a:pt x="345" y="291"/>
                    </a:lnTo>
                    <a:lnTo>
                      <a:pt x="346" y="294"/>
                    </a:lnTo>
                    <a:lnTo>
                      <a:pt x="347" y="294"/>
                    </a:lnTo>
                    <a:lnTo>
                      <a:pt x="348" y="294"/>
                    </a:lnTo>
                    <a:lnTo>
                      <a:pt x="355" y="299"/>
                    </a:lnTo>
                    <a:lnTo>
                      <a:pt x="356" y="300"/>
                    </a:lnTo>
                    <a:lnTo>
                      <a:pt x="360" y="303"/>
                    </a:lnTo>
                    <a:lnTo>
                      <a:pt x="363" y="305"/>
                    </a:lnTo>
                    <a:lnTo>
                      <a:pt x="368" y="304"/>
                    </a:lnTo>
                    <a:lnTo>
                      <a:pt x="368" y="302"/>
                    </a:lnTo>
                    <a:lnTo>
                      <a:pt x="369" y="301"/>
                    </a:lnTo>
                    <a:lnTo>
                      <a:pt x="369" y="300"/>
                    </a:lnTo>
                    <a:lnTo>
                      <a:pt x="368" y="298"/>
                    </a:lnTo>
                    <a:lnTo>
                      <a:pt x="370" y="297"/>
                    </a:lnTo>
                    <a:lnTo>
                      <a:pt x="371" y="293"/>
                    </a:lnTo>
                    <a:lnTo>
                      <a:pt x="372" y="292"/>
                    </a:lnTo>
                    <a:lnTo>
                      <a:pt x="372" y="291"/>
                    </a:lnTo>
                    <a:lnTo>
                      <a:pt x="373" y="291"/>
                    </a:lnTo>
                    <a:lnTo>
                      <a:pt x="373" y="293"/>
                    </a:lnTo>
                    <a:lnTo>
                      <a:pt x="374" y="294"/>
                    </a:lnTo>
                    <a:lnTo>
                      <a:pt x="375" y="293"/>
                    </a:lnTo>
                    <a:lnTo>
                      <a:pt x="372" y="290"/>
                    </a:lnTo>
                    <a:lnTo>
                      <a:pt x="370" y="286"/>
                    </a:lnTo>
                    <a:lnTo>
                      <a:pt x="370" y="284"/>
                    </a:lnTo>
                    <a:lnTo>
                      <a:pt x="371" y="283"/>
                    </a:lnTo>
                    <a:lnTo>
                      <a:pt x="371" y="278"/>
                    </a:lnTo>
                    <a:lnTo>
                      <a:pt x="373" y="278"/>
                    </a:lnTo>
                    <a:lnTo>
                      <a:pt x="373" y="276"/>
                    </a:lnTo>
                    <a:lnTo>
                      <a:pt x="375" y="274"/>
                    </a:lnTo>
                    <a:lnTo>
                      <a:pt x="377" y="274"/>
                    </a:lnTo>
                    <a:lnTo>
                      <a:pt x="378" y="274"/>
                    </a:lnTo>
                    <a:lnTo>
                      <a:pt x="378" y="273"/>
                    </a:lnTo>
                    <a:lnTo>
                      <a:pt x="378" y="271"/>
                    </a:lnTo>
                    <a:lnTo>
                      <a:pt x="380" y="270"/>
                    </a:lnTo>
                    <a:lnTo>
                      <a:pt x="382" y="270"/>
                    </a:lnTo>
                    <a:lnTo>
                      <a:pt x="384" y="268"/>
                    </a:lnTo>
                    <a:lnTo>
                      <a:pt x="383" y="265"/>
                    </a:lnTo>
                    <a:lnTo>
                      <a:pt x="385" y="258"/>
                    </a:lnTo>
                    <a:lnTo>
                      <a:pt x="385" y="256"/>
                    </a:lnTo>
                    <a:lnTo>
                      <a:pt x="384" y="257"/>
                    </a:lnTo>
                    <a:lnTo>
                      <a:pt x="384" y="255"/>
                    </a:lnTo>
                    <a:lnTo>
                      <a:pt x="383" y="255"/>
                    </a:lnTo>
                    <a:lnTo>
                      <a:pt x="385" y="251"/>
                    </a:lnTo>
                    <a:lnTo>
                      <a:pt x="386" y="249"/>
                    </a:lnTo>
                    <a:lnTo>
                      <a:pt x="383" y="247"/>
                    </a:lnTo>
                    <a:lnTo>
                      <a:pt x="382" y="244"/>
                    </a:lnTo>
                    <a:lnTo>
                      <a:pt x="379" y="244"/>
                    </a:lnTo>
                    <a:lnTo>
                      <a:pt x="378" y="245"/>
                    </a:lnTo>
                    <a:lnTo>
                      <a:pt x="377" y="244"/>
                    </a:lnTo>
                    <a:lnTo>
                      <a:pt x="377" y="242"/>
                    </a:lnTo>
                    <a:lnTo>
                      <a:pt x="375" y="242"/>
                    </a:lnTo>
                    <a:lnTo>
                      <a:pt x="375" y="244"/>
                    </a:lnTo>
                    <a:lnTo>
                      <a:pt x="373" y="244"/>
                    </a:lnTo>
                    <a:lnTo>
                      <a:pt x="371" y="244"/>
                    </a:lnTo>
                    <a:lnTo>
                      <a:pt x="371" y="242"/>
                    </a:lnTo>
                    <a:lnTo>
                      <a:pt x="373" y="241"/>
                    </a:lnTo>
                    <a:lnTo>
                      <a:pt x="375" y="238"/>
                    </a:lnTo>
                    <a:lnTo>
                      <a:pt x="376" y="238"/>
                    </a:lnTo>
                    <a:lnTo>
                      <a:pt x="378" y="235"/>
                    </a:lnTo>
                    <a:lnTo>
                      <a:pt x="376" y="234"/>
                    </a:lnTo>
                    <a:lnTo>
                      <a:pt x="373" y="229"/>
                    </a:lnTo>
                    <a:lnTo>
                      <a:pt x="375" y="228"/>
                    </a:lnTo>
                    <a:lnTo>
                      <a:pt x="375" y="227"/>
                    </a:lnTo>
                    <a:lnTo>
                      <a:pt x="375" y="226"/>
                    </a:lnTo>
                    <a:lnTo>
                      <a:pt x="376" y="225"/>
                    </a:lnTo>
                    <a:lnTo>
                      <a:pt x="375" y="223"/>
                    </a:lnTo>
                    <a:lnTo>
                      <a:pt x="373" y="222"/>
                    </a:lnTo>
                    <a:lnTo>
                      <a:pt x="371" y="220"/>
                    </a:lnTo>
                    <a:lnTo>
                      <a:pt x="367" y="213"/>
                    </a:lnTo>
                    <a:lnTo>
                      <a:pt x="365" y="207"/>
                    </a:lnTo>
                    <a:lnTo>
                      <a:pt x="366" y="204"/>
                    </a:lnTo>
                    <a:lnTo>
                      <a:pt x="365" y="202"/>
                    </a:lnTo>
                    <a:lnTo>
                      <a:pt x="366" y="200"/>
                    </a:lnTo>
                    <a:lnTo>
                      <a:pt x="365" y="199"/>
                    </a:lnTo>
                    <a:lnTo>
                      <a:pt x="364" y="198"/>
                    </a:lnTo>
                    <a:lnTo>
                      <a:pt x="363" y="197"/>
                    </a:lnTo>
                    <a:lnTo>
                      <a:pt x="363" y="196"/>
                    </a:lnTo>
                    <a:lnTo>
                      <a:pt x="361" y="195"/>
                    </a:lnTo>
                    <a:lnTo>
                      <a:pt x="360" y="192"/>
                    </a:lnTo>
                    <a:lnTo>
                      <a:pt x="362" y="189"/>
                    </a:lnTo>
                    <a:lnTo>
                      <a:pt x="361" y="188"/>
                    </a:lnTo>
                    <a:lnTo>
                      <a:pt x="361" y="186"/>
                    </a:lnTo>
                    <a:lnTo>
                      <a:pt x="362" y="180"/>
                    </a:lnTo>
                    <a:lnTo>
                      <a:pt x="363" y="179"/>
                    </a:lnTo>
                    <a:lnTo>
                      <a:pt x="366" y="177"/>
                    </a:lnTo>
                    <a:lnTo>
                      <a:pt x="367" y="177"/>
                    </a:lnTo>
                    <a:lnTo>
                      <a:pt x="371" y="176"/>
                    </a:lnTo>
                    <a:lnTo>
                      <a:pt x="370" y="175"/>
                    </a:lnTo>
                    <a:lnTo>
                      <a:pt x="371" y="174"/>
                    </a:lnTo>
                    <a:lnTo>
                      <a:pt x="369" y="173"/>
                    </a:lnTo>
                    <a:lnTo>
                      <a:pt x="369" y="170"/>
                    </a:lnTo>
                    <a:lnTo>
                      <a:pt x="367" y="164"/>
                    </a:lnTo>
                    <a:lnTo>
                      <a:pt x="369" y="162"/>
                    </a:lnTo>
                    <a:lnTo>
                      <a:pt x="368" y="160"/>
                    </a:lnTo>
                    <a:lnTo>
                      <a:pt x="368" y="158"/>
                    </a:lnTo>
                    <a:lnTo>
                      <a:pt x="369" y="156"/>
                    </a:lnTo>
                    <a:lnTo>
                      <a:pt x="369" y="154"/>
                    </a:lnTo>
                    <a:lnTo>
                      <a:pt x="370" y="152"/>
                    </a:lnTo>
                    <a:lnTo>
                      <a:pt x="367" y="150"/>
                    </a:lnTo>
                    <a:lnTo>
                      <a:pt x="369" y="147"/>
                    </a:lnTo>
                    <a:lnTo>
                      <a:pt x="366" y="145"/>
                    </a:lnTo>
                    <a:lnTo>
                      <a:pt x="366" y="140"/>
                    </a:lnTo>
                    <a:lnTo>
                      <a:pt x="365" y="139"/>
                    </a:lnTo>
                    <a:lnTo>
                      <a:pt x="365" y="137"/>
                    </a:lnTo>
                    <a:lnTo>
                      <a:pt x="365" y="133"/>
                    </a:lnTo>
                    <a:lnTo>
                      <a:pt x="366" y="130"/>
                    </a:lnTo>
                    <a:lnTo>
                      <a:pt x="365" y="127"/>
                    </a:lnTo>
                    <a:lnTo>
                      <a:pt x="365" y="125"/>
                    </a:lnTo>
                    <a:lnTo>
                      <a:pt x="364" y="123"/>
                    </a:lnTo>
                    <a:lnTo>
                      <a:pt x="362" y="121"/>
                    </a:lnTo>
                    <a:lnTo>
                      <a:pt x="361" y="113"/>
                    </a:lnTo>
                    <a:lnTo>
                      <a:pt x="364" y="113"/>
                    </a:lnTo>
                    <a:lnTo>
                      <a:pt x="369" y="114"/>
                    </a:lnTo>
                    <a:lnTo>
                      <a:pt x="371" y="117"/>
                    </a:lnTo>
                    <a:lnTo>
                      <a:pt x="373" y="117"/>
                    </a:lnTo>
                    <a:lnTo>
                      <a:pt x="373" y="116"/>
                    </a:lnTo>
                    <a:lnTo>
                      <a:pt x="375" y="113"/>
                    </a:lnTo>
                    <a:lnTo>
                      <a:pt x="377" y="112"/>
                    </a:lnTo>
                    <a:lnTo>
                      <a:pt x="377" y="111"/>
                    </a:lnTo>
                    <a:lnTo>
                      <a:pt x="377" y="109"/>
                    </a:lnTo>
                    <a:lnTo>
                      <a:pt x="378" y="107"/>
                    </a:lnTo>
                    <a:lnTo>
                      <a:pt x="379" y="108"/>
                    </a:lnTo>
                    <a:lnTo>
                      <a:pt x="381" y="105"/>
                    </a:lnTo>
                    <a:lnTo>
                      <a:pt x="385" y="104"/>
                    </a:lnTo>
                    <a:lnTo>
                      <a:pt x="385" y="102"/>
                    </a:lnTo>
                    <a:lnTo>
                      <a:pt x="388" y="102"/>
                    </a:lnTo>
                    <a:lnTo>
                      <a:pt x="389" y="101"/>
                    </a:lnTo>
                    <a:lnTo>
                      <a:pt x="389" y="100"/>
                    </a:lnTo>
                    <a:lnTo>
                      <a:pt x="390" y="98"/>
                    </a:lnTo>
                    <a:lnTo>
                      <a:pt x="392" y="96"/>
                    </a:lnTo>
                    <a:lnTo>
                      <a:pt x="390" y="92"/>
                    </a:lnTo>
                    <a:lnTo>
                      <a:pt x="391" y="89"/>
                    </a:lnTo>
                    <a:lnTo>
                      <a:pt x="388" y="85"/>
                    </a:lnTo>
                    <a:lnTo>
                      <a:pt x="389" y="83"/>
                    </a:lnTo>
                    <a:lnTo>
                      <a:pt x="392" y="80"/>
                    </a:lnTo>
                    <a:lnTo>
                      <a:pt x="395" y="78"/>
                    </a:lnTo>
                    <a:lnTo>
                      <a:pt x="394" y="76"/>
                    </a:lnTo>
                    <a:lnTo>
                      <a:pt x="394" y="73"/>
                    </a:lnTo>
                    <a:lnTo>
                      <a:pt x="392" y="67"/>
                    </a:lnTo>
                    <a:lnTo>
                      <a:pt x="391" y="66"/>
                    </a:lnTo>
                    <a:lnTo>
                      <a:pt x="392" y="65"/>
                    </a:lnTo>
                    <a:lnTo>
                      <a:pt x="395" y="65"/>
                    </a:lnTo>
                    <a:lnTo>
                      <a:pt x="398" y="63"/>
                    </a:lnTo>
                    <a:lnTo>
                      <a:pt x="398" y="57"/>
                    </a:lnTo>
                    <a:lnTo>
                      <a:pt x="399" y="57"/>
                    </a:lnTo>
                    <a:lnTo>
                      <a:pt x="399" y="59"/>
                    </a:lnTo>
                    <a:lnTo>
                      <a:pt x="401" y="57"/>
                    </a:lnTo>
                    <a:lnTo>
                      <a:pt x="401" y="54"/>
                    </a:lnTo>
                    <a:lnTo>
                      <a:pt x="402" y="50"/>
                    </a:lnTo>
                    <a:lnTo>
                      <a:pt x="403" y="49"/>
                    </a:lnTo>
                    <a:lnTo>
                      <a:pt x="404" y="46"/>
                    </a:lnTo>
                    <a:lnTo>
                      <a:pt x="406" y="42"/>
                    </a:lnTo>
                    <a:lnTo>
                      <a:pt x="406" y="40"/>
                    </a:lnTo>
                    <a:lnTo>
                      <a:pt x="409" y="38"/>
                    </a:lnTo>
                    <a:lnTo>
                      <a:pt x="410" y="36"/>
                    </a:lnTo>
                    <a:lnTo>
                      <a:pt x="410" y="32"/>
                    </a:lnTo>
                    <a:lnTo>
                      <a:pt x="411" y="31"/>
                    </a:lnTo>
                    <a:lnTo>
                      <a:pt x="410" y="29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66" name="Group 65">
              <a:extLst>
                <a:ext uri="{FF2B5EF4-FFF2-40B4-BE49-F238E27FC236}">
                  <a16:creationId xmlns:a16="http://schemas.microsoft.com/office/drawing/2014/main" id="{1D3020A3-5237-45FB-BFBF-57B4D5AF016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92" y="3139"/>
              <a:ext cx="454" cy="457"/>
              <a:chOff x="1792" y="3139"/>
              <a:chExt cx="454" cy="457"/>
            </a:xfrm>
          </p:grpSpPr>
          <p:sp>
            <p:nvSpPr>
              <p:cNvPr id="527" name="Freeform 63">
                <a:extLst>
                  <a:ext uri="{FF2B5EF4-FFF2-40B4-BE49-F238E27FC236}">
                    <a16:creationId xmlns:a16="http://schemas.microsoft.com/office/drawing/2014/main" id="{8F544260-8BA4-426B-A789-39EF2E8183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" y="3139"/>
                <a:ext cx="454" cy="457"/>
              </a:xfrm>
              <a:custGeom>
                <a:avLst/>
                <a:gdLst>
                  <a:gd name="T0" fmla="*/ 446 w 454"/>
                  <a:gd name="T1" fmla="*/ 367 h 457"/>
                  <a:gd name="T2" fmla="*/ 440 w 454"/>
                  <a:gd name="T3" fmla="*/ 332 h 457"/>
                  <a:gd name="T4" fmla="*/ 417 w 454"/>
                  <a:gd name="T5" fmla="*/ 323 h 457"/>
                  <a:gd name="T6" fmla="*/ 399 w 454"/>
                  <a:gd name="T7" fmla="*/ 311 h 457"/>
                  <a:gd name="T8" fmla="*/ 392 w 454"/>
                  <a:gd name="T9" fmla="*/ 283 h 457"/>
                  <a:gd name="T10" fmla="*/ 384 w 454"/>
                  <a:gd name="T11" fmla="*/ 256 h 457"/>
                  <a:gd name="T12" fmla="*/ 388 w 454"/>
                  <a:gd name="T13" fmla="*/ 238 h 457"/>
                  <a:gd name="T14" fmla="*/ 389 w 454"/>
                  <a:gd name="T15" fmla="*/ 217 h 457"/>
                  <a:gd name="T16" fmla="*/ 373 w 454"/>
                  <a:gd name="T17" fmla="*/ 221 h 457"/>
                  <a:gd name="T18" fmla="*/ 352 w 454"/>
                  <a:gd name="T19" fmla="*/ 207 h 457"/>
                  <a:gd name="T20" fmla="*/ 325 w 454"/>
                  <a:gd name="T21" fmla="*/ 202 h 457"/>
                  <a:gd name="T22" fmla="*/ 312 w 454"/>
                  <a:gd name="T23" fmla="*/ 202 h 457"/>
                  <a:gd name="T24" fmla="*/ 287 w 454"/>
                  <a:gd name="T25" fmla="*/ 167 h 457"/>
                  <a:gd name="T26" fmla="*/ 267 w 454"/>
                  <a:gd name="T27" fmla="*/ 167 h 457"/>
                  <a:gd name="T28" fmla="*/ 256 w 454"/>
                  <a:gd name="T29" fmla="*/ 139 h 457"/>
                  <a:gd name="T30" fmla="*/ 242 w 454"/>
                  <a:gd name="T31" fmla="*/ 148 h 457"/>
                  <a:gd name="T32" fmla="*/ 249 w 454"/>
                  <a:gd name="T33" fmla="*/ 158 h 457"/>
                  <a:gd name="T34" fmla="*/ 214 w 454"/>
                  <a:gd name="T35" fmla="*/ 170 h 457"/>
                  <a:gd name="T36" fmla="*/ 191 w 454"/>
                  <a:gd name="T37" fmla="*/ 161 h 457"/>
                  <a:gd name="T38" fmla="*/ 175 w 454"/>
                  <a:gd name="T39" fmla="*/ 143 h 457"/>
                  <a:gd name="T40" fmla="*/ 173 w 454"/>
                  <a:gd name="T41" fmla="*/ 125 h 457"/>
                  <a:gd name="T42" fmla="*/ 159 w 454"/>
                  <a:gd name="T43" fmla="*/ 98 h 457"/>
                  <a:gd name="T44" fmla="*/ 136 w 454"/>
                  <a:gd name="T45" fmla="*/ 70 h 457"/>
                  <a:gd name="T46" fmla="*/ 165 w 454"/>
                  <a:gd name="T47" fmla="*/ 64 h 457"/>
                  <a:gd name="T48" fmla="*/ 176 w 454"/>
                  <a:gd name="T49" fmla="*/ 38 h 457"/>
                  <a:gd name="T50" fmla="*/ 173 w 454"/>
                  <a:gd name="T51" fmla="*/ 4 h 457"/>
                  <a:gd name="T52" fmla="*/ 140 w 454"/>
                  <a:gd name="T53" fmla="*/ 25 h 457"/>
                  <a:gd name="T54" fmla="*/ 120 w 454"/>
                  <a:gd name="T55" fmla="*/ 20 h 457"/>
                  <a:gd name="T56" fmla="*/ 95 w 454"/>
                  <a:gd name="T57" fmla="*/ 28 h 457"/>
                  <a:gd name="T58" fmla="*/ 77 w 454"/>
                  <a:gd name="T59" fmla="*/ 40 h 457"/>
                  <a:gd name="T60" fmla="*/ 48 w 454"/>
                  <a:gd name="T61" fmla="*/ 64 h 457"/>
                  <a:gd name="T62" fmla="*/ 31 w 454"/>
                  <a:gd name="T63" fmla="*/ 110 h 457"/>
                  <a:gd name="T64" fmla="*/ 8 w 454"/>
                  <a:gd name="T65" fmla="*/ 147 h 457"/>
                  <a:gd name="T66" fmla="*/ 9 w 454"/>
                  <a:gd name="T67" fmla="*/ 172 h 457"/>
                  <a:gd name="T68" fmla="*/ 3 w 454"/>
                  <a:gd name="T69" fmla="*/ 189 h 457"/>
                  <a:gd name="T70" fmla="*/ 9 w 454"/>
                  <a:gd name="T71" fmla="*/ 209 h 457"/>
                  <a:gd name="T72" fmla="*/ 16 w 454"/>
                  <a:gd name="T73" fmla="*/ 221 h 457"/>
                  <a:gd name="T74" fmla="*/ 25 w 454"/>
                  <a:gd name="T75" fmla="*/ 222 h 457"/>
                  <a:gd name="T76" fmla="*/ 39 w 454"/>
                  <a:gd name="T77" fmla="*/ 232 h 457"/>
                  <a:gd name="T78" fmla="*/ 63 w 454"/>
                  <a:gd name="T79" fmla="*/ 243 h 457"/>
                  <a:gd name="T80" fmla="*/ 72 w 454"/>
                  <a:gd name="T81" fmla="*/ 260 h 457"/>
                  <a:gd name="T82" fmla="*/ 100 w 454"/>
                  <a:gd name="T83" fmla="*/ 260 h 457"/>
                  <a:gd name="T84" fmla="*/ 130 w 454"/>
                  <a:gd name="T85" fmla="*/ 270 h 457"/>
                  <a:gd name="T86" fmla="*/ 143 w 454"/>
                  <a:gd name="T87" fmla="*/ 281 h 457"/>
                  <a:gd name="T88" fmla="*/ 149 w 454"/>
                  <a:gd name="T89" fmla="*/ 310 h 457"/>
                  <a:gd name="T90" fmla="*/ 163 w 454"/>
                  <a:gd name="T91" fmla="*/ 326 h 457"/>
                  <a:gd name="T92" fmla="*/ 179 w 454"/>
                  <a:gd name="T93" fmla="*/ 348 h 457"/>
                  <a:gd name="T94" fmla="*/ 177 w 454"/>
                  <a:gd name="T95" fmla="*/ 361 h 457"/>
                  <a:gd name="T96" fmla="*/ 193 w 454"/>
                  <a:gd name="T97" fmla="*/ 362 h 457"/>
                  <a:gd name="T98" fmla="*/ 209 w 454"/>
                  <a:gd name="T99" fmla="*/ 379 h 457"/>
                  <a:gd name="T100" fmla="*/ 239 w 454"/>
                  <a:gd name="T101" fmla="*/ 391 h 457"/>
                  <a:gd name="T102" fmla="*/ 272 w 454"/>
                  <a:gd name="T103" fmla="*/ 406 h 457"/>
                  <a:gd name="T104" fmla="*/ 304 w 454"/>
                  <a:gd name="T105" fmla="*/ 427 h 457"/>
                  <a:gd name="T106" fmla="*/ 320 w 454"/>
                  <a:gd name="T107" fmla="*/ 454 h 457"/>
                  <a:gd name="T108" fmla="*/ 350 w 454"/>
                  <a:gd name="T109" fmla="*/ 442 h 457"/>
                  <a:gd name="T110" fmla="*/ 364 w 454"/>
                  <a:gd name="T111" fmla="*/ 420 h 457"/>
                  <a:gd name="T112" fmla="*/ 381 w 454"/>
                  <a:gd name="T113" fmla="*/ 407 h 457"/>
                  <a:gd name="T114" fmla="*/ 404 w 454"/>
                  <a:gd name="T115" fmla="*/ 413 h 457"/>
                  <a:gd name="T116" fmla="*/ 438 w 454"/>
                  <a:gd name="T117" fmla="*/ 409 h 457"/>
                  <a:gd name="T118" fmla="*/ 454 w 454"/>
                  <a:gd name="T119" fmla="*/ 394 h 45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454"/>
                  <a:gd name="T181" fmla="*/ 0 h 457"/>
                  <a:gd name="T182" fmla="*/ 454 w 454"/>
                  <a:gd name="T183" fmla="*/ 457 h 45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454" h="457">
                    <a:moveTo>
                      <a:pt x="451" y="392"/>
                    </a:moveTo>
                    <a:lnTo>
                      <a:pt x="450" y="388"/>
                    </a:lnTo>
                    <a:lnTo>
                      <a:pt x="448" y="388"/>
                    </a:lnTo>
                    <a:lnTo>
                      <a:pt x="448" y="384"/>
                    </a:lnTo>
                    <a:lnTo>
                      <a:pt x="447" y="383"/>
                    </a:lnTo>
                    <a:lnTo>
                      <a:pt x="448" y="381"/>
                    </a:lnTo>
                    <a:lnTo>
                      <a:pt x="447" y="377"/>
                    </a:lnTo>
                    <a:lnTo>
                      <a:pt x="448" y="377"/>
                    </a:lnTo>
                    <a:lnTo>
                      <a:pt x="449" y="372"/>
                    </a:lnTo>
                    <a:lnTo>
                      <a:pt x="447" y="372"/>
                    </a:lnTo>
                    <a:lnTo>
                      <a:pt x="446" y="371"/>
                    </a:lnTo>
                    <a:lnTo>
                      <a:pt x="446" y="367"/>
                    </a:lnTo>
                    <a:lnTo>
                      <a:pt x="446" y="364"/>
                    </a:lnTo>
                    <a:lnTo>
                      <a:pt x="445" y="361"/>
                    </a:lnTo>
                    <a:lnTo>
                      <a:pt x="446" y="359"/>
                    </a:lnTo>
                    <a:lnTo>
                      <a:pt x="445" y="354"/>
                    </a:lnTo>
                    <a:lnTo>
                      <a:pt x="444" y="354"/>
                    </a:lnTo>
                    <a:lnTo>
                      <a:pt x="444" y="351"/>
                    </a:lnTo>
                    <a:lnTo>
                      <a:pt x="443" y="346"/>
                    </a:lnTo>
                    <a:lnTo>
                      <a:pt x="443" y="343"/>
                    </a:lnTo>
                    <a:lnTo>
                      <a:pt x="443" y="339"/>
                    </a:lnTo>
                    <a:lnTo>
                      <a:pt x="444" y="336"/>
                    </a:lnTo>
                    <a:lnTo>
                      <a:pt x="443" y="333"/>
                    </a:lnTo>
                    <a:lnTo>
                      <a:pt x="443" y="332"/>
                    </a:lnTo>
                    <a:lnTo>
                      <a:pt x="440" y="332"/>
                    </a:lnTo>
                    <a:lnTo>
                      <a:pt x="437" y="329"/>
                    </a:lnTo>
                    <a:lnTo>
                      <a:pt x="433" y="330"/>
                    </a:lnTo>
                    <a:lnTo>
                      <a:pt x="432" y="329"/>
                    </a:lnTo>
                    <a:lnTo>
                      <a:pt x="428" y="332"/>
                    </a:lnTo>
                    <a:lnTo>
                      <a:pt x="425" y="332"/>
                    </a:lnTo>
                    <a:lnTo>
                      <a:pt x="425" y="329"/>
                    </a:lnTo>
                    <a:lnTo>
                      <a:pt x="423" y="328"/>
                    </a:lnTo>
                    <a:lnTo>
                      <a:pt x="421" y="328"/>
                    </a:lnTo>
                    <a:lnTo>
                      <a:pt x="419" y="328"/>
                    </a:lnTo>
                    <a:lnTo>
                      <a:pt x="420" y="326"/>
                    </a:lnTo>
                    <a:lnTo>
                      <a:pt x="418" y="324"/>
                    </a:lnTo>
                    <a:lnTo>
                      <a:pt x="419" y="323"/>
                    </a:lnTo>
                    <a:lnTo>
                      <a:pt x="417" y="323"/>
                    </a:lnTo>
                    <a:lnTo>
                      <a:pt x="418" y="321"/>
                    </a:lnTo>
                    <a:lnTo>
                      <a:pt x="418" y="318"/>
                    </a:lnTo>
                    <a:lnTo>
                      <a:pt x="413" y="317"/>
                    </a:lnTo>
                    <a:lnTo>
                      <a:pt x="410" y="317"/>
                    </a:lnTo>
                    <a:lnTo>
                      <a:pt x="408" y="317"/>
                    </a:lnTo>
                    <a:lnTo>
                      <a:pt x="407" y="318"/>
                    </a:lnTo>
                    <a:lnTo>
                      <a:pt x="407" y="315"/>
                    </a:lnTo>
                    <a:lnTo>
                      <a:pt x="405" y="314"/>
                    </a:lnTo>
                    <a:lnTo>
                      <a:pt x="404" y="314"/>
                    </a:lnTo>
                    <a:lnTo>
                      <a:pt x="403" y="315"/>
                    </a:lnTo>
                    <a:lnTo>
                      <a:pt x="403" y="313"/>
                    </a:lnTo>
                    <a:lnTo>
                      <a:pt x="400" y="313"/>
                    </a:lnTo>
                    <a:lnTo>
                      <a:pt x="399" y="311"/>
                    </a:lnTo>
                    <a:lnTo>
                      <a:pt x="399" y="310"/>
                    </a:lnTo>
                    <a:lnTo>
                      <a:pt x="398" y="309"/>
                    </a:lnTo>
                    <a:lnTo>
                      <a:pt x="397" y="307"/>
                    </a:lnTo>
                    <a:lnTo>
                      <a:pt x="396" y="307"/>
                    </a:lnTo>
                    <a:lnTo>
                      <a:pt x="397" y="306"/>
                    </a:lnTo>
                    <a:lnTo>
                      <a:pt x="396" y="304"/>
                    </a:lnTo>
                    <a:lnTo>
                      <a:pt x="398" y="296"/>
                    </a:lnTo>
                    <a:lnTo>
                      <a:pt x="397" y="294"/>
                    </a:lnTo>
                    <a:lnTo>
                      <a:pt x="395" y="294"/>
                    </a:lnTo>
                    <a:lnTo>
                      <a:pt x="394" y="293"/>
                    </a:lnTo>
                    <a:lnTo>
                      <a:pt x="394" y="290"/>
                    </a:lnTo>
                    <a:lnTo>
                      <a:pt x="394" y="285"/>
                    </a:lnTo>
                    <a:lnTo>
                      <a:pt x="392" y="283"/>
                    </a:lnTo>
                    <a:lnTo>
                      <a:pt x="392" y="280"/>
                    </a:lnTo>
                    <a:lnTo>
                      <a:pt x="391" y="278"/>
                    </a:lnTo>
                    <a:lnTo>
                      <a:pt x="391" y="276"/>
                    </a:lnTo>
                    <a:lnTo>
                      <a:pt x="391" y="273"/>
                    </a:lnTo>
                    <a:lnTo>
                      <a:pt x="390" y="272"/>
                    </a:lnTo>
                    <a:lnTo>
                      <a:pt x="390" y="270"/>
                    </a:lnTo>
                    <a:lnTo>
                      <a:pt x="388" y="268"/>
                    </a:lnTo>
                    <a:lnTo>
                      <a:pt x="387" y="264"/>
                    </a:lnTo>
                    <a:lnTo>
                      <a:pt x="388" y="262"/>
                    </a:lnTo>
                    <a:lnTo>
                      <a:pt x="386" y="261"/>
                    </a:lnTo>
                    <a:lnTo>
                      <a:pt x="386" y="259"/>
                    </a:lnTo>
                    <a:lnTo>
                      <a:pt x="385" y="258"/>
                    </a:lnTo>
                    <a:lnTo>
                      <a:pt x="384" y="256"/>
                    </a:lnTo>
                    <a:lnTo>
                      <a:pt x="384" y="254"/>
                    </a:lnTo>
                    <a:lnTo>
                      <a:pt x="389" y="251"/>
                    </a:lnTo>
                    <a:lnTo>
                      <a:pt x="391" y="249"/>
                    </a:lnTo>
                    <a:lnTo>
                      <a:pt x="390" y="248"/>
                    </a:lnTo>
                    <a:lnTo>
                      <a:pt x="389" y="246"/>
                    </a:lnTo>
                    <a:lnTo>
                      <a:pt x="391" y="246"/>
                    </a:lnTo>
                    <a:lnTo>
                      <a:pt x="391" y="244"/>
                    </a:lnTo>
                    <a:lnTo>
                      <a:pt x="395" y="244"/>
                    </a:lnTo>
                    <a:lnTo>
                      <a:pt x="396" y="242"/>
                    </a:lnTo>
                    <a:lnTo>
                      <a:pt x="394" y="240"/>
                    </a:lnTo>
                    <a:lnTo>
                      <a:pt x="391" y="239"/>
                    </a:lnTo>
                    <a:lnTo>
                      <a:pt x="388" y="239"/>
                    </a:lnTo>
                    <a:lnTo>
                      <a:pt x="388" y="238"/>
                    </a:lnTo>
                    <a:lnTo>
                      <a:pt x="386" y="236"/>
                    </a:lnTo>
                    <a:lnTo>
                      <a:pt x="386" y="234"/>
                    </a:lnTo>
                    <a:lnTo>
                      <a:pt x="385" y="232"/>
                    </a:lnTo>
                    <a:lnTo>
                      <a:pt x="385" y="231"/>
                    </a:lnTo>
                    <a:lnTo>
                      <a:pt x="387" y="230"/>
                    </a:lnTo>
                    <a:lnTo>
                      <a:pt x="388" y="228"/>
                    </a:lnTo>
                    <a:lnTo>
                      <a:pt x="387" y="226"/>
                    </a:lnTo>
                    <a:lnTo>
                      <a:pt x="388" y="225"/>
                    </a:lnTo>
                    <a:lnTo>
                      <a:pt x="390" y="221"/>
                    </a:lnTo>
                    <a:lnTo>
                      <a:pt x="388" y="219"/>
                    </a:lnTo>
                    <a:lnTo>
                      <a:pt x="389" y="218"/>
                    </a:lnTo>
                    <a:lnTo>
                      <a:pt x="388" y="217"/>
                    </a:lnTo>
                    <a:lnTo>
                      <a:pt x="389" y="217"/>
                    </a:lnTo>
                    <a:lnTo>
                      <a:pt x="388" y="213"/>
                    </a:lnTo>
                    <a:lnTo>
                      <a:pt x="384" y="214"/>
                    </a:lnTo>
                    <a:lnTo>
                      <a:pt x="381" y="210"/>
                    </a:lnTo>
                    <a:lnTo>
                      <a:pt x="379" y="210"/>
                    </a:lnTo>
                    <a:lnTo>
                      <a:pt x="380" y="212"/>
                    </a:lnTo>
                    <a:lnTo>
                      <a:pt x="379" y="217"/>
                    </a:lnTo>
                    <a:lnTo>
                      <a:pt x="381" y="218"/>
                    </a:lnTo>
                    <a:lnTo>
                      <a:pt x="378" y="221"/>
                    </a:lnTo>
                    <a:lnTo>
                      <a:pt x="376" y="222"/>
                    </a:lnTo>
                    <a:lnTo>
                      <a:pt x="375" y="222"/>
                    </a:lnTo>
                    <a:lnTo>
                      <a:pt x="374" y="222"/>
                    </a:lnTo>
                    <a:lnTo>
                      <a:pt x="373" y="221"/>
                    </a:lnTo>
                    <a:lnTo>
                      <a:pt x="371" y="222"/>
                    </a:lnTo>
                    <a:lnTo>
                      <a:pt x="372" y="221"/>
                    </a:lnTo>
                    <a:lnTo>
                      <a:pt x="371" y="220"/>
                    </a:lnTo>
                    <a:lnTo>
                      <a:pt x="369" y="221"/>
                    </a:lnTo>
                    <a:lnTo>
                      <a:pt x="366" y="218"/>
                    </a:lnTo>
                    <a:lnTo>
                      <a:pt x="365" y="220"/>
                    </a:lnTo>
                    <a:lnTo>
                      <a:pt x="364" y="218"/>
                    </a:lnTo>
                    <a:lnTo>
                      <a:pt x="363" y="216"/>
                    </a:lnTo>
                    <a:lnTo>
                      <a:pt x="362" y="215"/>
                    </a:lnTo>
                    <a:lnTo>
                      <a:pt x="359" y="213"/>
                    </a:lnTo>
                    <a:lnTo>
                      <a:pt x="359" y="209"/>
                    </a:lnTo>
                    <a:lnTo>
                      <a:pt x="354" y="209"/>
                    </a:lnTo>
                    <a:lnTo>
                      <a:pt x="352" y="207"/>
                    </a:lnTo>
                    <a:lnTo>
                      <a:pt x="351" y="206"/>
                    </a:lnTo>
                    <a:lnTo>
                      <a:pt x="351" y="202"/>
                    </a:lnTo>
                    <a:lnTo>
                      <a:pt x="343" y="202"/>
                    </a:lnTo>
                    <a:lnTo>
                      <a:pt x="342" y="202"/>
                    </a:lnTo>
                    <a:lnTo>
                      <a:pt x="338" y="202"/>
                    </a:lnTo>
                    <a:lnTo>
                      <a:pt x="334" y="201"/>
                    </a:lnTo>
                    <a:lnTo>
                      <a:pt x="332" y="199"/>
                    </a:lnTo>
                    <a:lnTo>
                      <a:pt x="325" y="195"/>
                    </a:lnTo>
                    <a:lnTo>
                      <a:pt x="324" y="198"/>
                    </a:lnTo>
                    <a:lnTo>
                      <a:pt x="325" y="199"/>
                    </a:lnTo>
                    <a:lnTo>
                      <a:pt x="328" y="200"/>
                    </a:lnTo>
                    <a:lnTo>
                      <a:pt x="329" y="201"/>
                    </a:lnTo>
                    <a:lnTo>
                      <a:pt x="325" y="202"/>
                    </a:lnTo>
                    <a:lnTo>
                      <a:pt x="326" y="203"/>
                    </a:lnTo>
                    <a:lnTo>
                      <a:pt x="327" y="204"/>
                    </a:lnTo>
                    <a:lnTo>
                      <a:pt x="325" y="205"/>
                    </a:lnTo>
                    <a:lnTo>
                      <a:pt x="323" y="204"/>
                    </a:lnTo>
                    <a:lnTo>
                      <a:pt x="323" y="202"/>
                    </a:lnTo>
                    <a:lnTo>
                      <a:pt x="322" y="202"/>
                    </a:lnTo>
                    <a:lnTo>
                      <a:pt x="322" y="205"/>
                    </a:lnTo>
                    <a:lnTo>
                      <a:pt x="320" y="209"/>
                    </a:lnTo>
                    <a:lnTo>
                      <a:pt x="318" y="209"/>
                    </a:lnTo>
                    <a:lnTo>
                      <a:pt x="318" y="208"/>
                    </a:lnTo>
                    <a:lnTo>
                      <a:pt x="315" y="205"/>
                    </a:lnTo>
                    <a:lnTo>
                      <a:pt x="314" y="202"/>
                    </a:lnTo>
                    <a:lnTo>
                      <a:pt x="312" y="202"/>
                    </a:lnTo>
                    <a:lnTo>
                      <a:pt x="309" y="196"/>
                    </a:lnTo>
                    <a:lnTo>
                      <a:pt x="311" y="191"/>
                    </a:lnTo>
                    <a:lnTo>
                      <a:pt x="310" y="187"/>
                    </a:lnTo>
                    <a:lnTo>
                      <a:pt x="309" y="185"/>
                    </a:lnTo>
                    <a:lnTo>
                      <a:pt x="299" y="181"/>
                    </a:lnTo>
                    <a:lnTo>
                      <a:pt x="296" y="182"/>
                    </a:lnTo>
                    <a:lnTo>
                      <a:pt x="295" y="182"/>
                    </a:lnTo>
                    <a:lnTo>
                      <a:pt x="293" y="180"/>
                    </a:lnTo>
                    <a:lnTo>
                      <a:pt x="294" y="178"/>
                    </a:lnTo>
                    <a:lnTo>
                      <a:pt x="293" y="174"/>
                    </a:lnTo>
                    <a:lnTo>
                      <a:pt x="292" y="168"/>
                    </a:lnTo>
                    <a:lnTo>
                      <a:pt x="288" y="169"/>
                    </a:lnTo>
                    <a:lnTo>
                      <a:pt x="287" y="167"/>
                    </a:lnTo>
                    <a:lnTo>
                      <a:pt x="286" y="167"/>
                    </a:lnTo>
                    <a:lnTo>
                      <a:pt x="285" y="166"/>
                    </a:lnTo>
                    <a:lnTo>
                      <a:pt x="283" y="166"/>
                    </a:lnTo>
                    <a:lnTo>
                      <a:pt x="283" y="167"/>
                    </a:lnTo>
                    <a:lnTo>
                      <a:pt x="282" y="167"/>
                    </a:lnTo>
                    <a:lnTo>
                      <a:pt x="282" y="168"/>
                    </a:lnTo>
                    <a:lnTo>
                      <a:pt x="282" y="170"/>
                    </a:lnTo>
                    <a:lnTo>
                      <a:pt x="281" y="172"/>
                    </a:lnTo>
                    <a:lnTo>
                      <a:pt x="277" y="174"/>
                    </a:lnTo>
                    <a:lnTo>
                      <a:pt x="275" y="170"/>
                    </a:lnTo>
                    <a:lnTo>
                      <a:pt x="273" y="168"/>
                    </a:lnTo>
                    <a:lnTo>
                      <a:pt x="272" y="166"/>
                    </a:lnTo>
                    <a:lnTo>
                      <a:pt x="267" y="167"/>
                    </a:lnTo>
                    <a:lnTo>
                      <a:pt x="265" y="164"/>
                    </a:lnTo>
                    <a:lnTo>
                      <a:pt x="263" y="161"/>
                    </a:lnTo>
                    <a:lnTo>
                      <a:pt x="262" y="157"/>
                    </a:lnTo>
                    <a:lnTo>
                      <a:pt x="263" y="157"/>
                    </a:lnTo>
                    <a:lnTo>
                      <a:pt x="265" y="154"/>
                    </a:lnTo>
                    <a:lnTo>
                      <a:pt x="262" y="151"/>
                    </a:lnTo>
                    <a:lnTo>
                      <a:pt x="262" y="149"/>
                    </a:lnTo>
                    <a:lnTo>
                      <a:pt x="260" y="149"/>
                    </a:lnTo>
                    <a:lnTo>
                      <a:pt x="262" y="144"/>
                    </a:lnTo>
                    <a:lnTo>
                      <a:pt x="261" y="143"/>
                    </a:lnTo>
                    <a:lnTo>
                      <a:pt x="259" y="143"/>
                    </a:lnTo>
                    <a:lnTo>
                      <a:pt x="256" y="141"/>
                    </a:lnTo>
                    <a:lnTo>
                      <a:pt x="256" y="139"/>
                    </a:lnTo>
                    <a:lnTo>
                      <a:pt x="255" y="138"/>
                    </a:lnTo>
                    <a:lnTo>
                      <a:pt x="255" y="135"/>
                    </a:lnTo>
                    <a:lnTo>
                      <a:pt x="252" y="135"/>
                    </a:lnTo>
                    <a:lnTo>
                      <a:pt x="251" y="134"/>
                    </a:lnTo>
                    <a:lnTo>
                      <a:pt x="249" y="133"/>
                    </a:lnTo>
                    <a:lnTo>
                      <a:pt x="249" y="132"/>
                    </a:lnTo>
                    <a:lnTo>
                      <a:pt x="247" y="132"/>
                    </a:lnTo>
                    <a:lnTo>
                      <a:pt x="241" y="136"/>
                    </a:lnTo>
                    <a:lnTo>
                      <a:pt x="239" y="137"/>
                    </a:lnTo>
                    <a:lnTo>
                      <a:pt x="239" y="140"/>
                    </a:lnTo>
                    <a:lnTo>
                      <a:pt x="239" y="144"/>
                    </a:lnTo>
                    <a:lnTo>
                      <a:pt x="240" y="148"/>
                    </a:lnTo>
                    <a:lnTo>
                      <a:pt x="242" y="148"/>
                    </a:lnTo>
                    <a:lnTo>
                      <a:pt x="244" y="144"/>
                    </a:lnTo>
                    <a:lnTo>
                      <a:pt x="246" y="145"/>
                    </a:lnTo>
                    <a:lnTo>
                      <a:pt x="247" y="146"/>
                    </a:lnTo>
                    <a:lnTo>
                      <a:pt x="249" y="146"/>
                    </a:lnTo>
                    <a:lnTo>
                      <a:pt x="250" y="150"/>
                    </a:lnTo>
                    <a:lnTo>
                      <a:pt x="250" y="151"/>
                    </a:lnTo>
                    <a:lnTo>
                      <a:pt x="248" y="152"/>
                    </a:lnTo>
                    <a:lnTo>
                      <a:pt x="249" y="154"/>
                    </a:lnTo>
                    <a:lnTo>
                      <a:pt x="249" y="156"/>
                    </a:lnTo>
                    <a:lnTo>
                      <a:pt x="248" y="156"/>
                    </a:lnTo>
                    <a:lnTo>
                      <a:pt x="247" y="157"/>
                    </a:lnTo>
                    <a:lnTo>
                      <a:pt x="249" y="158"/>
                    </a:lnTo>
                    <a:lnTo>
                      <a:pt x="248" y="161"/>
                    </a:lnTo>
                    <a:lnTo>
                      <a:pt x="247" y="159"/>
                    </a:lnTo>
                    <a:lnTo>
                      <a:pt x="247" y="158"/>
                    </a:lnTo>
                    <a:lnTo>
                      <a:pt x="246" y="157"/>
                    </a:lnTo>
                    <a:lnTo>
                      <a:pt x="238" y="157"/>
                    </a:lnTo>
                    <a:lnTo>
                      <a:pt x="238" y="153"/>
                    </a:lnTo>
                    <a:lnTo>
                      <a:pt x="234" y="155"/>
                    </a:lnTo>
                    <a:lnTo>
                      <a:pt x="231" y="158"/>
                    </a:lnTo>
                    <a:lnTo>
                      <a:pt x="228" y="157"/>
                    </a:lnTo>
                    <a:lnTo>
                      <a:pt x="225" y="158"/>
                    </a:lnTo>
                    <a:lnTo>
                      <a:pt x="224" y="158"/>
                    </a:lnTo>
                    <a:lnTo>
                      <a:pt x="215" y="168"/>
                    </a:lnTo>
                    <a:lnTo>
                      <a:pt x="214" y="170"/>
                    </a:lnTo>
                    <a:lnTo>
                      <a:pt x="211" y="170"/>
                    </a:lnTo>
                    <a:lnTo>
                      <a:pt x="206" y="168"/>
                    </a:lnTo>
                    <a:lnTo>
                      <a:pt x="203" y="168"/>
                    </a:lnTo>
                    <a:lnTo>
                      <a:pt x="200" y="170"/>
                    </a:lnTo>
                    <a:lnTo>
                      <a:pt x="198" y="167"/>
                    </a:lnTo>
                    <a:lnTo>
                      <a:pt x="197" y="167"/>
                    </a:lnTo>
                    <a:lnTo>
                      <a:pt x="197" y="165"/>
                    </a:lnTo>
                    <a:lnTo>
                      <a:pt x="195" y="165"/>
                    </a:lnTo>
                    <a:lnTo>
                      <a:pt x="195" y="164"/>
                    </a:lnTo>
                    <a:lnTo>
                      <a:pt x="193" y="163"/>
                    </a:lnTo>
                    <a:lnTo>
                      <a:pt x="192" y="161"/>
                    </a:lnTo>
                    <a:lnTo>
                      <a:pt x="191" y="161"/>
                    </a:lnTo>
                    <a:lnTo>
                      <a:pt x="190" y="159"/>
                    </a:lnTo>
                    <a:lnTo>
                      <a:pt x="192" y="156"/>
                    </a:lnTo>
                    <a:lnTo>
                      <a:pt x="190" y="152"/>
                    </a:lnTo>
                    <a:lnTo>
                      <a:pt x="189" y="151"/>
                    </a:lnTo>
                    <a:lnTo>
                      <a:pt x="183" y="151"/>
                    </a:lnTo>
                    <a:lnTo>
                      <a:pt x="183" y="149"/>
                    </a:lnTo>
                    <a:lnTo>
                      <a:pt x="181" y="149"/>
                    </a:lnTo>
                    <a:lnTo>
                      <a:pt x="181" y="148"/>
                    </a:lnTo>
                    <a:lnTo>
                      <a:pt x="180" y="146"/>
                    </a:lnTo>
                    <a:lnTo>
                      <a:pt x="179" y="147"/>
                    </a:lnTo>
                    <a:lnTo>
                      <a:pt x="179" y="146"/>
                    </a:lnTo>
                    <a:lnTo>
                      <a:pt x="177" y="145"/>
                    </a:lnTo>
                    <a:lnTo>
                      <a:pt x="175" y="143"/>
                    </a:lnTo>
                    <a:lnTo>
                      <a:pt x="177" y="142"/>
                    </a:lnTo>
                    <a:lnTo>
                      <a:pt x="177" y="140"/>
                    </a:lnTo>
                    <a:lnTo>
                      <a:pt x="177" y="138"/>
                    </a:lnTo>
                    <a:lnTo>
                      <a:pt x="175" y="138"/>
                    </a:lnTo>
                    <a:lnTo>
                      <a:pt x="177" y="135"/>
                    </a:lnTo>
                    <a:lnTo>
                      <a:pt x="175" y="134"/>
                    </a:lnTo>
                    <a:lnTo>
                      <a:pt x="176" y="134"/>
                    </a:lnTo>
                    <a:lnTo>
                      <a:pt x="176" y="131"/>
                    </a:lnTo>
                    <a:lnTo>
                      <a:pt x="173" y="130"/>
                    </a:lnTo>
                    <a:lnTo>
                      <a:pt x="174" y="128"/>
                    </a:lnTo>
                    <a:lnTo>
                      <a:pt x="173" y="126"/>
                    </a:lnTo>
                    <a:lnTo>
                      <a:pt x="172" y="126"/>
                    </a:lnTo>
                    <a:lnTo>
                      <a:pt x="173" y="125"/>
                    </a:lnTo>
                    <a:lnTo>
                      <a:pt x="173" y="124"/>
                    </a:lnTo>
                    <a:lnTo>
                      <a:pt x="173" y="123"/>
                    </a:lnTo>
                    <a:lnTo>
                      <a:pt x="172" y="122"/>
                    </a:lnTo>
                    <a:lnTo>
                      <a:pt x="172" y="120"/>
                    </a:lnTo>
                    <a:lnTo>
                      <a:pt x="172" y="118"/>
                    </a:lnTo>
                    <a:lnTo>
                      <a:pt x="170" y="116"/>
                    </a:lnTo>
                    <a:lnTo>
                      <a:pt x="168" y="116"/>
                    </a:lnTo>
                    <a:lnTo>
                      <a:pt x="168" y="115"/>
                    </a:lnTo>
                    <a:lnTo>
                      <a:pt x="166" y="113"/>
                    </a:lnTo>
                    <a:lnTo>
                      <a:pt x="167" y="109"/>
                    </a:lnTo>
                    <a:lnTo>
                      <a:pt x="160" y="100"/>
                    </a:lnTo>
                    <a:lnTo>
                      <a:pt x="159" y="98"/>
                    </a:lnTo>
                    <a:lnTo>
                      <a:pt x="155" y="98"/>
                    </a:lnTo>
                    <a:lnTo>
                      <a:pt x="152" y="104"/>
                    </a:lnTo>
                    <a:lnTo>
                      <a:pt x="149" y="101"/>
                    </a:lnTo>
                    <a:lnTo>
                      <a:pt x="146" y="100"/>
                    </a:lnTo>
                    <a:lnTo>
                      <a:pt x="144" y="91"/>
                    </a:lnTo>
                    <a:lnTo>
                      <a:pt x="141" y="88"/>
                    </a:lnTo>
                    <a:lnTo>
                      <a:pt x="138" y="86"/>
                    </a:lnTo>
                    <a:lnTo>
                      <a:pt x="138" y="85"/>
                    </a:lnTo>
                    <a:lnTo>
                      <a:pt x="136" y="85"/>
                    </a:lnTo>
                    <a:lnTo>
                      <a:pt x="135" y="80"/>
                    </a:lnTo>
                    <a:lnTo>
                      <a:pt x="133" y="75"/>
                    </a:lnTo>
                    <a:lnTo>
                      <a:pt x="135" y="71"/>
                    </a:lnTo>
                    <a:lnTo>
                      <a:pt x="136" y="70"/>
                    </a:lnTo>
                    <a:lnTo>
                      <a:pt x="140" y="71"/>
                    </a:lnTo>
                    <a:lnTo>
                      <a:pt x="141" y="72"/>
                    </a:lnTo>
                    <a:lnTo>
                      <a:pt x="143" y="70"/>
                    </a:lnTo>
                    <a:lnTo>
                      <a:pt x="145" y="70"/>
                    </a:lnTo>
                    <a:lnTo>
                      <a:pt x="148" y="69"/>
                    </a:lnTo>
                    <a:lnTo>
                      <a:pt x="152" y="69"/>
                    </a:lnTo>
                    <a:lnTo>
                      <a:pt x="156" y="67"/>
                    </a:lnTo>
                    <a:lnTo>
                      <a:pt x="157" y="68"/>
                    </a:lnTo>
                    <a:lnTo>
                      <a:pt x="159" y="67"/>
                    </a:lnTo>
                    <a:lnTo>
                      <a:pt x="160" y="68"/>
                    </a:lnTo>
                    <a:lnTo>
                      <a:pt x="164" y="67"/>
                    </a:lnTo>
                    <a:lnTo>
                      <a:pt x="164" y="64"/>
                    </a:lnTo>
                    <a:lnTo>
                      <a:pt x="165" y="64"/>
                    </a:lnTo>
                    <a:lnTo>
                      <a:pt x="165" y="60"/>
                    </a:lnTo>
                    <a:lnTo>
                      <a:pt x="167" y="59"/>
                    </a:lnTo>
                    <a:lnTo>
                      <a:pt x="168" y="58"/>
                    </a:lnTo>
                    <a:lnTo>
                      <a:pt x="169" y="57"/>
                    </a:lnTo>
                    <a:lnTo>
                      <a:pt x="170" y="58"/>
                    </a:lnTo>
                    <a:lnTo>
                      <a:pt x="173" y="60"/>
                    </a:lnTo>
                    <a:lnTo>
                      <a:pt x="176" y="58"/>
                    </a:lnTo>
                    <a:lnTo>
                      <a:pt x="179" y="58"/>
                    </a:lnTo>
                    <a:lnTo>
                      <a:pt x="179" y="56"/>
                    </a:lnTo>
                    <a:lnTo>
                      <a:pt x="179" y="53"/>
                    </a:lnTo>
                    <a:lnTo>
                      <a:pt x="179" y="51"/>
                    </a:lnTo>
                    <a:lnTo>
                      <a:pt x="181" y="45"/>
                    </a:lnTo>
                    <a:lnTo>
                      <a:pt x="176" y="38"/>
                    </a:lnTo>
                    <a:lnTo>
                      <a:pt x="172" y="34"/>
                    </a:lnTo>
                    <a:lnTo>
                      <a:pt x="172" y="31"/>
                    </a:lnTo>
                    <a:lnTo>
                      <a:pt x="173" y="26"/>
                    </a:lnTo>
                    <a:lnTo>
                      <a:pt x="175" y="24"/>
                    </a:lnTo>
                    <a:lnTo>
                      <a:pt x="178" y="18"/>
                    </a:lnTo>
                    <a:lnTo>
                      <a:pt x="180" y="17"/>
                    </a:lnTo>
                    <a:lnTo>
                      <a:pt x="180" y="15"/>
                    </a:lnTo>
                    <a:lnTo>
                      <a:pt x="181" y="15"/>
                    </a:lnTo>
                    <a:lnTo>
                      <a:pt x="180" y="13"/>
                    </a:lnTo>
                    <a:lnTo>
                      <a:pt x="177" y="13"/>
                    </a:lnTo>
                    <a:lnTo>
                      <a:pt x="176" y="12"/>
                    </a:lnTo>
                    <a:lnTo>
                      <a:pt x="174" y="11"/>
                    </a:lnTo>
                    <a:lnTo>
                      <a:pt x="173" y="4"/>
                    </a:lnTo>
                    <a:lnTo>
                      <a:pt x="167" y="0"/>
                    </a:lnTo>
                    <a:lnTo>
                      <a:pt x="164" y="0"/>
                    </a:lnTo>
                    <a:lnTo>
                      <a:pt x="164" y="6"/>
                    </a:lnTo>
                    <a:lnTo>
                      <a:pt x="163" y="10"/>
                    </a:lnTo>
                    <a:lnTo>
                      <a:pt x="164" y="11"/>
                    </a:lnTo>
                    <a:lnTo>
                      <a:pt x="164" y="12"/>
                    </a:lnTo>
                    <a:lnTo>
                      <a:pt x="163" y="13"/>
                    </a:lnTo>
                    <a:lnTo>
                      <a:pt x="155" y="19"/>
                    </a:lnTo>
                    <a:lnTo>
                      <a:pt x="152" y="22"/>
                    </a:lnTo>
                    <a:lnTo>
                      <a:pt x="148" y="24"/>
                    </a:lnTo>
                    <a:lnTo>
                      <a:pt x="143" y="25"/>
                    </a:lnTo>
                    <a:lnTo>
                      <a:pt x="142" y="26"/>
                    </a:lnTo>
                    <a:lnTo>
                      <a:pt x="140" y="25"/>
                    </a:lnTo>
                    <a:lnTo>
                      <a:pt x="140" y="24"/>
                    </a:lnTo>
                    <a:lnTo>
                      <a:pt x="138" y="23"/>
                    </a:lnTo>
                    <a:lnTo>
                      <a:pt x="138" y="20"/>
                    </a:lnTo>
                    <a:lnTo>
                      <a:pt x="137" y="19"/>
                    </a:lnTo>
                    <a:lnTo>
                      <a:pt x="134" y="19"/>
                    </a:lnTo>
                    <a:lnTo>
                      <a:pt x="133" y="20"/>
                    </a:lnTo>
                    <a:lnTo>
                      <a:pt x="131" y="20"/>
                    </a:lnTo>
                    <a:lnTo>
                      <a:pt x="129" y="23"/>
                    </a:lnTo>
                    <a:lnTo>
                      <a:pt x="128" y="22"/>
                    </a:lnTo>
                    <a:lnTo>
                      <a:pt x="125" y="23"/>
                    </a:lnTo>
                    <a:lnTo>
                      <a:pt x="123" y="22"/>
                    </a:lnTo>
                    <a:lnTo>
                      <a:pt x="121" y="20"/>
                    </a:lnTo>
                    <a:lnTo>
                      <a:pt x="120" y="20"/>
                    </a:lnTo>
                    <a:lnTo>
                      <a:pt x="119" y="19"/>
                    </a:lnTo>
                    <a:lnTo>
                      <a:pt x="117" y="19"/>
                    </a:lnTo>
                    <a:lnTo>
                      <a:pt x="111" y="18"/>
                    </a:lnTo>
                    <a:lnTo>
                      <a:pt x="105" y="20"/>
                    </a:lnTo>
                    <a:lnTo>
                      <a:pt x="104" y="20"/>
                    </a:lnTo>
                    <a:lnTo>
                      <a:pt x="102" y="21"/>
                    </a:lnTo>
                    <a:lnTo>
                      <a:pt x="100" y="20"/>
                    </a:lnTo>
                    <a:lnTo>
                      <a:pt x="100" y="24"/>
                    </a:lnTo>
                    <a:lnTo>
                      <a:pt x="99" y="26"/>
                    </a:lnTo>
                    <a:lnTo>
                      <a:pt x="97" y="26"/>
                    </a:lnTo>
                    <a:lnTo>
                      <a:pt x="95" y="28"/>
                    </a:lnTo>
                    <a:lnTo>
                      <a:pt x="92" y="26"/>
                    </a:lnTo>
                    <a:lnTo>
                      <a:pt x="91" y="31"/>
                    </a:lnTo>
                    <a:lnTo>
                      <a:pt x="90" y="34"/>
                    </a:lnTo>
                    <a:lnTo>
                      <a:pt x="91" y="37"/>
                    </a:lnTo>
                    <a:lnTo>
                      <a:pt x="90" y="40"/>
                    </a:lnTo>
                    <a:lnTo>
                      <a:pt x="90" y="43"/>
                    </a:lnTo>
                    <a:lnTo>
                      <a:pt x="88" y="44"/>
                    </a:lnTo>
                    <a:lnTo>
                      <a:pt x="88" y="46"/>
                    </a:lnTo>
                    <a:lnTo>
                      <a:pt x="86" y="47"/>
                    </a:lnTo>
                    <a:lnTo>
                      <a:pt x="83" y="46"/>
                    </a:lnTo>
                    <a:lnTo>
                      <a:pt x="82" y="47"/>
                    </a:lnTo>
                    <a:lnTo>
                      <a:pt x="80" y="45"/>
                    </a:lnTo>
                    <a:lnTo>
                      <a:pt x="77" y="40"/>
                    </a:lnTo>
                    <a:lnTo>
                      <a:pt x="75" y="44"/>
                    </a:lnTo>
                    <a:lnTo>
                      <a:pt x="71" y="47"/>
                    </a:lnTo>
                    <a:lnTo>
                      <a:pt x="67" y="54"/>
                    </a:lnTo>
                    <a:lnTo>
                      <a:pt x="64" y="57"/>
                    </a:lnTo>
                    <a:lnTo>
                      <a:pt x="59" y="53"/>
                    </a:lnTo>
                    <a:lnTo>
                      <a:pt x="57" y="54"/>
                    </a:lnTo>
                    <a:lnTo>
                      <a:pt x="55" y="57"/>
                    </a:lnTo>
                    <a:lnTo>
                      <a:pt x="55" y="60"/>
                    </a:lnTo>
                    <a:lnTo>
                      <a:pt x="53" y="61"/>
                    </a:lnTo>
                    <a:lnTo>
                      <a:pt x="52" y="62"/>
                    </a:lnTo>
                    <a:lnTo>
                      <a:pt x="50" y="60"/>
                    </a:lnTo>
                    <a:lnTo>
                      <a:pt x="48" y="64"/>
                    </a:lnTo>
                    <a:lnTo>
                      <a:pt x="46" y="66"/>
                    </a:lnTo>
                    <a:lnTo>
                      <a:pt x="42" y="70"/>
                    </a:lnTo>
                    <a:lnTo>
                      <a:pt x="41" y="70"/>
                    </a:lnTo>
                    <a:lnTo>
                      <a:pt x="37" y="73"/>
                    </a:lnTo>
                    <a:lnTo>
                      <a:pt x="37" y="76"/>
                    </a:lnTo>
                    <a:lnTo>
                      <a:pt x="37" y="81"/>
                    </a:lnTo>
                    <a:lnTo>
                      <a:pt x="39" y="83"/>
                    </a:lnTo>
                    <a:lnTo>
                      <a:pt x="37" y="86"/>
                    </a:lnTo>
                    <a:lnTo>
                      <a:pt x="30" y="91"/>
                    </a:lnTo>
                    <a:lnTo>
                      <a:pt x="31" y="100"/>
                    </a:lnTo>
                    <a:lnTo>
                      <a:pt x="31" y="104"/>
                    </a:lnTo>
                    <a:lnTo>
                      <a:pt x="31" y="107"/>
                    </a:lnTo>
                    <a:lnTo>
                      <a:pt x="31" y="110"/>
                    </a:lnTo>
                    <a:lnTo>
                      <a:pt x="28" y="117"/>
                    </a:lnTo>
                    <a:lnTo>
                      <a:pt x="25" y="118"/>
                    </a:lnTo>
                    <a:lnTo>
                      <a:pt x="23" y="120"/>
                    </a:lnTo>
                    <a:lnTo>
                      <a:pt x="21" y="122"/>
                    </a:lnTo>
                    <a:lnTo>
                      <a:pt x="18" y="123"/>
                    </a:lnTo>
                    <a:lnTo>
                      <a:pt x="15" y="129"/>
                    </a:lnTo>
                    <a:lnTo>
                      <a:pt x="12" y="132"/>
                    </a:lnTo>
                    <a:lnTo>
                      <a:pt x="12" y="138"/>
                    </a:lnTo>
                    <a:lnTo>
                      <a:pt x="12" y="140"/>
                    </a:lnTo>
                    <a:lnTo>
                      <a:pt x="12" y="143"/>
                    </a:lnTo>
                    <a:lnTo>
                      <a:pt x="8" y="145"/>
                    </a:lnTo>
                    <a:lnTo>
                      <a:pt x="7" y="145"/>
                    </a:lnTo>
                    <a:lnTo>
                      <a:pt x="8" y="147"/>
                    </a:lnTo>
                    <a:lnTo>
                      <a:pt x="11" y="149"/>
                    </a:lnTo>
                    <a:lnTo>
                      <a:pt x="16" y="156"/>
                    </a:lnTo>
                    <a:lnTo>
                      <a:pt x="17" y="159"/>
                    </a:lnTo>
                    <a:lnTo>
                      <a:pt x="17" y="160"/>
                    </a:lnTo>
                    <a:lnTo>
                      <a:pt x="18" y="162"/>
                    </a:lnTo>
                    <a:lnTo>
                      <a:pt x="17" y="164"/>
                    </a:lnTo>
                    <a:lnTo>
                      <a:pt x="17" y="165"/>
                    </a:lnTo>
                    <a:lnTo>
                      <a:pt x="16" y="167"/>
                    </a:lnTo>
                    <a:lnTo>
                      <a:pt x="15" y="166"/>
                    </a:lnTo>
                    <a:lnTo>
                      <a:pt x="14" y="170"/>
                    </a:lnTo>
                    <a:lnTo>
                      <a:pt x="12" y="170"/>
                    </a:lnTo>
                    <a:lnTo>
                      <a:pt x="11" y="172"/>
                    </a:lnTo>
                    <a:lnTo>
                      <a:pt x="9" y="172"/>
                    </a:lnTo>
                    <a:lnTo>
                      <a:pt x="9" y="174"/>
                    </a:lnTo>
                    <a:lnTo>
                      <a:pt x="6" y="174"/>
                    </a:lnTo>
                    <a:lnTo>
                      <a:pt x="7" y="177"/>
                    </a:lnTo>
                    <a:lnTo>
                      <a:pt x="6" y="178"/>
                    </a:lnTo>
                    <a:lnTo>
                      <a:pt x="9" y="179"/>
                    </a:lnTo>
                    <a:lnTo>
                      <a:pt x="8" y="182"/>
                    </a:lnTo>
                    <a:lnTo>
                      <a:pt x="8" y="183"/>
                    </a:lnTo>
                    <a:lnTo>
                      <a:pt x="7" y="184"/>
                    </a:lnTo>
                    <a:lnTo>
                      <a:pt x="7" y="183"/>
                    </a:lnTo>
                    <a:lnTo>
                      <a:pt x="6" y="185"/>
                    </a:lnTo>
                    <a:lnTo>
                      <a:pt x="6" y="186"/>
                    </a:lnTo>
                    <a:lnTo>
                      <a:pt x="4" y="188"/>
                    </a:lnTo>
                    <a:lnTo>
                      <a:pt x="3" y="189"/>
                    </a:lnTo>
                    <a:lnTo>
                      <a:pt x="1" y="189"/>
                    </a:lnTo>
                    <a:lnTo>
                      <a:pt x="2" y="192"/>
                    </a:lnTo>
                    <a:lnTo>
                      <a:pt x="1" y="192"/>
                    </a:lnTo>
                    <a:lnTo>
                      <a:pt x="0" y="194"/>
                    </a:lnTo>
                    <a:lnTo>
                      <a:pt x="3" y="196"/>
                    </a:lnTo>
                    <a:lnTo>
                      <a:pt x="4" y="198"/>
                    </a:lnTo>
                    <a:lnTo>
                      <a:pt x="3" y="202"/>
                    </a:lnTo>
                    <a:lnTo>
                      <a:pt x="4" y="200"/>
                    </a:lnTo>
                    <a:lnTo>
                      <a:pt x="6" y="200"/>
                    </a:lnTo>
                    <a:lnTo>
                      <a:pt x="6" y="202"/>
                    </a:lnTo>
                    <a:lnTo>
                      <a:pt x="6" y="204"/>
                    </a:lnTo>
                    <a:lnTo>
                      <a:pt x="7" y="209"/>
                    </a:lnTo>
                    <a:lnTo>
                      <a:pt x="9" y="209"/>
                    </a:lnTo>
                    <a:lnTo>
                      <a:pt x="9" y="212"/>
                    </a:lnTo>
                    <a:lnTo>
                      <a:pt x="12" y="209"/>
                    </a:lnTo>
                    <a:lnTo>
                      <a:pt x="14" y="209"/>
                    </a:lnTo>
                    <a:lnTo>
                      <a:pt x="15" y="209"/>
                    </a:lnTo>
                    <a:lnTo>
                      <a:pt x="15" y="208"/>
                    </a:lnTo>
                    <a:lnTo>
                      <a:pt x="16" y="207"/>
                    </a:lnTo>
                    <a:lnTo>
                      <a:pt x="18" y="208"/>
                    </a:lnTo>
                    <a:lnTo>
                      <a:pt x="20" y="205"/>
                    </a:lnTo>
                    <a:lnTo>
                      <a:pt x="21" y="205"/>
                    </a:lnTo>
                    <a:lnTo>
                      <a:pt x="19" y="212"/>
                    </a:lnTo>
                    <a:lnTo>
                      <a:pt x="16" y="218"/>
                    </a:lnTo>
                    <a:lnTo>
                      <a:pt x="15" y="221"/>
                    </a:lnTo>
                    <a:lnTo>
                      <a:pt x="16" y="221"/>
                    </a:lnTo>
                    <a:lnTo>
                      <a:pt x="16" y="222"/>
                    </a:lnTo>
                    <a:lnTo>
                      <a:pt x="17" y="222"/>
                    </a:lnTo>
                    <a:lnTo>
                      <a:pt x="17" y="224"/>
                    </a:lnTo>
                    <a:lnTo>
                      <a:pt x="17" y="223"/>
                    </a:lnTo>
                    <a:lnTo>
                      <a:pt x="18" y="222"/>
                    </a:lnTo>
                    <a:lnTo>
                      <a:pt x="19" y="223"/>
                    </a:lnTo>
                    <a:lnTo>
                      <a:pt x="20" y="223"/>
                    </a:lnTo>
                    <a:lnTo>
                      <a:pt x="20" y="222"/>
                    </a:lnTo>
                    <a:lnTo>
                      <a:pt x="21" y="222"/>
                    </a:lnTo>
                    <a:lnTo>
                      <a:pt x="22" y="221"/>
                    </a:lnTo>
                    <a:lnTo>
                      <a:pt x="22" y="222"/>
                    </a:lnTo>
                    <a:lnTo>
                      <a:pt x="24" y="221"/>
                    </a:lnTo>
                    <a:lnTo>
                      <a:pt x="25" y="222"/>
                    </a:lnTo>
                    <a:lnTo>
                      <a:pt x="26" y="222"/>
                    </a:lnTo>
                    <a:lnTo>
                      <a:pt x="27" y="225"/>
                    </a:lnTo>
                    <a:lnTo>
                      <a:pt x="30" y="225"/>
                    </a:lnTo>
                    <a:lnTo>
                      <a:pt x="31" y="226"/>
                    </a:lnTo>
                    <a:lnTo>
                      <a:pt x="33" y="226"/>
                    </a:lnTo>
                    <a:lnTo>
                      <a:pt x="33" y="227"/>
                    </a:lnTo>
                    <a:lnTo>
                      <a:pt x="33" y="229"/>
                    </a:lnTo>
                    <a:lnTo>
                      <a:pt x="34" y="228"/>
                    </a:lnTo>
                    <a:lnTo>
                      <a:pt x="37" y="230"/>
                    </a:lnTo>
                    <a:lnTo>
                      <a:pt x="37" y="231"/>
                    </a:lnTo>
                    <a:lnTo>
                      <a:pt x="39" y="232"/>
                    </a:lnTo>
                    <a:lnTo>
                      <a:pt x="41" y="231"/>
                    </a:lnTo>
                    <a:lnTo>
                      <a:pt x="45" y="233"/>
                    </a:lnTo>
                    <a:lnTo>
                      <a:pt x="45" y="235"/>
                    </a:lnTo>
                    <a:lnTo>
                      <a:pt x="45" y="236"/>
                    </a:lnTo>
                    <a:lnTo>
                      <a:pt x="47" y="234"/>
                    </a:lnTo>
                    <a:lnTo>
                      <a:pt x="48" y="233"/>
                    </a:lnTo>
                    <a:lnTo>
                      <a:pt x="51" y="233"/>
                    </a:lnTo>
                    <a:lnTo>
                      <a:pt x="55" y="231"/>
                    </a:lnTo>
                    <a:lnTo>
                      <a:pt x="57" y="235"/>
                    </a:lnTo>
                    <a:lnTo>
                      <a:pt x="58" y="234"/>
                    </a:lnTo>
                    <a:lnTo>
                      <a:pt x="58" y="236"/>
                    </a:lnTo>
                    <a:lnTo>
                      <a:pt x="62" y="242"/>
                    </a:lnTo>
                    <a:lnTo>
                      <a:pt x="63" y="243"/>
                    </a:lnTo>
                    <a:lnTo>
                      <a:pt x="64" y="243"/>
                    </a:lnTo>
                    <a:lnTo>
                      <a:pt x="64" y="246"/>
                    </a:lnTo>
                    <a:lnTo>
                      <a:pt x="67" y="247"/>
                    </a:lnTo>
                    <a:lnTo>
                      <a:pt x="67" y="250"/>
                    </a:lnTo>
                    <a:lnTo>
                      <a:pt x="66" y="251"/>
                    </a:lnTo>
                    <a:lnTo>
                      <a:pt x="66" y="252"/>
                    </a:lnTo>
                    <a:lnTo>
                      <a:pt x="69" y="255"/>
                    </a:lnTo>
                    <a:lnTo>
                      <a:pt x="69" y="256"/>
                    </a:lnTo>
                    <a:lnTo>
                      <a:pt x="67" y="256"/>
                    </a:lnTo>
                    <a:lnTo>
                      <a:pt x="69" y="259"/>
                    </a:lnTo>
                    <a:lnTo>
                      <a:pt x="70" y="261"/>
                    </a:lnTo>
                    <a:lnTo>
                      <a:pt x="70" y="260"/>
                    </a:lnTo>
                    <a:lnTo>
                      <a:pt x="72" y="260"/>
                    </a:lnTo>
                    <a:lnTo>
                      <a:pt x="74" y="259"/>
                    </a:lnTo>
                    <a:lnTo>
                      <a:pt x="77" y="257"/>
                    </a:lnTo>
                    <a:lnTo>
                      <a:pt x="82" y="260"/>
                    </a:lnTo>
                    <a:lnTo>
                      <a:pt x="84" y="261"/>
                    </a:lnTo>
                    <a:lnTo>
                      <a:pt x="86" y="260"/>
                    </a:lnTo>
                    <a:lnTo>
                      <a:pt x="87" y="260"/>
                    </a:lnTo>
                    <a:lnTo>
                      <a:pt x="89" y="267"/>
                    </a:lnTo>
                    <a:lnTo>
                      <a:pt x="91" y="268"/>
                    </a:lnTo>
                    <a:lnTo>
                      <a:pt x="96" y="270"/>
                    </a:lnTo>
                    <a:lnTo>
                      <a:pt x="99" y="264"/>
                    </a:lnTo>
                    <a:lnTo>
                      <a:pt x="99" y="262"/>
                    </a:lnTo>
                    <a:lnTo>
                      <a:pt x="100" y="260"/>
                    </a:lnTo>
                    <a:lnTo>
                      <a:pt x="102" y="261"/>
                    </a:lnTo>
                    <a:lnTo>
                      <a:pt x="102" y="262"/>
                    </a:lnTo>
                    <a:lnTo>
                      <a:pt x="105" y="264"/>
                    </a:lnTo>
                    <a:lnTo>
                      <a:pt x="108" y="266"/>
                    </a:lnTo>
                    <a:lnTo>
                      <a:pt x="112" y="273"/>
                    </a:lnTo>
                    <a:lnTo>
                      <a:pt x="115" y="275"/>
                    </a:lnTo>
                    <a:lnTo>
                      <a:pt x="120" y="275"/>
                    </a:lnTo>
                    <a:lnTo>
                      <a:pt x="120" y="272"/>
                    </a:lnTo>
                    <a:lnTo>
                      <a:pt x="123" y="272"/>
                    </a:lnTo>
                    <a:lnTo>
                      <a:pt x="124" y="270"/>
                    </a:lnTo>
                    <a:lnTo>
                      <a:pt x="126" y="270"/>
                    </a:lnTo>
                    <a:lnTo>
                      <a:pt x="127" y="268"/>
                    </a:lnTo>
                    <a:lnTo>
                      <a:pt x="130" y="270"/>
                    </a:lnTo>
                    <a:lnTo>
                      <a:pt x="132" y="270"/>
                    </a:lnTo>
                    <a:lnTo>
                      <a:pt x="134" y="274"/>
                    </a:lnTo>
                    <a:lnTo>
                      <a:pt x="136" y="273"/>
                    </a:lnTo>
                    <a:lnTo>
                      <a:pt x="137" y="274"/>
                    </a:lnTo>
                    <a:lnTo>
                      <a:pt x="139" y="276"/>
                    </a:lnTo>
                    <a:lnTo>
                      <a:pt x="137" y="277"/>
                    </a:lnTo>
                    <a:lnTo>
                      <a:pt x="139" y="278"/>
                    </a:lnTo>
                    <a:lnTo>
                      <a:pt x="140" y="279"/>
                    </a:lnTo>
                    <a:lnTo>
                      <a:pt x="141" y="280"/>
                    </a:lnTo>
                    <a:lnTo>
                      <a:pt x="142" y="280"/>
                    </a:lnTo>
                    <a:lnTo>
                      <a:pt x="143" y="277"/>
                    </a:lnTo>
                    <a:lnTo>
                      <a:pt x="144" y="277"/>
                    </a:lnTo>
                    <a:lnTo>
                      <a:pt x="143" y="281"/>
                    </a:lnTo>
                    <a:lnTo>
                      <a:pt x="144" y="282"/>
                    </a:lnTo>
                    <a:lnTo>
                      <a:pt x="143" y="282"/>
                    </a:lnTo>
                    <a:lnTo>
                      <a:pt x="143" y="284"/>
                    </a:lnTo>
                    <a:lnTo>
                      <a:pt x="142" y="284"/>
                    </a:lnTo>
                    <a:lnTo>
                      <a:pt x="139" y="289"/>
                    </a:lnTo>
                    <a:lnTo>
                      <a:pt x="138" y="291"/>
                    </a:lnTo>
                    <a:lnTo>
                      <a:pt x="139" y="296"/>
                    </a:lnTo>
                    <a:lnTo>
                      <a:pt x="139" y="302"/>
                    </a:lnTo>
                    <a:lnTo>
                      <a:pt x="140" y="304"/>
                    </a:lnTo>
                    <a:lnTo>
                      <a:pt x="147" y="310"/>
                    </a:lnTo>
                    <a:lnTo>
                      <a:pt x="147" y="311"/>
                    </a:lnTo>
                    <a:lnTo>
                      <a:pt x="148" y="312"/>
                    </a:lnTo>
                    <a:lnTo>
                      <a:pt x="149" y="310"/>
                    </a:lnTo>
                    <a:lnTo>
                      <a:pt x="149" y="311"/>
                    </a:lnTo>
                    <a:lnTo>
                      <a:pt x="150" y="310"/>
                    </a:lnTo>
                    <a:lnTo>
                      <a:pt x="151" y="310"/>
                    </a:lnTo>
                    <a:lnTo>
                      <a:pt x="151" y="306"/>
                    </a:lnTo>
                    <a:lnTo>
                      <a:pt x="152" y="304"/>
                    </a:lnTo>
                    <a:lnTo>
                      <a:pt x="155" y="307"/>
                    </a:lnTo>
                    <a:lnTo>
                      <a:pt x="157" y="314"/>
                    </a:lnTo>
                    <a:lnTo>
                      <a:pt x="161" y="318"/>
                    </a:lnTo>
                    <a:lnTo>
                      <a:pt x="159" y="321"/>
                    </a:lnTo>
                    <a:lnTo>
                      <a:pt x="161" y="323"/>
                    </a:lnTo>
                    <a:lnTo>
                      <a:pt x="161" y="327"/>
                    </a:lnTo>
                    <a:lnTo>
                      <a:pt x="162" y="328"/>
                    </a:lnTo>
                    <a:lnTo>
                      <a:pt x="163" y="326"/>
                    </a:lnTo>
                    <a:lnTo>
                      <a:pt x="164" y="326"/>
                    </a:lnTo>
                    <a:lnTo>
                      <a:pt x="166" y="330"/>
                    </a:lnTo>
                    <a:lnTo>
                      <a:pt x="169" y="332"/>
                    </a:lnTo>
                    <a:lnTo>
                      <a:pt x="172" y="333"/>
                    </a:lnTo>
                    <a:lnTo>
                      <a:pt x="173" y="337"/>
                    </a:lnTo>
                    <a:lnTo>
                      <a:pt x="175" y="340"/>
                    </a:lnTo>
                    <a:lnTo>
                      <a:pt x="176" y="341"/>
                    </a:lnTo>
                    <a:lnTo>
                      <a:pt x="177" y="343"/>
                    </a:lnTo>
                    <a:lnTo>
                      <a:pt x="177" y="346"/>
                    </a:lnTo>
                    <a:lnTo>
                      <a:pt x="179" y="346"/>
                    </a:lnTo>
                    <a:lnTo>
                      <a:pt x="179" y="347"/>
                    </a:lnTo>
                    <a:lnTo>
                      <a:pt x="179" y="348"/>
                    </a:lnTo>
                    <a:lnTo>
                      <a:pt x="179" y="350"/>
                    </a:lnTo>
                    <a:lnTo>
                      <a:pt x="180" y="349"/>
                    </a:lnTo>
                    <a:lnTo>
                      <a:pt x="181" y="350"/>
                    </a:lnTo>
                    <a:lnTo>
                      <a:pt x="180" y="353"/>
                    </a:lnTo>
                    <a:lnTo>
                      <a:pt x="182" y="354"/>
                    </a:lnTo>
                    <a:lnTo>
                      <a:pt x="183" y="354"/>
                    </a:lnTo>
                    <a:lnTo>
                      <a:pt x="182" y="354"/>
                    </a:lnTo>
                    <a:lnTo>
                      <a:pt x="183" y="354"/>
                    </a:lnTo>
                    <a:lnTo>
                      <a:pt x="182" y="356"/>
                    </a:lnTo>
                    <a:lnTo>
                      <a:pt x="183" y="357"/>
                    </a:lnTo>
                    <a:lnTo>
                      <a:pt x="181" y="359"/>
                    </a:lnTo>
                    <a:lnTo>
                      <a:pt x="180" y="358"/>
                    </a:lnTo>
                    <a:lnTo>
                      <a:pt x="177" y="361"/>
                    </a:lnTo>
                    <a:lnTo>
                      <a:pt x="177" y="363"/>
                    </a:lnTo>
                    <a:lnTo>
                      <a:pt x="178" y="363"/>
                    </a:lnTo>
                    <a:lnTo>
                      <a:pt x="179" y="365"/>
                    </a:lnTo>
                    <a:lnTo>
                      <a:pt x="179" y="368"/>
                    </a:lnTo>
                    <a:lnTo>
                      <a:pt x="181" y="370"/>
                    </a:lnTo>
                    <a:lnTo>
                      <a:pt x="184" y="365"/>
                    </a:lnTo>
                    <a:lnTo>
                      <a:pt x="185" y="364"/>
                    </a:lnTo>
                    <a:lnTo>
                      <a:pt x="187" y="364"/>
                    </a:lnTo>
                    <a:lnTo>
                      <a:pt x="187" y="363"/>
                    </a:lnTo>
                    <a:lnTo>
                      <a:pt x="188" y="361"/>
                    </a:lnTo>
                    <a:lnTo>
                      <a:pt x="192" y="364"/>
                    </a:lnTo>
                    <a:lnTo>
                      <a:pt x="192" y="362"/>
                    </a:lnTo>
                    <a:lnTo>
                      <a:pt x="193" y="362"/>
                    </a:lnTo>
                    <a:lnTo>
                      <a:pt x="193" y="363"/>
                    </a:lnTo>
                    <a:lnTo>
                      <a:pt x="192" y="364"/>
                    </a:lnTo>
                    <a:lnTo>
                      <a:pt x="195" y="367"/>
                    </a:lnTo>
                    <a:lnTo>
                      <a:pt x="193" y="370"/>
                    </a:lnTo>
                    <a:lnTo>
                      <a:pt x="194" y="370"/>
                    </a:lnTo>
                    <a:lnTo>
                      <a:pt x="194" y="371"/>
                    </a:lnTo>
                    <a:lnTo>
                      <a:pt x="195" y="371"/>
                    </a:lnTo>
                    <a:lnTo>
                      <a:pt x="194" y="374"/>
                    </a:lnTo>
                    <a:lnTo>
                      <a:pt x="196" y="374"/>
                    </a:lnTo>
                    <a:lnTo>
                      <a:pt x="196" y="376"/>
                    </a:lnTo>
                    <a:lnTo>
                      <a:pt x="205" y="376"/>
                    </a:lnTo>
                    <a:lnTo>
                      <a:pt x="207" y="376"/>
                    </a:lnTo>
                    <a:lnTo>
                      <a:pt x="209" y="379"/>
                    </a:lnTo>
                    <a:lnTo>
                      <a:pt x="210" y="377"/>
                    </a:lnTo>
                    <a:lnTo>
                      <a:pt x="211" y="377"/>
                    </a:lnTo>
                    <a:lnTo>
                      <a:pt x="213" y="381"/>
                    </a:lnTo>
                    <a:lnTo>
                      <a:pt x="216" y="384"/>
                    </a:lnTo>
                    <a:lnTo>
                      <a:pt x="216" y="389"/>
                    </a:lnTo>
                    <a:lnTo>
                      <a:pt x="215" y="393"/>
                    </a:lnTo>
                    <a:lnTo>
                      <a:pt x="217" y="394"/>
                    </a:lnTo>
                    <a:lnTo>
                      <a:pt x="218" y="394"/>
                    </a:lnTo>
                    <a:lnTo>
                      <a:pt x="221" y="394"/>
                    </a:lnTo>
                    <a:lnTo>
                      <a:pt x="227" y="391"/>
                    </a:lnTo>
                    <a:lnTo>
                      <a:pt x="233" y="391"/>
                    </a:lnTo>
                    <a:lnTo>
                      <a:pt x="236" y="390"/>
                    </a:lnTo>
                    <a:lnTo>
                      <a:pt x="239" y="391"/>
                    </a:lnTo>
                    <a:lnTo>
                      <a:pt x="241" y="389"/>
                    </a:lnTo>
                    <a:lnTo>
                      <a:pt x="244" y="391"/>
                    </a:lnTo>
                    <a:lnTo>
                      <a:pt x="246" y="390"/>
                    </a:lnTo>
                    <a:lnTo>
                      <a:pt x="248" y="391"/>
                    </a:lnTo>
                    <a:lnTo>
                      <a:pt x="252" y="389"/>
                    </a:lnTo>
                    <a:lnTo>
                      <a:pt x="255" y="394"/>
                    </a:lnTo>
                    <a:lnTo>
                      <a:pt x="261" y="394"/>
                    </a:lnTo>
                    <a:lnTo>
                      <a:pt x="263" y="393"/>
                    </a:lnTo>
                    <a:lnTo>
                      <a:pt x="264" y="394"/>
                    </a:lnTo>
                    <a:lnTo>
                      <a:pt x="265" y="398"/>
                    </a:lnTo>
                    <a:lnTo>
                      <a:pt x="269" y="404"/>
                    </a:lnTo>
                    <a:lnTo>
                      <a:pt x="272" y="406"/>
                    </a:lnTo>
                    <a:lnTo>
                      <a:pt x="276" y="405"/>
                    </a:lnTo>
                    <a:lnTo>
                      <a:pt x="277" y="405"/>
                    </a:lnTo>
                    <a:lnTo>
                      <a:pt x="278" y="407"/>
                    </a:lnTo>
                    <a:lnTo>
                      <a:pt x="286" y="411"/>
                    </a:lnTo>
                    <a:lnTo>
                      <a:pt x="288" y="410"/>
                    </a:lnTo>
                    <a:lnTo>
                      <a:pt x="290" y="406"/>
                    </a:lnTo>
                    <a:lnTo>
                      <a:pt x="292" y="406"/>
                    </a:lnTo>
                    <a:lnTo>
                      <a:pt x="296" y="407"/>
                    </a:lnTo>
                    <a:lnTo>
                      <a:pt x="299" y="409"/>
                    </a:lnTo>
                    <a:lnTo>
                      <a:pt x="300" y="411"/>
                    </a:lnTo>
                    <a:lnTo>
                      <a:pt x="300" y="420"/>
                    </a:lnTo>
                    <a:lnTo>
                      <a:pt x="302" y="423"/>
                    </a:lnTo>
                    <a:lnTo>
                      <a:pt x="304" y="427"/>
                    </a:lnTo>
                    <a:lnTo>
                      <a:pt x="306" y="428"/>
                    </a:lnTo>
                    <a:lnTo>
                      <a:pt x="309" y="430"/>
                    </a:lnTo>
                    <a:lnTo>
                      <a:pt x="311" y="430"/>
                    </a:lnTo>
                    <a:lnTo>
                      <a:pt x="312" y="434"/>
                    </a:lnTo>
                    <a:lnTo>
                      <a:pt x="313" y="435"/>
                    </a:lnTo>
                    <a:lnTo>
                      <a:pt x="312" y="435"/>
                    </a:lnTo>
                    <a:lnTo>
                      <a:pt x="313" y="437"/>
                    </a:lnTo>
                    <a:lnTo>
                      <a:pt x="315" y="437"/>
                    </a:lnTo>
                    <a:lnTo>
                      <a:pt x="316" y="442"/>
                    </a:lnTo>
                    <a:lnTo>
                      <a:pt x="313" y="451"/>
                    </a:lnTo>
                    <a:lnTo>
                      <a:pt x="316" y="451"/>
                    </a:lnTo>
                    <a:lnTo>
                      <a:pt x="318" y="451"/>
                    </a:lnTo>
                    <a:lnTo>
                      <a:pt x="320" y="454"/>
                    </a:lnTo>
                    <a:lnTo>
                      <a:pt x="322" y="454"/>
                    </a:lnTo>
                    <a:lnTo>
                      <a:pt x="324" y="455"/>
                    </a:lnTo>
                    <a:lnTo>
                      <a:pt x="326" y="454"/>
                    </a:lnTo>
                    <a:lnTo>
                      <a:pt x="332" y="457"/>
                    </a:lnTo>
                    <a:lnTo>
                      <a:pt x="336" y="457"/>
                    </a:lnTo>
                    <a:lnTo>
                      <a:pt x="337" y="455"/>
                    </a:lnTo>
                    <a:lnTo>
                      <a:pt x="338" y="454"/>
                    </a:lnTo>
                    <a:lnTo>
                      <a:pt x="344" y="451"/>
                    </a:lnTo>
                    <a:lnTo>
                      <a:pt x="345" y="449"/>
                    </a:lnTo>
                    <a:lnTo>
                      <a:pt x="345" y="447"/>
                    </a:lnTo>
                    <a:lnTo>
                      <a:pt x="346" y="445"/>
                    </a:lnTo>
                    <a:lnTo>
                      <a:pt x="347" y="444"/>
                    </a:lnTo>
                    <a:lnTo>
                      <a:pt x="350" y="442"/>
                    </a:lnTo>
                    <a:lnTo>
                      <a:pt x="348" y="440"/>
                    </a:lnTo>
                    <a:lnTo>
                      <a:pt x="350" y="439"/>
                    </a:lnTo>
                    <a:lnTo>
                      <a:pt x="352" y="439"/>
                    </a:lnTo>
                    <a:lnTo>
                      <a:pt x="353" y="436"/>
                    </a:lnTo>
                    <a:lnTo>
                      <a:pt x="358" y="434"/>
                    </a:lnTo>
                    <a:lnTo>
                      <a:pt x="359" y="430"/>
                    </a:lnTo>
                    <a:lnTo>
                      <a:pt x="361" y="429"/>
                    </a:lnTo>
                    <a:lnTo>
                      <a:pt x="362" y="427"/>
                    </a:lnTo>
                    <a:lnTo>
                      <a:pt x="364" y="427"/>
                    </a:lnTo>
                    <a:lnTo>
                      <a:pt x="365" y="426"/>
                    </a:lnTo>
                    <a:lnTo>
                      <a:pt x="366" y="425"/>
                    </a:lnTo>
                    <a:lnTo>
                      <a:pt x="364" y="423"/>
                    </a:lnTo>
                    <a:lnTo>
                      <a:pt x="364" y="420"/>
                    </a:lnTo>
                    <a:lnTo>
                      <a:pt x="363" y="418"/>
                    </a:lnTo>
                    <a:lnTo>
                      <a:pt x="363" y="416"/>
                    </a:lnTo>
                    <a:lnTo>
                      <a:pt x="363" y="414"/>
                    </a:lnTo>
                    <a:lnTo>
                      <a:pt x="365" y="414"/>
                    </a:lnTo>
                    <a:lnTo>
                      <a:pt x="365" y="413"/>
                    </a:lnTo>
                    <a:lnTo>
                      <a:pt x="366" y="410"/>
                    </a:lnTo>
                    <a:lnTo>
                      <a:pt x="368" y="410"/>
                    </a:lnTo>
                    <a:lnTo>
                      <a:pt x="368" y="409"/>
                    </a:lnTo>
                    <a:lnTo>
                      <a:pt x="373" y="407"/>
                    </a:lnTo>
                    <a:lnTo>
                      <a:pt x="376" y="408"/>
                    </a:lnTo>
                    <a:lnTo>
                      <a:pt x="380" y="407"/>
                    </a:lnTo>
                    <a:lnTo>
                      <a:pt x="381" y="406"/>
                    </a:lnTo>
                    <a:lnTo>
                      <a:pt x="381" y="407"/>
                    </a:lnTo>
                    <a:lnTo>
                      <a:pt x="382" y="409"/>
                    </a:lnTo>
                    <a:lnTo>
                      <a:pt x="382" y="413"/>
                    </a:lnTo>
                    <a:lnTo>
                      <a:pt x="386" y="414"/>
                    </a:lnTo>
                    <a:lnTo>
                      <a:pt x="389" y="413"/>
                    </a:lnTo>
                    <a:lnTo>
                      <a:pt x="392" y="414"/>
                    </a:lnTo>
                    <a:lnTo>
                      <a:pt x="392" y="412"/>
                    </a:lnTo>
                    <a:lnTo>
                      <a:pt x="396" y="412"/>
                    </a:lnTo>
                    <a:lnTo>
                      <a:pt x="397" y="411"/>
                    </a:lnTo>
                    <a:lnTo>
                      <a:pt x="399" y="411"/>
                    </a:lnTo>
                    <a:lnTo>
                      <a:pt x="400" y="410"/>
                    </a:lnTo>
                    <a:lnTo>
                      <a:pt x="401" y="410"/>
                    </a:lnTo>
                    <a:lnTo>
                      <a:pt x="404" y="411"/>
                    </a:lnTo>
                    <a:lnTo>
                      <a:pt x="404" y="413"/>
                    </a:lnTo>
                    <a:lnTo>
                      <a:pt x="405" y="414"/>
                    </a:lnTo>
                    <a:lnTo>
                      <a:pt x="407" y="414"/>
                    </a:lnTo>
                    <a:lnTo>
                      <a:pt x="411" y="413"/>
                    </a:lnTo>
                    <a:lnTo>
                      <a:pt x="413" y="415"/>
                    </a:lnTo>
                    <a:lnTo>
                      <a:pt x="417" y="419"/>
                    </a:lnTo>
                    <a:lnTo>
                      <a:pt x="420" y="421"/>
                    </a:lnTo>
                    <a:lnTo>
                      <a:pt x="422" y="419"/>
                    </a:lnTo>
                    <a:lnTo>
                      <a:pt x="423" y="420"/>
                    </a:lnTo>
                    <a:lnTo>
                      <a:pt x="430" y="414"/>
                    </a:lnTo>
                    <a:lnTo>
                      <a:pt x="433" y="412"/>
                    </a:lnTo>
                    <a:lnTo>
                      <a:pt x="433" y="413"/>
                    </a:lnTo>
                    <a:lnTo>
                      <a:pt x="436" y="412"/>
                    </a:lnTo>
                    <a:lnTo>
                      <a:pt x="438" y="409"/>
                    </a:lnTo>
                    <a:lnTo>
                      <a:pt x="441" y="410"/>
                    </a:lnTo>
                    <a:lnTo>
                      <a:pt x="446" y="410"/>
                    </a:lnTo>
                    <a:lnTo>
                      <a:pt x="450" y="410"/>
                    </a:lnTo>
                    <a:lnTo>
                      <a:pt x="450" y="409"/>
                    </a:lnTo>
                    <a:lnTo>
                      <a:pt x="448" y="409"/>
                    </a:lnTo>
                    <a:lnTo>
                      <a:pt x="446" y="406"/>
                    </a:lnTo>
                    <a:lnTo>
                      <a:pt x="448" y="404"/>
                    </a:lnTo>
                    <a:lnTo>
                      <a:pt x="448" y="402"/>
                    </a:lnTo>
                    <a:lnTo>
                      <a:pt x="448" y="401"/>
                    </a:lnTo>
                    <a:lnTo>
                      <a:pt x="449" y="401"/>
                    </a:lnTo>
                    <a:lnTo>
                      <a:pt x="450" y="401"/>
                    </a:lnTo>
                    <a:lnTo>
                      <a:pt x="453" y="400"/>
                    </a:lnTo>
                    <a:lnTo>
                      <a:pt x="454" y="394"/>
                    </a:lnTo>
                    <a:lnTo>
                      <a:pt x="451" y="39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8" name="Freeform 64">
                <a:extLst>
                  <a:ext uri="{FF2B5EF4-FFF2-40B4-BE49-F238E27FC236}">
                    <a16:creationId xmlns:a16="http://schemas.microsoft.com/office/drawing/2014/main" id="{25EA3DD2-EA3E-419E-B519-BAF737D5E1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" y="3139"/>
                <a:ext cx="454" cy="457"/>
              </a:xfrm>
              <a:custGeom>
                <a:avLst/>
                <a:gdLst>
                  <a:gd name="T0" fmla="*/ 446 w 454"/>
                  <a:gd name="T1" fmla="*/ 367 h 457"/>
                  <a:gd name="T2" fmla="*/ 440 w 454"/>
                  <a:gd name="T3" fmla="*/ 332 h 457"/>
                  <a:gd name="T4" fmla="*/ 417 w 454"/>
                  <a:gd name="T5" fmla="*/ 323 h 457"/>
                  <a:gd name="T6" fmla="*/ 399 w 454"/>
                  <a:gd name="T7" fmla="*/ 311 h 457"/>
                  <a:gd name="T8" fmla="*/ 392 w 454"/>
                  <a:gd name="T9" fmla="*/ 283 h 457"/>
                  <a:gd name="T10" fmla="*/ 384 w 454"/>
                  <a:gd name="T11" fmla="*/ 256 h 457"/>
                  <a:gd name="T12" fmla="*/ 388 w 454"/>
                  <a:gd name="T13" fmla="*/ 238 h 457"/>
                  <a:gd name="T14" fmla="*/ 389 w 454"/>
                  <a:gd name="T15" fmla="*/ 217 h 457"/>
                  <a:gd name="T16" fmla="*/ 373 w 454"/>
                  <a:gd name="T17" fmla="*/ 221 h 457"/>
                  <a:gd name="T18" fmla="*/ 352 w 454"/>
                  <a:gd name="T19" fmla="*/ 207 h 457"/>
                  <a:gd name="T20" fmla="*/ 325 w 454"/>
                  <a:gd name="T21" fmla="*/ 202 h 457"/>
                  <a:gd name="T22" fmla="*/ 312 w 454"/>
                  <a:gd name="T23" fmla="*/ 202 h 457"/>
                  <a:gd name="T24" fmla="*/ 287 w 454"/>
                  <a:gd name="T25" fmla="*/ 167 h 457"/>
                  <a:gd name="T26" fmla="*/ 267 w 454"/>
                  <a:gd name="T27" fmla="*/ 167 h 457"/>
                  <a:gd name="T28" fmla="*/ 256 w 454"/>
                  <a:gd name="T29" fmla="*/ 139 h 457"/>
                  <a:gd name="T30" fmla="*/ 242 w 454"/>
                  <a:gd name="T31" fmla="*/ 148 h 457"/>
                  <a:gd name="T32" fmla="*/ 249 w 454"/>
                  <a:gd name="T33" fmla="*/ 158 h 457"/>
                  <a:gd name="T34" fmla="*/ 214 w 454"/>
                  <a:gd name="T35" fmla="*/ 170 h 457"/>
                  <a:gd name="T36" fmla="*/ 191 w 454"/>
                  <a:gd name="T37" fmla="*/ 161 h 457"/>
                  <a:gd name="T38" fmla="*/ 175 w 454"/>
                  <a:gd name="T39" fmla="*/ 143 h 457"/>
                  <a:gd name="T40" fmla="*/ 173 w 454"/>
                  <a:gd name="T41" fmla="*/ 125 h 457"/>
                  <a:gd name="T42" fmla="*/ 159 w 454"/>
                  <a:gd name="T43" fmla="*/ 98 h 457"/>
                  <a:gd name="T44" fmla="*/ 136 w 454"/>
                  <a:gd name="T45" fmla="*/ 70 h 457"/>
                  <a:gd name="T46" fmla="*/ 165 w 454"/>
                  <a:gd name="T47" fmla="*/ 64 h 457"/>
                  <a:gd name="T48" fmla="*/ 176 w 454"/>
                  <a:gd name="T49" fmla="*/ 38 h 457"/>
                  <a:gd name="T50" fmla="*/ 173 w 454"/>
                  <a:gd name="T51" fmla="*/ 4 h 457"/>
                  <a:gd name="T52" fmla="*/ 140 w 454"/>
                  <a:gd name="T53" fmla="*/ 25 h 457"/>
                  <a:gd name="T54" fmla="*/ 120 w 454"/>
                  <a:gd name="T55" fmla="*/ 20 h 457"/>
                  <a:gd name="T56" fmla="*/ 95 w 454"/>
                  <a:gd name="T57" fmla="*/ 28 h 457"/>
                  <a:gd name="T58" fmla="*/ 77 w 454"/>
                  <a:gd name="T59" fmla="*/ 40 h 457"/>
                  <a:gd name="T60" fmla="*/ 48 w 454"/>
                  <a:gd name="T61" fmla="*/ 64 h 457"/>
                  <a:gd name="T62" fmla="*/ 31 w 454"/>
                  <a:gd name="T63" fmla="*/ 110 h 457"/>
                  <a:gd name="T64" fmla="*/ 8 w 454"/>
                  <a:gd name="T65" fmla="*/ 147 h 457"/>
                  <a:gd name="T66" fmla="*/ 9 w 454"/>
                  <a:gd name="T67" fmla="*/ 172 h 457"/>
                  <a:gd name="T68" fmla="*/ 3 w 454"/>
                  <a:gd name="T69" fmla="*/ 189 h 457"/>
                  <a:gd name="T70" fmla="*/ 9 w 454"/>
                  <a:gd name="T71" fmla="*/ 209 h 457"/>
                  <a:gd name="T72" fmla="*/ 16 w 454"/>
                  <a:gd name="T73" fmla="*/ 221 h 457"/>
                  <a:gd name="T74" fmla="*/ 25 w 454"/>
                  <a:gd name="T75" fmla="*/ 222 h 457"/>
                  <a:gd name="T76" fmla="*/ 39 w 454"/>
                  <a:gd name="T77" fmla="*/ 232 h 457"/>
                  <a:gd name="T78" fmla="*/ 63 w 454"/>
                  <a:gd name="T79" fmla="*/ 243 h 457"/>
                  <a:gd name="T80" fmla="*/ 72 w 454"/>
                  <a:gd name="T81" fmla="*/ 260 h 457"/>
                  <a:gd name="T82" fmla="*/ 100 w 454"/>
                  <a:gd name="T83" fmla="*/ 260 h 457"/>
                  <a:gd name="T84" fmla="*/ 130 w 454"/>
                  <a:gd name="T85" fmla="*/ 270 h 457"/>
                  <a:gd name="T86" fmla="*/ 143 w 454"/>
                  <a:gd name="T87" fmla="*/ 281 h 457"/>
                  <a:gd name="T88" fmla="*/ 149 w 454"/>
                  <a:gd name="T89" fmla="*/ 310 h 457"/>
                  <a:gd name="T90" fmla="*/ 163 w 454"/>
                  <a:gd name="T91" fmla="*/ 326 h 457"/>
                  <a:gd name="T92" fmla="*/ 179 w 454"/>
                  <a:gd name="T93" fmla="*/ 348 h 457"/>
                  <a:gd name="T94" fmla="*/ 177 w 454"/>
                  <a:gd name="T95" fmla="*/ 361 h 457"/>
                  <a:gd name="T96" fmla="*/ 193 w 454"/>
                  <a:gd name="T97" fmla="*/ 362 h 457"/>
                  <a:gd name="T98" fmla="*/ 209 w 454"/>
                  <a:gd name="T99" fmla="*/ 379 h 457"/>
                  <a:gd name="T100" fmla="*/ 239 w 454"/>
                  <a:gd name="T101" fmla="*/ 391 h 457"/>
                  <a:gd name="T102" fmla="*/ 272 w 454"/>
                  <a:gd name="T103" fmla="*/ 406 h 457"/>
                  <a:gd name="T104" fmla="*/ 304 w 454"/>
                  <a:gd name="T105" fmla="*/ 427 h 457"/>
                  <a:gd name="T106" fmla="*/ 320 w 454"/>
                  <a:gd name="T107" fmla="*/ 454 h 457"/>
                  <a:gd name="T108" fmla="*/ 350 w 454"/>
                  <a:gd name="T109" fmla="*/ 442 h 457"/>
                  <a:gd name="T110" fmla="*/ 364 w 454"/>
                  <a:gd name="T111" fmla="*/ 420 h 457"/>
                  <a:gd name="T112" fmla="*/ 381 w 454"/>
                  <a:gd name="T113" fmla="*/ 407 h 457"/>
                  <a:gd name="T114" fmla="*/ 404 w 454"/>
                  <a:gd name="T115" fmla="*/ 413 h 457"/>
                  <a:gd name="T116" fmla="*/ 438 w 454"/>
                  <a:gd name="T117" fmla="*/ 409 h 457"/>
                  <a:gd name="T118" fmla="*/ 454 w 454"/>
                  <a:gd name="T119" fmla="*/ 394 h 45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454"/>
                  <a:gd name="T181" fmla="*/ 0 h 457"/>
                  <a:gd name="T182" fmla="*/ 454 w 454"/>
                  <a:gd name="T183" fmla="*/ 457 h 45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454" h="457">
                    <a:moveTo>
                      <a:pt x="451" y="392"/>
                    </a:moveTo>
                    <a:lnTo>
                      <a:pt x="450" y="388"/>
                    </a:lnTo>
                    <a:lnTo>
                      <a:pt x="448" y="388"/>
                    </a:lnTo>
                    <a:lnTo>
                      <a:pt x="448" y="384"/>
                    </a:lnTo>
                    <a:lnTo>
                      <a:pt x="447" y="383"/>
                    </a:lnTo>
                    <a:lnTo>
                      <a:pt x="448" y="381"/>
                    </a:lnTo>
                    <a:lnTo>
                      <a:pt x="447" y="377"/>
                    </a:lnTo>
                    <a:lnTo>
                      <a:pt x="448" y="377"/>
                    </a:lnTo>
                    <a:lnTo>
                      <a:pt x="449" y="372"/>
                    </a:lnTo>
                    <a:lnTo>
                      <a:pt x="447" y="372"/>
                    </a:lnTo>
                    <a:lnTo>
                      <a:pt x="446" y="371"/>
                    </a:lnTo>
                    <a:lnTo>
                      <a:pt x="446" y="367"/>
                    </a:lnTo>
                    <a:lnTo>
                      <a:pt x="446" y="364"/>
                    </a:lnTo>
                    <a:lnTo>
                      <a:pt x="445" y="361"/>
                    </a:lnTo>
                    <a:lnTo>
                      <a:pt x="446" y="359"/>
                    </a:lnTo>
                    <a:lnTo>
                      <a:pt x="445" y="354"/>
                    </a:lnTo>
                    <a:lnTo>
                      <a:pt x="444" y="354"/>
                    </a:lnTo>
                    <a:lnTo>
                      <a:pt x="444" y="351"/>
                    </a:lnTo>
                    <a:lnTo>
                      <a:pt x="443" y="346"/>
                    </a:lnTo>
                    <a:lnTo>
                      <a:pt x="443" y="343"/>
                    </a:lnTo>
                    <a:lnTo>
                      <a:pt x="443" y="339"/>
                    </a:lnTo>
                    <a:lnTo>
                      <a:pt x="444" y="336"/>
                    </a:lnTo>
                    <a:lnTo>
                      <a:pt x="443" y="333"/>
                    </a:lnTo>
                    <a:lnTo>
                      <a:pt x="443" y="332"/>
                    </a:lnTo>
                    <a:lnTo>
                      <a:pt x="440" y="332"/>
                    </a:lnTo>
                    <a:lnTo>
                      <a:pt x="437" y="329"/>
                    </a:lnTo>
                    <a:lnTo>
                      <a:pt x="433" y="330"/>
                    </a:lnTo>
                    <a:lnTo>
                      <a:pt x="432" y="329"/>
                    </a:lnTo>
                    <a:lnTo>
                      <a:pt x="428" y="332"/>
                    </a:lnTo>
                    <a:lnTo>
                      <a:pt x="425" y="332"/>
                    </a:lnTo>
                    <a:lnTo>
                      <a:pt x="425" y="329"/>
                    </a:lnTo>
                    <a:lnTo>
                      <a:pt x="423" y="328"/>
                    </a:lnTo>
                    <a:lnTo>
                      <a:pt x="421" y="328"/>
                    </a:lnTo>
                    <a:lnTo>
                      <a:pt x="419" y="328"/>
                    </a:lnTo>
                    <a:lnTo>
                      <a:pt x="420" y="326"/>
                    </a:lnTo>
                    <a:lnTo>
                      <a:pt x="418" y="324"/>
                    </a:lnTo>
                    <a:lnTo>
                      <a:pt x="419" y="323"/>
                    </a:lnTo>
                    <a:lnTo>
                      <a:pt x="417" y="323"/>
                    </a:lnTo>
                    <a:lnTo>
                      <a:pt x="418" y="321"/>
                    </a:lnTo>
                    <a:lnTo>
                      <a:pt x="418" y="318"/>
                    </a:lnTo>
                    <a:lnTo>
                      <a:pt x="413" y="317"/>
                    </a:lnTo>
                    <a:lnTo>
                      <a:pt x="410" y="317"/>
                    </a:lnTo>
                    <a:lnTo>
                      <a:pt x="408" y="317"/>
                    </a:lnTo>
                    <a:lnTo>
                      <a:pt x="407" y="318"/>
                    </a:lnTo>
                    <a:lnTo>
                      <a:pt x="407" y="315"/>
                    </a:lnTo>
                    <a:lnTo>
                      <a:pt x="405" y="314"/>
                    </a:lnTo>
                    <a:lnTo>
                      <a:pt x="404" y="314"/>
                    </a:lnTo>
                    <a:lnTo>
                      <a:pt x="403" y="315"/>
                    </a:lnTo>
                    <a:lnTo>
                      <a:pt x="403" y="313"/>
                    </a:lnTo>
                    <a:lnTo>
                      <a:pt x="400" y="313"/>
                    </a:lnTo>
                    <a:lnTo>
                      <a:pt x="399" y="311"/>
                    </a:lnTo>
                    <a:lnTo>
                      <a:pt x="399" y="310"/>
                    </a:lnTo>
                    <a:lnTo>
                      <a:pt x="398" y="309"/>
                    </a:lnTo>
                    <a:lnTo>
                      <a:pt x="397" y="307"/>
                    </a:lnTo>
                    <a:lnTo>
                      <a:pt x="396" y="307"/>
                    </a:lnTo>
                    <a:lnTo>
                      <a:pt x="397" y="306"/>
                    </a:lnTo>
                    <a:lnTo>
                      <a:pt x="396" y="304"/>
                    </a:lnTo>
                    <a:lnTo>
                      <a:pt x="398" y="296"/>
                    </a:lnTo>
                    <a:lnTo>
                      <a:pt x="397" y="294"/>
                    </a:lnTo>
                    <a:lnTo>
                      <a:pt x="395" y="294"/>
                    </a:lnTo>
                    <a:lnTo>
                      <a:pt x="394" y="293"/>
                    </a:lnTo>
                    <a:lnTo>
                      <a:pt x="394" y="290"/>
                    </a:lnTo>
                    <a:lnTo>
                      <a:pt x="394" y="285"/>
                    </a:lnTo>
                    <a:lnTo>
                      <a:pt x="392" y="283"/>
                    </a:lnTo>
                    <a:lnTo>
                      <a:pt x="392" y="280"/>
                    </a:lnTo>
                    <a:lnTo>
                      <a:pt x="391" y="278"/>
                    </a:lnTo>
                    <a:lnTo>
                      <a:pt x="391" y="276"/>
                    </a:lnTo>
                    <a:lnTo>
                      <a:pt x="391" y="273"/>
                    </a:lnTo>
                    <a:lnTo>
                      <a:pt x="390" y="272"/>
                    </a:lnTo>
                    <a:lnTo>
                      <a:pt x="390" y="270"/>
                    </a:lnTo>
                    <a:lnTo>
                      <a:pt x="388" y="268"/>
                    </a:lnTo>
                    <a:lnTo>
                      <a:pt x="387" y="264"/>
                    </a:lnTo>
                    <a:lnTo>
                      <a:pt x="388" y="262"/>
                    </a:lnTo>
                    <a:lnTo>
                      <a:pt x="386" y="261"/>
                    </a:lnTo>
                    <a:lnTo>
                      <a:pt x="386" y="259"/>
                    </a:lnTo>
                    <a:lnTo>
                      <a:pt x="385" y="258"/>
                    </a:lnTo>
                    <a:lnTo>
                      <a:pt x="384" y="256"/>
                    </a:lnTo>
                    <a:lnTo>
                      <a:pt x="384" y="254"/>
                    </a:lnTo>
                    <a:lnTo>
                      <a:pt x="389" y="251"/>
                    </a:lnTo>
                    <a:lnTo>
                      <a:pt x="391" y="249"/>
                    </a:lnTo>
                    <a:lnTo>
                      <a:pt x="390" y="248"/>
                    </a:lnTo>
                    <a:lnTo>
                      <a:pt x="389" y="246"/>
                    </a:lnTo>
                    <a:lnTo>
                      <a:pt x="391" y="246"/>
                    </a:lnTo>
                    <a:lnTo>
                      <a:pt x="391" y="244"/>
                    </a:lnTo>
                    <a:lnTo>
                      <a:pt x="395" y="244"/>
                    </a:lnTo>
                    <a:lnTo>
                      <a:pt x="396" y="242"/>
                    </a:lnTo>
                    <a:lnTo>
                      <a:pt x="394" y="240"/>
                    </a:lnTo>
                    <a:lnTo>
                      <a:pt x="391" y="239"/>
                    </a:lnTo>
                    <a:lnTo>
                      <a:pt x="388" y="239"/>
                    </a:lnTo>
                    <a:lnTo>
                      <a:pt x="388" y="238"/>
                    </a:lnTo>
                    <a:lnTo>
                      <a:pt x="386" y="236"/>
                    </a:lnTo>
                    <a:lnTo>
                      <a:pt x="386" y="234"/>
                    </a:lnTo>
                    <a:lnTo>
                      <a:pt x="385" y="232"/>
                    </a:lnTo>
                    <a:lnTo>
                      <a:pt x="385" y="231"/>
                    </a:lnTo>
                    <a:lnTo>
                      <a:pt x="387" y="230"/>
                    </a:lnTo>
                    <a:lnTo>
                      <a:pt x="388" y="228"/>
                    </a:lnTo>
                    <a:lnTo>
                      <a:pt x="387" y="226"/>
                    </a:lnTo>
                    <a:lnTo>
                      <a:pt x="388" y="225"/>
                    </a:lnTo>
                    <a:lnTo>
                      <a:pt x="390" y="221"/>
                    </a:lnTo>
                    <a:lnTo>
                      <a:pt x="388" y="219"/>
                    </a:lnTo>
                    <a:lnTo>
                      <a:pt x="389" y="218"/>
                    </a:lnTo>
                    <a:lnTo>
                      <a:pt x="388" y="217"/>
                    </a:lnTo>
                    <a:lnTo>
                      <a:pt x="389" y="217"/>
                    </a:lnTo>
                    <a:lnTo>
                      <a:pt x="388" y="213"/>
                    </a:lnTo>
                    <a:lnTo>
                      <a:pt x="384" y="214"/>
                    </a:lnTo>
                    <a:lnTo>
                      <a:pt x="381" y="210"/>
                    </a:lnTo>
                    <a:lnTo>
                      <a:pt x="379" y="210"/>
                    </a:lnTo>
                    <a:lnTo>
                      <a:pt x="380" y="212"/>
                    </a:lnTo>
                    <a:lnTo>
                      <a:pt x="379" y="217"/>
                    </a:lnTo>
                    <a:lnTo>
                      <a:pt x="381" y="218"/>
                    </a:lnTo>
                    <a:lnTo>
                      <a:pt x="378" y="221"/>
                    </a:lnTo>
                    <a:lnTo>
                      <a:pt x="376" y="222"/>
                    </a:lnTo>
                    <a:lnTo>
                      <a:pt x="375" y="222"/>
                    </a:lnTo>
                    <a:lnTo>
                      <a:pt x="374" y="222"/>
                    </a:lnTo>
                    <a:lnTo>
                      <a:pt x="373" y="221"/>
                    </a:lnTo>
                    <a:lnTo>
                      <a:pt x="371" y="222"/>
                    </a:lnTo>
                    <a:lnTo>
                      <a:pt x="372" y="221"/>
                    </a:lnTo>
                    <a:lnTo>
                      <a:pt x="371" y="220"/>
                    </a:lnTo>
                    <a:lnTo>
                      <a:pt x="369" y="221"/>
                    </a:lnTo>
                    <a:lnTo>
                      <a:pt x="366" y="218"/>
                    </a:lnTo>
                    <a:lnTo>
                      <a:pt x="365" y="220"/>
                    </a:lnTo>
                    <a:lnTo>
                      <a:pt x="364" y="218"/>
                    </a:lnTo>
                    <a:lnTo>
                      <a:pt x="363" y="216"/>
                    </a:lnTo>
                    <a:lnTo>
                      <a:pt x="362" y="215"/>
                    </a:lnTo>
                    <a:lnTo>
                      <a:pt x="359" y="213"/>
                    </a:lnTo>
                    <a:lnTo>
                      <a:pt x="359" y="209"/>
                    </a:lnTo>
                    <a:lnTo>
                      <a:pt x="354" y="209"/>
                    </a:lnTo>
                    <a:lnTo>
                      <a:pt x="352" y="207"/>
                    </a:lnTo>
                    <a:lnTo>
                      <a:pt x="351" y="206"/>
                    </a:lnTo>
                    <a:lnTo>
                      <a:pt x="351" y="202"/>
                    </a:lnTo>
                    <a:lnTo>
                      <a:pt x="343" y="202"/>
                    </a:lnTo>
                    <a:lnTo>
                      <a:pt x="342" y="202"/>
                    </a:lnTo>
                    <a:lnTo>
                      <a:pt x="338" y="202"/>
                    </a:lnTo>
                    <a:lnTo>
                      <a:pt x="334" y="201"/>
                    </a:lnTo>
                    <a:lnTo>
                      <a:pt x="332" y="199"/>
                    </a:lnTo>
                    <a:lnTo>
                      <a:pt x="325" y="195"/>
                    </a:lnTo>
                    <a:lnTo>
                      <a:pt x="324" y="198"/>
                    </a:lnTo>
                    <a:lnTo>
                      <a:pt x="325" y="199"/>
                    </a:lnTo>
                    <a:lnTo>
                      <a:pt x="328" y="200"/>
                    </a:lnTo>
                    <a:lnTo>
                      <a:pt x="329" y="201"/>
                    </a:lnTo>
                    <a:lnTo>
                      <a:pt x="325" y="202"/>
                    </a:lnTo>
                    <a:lnTo>
                      <a:pt x="326" y="203"/>
                    </a:lnTo>
                    <a:lnTo>
                      <a:pt x="327" y="204"/>
                    </a:lnTo>
                    <a:lnTo>
                      <a:pt x="325" y="205"/>
                    </a:lnTo>
                    <a:lnTo>
                      <a:pt x="323" y="204"/>
                    </a:lnTo>
                    <a:lnTo>
                      <a:pt x="323" y="202"/>
                    </a:lnTo>
                    <a:lnTo>
                      <a:pt x="322" y="202"/>
                    </a:lnTo>
                    <a:lnTo>
                      <a:pt x="322" y="205"/>
                    </a:lnTo>
                    <a:lnTo>
                      <a:pt x="320" y="209"/>
                    </a:lnTo>
                    <a:lnTo>
                      <a:pt x="318" y="209"/>
                    </a:lnTo>
                    <a:lnTo>
                      <a:pt x="318" y="208"/>
                    </a:lnTo>
                    <a:lnTo>
                      <a:pt x="315" y="205"/>
                    </a:lnTo>
                    <a:lnTo>
                      <a:pt x="314" y="202"/>
                    </a:lnTo>
                    <a:lnTo>
                      <a:pt x="312" y="202"/>
                    </a:lnTo>
                    <a:lnTo>
                      <a:pt x="309" y="196"/>
                    </a:lnTo>
                    <a:lnTo>
                      <a:pt x="311" y="191"/>
                    </a:lnTo>
                    <a:lnTo>
                      <a:pt x="310" y="187"/>
                    </a:lnTo>
                    <a:lnTo>
                      <a:pt x="309" y="185"/>
                    </a:lnTo>
                    <a:lnTo>
                      <a:pt x="299" y="181"/>
                    </a:lnTo>
                    <a:lnTo>
                      <a:pt x="296" y="182"/>
                    </a:lnTo>
                    <a:lnTo>
                      <a:pt x="295" y="182"/>
                    </a:lnTo>
                    <a:lnTo>
                      <a:pt x="293" y="180"/>
                    </a:lnTo>
                    <a:lnTo>
                      <a:pt x="294" y="178"/>
                    </a:lnTo>
                    <a:lnTo>
                      <a:pt x="293" y="174"/>
                    </a:lnTo>
                    <a:lnTo>
                      <a:pt x="292" y="168"/>
                    </a:lnTo>
                    <a:lnTo>
                      <a:pt x="288" y="169"/>
                    </a:lnTo>
                    <a:lnTo>
                      <a:pt x="287" y="167"/>
                    </a:lnTo>
                    <a:lnTo>
                      <a:pt x="286" y="167"/>
                    </a:lnTo>
                    <a:lnTo>
                      <a:pt x="285" y="166"/>
                    </a:lnTo>
                    <a:lnTo>
                      <a:pt x="283" y="166"/>
                    </a:lnTo>
                    <a:lnTo>
                      <a:pt x="283" y="167"/>
                    </a:lnTo>
                    <a:lnTo>
                      <a:pt x="282" y="167"/>
                    </a:lnTo>
                    <a:lnTo>
                      <a:pt x="282" y="168"/>
                    </a:lnTo>
                    <a:lnTo>
                      <a:pt x="282" y="170"/>
                    </a:lnTo>
                    <a:lnTo>
                      <a:pt x="281" y="172"/>
                    </a:lnTo>
                    <a:lnTo>
                      <a:pt x="277" y="174"/>
                    </a:lnTo>
                    <a:lnTo>
                      <a:pt x="275" y="170"/>
                    </a:lnTo>
                    <a:lnTo>
                      <a:pt x="273" y="168"/>
                    </a:lnTo>
                    <a:lnTo>
                      <a:pt x="272" y="166"/>
                    </a:lnTo>
                    <a:lnTo>
                      <a:pt x="267" y="167"/>
                    </a:lnTo>
                    <a:lnTo>
                      <a:pt x="265" y="164"/>
                    </a:lnTo>
                    <a:lnTo>
                      <a:pt x="263" y="161"/>
                    </a:lnTo>
                    <a:lnTo>
                      <a:pt x="262" y="157"/>
                    </a:lnTo>
                    <a:lnTo>
                      <a:pt x="263" y="157"/>
                    </a:lnTo>
                    <a:lnTo>
                      <a:pt x="265" y="154"/>
                    </a:lnTo>
                    <a:lnTo>
                      <a:pt x="262" y="151"/>
                    </a:lnTo>
                    <a:lnTo>
                      <a:pt x="262" y="149"/>
                    </a:lnTo>
                    <a:lnTo>
                      <a:pt x="260" y="149"/>
                    </a:lnTo>
                    <a:lnTo>
                      <a:pt x="262" y="144"/>
                    </a:lnTo>
                    <a:lnTo>
                      <a:pt x="261" y="143"/>
                    </a:lnTo>
                    <a:lnTo>
                      <a:pt x="259" y="143"/>
                    </a:lnTo>
                    <a:lnTo>
                      <a:pt x="256" y="141"/>
                    </a:lnTo>
                    <a:lnTo>
                      <a:pt x="256" y="139"/>
                    </a:lnTo>
                    <a:lnTo>
                      <a:pt x="255" y="138"/>
                    </a:lnTo>
                    <a:lnTo>
                      <a:pt x="255" y="135"/>
                    </a:lnTo>
                    <a:lnTo>
                      <a:pt x="252" y="135"/>
                    </a:lnTo>
                    <a:lnTo>
                      <a:pt x="251" y="134"/>
                    </a:lnTo>
                    <a:lnTo>
                      <a:pt x="249" y="133"/>
                    </a:lnTo>
                    <a:lnTo>
                      <a:pt x="249" y="132"/>
                    </a:lnTo>
                    <a:lnTo>
                      <a:pt x="247" y="132"/>
                    </a:lnTo>
                    <a:lnTo>
                      <a:pt x="241" y="136"/>
                    </a:lnTo>
                    <a:lnTo>
                      <a:pt x="239" y="137"/>
                    </a:lnTo>
                    <a:lnTo>
                      <a:pt x="239" y="140"/>
                    </a:lnTo>
                    <a:lnTo>
                      <a:pt x="239" y="144"/>
                    </a:lnTo>
                    <a:lnTo>
                      <a:pt x="240" y="148"/>
                    </a:lnTo>
                    <a:lnTo>
                      <a:pt x="242" y="148"/>
                    </a:lnTo>
                    <a:lnTo>
                      <a:pt x="244" y="144"/>
                    </a:lnTo>
                    <a:lnTo>
                      <a:pt x="246" y="145"/>
                    </a:lnTo>
                    <a:lnTo>
                      <a:pt x="247" y="146"/>
                    </a:lnTo>
                    <a:lnTo>
                      <a:pt x="249" y="146"/>
                    </a:lnTo>
                    <a:lnTo>
                      <a:pt x="250" y="150"/>
                    </a:lnTo>
                    <a:lnTo>
                      <a:pt x="250" y="151"/>
                    </a:lnTo>
                    <a:lnTo>
                      <a:pt x="248" y="152"/>
                    </a:lnTo>
                    <a:lnTo>
                      <a:pt x="249" y="154"/>
                    </a:lnTo>
                    <a:lnTo>
                      <a:pt x="249" y="156"/>
                    </a:lnTo>
                    <a:lnTo>
                      <a:pt x="248" y="156"/>
                    </a:lnTo>
                    <a:lnTo>
                      <a:pt x="247" y="157"/>
                    </a:lnTo>
                    <a:lnTo>
                      <a:pt x="249" y="158"/>
                    </a:lnTo>
                    <a:lnTo>
                      <a:pt x="248" y="161"/>
                    </a:lnTo>
                    <a:lnTo>
                      <a:pt x="247" y="159"/>
                    </a:lnTo>
                    <a:lnTo>
                      <a:pt x="247" y="158"/>
                    </a:lnTo>
                    <a:lnTo>
                      <a:pt x="246" y="157"/>
                    </a:lnTo>
                    <a:lnTo>
                      <a:pt x="238" y="157"/>
                    </a:lnTo>
                    <a:lnTo>
                      <a:pt x="238" y="153"/>
                    </a:lnTo>
                    <a:lnTo>
                      <a:pt x="234" y="155"/>
                    </a:lnTo>
                    <a:lnTo>
                      <a:pt x="231" y="158"/>
                    </a:lnTo>
                    <a:lnTo>
                      <a:pt x="228" y="157"/>
                    </a:lnTo>
                    <a:lnTo>
                      <a:pt x="225" y="158"/>
                    </a:lnTo>
                    <a:lnTo>
                      <a:pt x="224" y="158"/>
                    </a:lnTo>
                    <a:lnTo>
                      <a:pt x="215" y="168"/>
                    </a:lnTo>
                    <a:lnTo>
                      <a:pt x="214" y="170"/>
                    </a:lnTo>
                    <a:lnTo>
                      <a:pt x="211" y="170"/>
                    </a:lnTo>
                    <a:lnTo>
                      <a:pt x="206" y="168"/>
                    </a:lnTo>
                    <a:lnTo>
                      <a:pt x="203" y="168"/>
                    </a:lnTo>
                    <a:lnTo>
                      <a:pt x="200" y="170"/>
                    </a:lnTo>
                    <a:lnTo>
                      <a:pt x="198" y="167"/>
                    </a:lnTo>
                    <a:lnTo>
                      <a:pt x="197" y="167"/>
                    </a:lnTo>
                    <a:lnTo>
                      <a:pt x="197" y="165"/>
                    </a:lnTo>
                    <a:lnTo>
                      <a:pt x="195" y="165"/>
                    </a:lnTo>
                    <a:lnTo>
                      <a:pt x="195" y="164"/>
                    </a:lnTo>
                    <a:lnTo>
                      <a:pt x="193" y="163"/>
                    </a:lnTo>
                    <a:lnTo>
                      <a:pt x="192" y="161"/>
                    </a:lnTo>
                    <a:lnTo>
                      <a:pt x="191" y="161"/>
                    </a:lnTo>
                    <a:lnTo>
                      <a:pt x="190" y="159"/>
                    </a:lnTo>
                    <a:lnTo>
                      <a:pt x="192" y="156"/>
                    </a:lnTo>
                    <a:lnTo>
                      <a:pt x="190" y="152"/>
                    </a:lnTo>
                    <a:lnTo>
                      <a:pt x="189" y="151"/>
                    </a:lnTo>
                    <a:lnTo>
                      <a:pt x="183" y="151"/>
                    </a:lnTo>
                    <a:lnTo>
                      <a:pt x="183" y="149"/>
                    </a:lnTo>
                    <a:lnTo>
                      <a:pt x="181" y="149"/>
                    </a:lnTo>
                    <a:lnTo>
                      <a:pt x="181" y="148"/>
                    </a:lnTo>
                    <a:lnTo>
                      <a:pt x="180" y="146"/>
                    </a:lnTo>
                    <a:lnTo>
                      <a:pt x="179" y="147"/>
                    </a:lnTo>
                    <a:lnTo>
                      <a:pt x="179" y="146"/>
                    </a:lnTo>
                    <a:lnTo>
                      <a:pt x="177" y="145"/>
                    </a:lnTo>
                    <a:lnTo>
                      <a:pt x="175" y="143"/>
                    </a:lnTo>
                    <a:lnTo>
                      <a:pt x="177" y="142"/>
                    </a:lnTo>
                    <a:lnTo>
                      <a:pt x="177" y="140"/>
                    </a:lnTo>
                    <a:lnTo>
                      <a:pt x="177" y="138"/>
                    </a:lnTo>
                    <a:lnTo>
                      <a:pt x="175" y="138"/>
                    </a:lnTo>
                    <a:lnTo>
                      <a:pt x="177" y="135"/>
                    </a:lnTo>
                    <a:lnTo>
                      <a:pt x="175" y="134"/>
                    </a:lnTo>
                    <a:lnTo>
                      <a:pt x="176" y="134"/>
                    </a:lnTo>
                    <a:lnTo>
                      <a:pt x="176" y="131"/>
                    </a:lnTo>
                    <a:lnTo>
                      <a:pt x="173" y="130"/>
                    </a:lnTo>
                    <a:lnTo>
                      <a:pt x="174" y="128"/>
                    </a:lnTo>
                    <a:lnTo>
                      <a:pt x="173" y="126"/>
                    </a:lnTo>
                    <a:lnTo>
                      <a:pt x="172" y="126"/>
                    </a:lnTo>
                    <a:lnTo>
                      <a:pt x="173" y="125"/>
                    </a:lnTo>
                    <a:lnTo>
                      <a:pt x="173" y="124"/>
                    </a:lnTo>
                    <a:lnTo>
                      <a:pt x="173" y="123"/>
                    </a:lnTo>
                    <a:lnTo>
                      <a:pt x="172" y="122"/>
                    </a:lnTo>
                    <a:lnTo>
                      <a:pt x="172" y="120"/>
                    </a:lnTo>
                    <a:lnTo>
                      <a:pt x="172" y="118"/>
                    </a:lnTo>
                    <a:lnTo>
                      <a:pt x="170" y="116"/>
                    </a:lnTo>
                    <a:lnTo>
                      <a:pt x="168" y="116"/>
                    </a:lnTo>
                    <a:lnTo>
                      <a:pt x="168" y="115"/>
                    </a:lnTo>
                    <a:lnTo>
                      <a:pt x="166" y="113"/>
                    </a:lnTo>
                    <a:lnTo>
                      <a:pt x="167" y="109"/>
                    </a:lnTo>
                    <a:lnTo>
                      <a:pt x="160" y="100"/>
                    </a:lnTo>
                    <a:lnTo>
                      <a:pt x="159" y="98"/>
                    </a:lnTo>
                    <a:lnTo>
                      <a:pt x="155" y="98"/>
                    </a:lnTo>
                    <a:lnTo>
                      <a:pt x="152" y="104"/>
                    </a:lnTo>
                    <a:lnTo>
                      <a:pt x="149" y="101"/>
                    </a:lnTo>
                    <a:lnTo>
                      <a:pt x="146" y="100"/>
                    </a:lnTo>
                    <a:lnTo>
                      <a:pt x="144" y="91"/>
                    </a:lnTo>
                    <a:lnTo>
                      <a:pt x="141" y="88"/>
                    </a:lnTo>
                    <a:lnTo>
                      <a:pt x="138" y="86"/>
                    </a:lnTo>
                    <a:lnTo>
                      <a:pt x="138" y="85"/>
                    </a:lnTo>
                    <a:lnTo>
                      <a:pt x="136" y="85"/>
                    </a:lnTo>
                    <a:lnTo>
                      <a:pt x="135" y="80"/>
                    </a:lnTo>
                    <a:lnTo>
                      <a:pt x="133" y="75"/>
                    </a:lnTo>
                    <a:lnTo>
                      <a:pt x="135" y="71"/>
                    </a:lnTo>
                    <a:lnTo>
                      <a:pt x="136" y="70"/>
                    </a:lnTo>
                    <a:lnTo>
                      <a:pt x="140" y="71"/>
                    </a:lnTo>
                    <a:lnTo>
                      <a:pt x="141" y="72"/>
                    </a:lnTo>
                    <a:lnTo>
                      <a:pt x="143" y="70"/>
                    </a:lnTo>
                    <a:lnTo>
                      <a:pt x="145" y="70"/>
                    </a:lnTo>
                    <a:lnTo>
                      <a:pt x="148" y="69"/>
                    </a:lnTo>
                    <a:lnTo>
                      <a:pt x="152" y="69"/>
                    </a:lnTo>
                    <a:lnTo>
                      <a:pt x="156" y="67"/>
                    </a:lnTo>
                    <a:lnTo>
                      <a:pt x="157" y="68"/>
                    </a:lnTo>
                    <a:lnTo>
                      <a:pt x="159" y="67"/>
                    </a:lnTo>
                    <a:lnTo>
                      <a:pt x="160" y="68"/>
                    </a:lnTo>
                    <a:lnTo>
                      <a:pt x="164" y="67"/>
                    </a:lnTo>
                    <a:lnTo>
                      <a:pt x="164" y="64"/>
                    </a:lnTo>
                    <a:lnTo>
                      <a:pt x="165" y="64"/>
                    </a:lnTo>
                    <a:lnTo>
                      <a:pt x="165" y="60"/>
                    </a:lnTo>
                    <a:lnTo>
                      <a:pt x="167" y="59"/>
                    </a:lnTo>
                    <a:lnTo>
                      <a:pt x="168" y="58"/>
                    </a:lnTo>
                    <a:lnTo>
                      <a:pt x="169" y="57"/>
                    </a:lnTo>
                    <a:lnTo>
                      <a:pt x="170" y="58"/>
                    </a:lnTo>
                    <a:lnTo>
                      <a:pt x="173" y="60"/>
                    </a:lnTo>
                    <a:lnTo>
                      <a:pt x="176" y="58"/>
                    </a:lnTo>
                    <a:lnTo>
                      <a:pt x="179" y="58"/>
                    </a:lnTo>
                    <a:lnTo>
                      <a:pt x="179" y="56"/>
                    </a:lnTo>
                    <a:lnTo>
                      <a:pt x="179" y="53"/>
                    </a:lnTo>
                    <a:lnTo>
                      <a:pt x="179" y="51"/>
                    </a:lnTo>
                    <a:lnTo>
                      <a:pt x="181" y="45"/>
                    </a:lnTo>
                    <a:lnTo>
                      <a:pt x="176" y="38"/>
                    </a:lnTo>
                    <a:lnTo>
                      <a:pt x="172" y="34"/>
                    </a:lnTo>
                    <a:lnTo>
                      <a:pt x="172" y="31"/>
                    </a:lnTo>
                    <a:lnTo>
                      <a:pt x="173" y="26"/>
                    </a:lnTo>
                    <a:lnTo>
                      <a:pt x="175" y="24"/>
                    </a:lnTo>
                    <a:lnTo>
                      <a:pt x="178" y="18"/>
                    </a:lnTo>
                    <a:lnTo>
                      <a:pt x="180" y="17"/>
                    </a:lnTo>
                    <a:lnTo>
                      <a:pt x="180" y="15"/>
                    </a:lnTo>
                    <a:lnTo>
                      <a:pt x="181" y="15"/>
                    </a:lnTo>
                    <a:lnTo>
                      <a:pt x="180" y="13"/>
                    </a:lnTo>
                    <a:lnTo>
                      <a:pt x="177" y="13"/>
                    </a:lnTo>
                    <a:lnTo>
                      <a:pt x="176" y="12"/>
                    </a:lnTo>
                    <a:lnTo>
                      <a:pt x="174" y="11"/>
                    </a:lnTo>
                    <a:lnTo>
                      <a:pt x="173" y="4"/>
                    </a:lnTo>
                    <a:lnTo>
                      <a:pt x="167" y="0"/>
                    </a:lnTo>
                    <a:lnTo>
                      <a:pt x="164" y="0"/>
                    </a:lnTo>
                    <a:lnTo>
                      <a:pt x="164" y="6"/>
                    </a:lnTo>
                    <a:lnTo>
                      <a:pt x="163" y="10"/>
                    </a:lnTo>
                    <a:lnTo>
                      <a:pt x="164" y="11"/>
                    </a:lnTo>
                    <a:lnTo>
                      <a:pt x="164" y="12"/>
                    </a:lnTo>
                    <a:lnTo>
                      <a:pt x="163" y="13"/>
                    </a:lnTo>
                    <a:lnTo>
                      <a:pt x="155" y="19"/>
                    </a:lnTo>
                    <a:lnTo>
                      <a:pt x="152" y="22"/>
                    </a:lnTo>
                    <a:lnTo>
                      <a:pt x="148" y="24"/>
                    </a:lnTo>
                    <a:lnTo>
                      <a:pt x="143" y="25"/>
                    </a:lnTo>
                    <a:lnTo>
                      <a:pt x="142" y="26"/>
                    </a:lnTo>
                    <a:lnTo>
                      <a:pt x="140" y="25"/>
                    </a:lnTo>
                    <a:lnTo>
                      <a:pt x="140" y="24"/>
                    </a:lnTo>
                    <a:lnTo>
                      <a:pt x="138" y="23"/>
                    </a:lnTo>
                    <a:lnTo>
                      <a:pt x="138" y="20"/>
                    </a:lnTo>
                    <a:lnTo>
                      <a:pt x="137" y="19"/>
                    </a:lnTo>
                    <a:lnTo>
                      <a:pt x="134" y="19"/>
                    </a:lnTo>
                    <a:lnTo>
                      <a:pt x="133" y="20"/>
                    </a:lnTo>
                    <a:lnTo>
                      <a:pt x="131" y="20"/>
                    </a:lnTo>
                    <a:lnTo>
                      <a:pt x="129" y="23"/>
                    </a:lnTo>
                    <a:lnTo>
                      <a:pt x="128" y="22"/>
                    </a:lnTo>
                    <a:lnTo>
                      <a:pt x="125" y="23"/>
                    </a:lnTo>
                    <a:lnTo>
                      <a:pt x="123" y="22"/>
                    </a:lnTo>
                    <a:lnTo>
                      <a:pt x="121" y="20"/>
                    </a:lnTo>
                    <a:lnTo>
                      <a:pt x="120" y="20"/>
                    </a:lnTo>
                    <a:lnTo>
                      <a:pt x="119" y="19"/>
                    </a:lnTo>
                    <a:lnTo>
                      <a:pt x="117" y="19"/>
                    </a:lnTo>
                    <a:lnTo>
                      <a:pt x="111" y="18"/>
                    </a:lnTo>
                    <a:lnTo>
                      <a:pt x="105" y="20"/>
                    </a:lnTo>
                    <a:lnTo>
                      <a:pt x="104" y="20"/>
                    </a:lnTo>
                    <a:lnTo>
                      <a:pt x="102" y="21"/>
                    </a:lnTo>
                    <a:lnTo>
                      <a:pt x="100" y="20"/>
                    </a:lnTo>
                    <a:lnTo>
                      <a:pt x="100" y="24"/>
                    </a:lnTo>
                    <a:lnTo>
                      <a:pt x="99" y="26"/>
                    </a:lnTo>
                    <a:lnTo>
                      <a:pt x="97" y="26"/>
                    </a:lnTo>
                    <a:lnTo>
                      <a:pt x="95" y="28"/>
                    </a:lnTo>
                    <a:lnTo>
                      <a:pt x="92" y="26"/>
                    </a:lnTo>
                    <a:lnTo>
                      <a:pt x="91" y="31"/>
                    </a:lnTo>
                    <a:lnTo>
                      <a:pt x="90" y="34"/>
                    </a:lnTo>
                    <a:lnTo>
                      <a:pt x="91" y="37"/>
                    </a:lnTo>
                    <a:lnTo>
                      <a:pt x="90" y="40"/>
                    </a:lnTo>
                    <a:lnTo>
                      <a:pt x="90" y="43"/>
                    </a:lnTo>
                    <a:lnTo>
                      <a:pt x="88" y="44"/>
                    </a:lnTo>
                    <a:lnTo>
                      <a:pt x="88" y="46"/>
                    </a:lnTo>
                    <a:lnTo>
                      <a:pt x="86" y="47"/>
                    </a:lnTo>
                    <a:lnTo>
                      <a:pt x="83" y="46"/>
                    </a:lnTo>
                    <a:lnTo>
                      <a:pt x="82" y="47"/>
                    </a:lnTo>
                    <a:lnTo>
                      <a:pt x="80" y="45"/>
                    </a:lnTo>
                    <a:lnTo>
                      <a:pt x="77" y="40"/>
                    </a:lnTo>
                    <a:lnTo>
                      <a:pt x="75" y="44"/>
                    </a:lnTo>
                    <a:lnTo>
                      <a:pt x="71" y="47"/>
                    </a:lnTo>
                    <a:lnTo>
                      <a:pt x="67" y="54"/>
                    </a:lnTo>
                    <a:lnTo>
                      <a:pt x="64" y="57"/>
                    </a:lnTo>
                    <a:lnTo>
                      <a:pt x="59" y="53"/>
                    </a:lnTo>
                    <a:lnTo>
                      <a:pt x="57" y="54"/>
                    </a:lnTo>
                    <a:lnTo>
                      <a:pt x="55" y="57"/>
                    </a:lnTo>
                    <a:lnTo>
                      <a:pt x="55" y="60"/>
                    </a:lnTo>
                    <a:lnTo>
                      <a:pt x="53" y="61"/>
                    </a:lnTo>
                    <a:lnTo>
                      <a:pt x="52" y="62"/>
                    </a:lnTo>
                    <a:lnTo>
                      <a:pt x="50" y="60"/>
                    </a:lnTo>
                    <a:lnTo>
                      <a:pt x="48" y="64"/>
                    </a:lnTo>
                    <a:lnTo>
                      <a:pt x="46" y="66"/>
                    </a:lnTo>
                    <a:lnTo>
                      <a:pt x="42" y="70"/>
                    </a:lnTo>
                    <a:lnTo>
                      <a:pt x="41" y="70"/>
                    </a:lnTo>
                    <a:lnTo>
                      <a:pt x="37" y="73"/>
                    </a:lnTo>
                    <a:lnTo>
                      <a:pt x="37" y="76"/>
                    </a:lnTo>
                    <a:lnTo>
                      <a:pt x="37" y="81"/>
                    </a:lnTo>
                    <a:lnTo>
                      <a:pt x="39" y="83"/>
                    </a:lnTo>
                    <a:lnTo>
                      <a:pt x="37" y="86"/>
                    </a:lnTo>
                    <a:lnTo>
                      <a:pt x="30" y="91"/>
                    </a:lnTo>
                    <a:lnTo>
                      <a:pt x="31" y="100"/>
                    </a:lnTo>
                    <a:lnTo>
                      <a:pt x="31" y="104"/>
                    </a:lnTo>
                    <a:lnTo>
                      <a:pt x="31" y="107"/>
                    </a:lnTo>
                    <a:lnTo>
                      <a:pt x="31" y="110"/>
                    </a:lnTo>
                    <a:lnTo>
                      <a:pt x="28" y="117"/>
                    </a:lnTo>
                    <a:lnTo>
                      <a:pt x="25" y="118"/>
                    </a:lnTo>
                    <a:lnTo>
                      <a:pt x="23" y="120"/>
                    </a:lnTo>
                    <a:lnTo>
                      <a:pt x="21" y="122"/>
                    </a:lnTo>
                    <a:lnTo>
                      <a:pt x="18" y="123"/>
                    </a:lnTo>
                    <a:lnTo>
                      <a:pt x="15" y="129"/>
                    </a:lnTo>
                    <a:lnTo>
                      <a:pt x="12" y="132"/>
                    </a:lnTo>
                    <a:lnTo>
                      <a:pt x="12" y="138"/>
                    </a:lnTo>
                    <a:lnTo>
                      <a:pt x="12" y="140"/>
                    </a:lnTo>
                    <a:lnTo>
                      <a:pt x="12" y="143"/>
                    </a:lnTo>
                    <a:lnTo>
                      <a:pt x="8" y="145"/>
                    </a:lnTo>
                    <a:lnTo>
                      <a:pt x="7" y="145"/>
                    </a:lnTo>
                    <a:lnTo>
                      <a:pt x="8" y="147"/>
                    </a:lnTo>
                    <a:lnTo>
                      <a:pt x="11" y="149"/>
                    </a:lnTo>
                    <a:lnTo>
                      <a:pt x="16" y="156"/>
                    </a:lnTo>
                    <a:lnTo>
                      <a:pt x="17" y="159"/>
                    </a:lnTo>
                    <a:lnTo>
                      <a:pt x="17" y="160"/>
                    </a:lnTo>
                    <a:lnTo>
                      <a:pt x="18" y="162"/>
                    </a:lnTo>
                    <a:lnTo>
                      <a:pt x="17" y="164"/>
                    </a:lnTo>
                    <a:lnTo>
                      <a:pt x="17" y="165"/>
                    </a:lnTo>
                    <a:lnTo>
                      <a:pt x="16" y="167"/>
                    </a:lnTo>
                    <a:lnTo>
                      <a:pt x="15" y="166"/>
                    </a:lnTo>
                    <a:lnTo>
                      <a:pt x="14" y="170"/>
                    </a:lnTo>
                    <a:lnTo>
                      <a:pt x="12" y="170"/>
                    </a:lnTo>
                    <a:lnTo>
                      <a:pt x="11" y="172"/>
                    </a:lnTo>
                    <a:lnTo>
                      <a:pt x="9" y="172"/>
                    </a:lnTo>
                    <a:lnTo>
                      <a:pt x="9" y="174"/>
                    </a:lnTo>
                    <a:lnTo>
                      <a:pt x="6" y="174"/>
                    </a:lnTo>
                    <a:lnTo>
                      <a:pt x="7" y="177"/>
                    </a:lnTo>
                    <a:lnTo>
                      <a:pt x="6" y="178"/>
                    </a:lnTo>
                    <a:lnTo>
                      <a:pt x="9" y="179"/>
                    </a:lnTo>
                    <a:lnTo>
                      <a:pt x="8" y="182"/>
                    </a:lnTo>
                    <a:lnTo>
                      <a:pt x="8" y="183"/>
                    </a:lnTo>
                    <a:lnTo>
                      <a:pt x="7" y="184"/>
                    </a:lnTo>
                    <a:lnTo>
                      <a:pt x="7" y="183"/>
                    </a:lnTo>
                    <a:lnTo>
                      <a:pt x="6" y="185"/>
                    </a:lnTo>
                    <a:lnTo>
                      <a:pt x="6" y="186"/>
                    </a:lnTo>
                    <a:lnTo>
                      <a:pt x="4" y="188"/>
                    </a:lnTo>
                    <a:lnTo>
                      <a:pt x="3" y="189"/>
                    </a:lnTo>
                    <a:lnTo>
                      <a:pt x="1" y="189"/>
                    </a:lnTo>
                    <a:lnTo>
                      <a:pt x="2" y="192"/>
                    </a:lnTo>
                    <a:lnTo>
                      <a:pt x="1" y="192"/>
                    </a:lnTo>
                    <a:lnTo>
                      <a:pt x="0" y="194"/>
                    </a:lnTo>
                    <a:lnTo>
                      <a:pt x="3" y="196"/>
                    </a:lnTo>
                    <a:lnTo>
                      <a:pt x="4" y="198"/>
                    </a:lnTo>
                    <a:lnTo>
                      <a:pt x="3" y="202"/>
                    </a:lnTo>
                    <a:lnTo>
                      <a:pt x="4" y="200"/>
                    </a:lnTo>
                    <a:lnTo>
                      <a:pt x="6" y="200"/>
                    </a:lnTo>
                    <a:lnTo>
                      <a:pt x="6" y="202"/>
                    </a:lnTo>
                    <a:lnTo>
                      <a:pt x="6" y="204"/>
                    </a:lnTo>
                    <a:lnTo>
                      <a:pt x="7" y="209"/>
                    </a:lnTo>
                    <a:lnTo>
                      <a:pt x="9" y="209"/>
                    </a:lnTo>
                    <a:lnTo>
                      <a:pt x="9" y="212"/>
                    </a:lnTo>
                    <a:lnTo>
                      <a:pt x="12" y="209"/>
                    </a:lnTo>
                    <a:lnTo>
                      <a:pt x="14" y="209"/>
                    </a:lnTo>
                    <a:lnTo>
                      <a:pt x="15" y="209"/>
                    </a:lnTo>
                    <a:lnTo>
                      <a:pt x="15" y="208"/>
                    </a:lnTo>
                    <a:lnTo>
                      <a:pt x="16" y="207"/>
                    </a:lnTo>
                    <a:lnTo>
                      <a:pt x="18" y="208"/>
                    </a:lnTo>
                    <a:lnTo>
                      <a:pt x="20" y="205"/>
                    </a:lnTo>
                    <a:lnTo>
                      <a:pt x="21" y="205"/>
                    </a:lnTo>
                    <a:lnTo>
                      <a:pt x="19" y="212"/>
                    </a:lnTo>
                    <a:lnTo>
                      <a:pt x="16" y="218"/>
                    </a:lnTo>
                    <a:lnTo>
                      <a:pt x="15" y="221"/>
                    </a:lnTo>
                    <a:lnTo>
                      <a:pt x="16" y="221"/>
                    </a:lnTo>
                    <a:lnTo>
                      <a:pt x="16" y="222"/>
                    </a:lnTo>
                    <a:lnTo>
                      <a:pt x="17" y="222"/>
                    </a:lnTo>
                    <a:lnTo>
                      <a:pt x="17" y="224"/>
                    </a:lnTo>
                    <a:lnTo>
                      <a:pt x="17" y="223"/>
                    </a:lnTo>
                    <a:lnTo>
                      <a:pt x="18" y="222"/>
                    </a:lnTo>
                    <a:lnTo>
                      <a:pt x="19" y="223"/>
                    </a:lnTo>
                    <a:lnTo>
                      <a:pt x="20" y="223"/>
                    </a:lnTo>
                    <a:lnTo>
                      <a:pt x="20" y="222"/>
                    </a:lnTo>
                    <a:lnTo>
                      <a:pt x="21" y="222"/>
                    </a:lnTo>
                    <a:lnTo>
                      <a:pt x="22" y="221"/>
                    </a:lnTo>
                    <a:lnTo>
                      <a:pt x="22" y="222"/>
                    </a:lnTo>
                    <a:lnTo>
                      <a:pt x="24" y="221"/>
                    </a:lnTo>
                    <a:lnTo>
                      <a:pt x="25" y="222"/>
                    </a:lnTo>
                    <a:lnTo>
                      <a:pt x="26" y="222"/>
                    </a:lnTo>
                    <a:lnTo>
                      <a:pt x="27" y="225"/>
                    </a:lnTo>
                    <a:lnTo>
                      <a:pt x="30" y="225"/>
                    </a:lnTo>
                    <a:lnTo>
                      <a:pt x="31" y="226"/>
                    </a:lnTo>
                    <a:lnTo>
                      <a:pt x="33" y="226"/>
                    </a:lnTo>
                    <a:lnTo>
                      <a:pt x="33" y="227"/>
                    </a:lnTo>
                    <a:lnTo>
                      <a:pt x="33" y="229"/>
                    </a:lnTo>
                    <a:lnTo>
                      <a:pt x="34" y="228"/>
                    </a:lnTo>
                    <a:lnTo>
                      <a:pt x="37" y="230"/>
                    </a:lnTo>
                    <a:lnTo>
                      <a:pt x="37" y="231"/>
                    </a:lnTo>
                    <a:lnTo>
                      <a:pt x="39" y="232"/>
                    </a:lnTo>
                    <a:lnTo>
                      <a:pt x="41" y="231"/>
                    </a:lnTo>
                    <a:lnTo>
                      <a:pt x="45" y="233"/>
                    </a:lnTo>
                    <a:lnTo>
                      <a:pt x="45" y="235"/>
                    </a:lnTo>
                    <a:lnTo>
                      <a:pt x="45" y="236"/>
                    </a:lnTo>
                    <a:lnTo>
                      <a:pt x="47" y="234"/>
                    </a:lnTo>
                    <a:lnTo>
                      <a:pt x="48" y="233"/>
                    </a:lnTo>
                    <a:lnTo>
                      <a:pt x="51" y="233"/>
                    </a:lnTo>
                    <a:lnTo>
                      <a:pt x="55" y="231"/>
                    </a:lnTo>
                    <a:lnTo>
                      <a:pt x="57" y="235"/>
                    </a:lnTo>
                    <a:lnTo>
                      <a:pt x="58" y="234"/>
                    </a:lnTo>
                    <a:lnTo>
                      <a:pt x="58" y="236"/>
                    </a:lnTo>
                    <a:lnTo>
                      <a:pt x="62" y="242"/>
                    </a:lnTo>
                    <a:lnTo>
                      <a:pt x="63" y="243"/>
                    </a:lnTo>
                    <a:lnTo>
                      <a:pt x="64" y="243"/>
                    </a:lnTo>
                    <a:lnTo>
                      <a:pt x="64" y="246"/>
                    </a:lnTo>
                    <a:lnTo>
                      <a:pt x="67" y="247"/>
                    </a:lnTo>
                    <a:lnTo>
                      <a:pt x="67" y="250"/>
                    </a:lnTo>
                    <a:lnTo>
                      <a:pt x="66" y="251"/>
                    </a:lnTo>
                    <a:lnTo>
                      <a:pt x="66" y="252"/>
                    </a:lnTo>
                    <a:lnTo>
                      <a:pt x="69" y="255"/>
                    </a:lnTo>
                    <a:lnTo>
                      <a:pt x="69" y="256"/>
                    </a:lnTo>
                    <a:lnTo>
                      <a:pt x="67" y="256"/>
                    </a:lnTo>
                    <a:lnTo>
                      <a:pt x="69" y="259"/>
                    </a:lnTo>
                    <a:lnTo>
                      <a:pt x="70" y="261"/>
                    </a:lnTo>
                    <a:lnTo>
                      <a:pt x="70" y="260"/>
                    </a:lnTo>
                    <a:lnTo>
                      <a:pt x="72" y="260"/>
                    </a:lnTo>
                    <a:lnTo>
                      <a:pt x="74" y="259"/>
                    </a:lnTo>
                    <a:lnTo>
                      <a:pt x="77" y="257"/>
                    </a:lnTo>
                    <a:lnTo>
                      <a:pt x="82" y="260"/>
                    </a:lnTo>
                    <a:lnTo>
                      <a:pt x="84" y="261"/>
                    </a:lnTo>
                    <a:lnTo>
                      <a:pt x="86" y="260"/>
                    </a:lnTo>
                    <a:lnTo>
                      <a:pt x="87" y="260"/>
                    </a:lnTo>
                    <a:lnTo>
                      <a:pt x="89" y="267"/>
                    </a:lnTo>
                    <a:lnTo>
                      <a:pt x="91" y="268"/>
                    </a:lnTo>
                    <a:lnTo>
                      <a:pt x="96" y="270"/>
                    </a:lnTo>
                    <a:lnTo>
                      <a:pt x="99" y="264"/>
                    </a:lnTo>
                    <a:lnTo>
                      <a:pt x="99" y="262"/>
                    </a:lnTo>
                    <a:lnTo>
                      <a:pt x="100" y="260"/>
                    </a:lnTo>
                    <a:lnTo>
                      <a:pt x="102" y="261"/>
                    </a:lnTo>
                    <a:lnTo>
                      <a:pt x="102" y="262"/>
                    </a:lnTo>
                    <a:lnTo>
                      <a:pt x="105" y="264"/>
                    </a:lnTo>
                    <a:lnTo>
                      <a:pt x="108" y="266"/>
                    </a:lnTo>
                    <a:lnTo>
                      <a:pt x="112" y="273"/>
                    </a:lnTo>
                    <a:lnTo>
                      <a:pt x="115" y="275"/>
                    </a:lnTo>
                    <a:lnTo>
                      <a:pt x="120" y="275"/>
                    </a:lnTo>
                    <a:lnTo>
                      <a:pt x="120" y="272"/>
                    </a:lnTo>
                    <a:lnTo>
                      <a:pt x="123" y="272"/>
                    </a:lnTo>
                    <a:lnTo>
                      <a:pt x="124" y="270"/>
                    </a:lnTo>
                    <a:lnTo>
                      <a:pt x="126" y="270"/>
                    </a:lnTo>
                    <a:lnTo>
                      <a:pt x="127" y="268"/>
                    </a:lnTo>
                    <a:lnTo>
                      <a:pt x="130" y="270"/>
                    </a:lnTo>
                    <a:lnTo>
                      <a:pt x="132" y="270"/>
                    </a:lnTo>
                    <a:lnTo>
                      <a:pt x="134" y="274"/>
                    </a:lnTo>
                    <a:lnTo>
                      <a:pt x="136" y="273"/>
                    </a:lnTo>
                    <a:lnTo>
                      <a:pt x="137" y="274"/>
                    </a:lnTo>
                    <a:lnTo>
                      <a:pt x="139" y="276"/>
                    </a:lnTo>
                    <a:lnTo>
                      <a:pt x="137" y="277"/>
                    </a:lnTo>
                    <a:lnTo>
                      <a:pt x="139" y="278"/>
                    </a:lnTo>
                    <a:lnTo>
                      <a:pt x="140" y="279"/>
                    </a:lnTo>
                    <a:lnTo>
                      <a:pt x="141" y="280"/>
                    </a:lnTo>
                    <a:lnTo>
                      <a:pt x="142" y="280"/>
                    </a:lnTo>
                    <a:lnTo>
                      <a:pt x="143" y="277"/>
                    </a:lnTo>
                    <a:lnTo>
                      <a:pt x="144" y="277"/>
                    </a:lnTo>
                    <a:lnTo>
                      <a:pt x="143" y="281"/>
                    </a:lnTo>
                    <a:lnTo>
                      <a:pt x="144" y="282"/>
                    </a:lnTo>
                    <a:lnTo>
                      <a:pt x="143" y="282"/>
                    </a:lnTo>
                    <a:lnTo>
                      <a:pt x="143" y="284"/>
                    </a:lnTo>
                    <a:lnTo>
                      <a:pt x="142" y="284"/>
                    </a:lnTo>
                    <a:lnTo>
                      <a:pt x="139" y="289"/>
                    </a:lnTo>
                    <a:lnTo>
                      <a:pt x="138" y="291"/>
                    </a:lnTo>
                    <a:lnTo>
                      <a:pt x="139" y="296"/>
                    </a:lnTo>
                    <a:lnTo>
                      <a:pt x="139" y="302"/>
                    </a:lnTo>
                    <a:lnTo>
                      <a:pt x="140" y="304"/>
                    </a:lnTo>
                    <a:lnTo>
                      <a:pt x="147" y="310"/>
                    </a:lnTo>
                    <a:lnTo>
                      <a:pt x="147" y="311"/>
                    </a:lnTo>
                    <a:lnTo>
                      <a:pt x="148" y="312"/>
                    </a:lnTo>
                    <a:lnTo>
                      <a:pt x="149" y="310"/>
                    </a:lnTo>
                    <a:lnTo>
                      <a:pt x="149" y="311"/>
                    </a:lnTo>
                    <a:lnTo>
                      <a:pt x="150" y="310"/>
                    </a:lnTo>
                    <a:lnTo>
                      <a:pt x="151" y="310"/>
                    </a:lnTo>
                    <a:lnTo>
                      <a:pt x="151" y="306"/>
                    </a:lnTo>
                    <a:lnTo>
                      <a:pt x="152" y="304"/>
                    </a:lnTo>
                    <a:lnTo>
                      <a:pt x="155" y="307"/>
                    </a:lnTo>
                    <a:lnTo>
                      <a:pt x="157" y="314"/>
                    </a:lnTo>
                    <a:lnTo>
                      <a:pt x="161" y="318"/>
                    </a:lnTo>
                    <a:lnTo>
                      <a:pt x="159" y="321"/>
                    </a:lnTo>
                    <a:lnTo>
                      <a:pt x="161" y="323"/>
                    </a:lnTo>
                    <a:lnTo>
                      <a:pt x="161" y="327"/>
                    </a:lnTo>
                    <a:lnTo>
                      <a:pt x="162" y="328"/>
                    </a:lnTo>
                    <a:lnTo>
                      <a:pt x="163" y="326"/>
                    </a:lnTo>
                    <a:lnTo>
                      <a:pt x="164" y="326"/>
                    </a:lnTo>
                    <a:lnTo>
                      <a:pt x="166" y="330"/>
                    </a:lnTo>
                    <a:lnTo>
                      <a:pt x="169" y="332"/>
                    </a:lnTo>
                    <a:lnTo>
                      <a:pt x="172" y="333"/>
                    </a:lnTo>
                    <a:lnTo>
                      <a:pt x="173" y="337"/>
                    </a:lnTo>
                    <a:lnTo>
                      <a:pt x="175" y="340"/>
                    </a:lnTo>
                    <a:lnTo>
                      <a:pt x="176" y="341"/>
                    </a:lnTo>
                    <a:lnTo>
                      <a:pt x="177" y="343"/>
                    </a:lnTo>
                    <a:lnTo>
                      <a:pt x="177" y="346"/>
                    </a:lnTo>
                    <a:lnTo>
                      <a:pt x="179" y="346"/>
                    </a:lnTo>
                    <a:lnTo>
                      <a:pt x="179" y="347"/>
                    </a:lnTo>
                    <a:lnTo>
                      <a:pt x="179" y="348"/>
                    </a:lnTo>
                    <a:lnTo>
                      <a:pt x="179" y="350"/>
                    </a:lnTo>
                    <a:lnTo>
                      <a:pt x="180" y="349"/>
                    </a:lnTo>
                    <a:lnTo>
                      <a:pt x="181" y="350"/>
                    </a:lnTo>
                    <a:lnTo>
                      <a:pt x="180" y="353"/>
                    </a:lnTo>
                    <a:lnTo>
                      <a:pt x="182" y="354"/>
                    </a:lnTo>
                    <a:lnTo>
                      <a:pt x="183" y="354"/>
                    </a:lnTo>
                    <a:lnTo>
                      <a:pt x="182" y="354"/>
                    </a:lnTo>
                    <a:lnTo>
                      <a:pt x="183" y="354"/>
                    </a:lnTo>
                    <a:lnTo>
                      <a:pt x="182" y="356"/>
                    </a:lnTo>
                    <a:lnTo>
                      <a:pt x="183" y="357"/>
                    </a:lnTo>
                    <a:lnTo>
                      <a:pt x="181" y="359"/>
                    </a:lnTo>
                    <a:lnTo>
                      <a:pt x="180" y="358"/>
                    </a:lnTo>
                    <a:lnTo>
                      <a:pt x="177" y="361"/>
                    </a:lnTo>
                    <a:lnTo>
                      <a:pt x="177" y="363"/>
                    </a:lnTo>
                    <a:lnTo>
                      <a:pt x="178" y="363"/>
                    </a:lnTo>
                    <a:lnTo>
                      <a:pt x="179" y="365"/>
                    </a:lnTo>
                    <a:lnTo>
                      <a:pt x="179" y="368"/>
                    </a:lnTo>
                    <a:lnTo>
                      <a:pt x="181" y="370"/>
                    </a:lnTo>
                    <a:lnTo>
                      <a:pt x="184" y="365"/>
                    </a:lnTo>
                    <a:lnTo>
                      <a:pt x="185" y="364"/>
                    </a:lnTo>
                    <a:lnTo>
                      <a:pt x="187" y="364"/>
                    </a:lnTo>
                    <a:lnTo>
                      <a:pt x="187" y="363"/>
                    </a:lnTo>
                    <a:lnTo>
                      <a:pt x="188" y="361"/>
                    </a:lnTo>
                    <a:lnTo>
                      <a:pt x="192" y="364"/>
                    </a:lnTo>
                    <a:lnTo>
                      <a:pt x="192" y="362"/>
                    </a:lnTo>
                    <a:lnTo>
                      <a:pt x="193" y="362"/>
                    </a:lnTo>
                    <a:lnTo>
                      <a:pt x="193" y="363"/>
                    </a:lnTo>
                    <a:lnTo>
                      <a:pt x="192" y="364"/>
                    </a:lnTo>
                    <a:lnTo>
                      <a:pt x="195" y="367"/>
                    </a:lnTo>
                    <a:lnTo>
                      <a:pt x="193" y="370"/>
                    </a:lnTo>
                    <a:lnTo>
                      <a:pt x="194" y="370"/>
                    </a:lnTo>
                    <a:lnTo>
                      <a:pt x="194" y="371"/>
                    </a:lnTo>
                    <a:lnTo>
                      <a:pt x="195" y="371"/>
                    </a:lnTo>
                    <a:lnTo>
                      <a:pt x="194" y="374"/>
                    </a:lnTo>
                    <a:lnTo>
                      <a:pt x="196" y="374"/>
                    </a:lnTo>
                    <a:lnTo>
                      <a:pt x="196" y="376"/>
                    </a:lnTo>
                    <a:lnTo>
                      <a:pt x="205" y="376"/>
                    </a:lnTo>
                    <a:lnTo>
                      <a:pt x="207" y="376"/>
                    </a:lnTo>
                    <a:lnTo>
                      <a:pt x="209" y="379"/>
                    </a:lnTo>
                    <a:lnTo>
                      <a:pt x="210" y="377"/>
                    </a:lnTo>
                    <a:lnTo>
                      <a:pt x="211" y="377"/>
                    </a:lnTo>
                    <a:lnTo>
                      <a:pt x="213" y="381"/>
                    </a:lnTo>
                    <a:lnTo>
                      <a:pt x="216" y="384"/>
                    </a:lnTo>
                    <a:lnTo>
                      <a:pt x="216" y="389"/>
                    </a:lnTo>
                    <a:lnTo>
                      <a:pt x="215" y="393"/>
                    </a:lnTo>
                    <a:lnTo>
                      <a:pt x="217" y="394"/>
                    </a:lnTo>
                    <a:lnTo>
                      <a:pt x="218" y="394"/>
                    </a:lnTo>
                    <a:lnTo>
                      <a:pt x="221" y="394"/>
                    </a:lnTo>
                    <a:lnTo>
                      <a:pt x="227" y="391"/>
                    </a:lnTo>
                    <a:lnTo>
                      <a:pt x="233" y="391"/>
                    </a:lnTo>
                    <a:lnTo>
                      <a:pt x="236" y="390"/>
                    </a:lnTo>
                    <a:lnTo>
                      <a:pt x="239" y="391"/>
                    </a:lnTo>
                    <a:lnTo>
                      <a:pt x="241" y="389"/>
                    </a:lnTo>
                    <a:lnTo>
                      <a:pt x="244" y="391"/>
                    </a:lnTo>
                    <a:lnTo>
                      <a:pt x="246" y="390"/>
                    </a:lnTo>
                    <a:lnTo>
                      <a:pt x="248" y="391"/>
                    </a:lnTo>
                    <a:lnTo>
                      <a:pt x="252" y="389"/>
                    </a:lnTo>
                    <a:lnTo>
                      <a:pt x="255" y="394"/>
                    </a:lnTo>
                    <a:lnTo>
                      <a:pt x="261" y="394"/>
                    </a:lnTo>
                    <a:lnTo>
                      <a:pt x="263" y="393"/>
                    </a:lnTo>
                    <a:lnTo>
                      <a:pt x="264" y="394"/>
                    </a:lnTo>
                    <a:lnTo>
                      <a:pt x="265" y="398"/>
                    </a:lnTo>
                    <a:lnTo>
                      <a:pt x="269" y="404"/>
                    </a:lnTo>
                    <a:lnTo>
                      <a:pt x="272" y="406"/>
                    </a:lnTo>
                    <a:lnTo>
                      <a:pt x="276" y="405"/>
                    </a:lnTo>
                    <a:lnTo>
                      <a:pt x="277" y="405"/>
                    </a:lnTo>
                    <a:lnTo>
                      <a:pt x="278" y="407"/>
                    </a:lnTo>
                    <a:lnTo>
                      <a:pt x="286" y="411"/>
                    </a:lnTo>
                    <a:lnTo>
                      <a:pt x="288" y="410"/>
                    </a:lnTo>
                    <a:lnTo>
                      <a:pt x="290" y="406"/>
                    </a:lnTo>
                    <a:lnTo>
                      <a:pt x="292" y="406"/>
                    </a:lnTo>
                    <a:lnTo>
                      <a:pt x="296" y="407"/>
                    </a:lnTo>
                    <a:lnTo>
                      <a:pt x="299" y="409"/>
                    </a:lnTo>
                    <a:lnTo>
                      <a:pt x="300" y="411"/>
                    </a:lnTo>
                    <a:lnTo>
                      <a:pt x="300" y="420"/>
                    </a:lnTo>
                    <a:lnTo>
                      <a:pt x="302" y="423"/>
                    </a:lnTo>
                    <a:lnTo>
                      <a:pt x="304" y="427"/>
                    </a:lnTo>
                    <a:lnTo>
                      <a:pt x="306" y="428"/>
                    </a:lnTo>
                    <a:lnTo>
                      <a:pt x="309" y="430"/>
                    </a:lnTo>
                    <a:lnTo>
                      <a:pt x="311" y="430"/>
                    </a:lnTo>
                    <a:lnTo>
                      <a:pt x="312" y="434"/>
                    </a:lnTo>
                    <a:lnTo>
                      <a:pt x="313" y="435"/>
                    </a:lnTo>
                    <a:lnTo>
                      <a:pt x="312" y="435"/>
                    </a:lnTo>
                    <a:lnTo>
                      <a:pt x="313" y="437"/>
                    </a:lnTo>
                    <a:lnTo>
                      <a:pt x="315" y="437"/>
                    </a:lnTo>
                    <a:lnTo>
                      <a:pt x="316" y="442"/>
                    </a:lnTo>
                    <a:lnTo>
                      <a:pt x="313" y="451"/>
                    </a:lnTo>
                    <a:lnTo>
                      <a:pt x="316" y="451"/>
                    </a:lnTo>
                    <a:lnTo>
                      <a:pt x="318" y="451"/>
                    </a:lnTo>
                    <a:lnTo>
                      <a:pt x="320" y="454"/>
                    </a:lnTo>
                    <a:lnTo>
                      <a:pt x="322" y="454"/>
                    </a:lnTo>
                    <a:lnTo>
                      <a:pt x="324" y="455"/>
                    </a:lnTo>
                    <a:lnTo>
                      <a:pt x="326" y="454"/>
                    </a:lnTo>
                    <a:lnTo>
                      <a:pt x="332" y="457"/>
                    </a:lnTo>
                    <a:lnTo>
                      <a:pt x="336" y="457"/>
                    </a:lnTo>
                    <a:lnTo>
                      <a:pt x="337" y="455"/>
                    </a:lnTo>
                    <a:lnTo>
                      <a:pt x="338" y="454"/>
                    </a:lnTo>
                    <a:lnTo>
                      <a:pt x="344" y="451"/>
                    </a:lnTo>
                    <a:lnTo>
                      <a:pt x="345" y="449"/>
                    </a:lnTo>
                    <a:lnTo>
                      <a:pt x="345" y="447"/>
                    </a:lnTo>
                    <a:lnTo>
                      <a:pt x="346" y="445"/>
                    </a:lnTo>
                    <a:lnTo>
                      <a:pt x="347" y="444"/>
                    </a:lnTo>
                    <a:lnTo>
                      <a:pt x="350" y="442"/>
                    </a:lnTo>
                    <a:lnTo>
                      <a:pt x="348" y="440"/>
                    </a:lnTo>
                    <a:lnTo>
                      <a:pt x="350" y="439"/>
                    </a:lnTo>
                    <a:lnTo>
                      <a:pt x="352" y="439"/>
                    </a:lnTo>
                    <a:lnTo>
                      <a:pt x="353" y="436"/>
                    </a:lnTo>
                    <a:lnTo>
                      <a:pt x="358" y="434"/>
                    </a:lnTo>
                    <a:lnTo>
                      <a:pt x="359" y="430"/>
                    </a:lnTo>
                    <a:lnTo>
                      <a:pt x="361" y="429"/>
                    </a:lnTo>
                    <a:lnTo>
                      <a:pt x="362" y="427"/>
                    </a:lnTo>
                    <a:lnTo>
                      <a:pt x="364" y="427"/>
                    </a:lnTo>
                    <a:lnTo>
                      <a:pt x="365" y="426"/>
                    </a:lnTo>
                    <a:lnTo>
                      <a:pt x="366" y="425"/>
                    </a:lnTo>
                    <a:lnTo>
                      <a:pt x="364" y="423"/>
                    </a:lnTo>
                    <a:lnTo>
                      <a:pt x="364" y="420"/>
                    </a:lnTo>
                    <a:lnTo>
                      <a:pt x="363" y="418"/>
                    </a:lnTo>
                    <a:lnTo>
                      <a:pt x="363" y="416"/>
                    </a:lnTo>
                    <a:lnTo>
                      <a:pt x="363" y="414"/>
                    </a:lnTo>
                    <a:lnTo>
                      <a:pt x="365" y="414"/>
                    </a:lnTo>
                    <a:lnTo>
                      <a:pt x="365" y="413"/>
                    </a:lnTo>
                    <a:lnTo>
                      <a:pt x="366" y="410"/>
                    </a:lnTo>
                    <a:lnTo>
                      <a:pt x="368" y="410"/>
                    </a:lnTo>
                    <a:lnTo>
                      <a:pt x="368" y="409"/>
                    </a:lnTo>
                    <a:lnTo>
                      <a:pt x="373" y="407"/>
                    </a:lnTo>
                    <a:lnTo>
                      <a:pt x="376" y="408"/>
                    </a:lnTo>
                    <a:lnTo>
                      <a:pt x="380" y="407"/>
                    </a:lnTo>
                    <a:lnTo>
                      <a:pt x="381" y="406"/>
                    </a:lnTo>
                    <a:lnTo>
                      <a:pt x="381" y="407"/>
                    </a:lnTo>
                    <a:lnTo>
                      <a:pt x="382" y="409"/>
                    </a:lnTo>
                    <a:lnTo>
                      <a:pt x="382" y="413"/>
                    </a:lnTo>
                    <a:lnTo>
                      <a:pt x="386" y="414"/>
                    </a:lnTo>
                    <a:lnTo>
                      <a:pt x="389" y="413"/>
                    </a:lnTo>
                    <a:lnTo>
                      <a:pt x="392" y="414"/>
                    </a:lnTo>
                    <a:lnTo>
                      <a:pt x="392" y="412"/>
                    </a:lnTo>
                    <a:lnTo>
                      <a:pt x="396" y="412"/>
                    </a:lnTo>
                    <a:lnTo>
                      <a:pt x="397" y="411"/>
                    </a:lnTo>
                    <a:lnTo>
                      <a:pt x="399" y="411"/>
                    </a:lnTo>
                    <a:lnTo>
                      <a:pt x="400" y="410"/>
                    </a:lnTo>
                    <a:lnTo>
                      <a:pt x="401" y="410"/>
                    </a:lnTo>
                    <a:lnTo>
                      <a:pt x="404" y="411"/>
                    </a:lnTo>
                    <a:lnTo>
                      <a:pt x="404" y="413"/>
                    </a:lnTo>
                    <a:lnTo>
                      <a:pt x="405" y="414"/>
                    </a:lnTo>
                    <a:lnTo>
                      <a:pt x="407" y="414"/>
                    </a:lnTo>
                    <a:lnTo>
                      <a:pt x="411" y="413"/>
                    </a:lnTo>
                    <a:lnTo>
                      <a:pt x="413" y="415"/>
                    </a:lnTo>
                    <a:lnTo>
                      <a:pt x="417" y="419"/>
                    </a:lnTo>
                    <a:lnTo>
                      <a:pt x="420" y="421"/>
                    </a:lnTo>
                    <a:lnTo>
                      <a:pt x="422" y="419"/>
                    </a:lnTo>
                    <a:lnTo>
                      <a:pt x="423" y="420"/>
                    </a:lnTo>
                    <a:lnTo>
                      <a:pt x="430" y="414"/>
                    </a:lnTo>
                    <a:lnTo>
                      <a:pt x="433" y="412"/>
                    </a:lnTo>
                    <a:lnTo>
                      <a:pt x="433" y="413"/>
                    </a:lnTo>
                    <a:lnTo>
                      <a:pt x="436" y="412"/>
                    </a:lnTo>
                    <a:lnTo>
                      <a:pt x="438" y="409"/>
                    </a:lnTo>
                    <a:lnTo>
                      <a:pt x="441" y="410"/>
                    </a:lnTo>
                    <a:lnTo>
                      <a:pt x="446" y="410"/>
                    </a:lnTo>
                    <a:lnTo>
                      <a:pt x="450" y="410"/>
                    </a:lnTo>
                    <a:lnTo>
                      <a:pt x="450" y="409"/>
                    </a:lnTo>
                    <a:lnTo>
                      <a:pt x="448" y="409"/>
                    </a:lnTo>
                    <a:lnTo>
                      <a:pt x="446" y="406"/>
                    </a:lnTo>
                    <a:lnTo>
                      <a:pt x="448" y="404"/>
                    </a:lnTo>
                    <a:lnTo>
                      <a:pt x="448" y="402"/>
                    </a:lnTo>
                    <a:lnTo>
                      <a:pt x="448" y="401"/>
                    </a:lnTo>
                    <a:lnTo>
                      <a:pt x="449" y="401"/>
                    </a:lnTo>
                    <a:lnTo>
                      <a:pt x="450" y="401"/>
                    </a:lnTo>
                    <a:lnTo>
                      <a:pt x="453" y="400"/>
                    </a:lnTo>
                    <a:lnTo>
                      <a:pt x="454" y="394"/>
                    </a:lnTo>
                    <a:lnTo>
                      <a:pt x="451" y="392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67" name="Group 68">
              <a:extLst>
                <a:ext uri="{FF2B5EF4-FFF2-40B4-BE49-F238E27FC236}">
                  <a16:creationId xmlns:a16="http://schemas.microsoft.com/office/drawing/2014/main" id="{1EF6A33F-841F-4D68-A411-A1391EECE7A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56" y="3285"/>
              <a:ext cx="422" cy="438"/>
              <a:chOff x="1156" y="3285"/>
              <a:chExt cx="422" cy="438"/>
            </a:xfrm>
          </p:grpSpPr>
          <p:sp>
            <p:nvSpPr>
              <p:cNvPr id="525" name="Freeform 66">
                <a:extLst>
                  <a:ext uri="{FF2B5EF4-FFF2-40B4-BE49-F238E27FC236}">
                    <a16:creationId xmlns:a16="http://schemas.microsoft.com/office/drawing/2014/main" id="{AB678E38-C28A-4B2E-8315-4619F43C8E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6" y="3285"/>
                <a:ext cx="422" cy="438"/>
              </a:xfrm>
              <a:custGeom>
                <a:avLst/>
                <a:gdLst>
                  <a:gd name="T0" fmla="*/ 418 w 422"/>
                  <a:gd name="T1" fmla="*/ 168 h 438"/>
                  <a:gd name="T2" fmla="*/ 390 w 422"/>
                  <a:gd name="T3" fmla="*/ 138 h 438"/>
                  <a:gd name="T4" fmla="*/ 364 w 422"/>
                  <a:gd name="T5" fmla="*/ 110 h 438"/>
                  <a:gd name="T6" fmla="*/ 338 w 422"/>
                  <a:gd name="T7" fmla="*/ 91 h 438"/>
                  <a:gd name="T8" fmla="*/ 320 w 422"/>
                  <a:gd name="T9" fmla="*/ 76 h 438"/>
                  <a:gd name="T10" fmla="*/ 291 w 422"/>
                  <a:gd name="T11" fmla="*/ 93 h 438"/>
                  <a:gd name="T12" fmla="*/ 269 w 422"/>
                  <a:gd name="T13" fmla="*/ 61 h 438"/>
                  <a:gd name="T14" fmla="*/ 255 w 422"/>
                  <a:gd name="T15" fmla="*/ 47 h 438"/>
                  <a:gd name="T16" fmla="*/ 244 w 422"/>
                  <a:gd name="T17" fmla="*/ 35 h 438"/>
                  <a:gd name="T18" fmla="*/ 226 w 422"/>
                  <a:gd name="T19" fmla="*/ 32 h 438"/>
                  <a:gd name="T20" fmla="*/ 213 w 422"/>
                  <a:gd name="T21" fmla="*/ 24 h 438"/>
                  <a:gd name="T22" fmla="*/ 190 w 422"/>
                  <a:gd name="T23" fmla="*/ 0 h 438"/>
                  <a:gd name="T24" fmla="*/ 171 w 422"/>
                  <a:gd name="T25" fmla="*/ 11 h 438"/>
                  <a:gd name="T26" fmla="*/ 165 w 422"/>
                  <a:gd name="T27" fmla="*/ 29 h 438"/>
                  <a:gd name="T28" fmla="*/ 150 w 422"/>
                  <a:gd name="T29" fmla="*/ 34 h 438"/>
                  <a:gd name="T30" fmla="*/ 126 w 422"/>
                  <a:gd name="T31" fmla="*/ 41 h 438"/>
                  <a:gd name="T32" fmla="*/ 109 w 422"/>
                  <a:gd name="T33" fmla="*/ 41 h 438"/>
                  <a:gd name="T34" fmla="*/ 96 w 422"/>
                  <a:gd name="T35" fmla="*/ 62 h 438"/>
                  <a:gd name="T36" fmla="*/ 112 w 422"/>
                  <a:gd name="T37" fmla="*/ 94 h 438"/>
                  <a:gd name="T38" fmla="*/ 97 w 422"/>
                  <a:gd name="T39" fmla="*/ 104 h 438"/>
                  <a:gd name="T40" fmla="*/ 86 w 422"/>
                  <a:gd name="T41" fmla="*/ 114 h 438"/>
                  <a:gd name="T42" fmla="*/ 72 w 422"/>
                  <a:gd name="T43" fmla="*/ 104 h 438"/>
                  <a:gd name="T44" fmla="*/ 49 w 422"/>
                  <a:gd name="T45" fmla="*/ 105 h 438"/>
                  <a:gd name="T46" fmla="*/ 37 w 422"/>
                  <a:gd name="T47" fmla="*/ 112 h 438"/>
                  <a:gd name="T48" fmla="*/ 21 w 422"/>
                  <a:gd name="T49" fmla="*/ 130 h 438"/>
                  <a:gd name="T50" fmla="*/ 16 w 422"/>
                  <a:gd name="T51" fmla="*/ 149 h 438"/>
                  <a:gd name="T52" fmla="*/ 5 w 422"/>
                  <a:gd name="T53" fmla="*/ 183 h 438"/>
                  <a:gd name="T54" fmla="*/ 1 w 422"/>
                  <a:gd name="T55" fmla="*/ 201 h 438"/>
                  <a:gd name="T56" fmla="*/ 1 w 422"/>
                  <a:gd name="T57" fmla="*/ 223 h 438"/>
                  <a:gd name="T58" fmla="*/ 19 w 422"/>
                  <a:gd name="T59" fmla="*/ 253 h 438"/>
                  <a:gd name="T60" fmla="*/ 43 w 422"/>
                  <a:gd name="T61" fmla="*/ 258 h 438"/>
                  <a:gd name="T62" fmla="*/ 58 w 422"/>
                  <a:gd name="T63" fmla="*/ 275 h 438"/>
                  <a:gd name="T64" fmla="*/ 85 w 422"/>
                  <a:gd name="T65" fmla="*/ 288 h 438"/>
                  <a:gd name="T66" fmla="*/ 109 w 422"/>
                  <a:gd name="T67" fmla="*/ 293 h 438"/>
                  <a:gd name="T68" fmla="*/ 113 w 422"/>
                  <a:gd name="T69" fmla="*/ 321 h 438"/>
                  <a:gd name="T70" fmla="*/ 131 w 422"/>
                  <a:gd name="T71" fmla="*/ 341 h 438"/>
                  <a:gd name="T72" fmla="*/ 153 w 422"/>
                  <a:gd name="T73" fmla="*/ 347 h 438"/>
                  <a:gd name="T74" fmla="*/ 172 w 422"/>
                  <a:gd name="T75" fmla="*/ 351 h 438"/>
                  <a:gd name="T76" fmla="*/ 173 w 422"/>
                  <a:gd name="T77" fmla="*/ 371 h 438"/>
                  <a:gd name="T78" fmla="*/ 156 w 422"/>
                  <a:gd name="T79" fmla="*/ 388 h 438"/>
                  <a:gd name="T80" fmla="*/ 144 w 422"/>
                  <a:gd name="T81" fmla="*/ 407 h 438"/>
                  <a:gd name="T82" fmla="*/ 166 w 422"/>
                  <a:gd name="T83" fmla="*/ 424 h 438"/>
                  <a:gd name="T84" fmla="*/ 179 w 422"/>
                  <a:gd name="T85" fmla="*/ 435 h 438"/>
                  <a:gd name="T86" fmla="*/ 195 w 422"/>
                  <a:gd name="T87" fmla="*/ 427 h 438"/>
                  <a:gd name="T88" fmla="*/ 216 w 422"/>
                  <a:gd name="T89" fmla="*/ 427 h 438"/>
                  <a:gd name="T90" fmla="*/ 239 w 422"/>
                  <a:gd name="T91" fmla="*/ 409 h 438"/>
                  <a:gd name="T92" fmla="*/ 253 w 422"/>
                  <a:gd name="T93" fmla="*/ 398 h 438"/>
                  <a:gd name="T94" fmla="*/ 277 w 422"/>
                  <a:gd name="T95" fmla="*/ 396 h 438"/>
                  <a:gd name="T96" fmla="*/ 288 w 422"/>
                  <a:gd name="T97" fmla="*/ 409 h 438"/>
                  <a:gd name="T98" fmla="*/ 307 w 422"/>
                  <a:gd name="T99" fmla="*/ 406 h 438"/>
                  <a:gd name="T100" fmla="*/ 326 w 422"/>
                  <a:gd name="T101" fmla="*/ 404 h 438"/>
                  <a:gd name="T102" fmla="*/ 346 w 422"/>
                  <a:gd name="T103" fmla="*/ 392 h 438"/>
                  <a:gd name="T104" fmla="*/ 363 w 422"/>
                  <a:gd name="T105" fmla="*/ 370 h 438"/>
                  <a:gd name="T106" fmla="*/ 354 w 422"/>
                  <a:gd name="T107" fmla="*/ 355 h 438"/>
                  <a:gd name="T108" fmla="*/ 363 w 422"/>
                  <a:gd name="T109" fmla="*/ 332 h 438"/>
                  <a:gd name="T110" fmla="*/ 375 w 422"/>
                  <a:gd name="T111" fmla="*/ 311 h 438"/>
                  <a:gd name="T112" fmla="*/ 377 w 422"/>
                  <a:gd name="T113" fmla="*/ 289 h 438"/>
                  <a:gd name="T114" fmla="*/ 396 w 422"/>
                  <a:gd name="T115" fmla="*/ 275 h 438"/>
                  <a:gd name="T116" fmla="*/ 405 w 422"/>
                  <a:gd name="T117" fmla="*/ 253 h 438"/>
                  <a:gd name="T118" fmla="*/ 410 w 422"/>
                  <a:gd name="T119" fmla="*/ 221 h 438"/>
                  <a:gd name="T120" fmla="*/ 408 w 422"/>
                  <a:gd name="T121" fmla="*/ 201 h 43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22"/>
                  <a:gd name="T184" fmla="*/ 0 h 438"/>
                  <a:gd name="T185" fmla="*/ 422 w 422"/>
                  <a:gd name="T186" fmla="*/ 438 h 43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22" h="438">
                    <a:moveTo>
                      <a:pt x="422" y="187"/>
                    </a:moveTo>
                    <a:lnTo>
                      <a:pt x="421" y="184"/>
                    </a:lnTo>
                    <a:lnTo>
                      <a:pt x="417" y="183"/>
                    </a:lnTo>
                    <a:lnTo>
                      <a:pt x="417" y="182"/>
                    </a:lnTo>
                    <a:lnTo>
                      <a:pt x="415" y="182"/>
                    </a:lnTo>
                    <a:lnTo>
                      <a:pt x="414" y="181"/>
                    </a:lnTo>
                    <a:lnTo>
                      <a:pt x="414" y="180"/>
                    </a:lnTo>
                    <a:lnTo>
                      <a:pt x="413" y="179"/>
                    </a:lnTo>
                    <a:lnTo>
                      <a:pt x="413" y="178"/>
                    </a:lnTo>
                    <a:lnTo>
                      <a:pt x="411" y="177"/>
                    </a:lnTo>
                    <a:lnTo>
                      <a:pt x="412" y="175"/>
                    </a:lnTo>
                    <a:lnTo>
                      <a:pt x="414" y="175"/>
                    </a:lnTo>
                    <a:lnTo>
                      <a:pt x="415" y="174"/>
                    </a:lnTo>
                    <a:lnTo>
                      <a:pt x="417" y="172"/>
                    </a:lnTo>
                    <a:lnTo>
                      <a:pt x="417" y="169"/>
                    </a:lnTo>
                    <a:lnTo>
                      <a:pt x="418" y="169"/>
                    </a:lnTo>
                    <a:lnTo>
                      <a:pt x="418" y="168"/>
                    </a:lnTo>
                    <a:lnTo>
                      <a:pt x="418" y="164"/>
                    </a:lnTo>
                    <a:lnTo>
                      <a:pt x="418" y="163"/>
                    </a:lnTo>
                    <a:lnTo>
                      <a:pt x="414" y="157"/>
                    </a:lnTo>
                    <a:lnTo>
                      <a:pt x="414" y="155"/>
                    </a:lnTo>
                    <a:lnTo>
                      <a:pt x="413" y="152"/>
                    </a:lnTo>
                    <a:lnTo>
                      <a:pt x="410" y="152"/>
                    </a:lnTo>
                    <a:lnTo>
                      <a:pt x="408" y="149"/>
                    </a:lnTo>
                    <a:lnTo>
                      <a:pt x="408" y="147"/>
                    </a:lnTo>
                    <a:lnTo>
                      <a:pt x="405" y="145"/>
                    </a:lnTo>
                    <a:lnTo>
                      <a:pt x="403" y="145"/>
                    </a:lnTo>
                    <a:lnTo>
                      <a:pt x="400" y="142"/>
                    </a:lnTo>
                    <a:lnTo>
                      <a:pt x="398" y="143"/>
                    </a:lnTo>
                    <a:lnTo>
                      <a:pt x="396" y="140"/>
                    </a:lnTo>
                    <a:lnTo>
                      <a:pt x="395" y="142"/>
                    </a:lnTo>
                    <a:lnTo>
                      <a:pt x="394" y="142"/>
                    </a:lnTo>
                    <a:lnTo>
                      <a:pt x="392" y="142"/>
                    </a:lnTo>
                    <a:lnTo>
                      <a:pt x="391" y="139"/>
                    </a:lnTo>
                    <a:lnTo>
                      <a:pt x="390" y="138"/>
                    </a:lnTo>
                    <a:lnTo>
                      <a:pt x="387" y="136"/>
                    </a:lnTo>
                    <a:lnTo>
                      <a:pt x="389" y="132"/>
                    </a:lnTo>
                    <a:lnTo>
                      <a:pt x="387" y="131"/>
                    </a:lnTo>
                    <a:lnTo>
                      <a:pt x="385" y="128"/>
                    </a:lnTo>
                    <a:lnTo>
                      <a:pt x="382" y="122"/>
                    </a:lnTo>
                    <a:lnTo>
                      <a:pt x="380" y="120"/>
                    </a:lnTo>
                    <a:lnTo>
                      <a:pt x="377" y="119"/>
                    </a:lnTo>
                    <a:lnTo>
                      <a:pt x="375" y="117"/>
                    </a:lnTo>
                    <a:lnTo>
                      <a:pt x="374" y="117"/>
                    </a:lnTo>
                    <a:lnTo>
                      <a:pt x="372" y="117"/>
                    </a:lnTo>
                    <a:lnTo>
                      <a:pt x="372" y="115"/>
                    </a:lnTo>
                    <a:lnTo>
                      <a:pt x="370" y="114"/>
                    </a:lnTo>
                    <a:lnTo>
                      <a:pt x="369" y="111"/>
                    </a:lnTo>
                    <a:lnTo>
                      <a:pt x="368" y="111"/>
                    </a:lnTo>
                    <a:lnTo>
                      <a:pt x="367" y="113"/>
                    </a:lnTo>
                    <a:lnTo>
                      <a:pt x="366" y="113"/>
                    </a:lnTo>
                    <a:lnTo>
                      <a:pt x="364" y="110"/>
                    </a:lnTo>
                    <a:lnTo>
                      <a:pt x="362" y="108"/>
                    </a:lnTo>
                    <a:lnTo>
                      <a:pt x="360" y="108"/>
                    </a:lnTo>
                    <a:lnTo>
                      <a:pt x="358" y="110"/>
                    </a:lnTo>
                    <a:lnTo>
                      <a:pt x="357" y="109"/>
                    </a:lnTo>
                    <a:lnTo>
                      <a:pt x="358" y="108"/>
                    </a:lnTo>
                    <a:lnTo>
                      <a:pt x="356" y="105"/>
                    </a:lnTo>
                    <a:lnTo>
                      <a:pt x="355" y="103"/>
                    </a:lnTo>
                    <a:lnTo>
                      <a:pt x="351" y="105"/>
                    </a:lnTo>
                    <a:lnTo>
                      <a:pt x="348" y="104"/>
                    </a:lnTo>
                    <a:lnTo>
                      <a:pt x="346" y="104"/>
                    </a:lnTo>
                    <a:lnTo>
                      <a:pt x="345" y="105"/>
                    </a:lnTo>
                    <a:lnTo>
                      <a:pt x="343" y="103"/>
                    </a:lnTo>
                    <a:lnTo>
                      <a:pt x="342" y="97"/>
                    </a:lnTo>
                    <a:lnTo>
                      <a:pt x="340" y="94"/>
                    </a:lnTo>
                    <a:lnTo>
                      <a:pt x="339" y="93"/>
                    </a:lnTo>
                    <a:lnTo>
                      <a:pt x="338" y="91"/>
                    </a:lnTo>
                    <a:lnTo>
                      <a:pt x="337" y="91"/>
                    </a:lnTo>
                    <a:lnTo>
                      <a:pt x="335" y="89"/>
                    </a:lnTo>
                    <a:lnTo>
                      <a:pt x="334" y="89"/>
                    </a:lnTo>
                    <a:lnTo>
                      <a:pt x="333" y="88"/>
                    </a:lnTo>
                    <a:lnTo>
                      <a:pt x="332" y="91"/>
                    </a:lnTo>
                    <a:lnTo>
                      <a:pt x="331" y="90"/>
                    </a:lnTo>
                    <a:lnTo>
                      <a:pt x="329" y="88"/>
                    </a:lnTo>
                    <a:lnTo>
                      <a:pt x="328" y="87"/>
                    </a:lnTo>
                    <a:lnTo>
                      <a:pt x="326" y="87"/>
                    </a:lnTo>
                    <a:lnTo>
                      <a:pt x="324" y="87"/>
                    </a:lnTo>
                    <a:lnTo>
                      <a:pt x="321" y="83"/>
                    </a:lnTo>
                    <a:lnTo>
                      <a:pt x="321" y="81"/>
                    </a:lnTo>
                    <a:lnTo>
                      <a:pt x="321" y="79"/>
                    </a:lnTo>
                    <a:lnTo>
                      <a:pt x="321" y="78"/>
                    </a:lnTo>
                    <a:lnTo>
                      <a:pt x="322" y="77"/>
                    </a:lnTo>
                    <a:lnTo>
                      <a:pt x="321" y="78"/>
                    </a:lnTo>
                    <a:lnTo>
                      <a:pt x="320" y="76"/>
                    </a:lnTo>
                    <a:lnTo>
                      <a:pt x="318" y="76"/>
                    </a:lnTo>
                    <a:lnTo>
                      <a:pt x="318" y="79"/>
                    </a:lnTo>
                    <a:lnTo>
                      <a:pt x="311" y="84"/>
                    </a:lnTo>
                    <a:lnTo>
                      <a:pt x="310" y="88"/>
                    </a:lnTo>
                    <a:lnTo>
                      <a:pt x="310" y="92"/>
                    </a:lnTo>
                    <a:lnTo>
                      <a:pt x="309" y="93"/>
                    </a:lnTo>
                    <a:lnTo>
                      <a:pt x="305" y="91"/>
                    </a:lnTo>
                    <a:lnTo>
                      <a:pt x="306" y="97"/>
                    </a:lnTo>
                    <a:lnTo>
                      <a:pt x="303" y="98"/>
                    </a:lnTo>
                    <a:lnTo>
                      <a:pt x="301" y="98"/>
                    </a:lnTo>
                    <a:lnTo>
                      <a:pt x="299" y="97"/>
                    </a:lnTo>
                    <a:lnTo>
                      <a:pt x="297" y="97"/>
                    </a:lnTo>
                    <a:lnTo>
                      <a:pt x="296" y="98"/>
                    </a:lnTo>
                    <a:lnTo>
                      <a:pt x="295" y="98"/>
                    </a:lnTo>
                    <a:lnTo>
                      <a:pt x="292" y="93"/>
                    </a:lnTo>
                    <a:lnTo>
                      <a:pt x="291" y="93"/>
                    </a:lnTo>
                    <a:lnTo>
                      <a:pt x="291" y="92"/>
                    </a:lnTo>
                    <a:lnTo>
                      <a:pt x="289" y="91"/>
                    </a:lnTo>
                    <a:lnTo>
                      <a:pt x="286" y="88"/>
                    </a:lnTo>
                    <a:lnTo>
                      <a:pt x="283" y="88"/>
                    </a:lnTo>
                    <a:lnTo>
                      <a:pt x="279" y="84"/>
                    </a:lnTo>
                    <a:lnTo>
                      <a:pt x="280" y="83"/>
                    </a:lnTo>
                    <a:lnTo>
                      <a:pt x="278" y="80"/>
                    </a:lnTo>
                    <a:lnTo>
                      <a:pt x="281" y="75"/>
                    </a:lnTo>
                    <a:lnTo>
                      <a:pt x="283" y="74"/>
                    </a:lnTo>
                    <a:lnTo>
                      <a:pt x="283" y="69"/>
                    </a:lnTo>
                    <a:lnTo>
                      <a:pt x="281" y="70"/>
                    </a:lnTo>
                    <a:lnTo>
                      <a:pt x="279" y="71"/>
                    </a:lnTo>
                    <a:lnTo>
                      <a:pt x="278" y="70"/>
                    </a:lnTo>
                    <a:lnTo>
                      <a:pt x="274" y="68"/>
                    </a:lnTo>
                    <a:lnTo>
                      <a:pt x="272" y="63"/>
                    </a:lnTo>
                    <a:lnTo>
                      <a:pt x="271" y="63"/>
                    </a:lnTo>
                    <a:lnTo>
                      <a:pt x="269" y="61"/>
                    </a:lnTo>
                    <a:lnTo>
                      <a:pt x="268" y="60"/>
                    </a:lnTo>
                    <a:lnTo>
                      <a:pt x="266" y="61"/>
                    </a:lnTo>
                    <a:lnTo>
                      <a:pt x="265" y="58"/>
                    </a:lnTo>
                    <a:lnTo>
                      <a:pt x="264" y="59"/>
                    </a:lnTo>
                    <a:lnTo>
                      <a:pt x="264" y="60"/>
                    </a:lnTo>
                    <a:lnTo>
                      <a:pt x="263" y="59"/>
                    </a:lnTo>
                    <a:lnTo>
                      <a:pt x="261" y="61"/>
                    </a:lnTo>
                    <a:lnTo>
                      <a:pt x="260" y="61"/>
                    </a:lnTo>
                    <a:lnTo>
                      <a:pt x="260" y="59"/>
                    </a:lnTo>
                    <a:lnTo>
                      <a:pt x="260" y="56"/>
                    </a:lnTo>
                    <a:lnTo>
                      <a:pt x="261" y="51"/>
                    </a:lnTo>
                    <a:lnTo>
                      <a:pt x="263" y="49"/>
                    </a:lnTo>
                    <a:lnTo>
                      <a:pt x="261" y="49"/>
                    </a:lnTo>
                    <a:lnTo>
                      <a:pt x="261" y="50"/>
                    </a:lnTo>
                    <a:lnTo>
                      <a:pt x="259" y="49"/>
                    </a:lnTo>
                    <a:lnTo>
                      <a:pt x="257" y="49"/>
                    </a:lnTo>
                    <a:lnTo>
                      <a:pt x="255" y="47"/>
                    </a:lnTo>
                    <a:lnTo>
                      <a:pt x="252" y="47"/>
                    </a:lnTo>
                    <a:lnTo>
                      <a:pt x="248" y="45"/>
                    </a:lnTo>
                    <a:lnTo>
                      <a:pt x="249" y="45"/>
                    </a:lnTo>
                    <a:lnTo>
                      <a:pt x="248" y="43"/>
                    </a:lnTo>
                    <a:lnTo>
                      <a:pt x="248" y="42"/>
                    </a:lnTo>
                    <a:lnTo>
                      <a:pt x="247" y="43"/>
                    </a:lnTo>
                    <a:lnTo>
                      <a:pt x="247" y="42"/>
                    </a:lnTo>
                    <a:lnTo>
                      <a:pt x="246" y="42"/>
                    </a:lnTo>
                    <a:lnTo>
                      <a:pt x="245" y="41"/>
                    </a:lnTo>
                    <a:lnTo>
                      <a:pt x="246" y="41"/>
                    </a:lnTo>
                    <a:lnTo>
                      <a:pt x="247" y="40"/>
                    </a:lnTo>
                    <a:lnTo>
                      <a:pt x="246" y="40"/>
                    </a:lnTo>
                    <a:lnTo>
                      <a:pt x="245" y="40"/>
                    </a:lnTo>
                    <a:lnTo>
                      <a:pt x="245" y="37"/>
                    </a:lnTo>
                    <a:lnTo>
                      <a:pt x="244" y="36"/>
                    </a:lnTo>
                    <a:lnTo>
                      <a:pt x="244" y="35"/>
                    </a:lnTo>
                    <a:lnTo>
                      <a:pt x="242" y="37"/>
                    </a:lnTo>
                    <a:lnTo>
                      <a:pt x="240" y="36"/>
                    </a:lnTo>
                    <a:lnTo>
                      <a:pt x="240" y="34"/>
                    </a:lnTo>
                    <a:lnTo>
                      <a:pt x="239" y="36"/>
                    </a:lnTo>
                    <a:lnTo>
                      <a:pt x="237" y="34"/>
                    </a:lnTo>
                    <a:lnTo>
                      <a:pt x="237" y="33"/>
                    </a:lnTo>
                    <a:lnTo>
                      <a:pt x="239" y="33"/>
                    </a:lnTo>
                    <a:lnTo>
                      <a:pt x="238" y="31"/>
                    </a:lnTo>
                    <a:lnTo>
                      <a:pt x="235" y="31"/>
                    </a:lnTo>
                    <a:lnTo>
                      <a:pt x="235" y="30"/>
                    </a:lnTo>
                    <a:lnTo>
                      <a:pt x="234" y="30"/>
                    </a:lnTo>
                    <a:lnTo>
                      <a:pt x="233" y="30"/>
                    </a:lnTo>
                    <a:lnTo>
                      <a:pt x="232" y="27"/>
                    </a:lnTo>
                    <a:lnTo>
                      <a:pt x="231" y="28"/>
                    </a:lnTo>
                    <a:lnTo>
                      <a:pt x="230" y="32"/>
                    </a:lnTo>
                    <a:lnTo>
                      <a:pt x="228" y="32"/>
                    </a:lnTo>
                    <a:lnTo>
                      <a:pt x="227" y="31"/>
                    </a:lnTo>
                    <a:lnTo>
                      <a:pt x="226" y="32"/>
                    </a:lnTo>
                    <a:lnTo>
                      <a:pt x="225" y="28"/>
                    </a:lnTo>
                    <a:lnTo>
                      <a:pt x="226" y="27"/>
                    </a:lnTo>
                    <a:lnTo>
                      <a:pt x="223" y="27"/>
                    </a:lnTo>
                    <a:lnTo>
                      <a:pt x="223" y="28"/>
                    </a:lnTo>
                    <a:lnTo>
                      <a:pt x="221" y="28"/>
                    </a:lnTo>
                    <a:lnTo>
                      <a:pt x="221" y="29"/>
                    </a:lnTo>
                    <a:lnTo>
                      <a:pt x="220" y="29"/>
                    </a:lnTo>
                    <a:lnTo>
                      <a:pt x="220" y="28"/>
                    </a:lnTo>
                    <a:lnTo>
                      <a:pt x="218" y="28"/>
                    </a:lnTo>
                    <a:lnTo>
                      <a:pt x="216" y="28"/>
                    </a:lnTo>
                    <a:lnTo>
                      <a:pt x="215" y="28"/>
                    </a:lnTo>
                    <a:lnTo>
                      <a:pt x="215" y="27"/>
                    </a:lnTo>
                    <a:lnTo>
                      <a:pt x="213" y="28"/>
                    </a:lnTo>
                    <a:lnTo>
                      <a:pt x="213" y="27"/>
                    </a:lnTo>
                    <a:lnTo>
                      <a:pt x="213" y="29"/>
                    </a:lnTo>
                    <a:lnTo>
                      <a:pt x="212" y="28"/>
                    </a:lnTo>
                    <a:lnTo>
                      <a:pt x="213" y="27"/>
                    </a:lnTo>
                    <a:lnTo>
                      <a:pt x="213" y="24"/>
                    </a:lnTo>
                    <a:lnTo>
                      <a:pt x="212" y="24"/>
                    </a:lnTo>
                    <a:lnTo>
                      <a:pt x="212" y="23"/>
                    </a:lnTo>
                    <a:lnTo>
                      <a:pt x="210" y="23"/>
                    </a:lnTo>
                    <a:lnTo>
                      <a:pt x="209" y="21"/>
                    </a:lnTo>
                    <a:lnTo>
                      <a:pt x="209" y="19"/>
                    </a:lnTo>
                    <a:lnTo>
                      <a:pt x="207" y="19"/>
                    </a:lnTo>
                    <a:lnTo>
                      <a:pt x="206" y="17"/>
                    </a:lnTo>
                    <a:lnTo>
                      <a:pt x="206" y="16"/>
                    </a:lnTo>
                    <a:lnTo>
                      <a:pt x="204" y="16"/>
                    </a:lnTo>
                    <a:lnTo>
                      <a:pt x="201" y="11"/>
                    </a:lnTo>
                    <a:lnTo>
                      <a:pt x="199" y="11"/>
                    </a:lnTo>
                    <a:lnTo>
                      <a:pt x="198" y="10"/>
                    </a:lnTo>
                    <a:lnTo>
                      <a:pt x="196" y="7"/>
                    </a:lnTo>
                    <a:lnTo>
                      <a:pt x="195" y="6"/>
                    </a:lnTo>
                    <a:lnTo>
                      <a:pt x="193" y="4"/>
                    </a:lnTo>
                    <a:lnTo>
                      <a:pt x="190" y="0"/>
                    </a:lnTo>
                    <a:lnTo>
                      <a:pt x="189" y="1"/>
                    </a:lnTo>
                    <a:lnTo>
                      <a:pt x="189" y="4"/>
                    </a:lnTo>
                    <a:lnTo>
                      <a:pt x="187" y="6"/>
                    </a:lnTo>
                    <a:lnTo>
                      <a:pt x="186" y="4"/>
                    </a:lnTo>
                    <a:lnTo>
                      <a:pt x="183" y="4"/>
                    </a:lnTo>
                    <a:lnTo>
                      <a:pt x="183" y="5"/>
                    </a:lnTo>
                    <a:lnTo>
                      <a:pt x="183" y="6"/>
                    </a:lnTo>
                    <a:lnTo>
                      <a:pt x="183" y="7"/>
                    </a:lnTo>
                    <a:lnTo>
                      <a:pt x="181" y="8"/>
                    </a:lnTo>
                    <a:lnTo>
                      <a:pt x="180" y="8"/>
                    </a:lnTo>
                    <a:lnTo>
                      <a:pt x="180" y="10"/>
                    </a:lnTo>
                    <a:lnTo>
                      <a:pt x="179" y="10"/>
                    </a:lnTo>
                    <a:lnTo>
                      <a:pt x="178" y="7"/>
                    </a:lnTo>
                    <a:lnTo>
                      <a:pt x="176" y="6"/>
                    </a:lnTo>
                    <a:lnTo>
                      <a:pt x="175" y="6"/>
                    </a:lnTo>
                    <a:lnTo>
                      <a:pt x="171" y="10"/>
                    </a:lnTo>
                    <a:lnTo>
                      <a:pt x="171" y="11"/>
                    </a:lnTo>
                    <a:lnTo>
                      <a:pt x="169" y="11"/>
                    </a:lnTo>
                    <a:lnTo>
                      <a:pt x="167" y="13"/>
                    </a:lnTo>
                    <a:lnTo>
                      <a:pt x="166" y="16"/>
                    </a:lnTo>
                    <a:lnTo>
                      <a:pt x="166" y="17"/>
                    </a:lnTo>
                    <a:lnTo>
                      <a:pt x="166" y="19"/>
                    </a:lnTo>
                    <a:lnTo>
                      <a:pt x="168" y="19"/>
                    </a:lnTo>
                    <a:lnTo>
                      <a:pt x="169" y="19"/>
                    </a:lnTo>
                    <a:lnTo>
                      <a:pt x="169" y="21"/>
                    </a:lnTo>
                    <a:lnTo>
                      <a:pt x="170" y="22"/>
                    </a:lnTo>
                    <a:lnTo>
                      <a:pt x="169" y="24"/>
                    </a:lnTo>
                    <a:lnTo>
                      <a:pt x="171" y="25"/>
                    </a:lnTo>
                    <a:lnTo>
                      <a:pt x="170" y="26"/>
                    </a:lnTo>
                    <a:lnTo>
                      <a:pt x="170" y="27"/>
                    </a:lnTo>
                    <a:lnTo>
                      <a:pt x="169" y="28"/>
                    </a:lnTo>
                    <a:lnTo>
                      <a:pt x="167" y="28"/>
                    </a:lnTo>
                    <a:lnTo>
                      <a:pt x="166" y="30"/>
                    </a:lnTo>
                    <a:lnTo>
                      <a:pt x="165" y="29"/>
                    </a:lnTo>
                    <a:lnTo>
                      <a:pt x="164" y="29"/>
                    </a:lnTo>
                    <a:lnTo>
                      <a:pt x="164" y="28"/>
                    </a:lnTo>
                    <a:lnTo>
                      <a:pt x="162" y="29"/>
                    </a:lnTo>
                    <a:lnTo>
                      <a:pt x="159" y="27"/>
                    </a:lnTo>
                    <a:lnTo>
                      <a:pt x="159" y="28"/>
                    </a:lnTo>
                    <a:lnTo>
                      <a:pt x="158" y="28"/>
                    </a:lnTo>
                    <a:lnTo>
                      <a:pt x="157" y="27"/>
                    </a:lnTo>
                    <a:lnTo>
                      <a:pt x="157" y="24"/>
                    </a:lnTo>
                    <a:lnTo>
                      <a:pt x="156" y="25"/>
                    </a:lnTo>
                    <a:lnTo>
                      <a:pt x="156" y="24"/>
                    </a:lnTo>
                    <a:lnTo>
                      <a:pt x="155" y="27"/>
                    </a:lnTo>
                    <a:lnTo>
                      <a:pt x="152" y="29"/>
                    </a:lnTo>
                    <a:lnTo>
                      <a:pt x="151" y="32"/>
                    </a:lnTo>
                    <a:lnTo>
                      <a:pt x="152" y="33"/>
                    </a:lnTo>
                    <a:lnTo>
                      <a:pt x="151" y="34"/>
                    </a:lnTo>
                    <a:lnTo>
                      <a:pt x="151" y="36"/>
                    </a:lnTo>
                    <a:lnTo>
                      <a:pt x="150" y="36"/>
                    </a:lnTo>
                    <a:lnTo>
                      <a:pt x="150" y="34"/>
                    </a:lnTo>
                    <a:lnTo>
                      <a:pt x="148" y="34"/>
                    </a:lnTo>
                    <a:lnTo>
                      <a:pt x="145" y="37"/>
                    </a:lnTo>
                    <a:lnTo>
                      <a:pt x="142" y="34"/>
                    </a:lnTo>
                    <a:lnTo>
                      <a:pt x="139" y="36"/>
                    </a:lnTo>
                    <a:lnTo>
                      <a:pt x="136" y="38"/>
                    </a:lnTo>
                    <a:lnTo>
                      <a:pt x="135" y="38"/>
                    </a:lnTo>
                    <a:lnTo>
                      <a:pt x="134" y="38"/>
                    </a:lnTo>
                    <a:lnTo>
                      <a:pt x="133" y="38"/>
                    </a:lnTo>
                    <a:lnTo>
                      <a:pt x="131" y="38"/>
                    </a:lnTo>
                    <a:lnTo>
                      <a:pt x="131" y="36"/>
                    </a:lnTo>
                    <a:lnTo>
                      <a:pt x="131" y="38"/>
                    </a:lnTo>
                    <a:lnTo>
                      <a:pt x="130" y="38"/>
                    </a:lnTo>
                    <a:lnTo>
                      <a:pt x="128" y="38"/>
                    </a:lnTo>
                    <a:lnTo>
                      <a:pt x="127" y="40"/>
                    </a:lnTo>
                    <a:lnTo>
                      <a:pt x="126" y="39"/>
                    </a:lnTo>
                    <a:lnTo>
                      <a:pt x="125" y="40"/>
                    </a:lnTo>
                    <a:lnTo>
                      <a:pt x="126" y="41"/>
                    </a:lnTo>
                    <a:lnTo>
                      <a:pt x="123" y="42"/>
                    </a:lnTo>
                    <a:lnTo>
                      <a:pt x="123" y="41"/>
                    </a:lnTo>
                    <a:lnTo>
                      <a:pt x="122" y="43"/>
                    </a:lnTo>
                    <a:lnTo>
                      <a:pt x="121" y="41"/>
                    </a:lnTo>
                    <a:lnTo>
                      <a:pt x="120" y="42"/>
                    </a:lnTo>
                    <a:lnTo>
                      <a:pt x="120" y="41"/>
                    </a:lnTo>
                    <a:lnTo>
                      <a:pt x="117" y="41"/>
                    </a:lnTo>
                    <a:lnTo>
                      <a:pt x="120" y="38"/>
                    </a:lnTo>
                    <a:lnTo>
                      <a:pt x="119" y="37"/>
                    </a:lnTo>
                    <a:lnTo>
                      <a:pt x="118" y="37"/>
                    </a:lnTo>
                    <a:lnTo>
                      <a:pt x="117" y="38"/>
                    </a:lnTo>
                    <a:lnTo>
                      <a:pt x="115" y="38"/>
                    </a:lnTo>
                    <a:lnTo>
                      <a:pt x="114" y="40"/>
                    </a:lnTo>
                    <a:lnTo>
                      <a:pt x="112" y="40"/>
                    </a:lnTo>
                    <a:lnTo>
                      <a:pt x="112" y="39"/>
                    </a:lnTo>
                    <a:lnTo>
                      <a:pt x="110" y="41"/>
                    </a:lnTo>
                    <a:lnTo>
                      <a:pt x="109" y="41"/>
                    </a:lnTo>
                    <a:lnTo>
                      <a:pt x="109" y="43"/>
                    </a:lnTo>
                    <a:lnTo>
                      <a:pt x="110" y="44"/>
                    </a:lnTo>
                    <a:lnTo>
                      <a:pt x="110" y="45"/>
                    </a:lnTo>
                    <a:lnTo>
                      <a:pt x="107" y="47"/>
                    </a:lnTo>
                    <a:lnTo>
                      <a:pt x="107" y="51"/>
                    </a:lnTo>
                    <a:lnTo>
                      <a:pt x="107" y="53"/>
                    </a:lnTo>
                    <a:lnTo>
                      <a:pt x="102" y="55"/>
                    </a:lnTo>
                    <a:lnTo>
                      <a:pt x="102" y="56"/>
                    </a:lnTo>
                    <a:lnTo>
                      <a:pt x="100" y="59"/>
                    </a:lnTo>
                    <a:lnTo>
                      <a:pt x="99" y="59"/>
                    </a:lnTo>
                    <a:lnTo>
                      <a:pt x="99" y="58"/>
                    </a:lnTo>
                    <a:lnTo>
                      <a:pt x="98" y="58"/>
                    </a:lnTo>
                    <a:lnTo>
                      <a:pt x="98" y="59"/>
                    </a:lnTo>
                    <a:lnTo>
                      <a:pt x="97" y="59"/>
                    </a:lnTo>
                    <a:lnTo>
                      <a:pt x="98" y="61"/>
                    </a:lnTo>
                    <a:lnTo>
                      <a:pt x="96" y="62"/>
                    </a:lnTo>
                    <a:lnTo>
                      <a:pt x="96" y="64"/>
                    </a:lnTo>
                    <a:lnTo>
                      <a:pt x="95" y="65"/>
                    </a:lnTo>
                    <a:lnTo>
                      <a:pt x="96" y="67"/>
                    </a:lnTo>
                    <a:lnTo>
                      <a:pt x="94" y="71"/>
                    </a:lnTo>
                    <a:lnTo>
                      <a:pt x="95" y="73"/>
                    </a:lnTo>
                    <a:lnTo>
                      <a:pt x="94" y="75"/>
                    </a:lnTo>
                    <a:lnTo>
                      <a:pt x="96" y="76"/>
                    </a:lnTo>
                    <a:lnTo>
                      <a:pt x="95" y="76"/>
                    </a:lnTo>
                    <a:lnTo>
                      <a:pt x="96" y="80"/>
                    </a:lnTo>
                    <a:lnTo>
                      <a:pt x="97" y="80"/>
                    </a:lnTo>
                    <a:lnTo>
                      <a:pt x="99" y="77"/>
                    </a:lnTo>
                    <a:lnTo>
                      <a:pt x="101" y="82"/>
                    </a:lnTo>
                    <a:lnTo>
                      <a:pt x="104" y="81"/>
                    </a:lnTo>
                    <a:lnTo>
                      <a:pt x="109" y="82"/>
                    </a:lnTo>
                    <a:lnTo>
                      <a:pt x="108" y="84"/>
                    </a:lnTo>
                    <a:lnTo>
                      <a:pt x="109" y="88"/>
                    </a:lnTo>
                    <a:lnTo>
                      <a:pt x="112" y="93"/>
                    </a:lnTo>
                    <a:lnTo>
                      <a:pt x="112" y="94"/>
                    </a:lnTo>
                    <a:lnTo>
                      <a:pt x="110" y="95"/>
                    </a:lnTo>
                    <a:lnTo>
                      <a:pt x="110" y="97"/>
                    </a:lnTo>
                    <a:lnTo>
                      <a:pt x="111" y="98"/>
                    </a:lnTo>
                    <a:lnTo>
                      <a:pt x="109" y="102"/>
                    </a:lnTo>
                    <a:lnTo>
                      <a:pt x="108" y="100"/>
                    </a:lnTo>
                    <a:lnTo>
                      <a:pt x="108" y="102"/>
                    </a:lnTo>
                    <a:lnTo>
                      <a:pt x="107" y="102"/>
                    </a:lnTo>
                    <a:lnTo>
                      <a:pt x="105" y="104"/>
                    </a:lnTo>
                    <a:lnTo>
                      <a:pt x="105" y="105"/>
                    </a:lnTo>
                    <a:lnTo>
                      <a:pt x="102" y="106"/>
                    </a:lnTo>
                    <a:lnTo>
                      <a:pt x="102" y="105"/>
                    </a:lnTo>
                    <a:lnTo>
                      <a:pt x="101" y="105"/>
                    </a:lnTo>
                    <a:lnTo>
                      <a:pt x="99" y="106"/>
                    </a:lnTo>
                    <a:lnTo>
                      <a:pt x="99" y="105"/>
                    </a:lnTo>
                    <a:lnTo>
                      <a:pt x="98" y="106"/>
                    </a:lnTo>
                    <a:lnTo>
                      <a:pt x="97" y="104"/>
                    </a:lnTo>
                    <a:lnTo>
                      <a:pt x="94" y="102"/>
                    </a:lnTo>
                    <a:lnTo>
                      <a:pt x="94" y="103"/>
                    </a:lnTo>
                    <a:lnTo>
                      <a:pt x="92" y="102"/>
                    </a:lnTo>
                    <a:lnTo>
                      <a:pt x="92" y="105"/>
                    </a:lnTo>
                    <a:lnTo>
                      <a:pt x="90" y="106"/>
                    </a:lnTo>
                    <a:lnTo>
                      <a:pt x="89" y="105"/>
                    </a:lnTo>
                    <a:lnTo>
                      <a:pt x="90" y="104"/>
                    </a:lnTo>
                    <a:lnTo>
                      <a:pt x="88" y="104"/>
                    </a:lnTo>
                    <a:lnTo>
                      <a:pt x="88" y="105"/>
                    </a:lnTo>
                    <a:lnTo>
                      <a:pt x="89" y="106"/>
                    </a:lnTo>
                    <a:lnTo>
                      <a:pt x="89" y="108"/>
                    </a:lnTo>
                    <a:lnTo>
                      <a:pt x="87" y="108"/>
                    </a:lnTo>
                    <a:lnTo>
                      <a:pt x="87" y="110"/>
                    </a:lnTo>
                    <a:lnTo>
                      <a:pt x="86" y="110"/>
                    </a:lnTo>
                    <a:lnTo>
                      <a:pt x="86" y="111"/>
                    </a:lnTo>
                    <a:lnTo>
                      <a:pt x="86" y="113"/>
                    </a:lnTo>
                    <a:lnTo>
                      <a:pt x="86" y="114"/>
                    </a:lnTo>
                    <a:lnTo>
                      <a:pt x="82" y="114"/>
                    </a:lnTo>
                    <a:lnTo>
                      <a:pt x="82" y="111"/>
                    </a:lnTo>
                    <a:lnTo>
                      <a:pt x="82" y="109"/>
                    </a:lnTo>
                    <a:lnTo>
                      <a:pt x="79" y="107"/>
                    </a:lnTo>
                    <a:lnTo>
                      <a:pt x="79" y="108"/>
                    </a:lnTo>
                    <a:lnTo>
                      <a:pt x="77" y="108"/>
                    </a:lnTo>
                    <a:lnTo>
                      <a:pt x="76" y="108"/>
                    </a:lnTo>
                    <a:lnTo>
                      <a:pt x="75" y="108"/>
                    </a:lnTo>
                    <a:lnTo>
                      <a:pt x="74" y="106"/>
                    </a:lnTo>
                    <a:lnTo>
                      <a:pt x="74" y="105"/>
                    </a:lnTo>
                    <a:lnTo>
                      <a:pt x="73" y="105"/>
                    </a:lnTo>
                    <a:lnTo>
                      <a:pt x="73" y="104"/>
                    </a:lnTo>
                    <a:lnTo>
                      <a:pt x="74" y="104"/>
                    </a:lnTo>
                    <a:lnTo>
                      <a:pt x="74" y="103"/>
                    </a:lnTo>
                    <a:lnTo>
                      <a:pt x="73" y="103"/>
                    </a:lnTo>
                    <a:lnTo>
                      <a:pt x="72" y="104"/>
                    </a:lnTo>
                    <a:lnTo>
                      <a:pt x="71" y="104"/>
                    </a:lnTo>
                    <a:lnTo>
                      <a:pt x="70" y="104"/>
                    </a:lnTo>
                    <a:lnTo>
                      <a:pt x="70" y="107"/>
                    </a:lnTo>
                    <a:lnTo>
                      <a:pt x="68" y="105"/>
                    </a:lnTo>
                    <a:lnTo>
                      <a:pt x="65" y="106"/>
                    </a:lnTo>
                    <a:lnTo>
                      <a:pt x="65" y="108"/>
                    </a:lnTo>
                    <a:lnTo>
                      <a:pt x="63" y="108"/>
                    </a:lnTo>
                    <a:lnTo>
                      <a:pt x="62" y="106"/>
                    </a:lnTo>
                    <a:lnTo>
                      <a:pt x="61" y="108"/>
                    </a:lnTo>
                    <a:lnTo>
                      <a:pt x="60" y="108"/>
                    </a:lnTo>
                    <a:lnTo>
                      <a:pt x="59" y="107"/>
                    </a:lnTo>
                    <a:lnTo>
                      <a:pt x="57" y="108"/>
                    </a:lnTo>
                    <a:lnTo>
                      <a:pt x="54" y="105"/>
                    </a:lnTo>
                    <a:lnTo>
                      <a:pt x="52" y="105"/>
                    </a:lnTo>
                    <a:lnTo>
                      <a:pt x="52" y="104"/>
                    </a:lnTo>
                    <a:lnTo>
                      <a:pt x="49" y="104"/>
                    </a:lnTo>
                    <a:lnTo>
                      <a:pt x="49" y="105"/>
                    </a:lnTo>
                    <a:lnTo>
                      <a:pt x="48" y="105"/>
                    </a:lnTo>
                    <a:lnTo>
                      <a:pt x="47" y="105"/>
                    </a:lnTo>
                    <a:lnTo>
                      <a:pt x="47" y="104"/>
                    </a:lnTo>
                    <a:lnTo>
                      <a:pt x="46" y="104"/>
                    </a:lnTo>
                    <a:lnTo>
                      <a:pt x="44" y="103"/>
                    </a:lnTo>
                    <a:lnTo>
                      <a:pt x="45" y="102"/>
                    </a:lnTo>
                    <a:lnTo>
                      <a:pt x="43" y="100"/>
                    </a:lnTo>
                    <a:lnTo>
                      <a:pt x="38" y="100"/>
                    </a:lnTo>
                    <a:lnTo>
                      <a:pt x="36" y="100"/>
                    </a:lnTo>
                    <a:lnTo>
                      <a:pt x="33" y="104"/>
                    </a:lnTo>
                    <a:lnTo>
                      <a:pt x="34" y="105"/>
                    </a:lnTo>
                    <a:lnTo>
                      <a:pt x="36" y="106"/>
                    </a:lnTo>
                    <a:lnTo>
                      <a:pt x="37" y="109"/>
                    </a:lnTo>
                    <a:lnTo>
                      <a:pt x="37" y="110"/>
                    </a:lnTo>
                    <a:lnTo>
                      <a:pt x="37" y="111"/>
                    </a:lnTo>
                    <a:lnTo>
                      <a:pt x="37" y="112"/>
                    </a:lnTo>
                    <a:lnTo>
                      <a:pt x="34" y="113"/>
                    </a:lnTo>
                    <a:lnTo>
                      <a:pt x="30" y="111"/>
                    </a:lnTo>
                    <a:lnTo>
                      <a:pt x="29" y="114"/>
                    </a:lnTo>
                    <a:lnTo>
                      <a:pt x="26" y="111"/>
                    </a:lnTo>
                    <a:lnTo>
                      <a:pt x="24" y="111"/>
                    </a:lnTo>
                    <a:lnTo>
                      <a:pt x="23" y="112"/>
                    </a:lnTo>
                    <a:lnTo>
                      <a:pt x="23" y="115"/>
                    </a:lnTo>
                    <a:lnTo>
                      <a:pt x="22" y="115"/>
                    </a:lnTo>
                    <a:lnTo>
                      <a:pt x="22" y="116"/>
                    </a:lnTo>
                    <a:lnTo>
                      <a:pt x="23" y="117"/>
                    </a:lnTo>
                    <a:lnTo>
                      <a:pt x="24" y="121"/>
                    </a:lnTo>
                    <a:lnTo>
                      <a:pt x="23" y="121"/>
                    </a:lnTo>
                    <a:lnTo>
                      <a:pt x="21" y="121"/>
                    </a:lnTo>
                    <a:lnTo>
                      <a:pt x="21" y="124"/>
                    </a:lnTo>
                    <a:lnTo>
                      <a:pt x="19" y="127"/>
                    </a:lnTo>
                    <a:lnTo>
                      <a:pt x="21" y="130"/>
                    </a:lnTo>
                    <a:lnTo>
                      <a:pt x="21" y="134"/>
                    </a:lnTo>
                    <a:lnTo>
                      <a:pt x="22" y="135"/>
                    </a:lnTo>
                    <a:lnTo>
                      <a:pt x="22" y="136"/>
                    </a:lnTo>
                    <a:lnTo>
                      <a:pt x="20" y="138"/>
                    </a:lnTo>
                    <a:lnTo>
                      <a:pt x="17" y="136"/>
                    </a:lnTo>
                    <a:lnTo>
                      <a:pt x="16" y="136"/>
                    </a:lnTo>
                    <a:lnTo>
                      <a:pt x="14" y="135"/>
                    </a:lnTo>
                    <a:lnTo>
                      <a:pt x="14" y="136"/>
                    </a:lnTo>
                    <a:lnTo>
                      <a:pt x="13" y="135"/>
                    </a:lnTo>
                    <a:lnTo>
                      <a:pt x="11" y="138"/>
                    </a:lnTo>
                    <a:lnTo>
                      <a:pt x="11" y="140"/>
                    </a:lnTo>
                    <a:lnTo>
                      <a:pt x="13" y="141"/>
                    </a:lnTo>
                    <a:lnTo>
                      <a:pt x="14" y="142"/>
                    </a:lnTo>
                    <a:lnTo>
                      <a:pt x="14" y="143"/>
                    </a:lnTo>
                    <a:lnTo>
                      <a:pt x="14" y="144"/>
                    </a:lnTo>
                    <a:lnTo>
                      <a:pt x="17" y="148"/>
                    </a:lnTo>
                    <a:lnTo>
                      <a:pt x="16" y="148"/>
                    </a:lnTo>
                    <a:lnTo>
                      <a:pt x="16" y="149"/>
                    </a:lnTo>
                    <a:lnTo>
                      <a:pt x="17" y="149"/>
                    </a:lnTo>
                    <a:lnTo>
                      <a:pt x="16" y="152"/>
                    </a:lnTo>
                    <a:lnTo>
                      <a:pt x="17" y="155"/>
                    </a:lnTo>
                    <a:lnTo>
                      <a:pt x="16" y="155"/>
                    </a:lnTo>
                    <a:lnTo>
                      <a:pt x="14" y="158"/>
                    </a:lnTo>
                    <a:lnTo>
                      <a:pt x="13" y="158"/>
                    </a:lnTo>
                    <a:lnTo>
                      <a:pt x="13" y="161"/>
                    </a:lnTo>
                    <a:lnTo>
                      <a:pt x="14" y="161"/>
                    </a:lnTo>
                    <a:lnTo>
                      <a:pt x="14" y="162"/>
                    </a:lnTo>
                    <a:lnTo>
                      <a:pt x="13" y="171"/>
                    </a:lnTo>
                    <a:lnTo>
                      <a:pt x="11" y="171"/>
                    </a:lnTo>
                    <a:lnTo>
                      <a:pt x="9" y="173"/>
                    </a:lnTo>
                    <a:lnTo>
                      <a:pt x="9" y="178"/>
                    </a:lnTo>
                    <a:lnTo>
                      <a:pt x="7" y="180"/>
                    </a:lnTo>
                    <a:lnTo>
                      <a:pt x="6" y="180"/>
                    </a:lnTo>
                    <a:lnTo>
                      <a:pt x="5" y="181"/>
                    </a:lnTo>
                    <a:lnTo>
                      <a:pt x="5" y="183"/>
                    </a:lnTo>
                    <a:lnTo>
                      <a:pt x="7" y="182"/>
                    </a:lnTo>
                    <a:lnTo>
                      <a:pt x="8" y="181"/>
                    </a:lnTo>
                    <a:lnTo>
                      <a:pt x="9" y="181"/>
                    </a:lnTo>
                    <a:lnTo>
                      <a:pt x="8" y="184"/>
                    </a:lnTo>
                    <a:lnTo>
                      <a:pt x="6" y="185"/>
                    </a:lnTo>
                    <a:lnTo>
                      <a:pt x="6" y="187"/>
                    </a:lnTo>
                    <a:lnTo>
                      <a:pt x="5" y="187"/>
                    </a:lnTo>
                    <a:lnTo>
                      <a:pt x="5" y="191"/>
                    </a:lnTo>
                    <a:lnTo>
                      <a:pt x="4" y="192"/>
                    </a:lnTo>
                    <a:lnTo>
                      <a:pt x="4" y="193"/>
                    </a:lnTo>
                    <a:lnTo>
                      <a:pt x="4" y="195"/>
                    </a:lnTo>
                    <a:lnTo>
                      <a:pt x="3" y="196"/>
                    </a:lnTo>
                    <a:lnTo>
                      <a:pt x="1" y="195"/>
                    </a:lnTo>
                    <a:lnTo>
                      <a:pt x="1" y="197"/>
                    </a:lnTo>
                    <a:lnTo>
                      <a:pt x="2" y="198"/>
                    </a:lnTo>
                    <a:lnTo>
                      <a:pt x="1" y="198"/>
                    </a:lnTo>
                    <a:lnTo>
                      <a:pt x="0" y="200"/>
                    </a:lnTo>
                    <a:lnTo>
                      <a:pt x="1" y="201"/>
                    </a:lnTo>
                    <a:lnTo>
                      <a:pt x="1" y="202"/>
                    </a:lnTo>
                    <a:lnTo>
                      <a:pt x="0" y="204"/>
                    </a:lnTo>
                    <a:lnTo>
                      <a:pt x="0" y="205"/>
                    </a:lnTo>
                    <a:lnTo>
                      <a:pt x="1" y="205"/>
                    </a:lnTo>
                    <a:lnTo>
                      <a:pt x="4" y="208"/>
                    </a:lnTo>
                    <a:lnTo>
                      <a:pt x="7" y="208"/>
                    </a:lnTo>
                    <a:lnTo>
                      <a:pt x="8" y="211"/>
                    </a:lnTo>
                    <a:lnTo>
                      <a:pt x="8" y="215"/>
                    </a:lnTo>
                    <a:lnTo>
                      <a:pt x="10" y="215"/>
                    </a:lnTo>
                    <a:lnTo>
                      <a:pt x="9" y="217"/>
                    </a:lnTo>
                    <a:lnTo>
                      <a:pt x="8" y="216"/>
                    </a:lnTo>
                    <a:lnTo>
                      <a:pt x="7" y="217"/>
                    </a:lnTo>
                    <a:lnTo>
                      <a:pt x="5" y="219"/>
                    </a:lnTo>
                    <a:lnTo>
                      <a:pt x="4" y="219"/>
                    </a:lnTo>
                    <a:lnTo>
                      <a:pt x="4" y="221"/>
                    </a:lnTo>
                    <a:lnTo>
                      <a:pt x="3" y="221"/>
                    </a:lnTo>
                    <a:lnTo>
                      <a:pt x="3" y="223"/>
                    </a:lnTo>
                    <a:lnTo>
                      <a:pt x="1" y="223"/>
                    </a:lnTo>
                    <a:lnTo>
                      <a:pt x="1" y="225"/>
                    </a:lnTo>
                    <a:lnTo>
                      <a:pt x="2" y="226"/>
                    </a:lnTo>
                    <a:lnTo>
                      <a:pt x="4" y="230"/>
                    </a:lnTo>
                    <a:lnTo>
                      <a:pt x="7" y="231"/>
                    </a:lnTo>
                    <a:lnTo>
                      <a:pt x="7" y="232"/>
                    </a:lnTo>
                    <a:lnTo>
                      <a:pt x="5" y="236"/>
                    </a:lnTo>
                    <a:lnTo>
                      <a:pt x="8" y="237"/>
                    </a:lnTo>
                    <a:lnTo>
                      <a:pt x="11" y="238"/>
                    </a:lnTo>
                    <a:lnTo>
                      <a:pt x="11" y="239"/>
                    </a:lnTo>
                    <a:lnTo>
                      <a:pt x="12" y="240"/>
                    </a:lnTo>
                    <a:lnTo>
                      <a:pt x="11" y="242"/>
                    </a:lnTo>
                    <a:lnTo>
                      <a:pt x="13" y="245"/>
                    </a:lnTo>
                    <a:lnTo>
                      <a:pt x="13" y="246"/>
                    </a:lnTo>
                    <a:lnTo>
                      <a:pt x="14" y="245"/>
                    </a:lnTo>
                    <a:lnTo>
                      <a:pt x="17" y="248"/>
                    </a:lnTo>
                    <a:lnTo>
                      <a:pt x="18" y="251"/>
                    </a:lnTo>
                    <a:lnTo>
                      <a:pt x="18" y="253"/>
                    </a:lnTo>
                    <a:lnTo>
                      <a:pt x="19" y="253"/>
                    </a:lnTo>
                    <a:lnTo>
                      <a:pt x="22" y="255"/>
                    </a:lnTo>
                    <a:lnTo>
                      <a:pt x="25" y="250"/>
                    </a:lnTo>
                    <a:lnTo>
                      <a:pt x="27" y="249"/>
                    </a:lnTo>
                    <a:lnTo>
                      <a:pt x="29" y="248"/>
                    </a:lnTo>
                    <a:lnTo>
                      <a:pt x="30" y="248"/>
                    </a:lnTo>
                    <a:lnTo>
                      <a:pt x="31" y="247"/>
                    </a:lnTo>
                    <a:lnTo>
                      <a:pt x="33" y="246"/>
                    </a:lnTo>
                    <a:lnTo>
                      <a:pt x="34" y="247"/>
                    </a:lnTo>
                    <a:lnTo>
                      <a:pt x="35" y="247"/>
                    </a:lnTo>
                    <a:lnTo>
                      <a:pt x="34" y="249"/>
                    </a:lnTo>
                    <a:lnTo>
                      <a:pt x="36" y="249"/>
                    </a:lnTo>
                    <a:lnTo>
                      <a:pt x="37" y="253"/>
                    </a:lnTo>
                    <a:lnTo>
                      <a:pt x="38" y="255"/>
                    </a:lnTo>
                    <a:lnTo>
                      <a:pt x="41" y="258"/>
                    </a:lnTo>
                    <a:lnTo>
                      <a:pt x="41" y="259"/>
                    </a:lnTo>
                    <a:lnTo>
                      <a:pt x="42" y="259"/>
                    </a:lnTo>
                    <a:lnTo>
                      <a:pt x="43" y="258"/>
                    </a:lnTo>
                    <a:lnTo>
                      <a:pt x="44" y="259"/>
                    </a:lnTo>
                    <a:lnTo>
                      <a:pt x="47" y="260"/>
                    </a:lnTo>
                    <a:lnTo>
                      <a:pt x="52" y="262"/>
                    </a:lnTo>
                    <a:lnTo>
                      <a:pt x="52" y="265"/>
                    </a:lnTo>
                    <a:lnTo>
                      <a:pt x="50" y="266"/>
                    </a:lnTo>
                    <a:lnTo>
                      <a:pt x="51" y="269"/>
                    </a:lnTo>
                    <a:lnTo>
                      <a:pt x="50" y="271"/>
                    </a:lnTo>
                    <a:lnTo>
                      <a:pt x="45" y="270"/>
                    </a:lnTo>
                    <a:lnTo>
                      <a:pt x="44" y="269"/>
                    </a:lnTo>
                    <a:lnTo>
                      <a:pt x="45" y="272"/>
                    </a:lnTo>
                    <a:lnTo>
                      <a:pt x="47" y="272"/>
                    </a:lnTo>
                    <a:lnTo>
                      <a:pt x="49" y="275"/>
                    </a:lnTo>
                    <a:lnTo>
                      <a:pt x="52" y="272"/>
                    </a:lnTo>
                    <a:lnTo>
                      <a:pt x="55" y="272"/>
                    </a:lnTo>
                    <a:lnTo>
                      <a:pt x="57" y="273"/>
                    </a:lnTo>
                    <a:lnTo>
                      <a:pt x="57" y="275"/>
                    </a:lnTo>
                    <a:lnTo>
                      <a:pt x="58" y="275"/>
                    </a:lnTo>
                    <a:lnTo>
                      <a:pt x="59" y="278"/>
                    </a:lnTo>
                    <a:lnTo>
                      <a:pt x="60" y="279"/>
                    </a:lnTo>
                    <a:lnTo>
                      <a:pt x="59" y="280"/>
                    </a:lnTo>
                    <a:lnTo>
                      <a:pt x="60" y="284"/>
                    </a:lnTo>
                    <a:lnTo>
                      <a:pt x="59" y="285"/>
                    </a:lnTo>
                    <a:lnTo>
                      <a:pt x="62" y="287"/>
                    </a:lnTo>
                    <a:lnTo>
                      <a:pt x="65" y="288"/>
                    </a:lnTo>
                    <a:lnTo>
                      <a:pt x="66" y="289"/>
                    </a:lnTo>
                    <a:lnTo>
                      <a:pt x="69" y="287"/>
                    </a:lnTo>
                    <a:lnTo>
                      <a:pt x="74" y="283"/>
                    </a:lnTo>
                    <a:lnTo>
                      <a:pt x="74" y="281"/>
                    </a:lnTo>
                    <a:lnTo>
                      <a:pt x="76" y="281"/>
                    </a:lnTo>
                    <a:lnTo>
                      <a:pt x="77" y="287"/>
                    </a:lnTo>
                    <a:lnTo>
                      <a:pt x="78" y="285"/>
                    </a:lnTo>
                    <a:lnTo>
                      <a:pt x="81" y="285"/>
                    </a:lnTo>
                    <a:lnTo>
                      <a:pt x="84" y="288"/>
                    </a:lnTo>
                    <a:lnTo>
                      <a:pt x="85" y="288"/>
                    </a:lnTo>
                    <a:lnTo>
                      <a:pt x="87" y="289"/>
                    </a:lnTo>
                    <a:lnTo>
                      <a:pt x="91" y="293"/>
                    </a:lnTo>
                    <a:lnTo>
                      <a:pt x="90" y="294"/>
                    </a:lnTo>
                    <a:lnTo>
                      <a:pt x="89" y="297"/>
                    </a:lnTo>
                    <a:lnTo>
                      <a:pt x="91" y="296"/>
                    </a:lnTo>
                    <a:lnTo>
                      <a:pt x="91" y="295"/>
                    </a:lnTo>
                    <a:lnTo>
                      <a:pt x="93" y="294"/>
                    </a:lnTo>
                    <a:lnTo>
                      <a:pt x="94" y="294"/>
                    </a:lnTo>
                    <a:lnTo>
                      <a:pt x="95" y="296"/>
                    </a:lnTo>
                    <a:lnTo>
                      <a:pt x="97" y="295"/>
                    </a:lnTo>
                    <a:lnTo>
                      <a:pt x="99" y="293"/>
                    </a:lnTo>
                    <a:lnTo>
                      <a:pt x="101" y="293"/>
                    </a:lnTo>
                    <a:lnTo>
                      <a:pt x="104" y="296"/>
                    </a:lnTo>
                    <a:lnTo>
                      <a:pt x="107" y="295"/>
                    </a:lnTo>
                    <a:lnTo>
                      <a:pt x="107" y="293"/>
                    </a:lnTo>
                    <a:lnTo>
                      <a:pt x="109" y="293"/>
                    </a:lnTo>
                    <a:lnTo>
                      <a:pt x="109" y="294"/>
                    </a:lnTo>
                    <a:lnTo>
                      <a:pt x="110" y="294"/>
                    </a:lnTo>
                    <a:lnTo>
                      <a:pt x="112" y="294"/>
                    </a:lnTo>
                    <a:lnTo>
                      <a:pt x="114" y="295"/>
                    </a:lnTo>
                    <a:lnTo>
                      <a:pt x="115" y="296"/>
                    </a:lnTo>
                    <a:lnTo>
                      <a:pt x="115" y="300"/>
                    </a:lnTo>
                    <a:lnTo>
                      <a:pt x="115" y="303"/>
                    </a:lnTo>
                    <a:lnTo>
                      <a:pt x="115" y="306"/>
                    </a:lnTo>
                    <a:lnTo>
                      <a:pt x="116" y="307"/>
                    </a:lnTo>
                    <a:lnTo>
                      <a:pt x="114" y="310"/>
                    </a:lnTo>
                    <a:lnTo>
                      <a:pt x="114" y="311"/>
                    </a:lnTo>
                    <a:lnTo>
                      <a:pt x="112" y="313"/>
                    </a:lnTo>
                    <a:lnTo>
                      <a:pt x="112" y="316"/>
                    </a:lnTo>
                    <a:lnTo>
                      <a:pt x="110" y="319"/>
                    </a:lnTo>
                    <a:lnTo>
                      <a:pt x="112" y="319"/>
                    </a:lnTo>
                    <a:lnTo>
                      <a:pt x="113" y="319"/>
                    </a:lnTo>
                    <a:lnTo>
                      <a:pt x="113" y="321"/>
                    </a:lnTo>
                    <a:lnTo>
                      <a:pt x="114" y="324"/>
                    </a:lnTo>
                    <a:lnTo>
                      <a:pt x="114" y="326"/>
                    </a:lnTo>
                    <a:lnTo>
                      <a:pt x="115" y="326"/>
                    </a:lnTo>
                    <a:lnTo>
                      <a:pt x="115" y="324"/>
                    </a:lnTo>
                    <a:lnTo>
                      <a:pt x="116" y="324"/>
                    </a:lnTo>
                    <a:lnTo>
                      <a:pt x="117" y="324"/>
                    </a:lnTo>
                    <a:lnTo>
                      <a:pt x="116" y="326"/>
                    </a:lnTo>
                    <a:lnTo>
                      <a:pt x="118" y="328"/>
                    </a:lnTo>
                    <a:lnTo>
                      <a:pt x="119" y="327"/>
                    </a:lnTo>
                    <a:lnTo>
                      <a:pt x="120" y="329"/>
                    </a:lnTo>
                    <a:lnTo>
                      <a:pt x="121" y="332"/>
                    </a:lnTo>
                    <a:lnTo>
                      <a:pt x="120" y="334"/>
                    </a:lnTo>
                    <a:lnTo>
                      <a:pt x="123" y="336"/>
                    </a:lnTo>
                    <a:lnTo>
                      <a:pt x="124" y="336"/>
                    </a:lnTo>
                    <a:lnTo>
                      <a:pt x="125" y="336"/>
                    </a:lnTo>
                    <a:lnTo>
                      <a:pt x="127" y="337"/>
                    </a:lnTo>
                    <a:lnTo>
                      <a:pt x="128" y="340"/>
                    </a:lnTo>
                    <a:lnTo>
                      <a:pt x="131" y="341"/>
                    </a:lnTo>
                    <a:lnTo>
                      <a:pt x="131" y="344"/>
                    </a:lnTo>
                    <a:lnTo>
                      <a:pt x="131" y="345"/>
                    </a:lnTo>
                    <a:lnTo>
                      <a:pt x="133" y="343"/>
                    </a:lnTo>
                    <a:lnTo>
                      <a:pt x="134" y="340"/>
                    </a:lnTo>
                    <a:lnTo>
                      <a:pt x="135" y="339"/>
                    </a:lnTo>
                    <a:lnTo>
                      <a:pt x="136" y="338"/>
                    </a:lnTo>
                    <a:lnTo>
                      <a:pt x="138" y="338"/>
                    </a:lnTo>
                    <a:lnTo>
                      <a:pt x="139" y="340"/>
                    </a:lnTo>
                    <a:lnTo>
                      <a:pt x="141" y="344"/>
                    </a:lnTo>
                    <a:lnTo>
                      <a:pt x="142" y="344"/>
                    </a:lnTo>
                    <a:lnTo>
                      <a:pt x="142" y="346"/>
                    </a:lnTo>
                    <a:lnTo>
                      <a:pt x="143" y="345"/>
                    </a:lnTo>
                    <a:lnTo>
                      <a:pt x="144" y="346"/>
                    </a:lnTo>
                    <a:lnTo>
                      <a:pt x="144" y="344"/>
                    </a:lnTo>
                    <a:lnTo>
                      <a:pt x="149" y="346"/>
                    </a:lnTo>
                    <a:lnTo>
                      <a:pt x="151" y="346"/>
                    </a:lnTo>
                    <a:lnTo>
                      <a:pt x="153" y="347"/>
                    </a:lnTo>
                    <a:lnTo>
                      <a:pt x="156" y="343"/>
                    </a:lnTo>
                    <a:lnTo>
                      <a:pt x="157" y="342"/>
                    </a:lnTo>
                    <a:lnTo>
                      <a:pt x="160" y="343"/>
                    </a:lnTo>
                    <a:lnTo>
                      <a:pt x="161" y="345"/>
                    </a:lnTo>
                    <a:lnTo>
                      <a:pt x="161" y="346"/>
                    </a:lnTo>
                    <a:lnTo>
                      <a:pt x="163" y="346"/>
                    </a:lnTo>
                    <a:lnTo>
                      <a:pt x="164" y="345"/>
                    </a:lnTo>
                    <a:lnTo>
                      <a:pt x="163" y="343"/>
                    </a:lnTo>
                    <a:lnTo>
                      <a:pt x="164" y="341"/>
                    </a:lnTo>
                    <a:lnTo>
                      <a:pt x="165" y="341"/>
                    </a:lnTo>
                    <a:lnTo>
                      <a:pt x="166" y="341"/>
                    </a:lnTo>
                    <a:lnTo>
                      <a:pt x="169" y="343"/>
                    </a:lnTo>
                    <a:lnTo>
                      <a:pt x="168" y="346"/>
                    </a:lnTo>
                    <a:lnTo>
                      <a:pt x="169" y="343"/>
                    </a:lnTo>
                    <a:lnTo>
                      <a:pt x="172" y="345"/>
                    </a:lnTo>
                    <a:lnTo>
                      <a:pt x="172" y="349"/>
                    </a:lnTo>
                    <a:lnTo>
                      <a:pt x="172" y="351"/>
                    </a:lnTo>
                    <a:lnTo>
                      <a:pt x="169" y="351"/>
                    </a:lnTo>
                    <a:lnTo>
                      <a:pt x="168" y="351"/>
                    </a:lnTo>
                    <a:lnTo>
                      <a:pt x="169" y="353"/>
                    </a:lnTo>
                    <a:lnTo>
                      <a:pt x="172" y="357"/>
                    </a:lnTo>
                    <a:lnTo>
                      <a:pt x="173" y="357"/>
                    </a:lnTo>
                    <a:lnTo>
                      <a:pt x="172" y="356"/>
                    </a:lnTo>
                    <a:lnTo>
                      <a:pt x="174" y="355"/>
                    </a:lnTo>
                    <a:lnTo>
                      <a:pt x="177" y="357"/>
                    </a:lnTo>
                    <a:lnTo>
                      <a:pt x="177" y="358"/>
                    </a:lnTo>
                    <a:lnTo>
                      <a:pt x="175" y="358"/>
                    </a:lnTo>
                    <a:lnTo>
                      <a:pt x="174" y="359"/>
                    </a:lnTo>
                    <a:lnTo>
                      <a:pt x="179" y="366"/>
                    </a:lnTo>
                    <a:lnTo>
                      <a:pt x="176" y="366"/>
                    </a:lnTo>
                    <a:lnTo>
                      <a:pt x="177" y="369"/>
                    </a:lnTo>
                    <a:lnTo>
                      <a:pt x="177" y="371"/>
                    </a:lnTo>
                    <a:lnTo>
                      <a:pt x="176" y="372"/>
                    </a:lnTo>
                    <a:lnTo>
                      <a:pt x="174" y="372"/>
                    </a:lnTo>
                    <a:lnTo>
                      <a:pt x="173" y="371"/>
                    </a:lnTo>
                    <a:lnTo>
                      <a:pt x="172" y="372"/>
                    </a:lnTo>
                    <a:lnTo>
                      <a:pt x="172" y="371"/>
                    </a:lnTo>
                    <a:lnTo>
                      <a:pt x="169" y="371"/>
                    </a:lnTo>
                    <a:lnTo>
                      <a:pt x="165" y="369"/>
                    </a:lnTo>
                    <a:lnTo>
                      <a:pt x="164" y="371"/>
                    </a:lnTo>
                    <a:lnTo>
                      <a:pt x="166" y="374"/>
                    </a:lnTo>
                    <a:lnTo>
                      <a:pt x="165" y="377"/>
                    </a:lnTo>
                    <a:lnTo>
                      <a:pt x="164" y="376"/>
                    </a:lnTo>
                    <a:lnTo>
                      <a:pt x="161" y="376"/>
                    </a:lnTo>
                    <a:lnTo>
                      <a:pt x="161" y="377"/>
                    </a:lnTo>
                    <a:lnTo>
                      <a:pt x="162" y="377"/>
                    </a:lnTo>
                    <a:lnTo>
                      <a:pt x="161" y="380"/>
                    </a:lnTo>
                    <a:lnTo>
                      <a:pt x="163" y="381"/>
                    </a:lnTo>
                    <a:lnTo>
                      <a:pt x="162" y="384"/>
                    </a:lnTo>
                    <a:lnTo>
                      <a:pt x="159" y="385"/>
                    </a:lnTo>
                    <a:lnTo>
                      <a:pt x="156" y="385"/>
                    </a:lnTo>
                    <a:lnTo>
                      <a:pt x="156" y="387"/>
                    </a:lnTo>
                    <a:lnTo>
                      <a:pt x="156" y="388"/>
                    </a:lnTo>
                    <a:lnTo>
                      <a:pt x="157" y="389"/>
                    </a:lnTo>
                    <a:lnTo>
                      <a:pt x="156" y="391"/>
                    </a:lnTo>
                    <a:lnTo>
                      <a:pt x="156" y="392"/>
                    </a:lnTo>
                    <a:lnTo>
                      <a:pt x="155" y="393"/>
                    </a:lnTo>
                    <a:lnTo>
                      <a:pt x="155" y="394"/>
                    </a:lnTo>
                    <a:lnTo>
                      <a:pt x="152" y="393"/>
                    </a:lnTo>
                    <a:lnTo>
                      <a:pt x="152" y="397"/>
                    </a:lnTo>
                    <a:lnTo>
                      <a:pt x="152" y="396"/>
                    </a:lnTo>
                    <a:lnTo>
                      <a:pt x="151" y="395"/>
                    </a:lnTo>
                    <a:lnTo>
                      <a:pt x="150" y="395"/>
                    </a:lnTo>
                    <a:lnTo>
                      <a:pt x="150" y="397"/>
                    </a:lnTo>
                    <a:lnTo>
                      <a:pt x="148" y="399"/>
                    </a:lnTo>
                    <a:lnTo>
                      <a:pt x="146" y="399"/>
                    </a:lnTo>
                    <a:lnTo>
                      <a:pt x="144" y="400"/>
                    </a:lnTo>
                    <a:lnTo>
                      <a:pt x="144" y="402"/>
                    </a:lnTo>
                    <a:lnTo>
                      <a:pt x="142" y="404"/>
                    </a:lnTo>
                    <a:lnTo>
                      <a:pt x="144" y="407"/>
                    </a:lnTo>
                    <a:lnTo>
                      <a:pt x="145" y="406"/>
                    </a:lnTo>
                    <a:lnTo>
                      <a:pt x="147" y="406"/>
                    </a:lnTo>
                    <a:lnTo>
                      <a:pt x="149" y="404"/>
                    </a:lnTo>
                    <a:lnTo>
                      <a:pt x="151" y="405"/>
                    </a:lnTo>
                    <a:lnTo>
                      <a:pt x="152" y="406"/>
                    </a:lnTo>
                    <a:lnTo>
                      <a:pt x="153" y="408"/>
                    </a:lnTo>
                    <a:lnTo>
                      <a:pt x="152" y="409"/>
                    </a:lnTo>
                    <a:lnTo>
                      <a:pt x="152" y="411"/>
                    </a:lnTo>
                    <a:lnTo>
                      <a:pt x="151" y="413"/>
                    </a:lnTo>
                    <a:lnTo>
                      <a:pt x="152" y="415"/>
                    </a:lnTo>
                    <a:lnTo>
                      <a:pt x="153" y="416"/>
                    </a:lnTo>
                    <a:lnTo>
                      <a:pt x="158" y="417"/>
                    </a:lnTo>
                    <a:lnTo>
                      <a:pt x="159" y="417"/>
                    </a:lnTo>
                    <a:lnTo>
                      <a:pt x="163" y="419"/>
                    </a:lnTo>
                    <a:lnTo>
                      <a:pt x="167" y="422"/>
                    </a:lnTo>
                    <a:lnTo>
                      <a:pt x="166" y="423"/>
                    </a:lnTo>
                    <a:lnTo>
                      <a:pt x="166" y="424"/>
                    </a:lnTo>
                    <a:lnTo>
                      <a:pt x="165" y="425"/>
                    </a:lnTo>
                    <a:lnTo>
                      <a:pt x="164" y="427"/>
                    </a:lnTo>
                    <a:lnTo>
                      <a:pt x="167" y="430"/>
                    </a:lnTo>
                    <a:lnTo>
                      <a:pt x="170" y="428"/>
                    </a:lnTo>
                    <a:lnTo>
                      <a:pt x="169" y="428"/>
                    </a:lnTo>
                    <a:lnTo>
                      <a:pt x="169" y="427"/>
                    </a:lnTo>
                    <a:lnTo>
                      <a:pt x="167" y="427"/>
                    </a:lnTo>
                    <a:lnTo>
                      <a:pt x="166" y="427"/>
                    </a:lnTo>
                    <a:lnTo>
                      <a:pt x="169" y="427"/>
                    </a:lnTo>
                    <a:lnTo>
                      <a:pt x="173" y="430"/>
                    </a:lnTo>
                    <a:lnTo>
                      <a:pt x="172" y="427"/>
                    </a:lnTo>
                    <a:lnTo>
                      <a:pt x="175" y="426"/>
                    </a:lnTo>
                    <a:lnTo>
                      <a:pt x="176" y="427"/>
                    </a:lnTo>
                    <a:lnTo>
                      <a:pt x="177" y="429"/>
                    </a:lnTo>
                    <a:lnTo>
                      <a:pt x="178" y="430"/>
                    </a:lnTo>
                    <a:lnTo>
                      <a:pt x="177" y="432"/>
                    </a:lnTo>
                    <a:lnTo>
                      <a:pt x="177" y="434"/>
                    </a:lnTo>
                    <a:lnTo>
                      <a:pt x="179" y="435"/>
                    </a:lnTo>
                    <a:lnTo>
                      <a:pt x="180" y="435"/>
                    </a:lnTo>
                    <a:lnTo>
                      <a:pt x="182" y="434"/>
                    </a:lnTo>
                    <a:lnTo>
                      <a:pt x="182" y="437"/>
                    </a:lnTo>
                    <a:lnTo>
                      <a:pt x="183" y="438"/>
                    </a:lnTo>
                    <a:lnTo>
                      <a:pt x="185" y="435"/>
                    </a:lnTo>
                    <a:lnTo>
                      <a:pt x="185" y="434"/>
                    </a:lnTo>
                    <a:lnTo>
                      <a:pt x="185" y="433"/>
                    </a:lnTo>
                    <a:lnTo>
                      <a:pt x="187" y="433"/>
                    </a:lnTo>
                    <a:lnTo>
                      <a:pt x="187" y="431"/>
                    </a:lnTo>
                    <a:lnTo>
                      <a:pt x="189" y="430"/>
                    </a:lnTo>
                    <a:lnTo>
                      <a:pt x="190" y="430"/>
                    </a:lnTo>
                    <a:lnTo>
                      <a:pt x="188" y="426"/>
                    </a:lnTo>
                    <a:lnTo>
                      <a:pt x="190" y="425"/>
                    </a:lnTo>
                    <a:lnTo>
                      <a:pt x="191" y="425"/>
                    </a:lnTo>
                    <a:lnTo>
                      <a:pt x="192" y="427"/>
                    </a:lnTo>
                    <a:lnTo>
                      <a:pt x="194" y="427"/>
                    </a:lnTo>
                    <a:lnTo>
                      <a:pt x="194" y="428"/>
                    </a:lnTo>
                    <a:lnTo>
                      <a:pt x="195" y="427"/>
                    </a:lnTo>
                    <a:lnTo>
                      <a:pt x="198" y="425"/>
                    </a:lnTo>
                    <a:lnTo>
                      <a:pt x="201" y="425"/>
                    </a:lnTo>
                    <a:lnTo>
                      <a:pt x="201" y="427"/>
                    </a:lnTo>
                    <a:lnTo>
                      <a:pt x="204" y="429"/>
                    </a:lnTo>
                    <a:lnTo>
                      <a:pt x="204" y="432"/>
                    </a:lnTo>
                    <a:lnTo>
                      <a:pt x="206" y="434"/>
                    </a:lnTo>
                    <a:lnTo>
                      <a:pt x="207" y="435"/>
                    </a:lnTo>
                    <a:lnTo>
                      <a:pt x="208" y="434"/>
                    </a:lnTo>
                    <a:lnTo>
                      <a:pt x="209" y="434"/>
                    </a:lnTo>
                    <a:lnTo>
                      <a:pt x="209" y="432"/>
                    </a:lnTo>
                    <a:lnTo>
                      <a:pt x="211" y="430"/>
                    </a:lnTo>
                    <a:lnTo>
                      <a:pt x="210" y="430"/>
                    </a:lnTo>
                    <a:lnTo>
                      <a:pt x="210" y="429"/>
                    </a:lnTo>
                    <a:lnTo>
                      <a:pt x="209" y="428"/>
                    </a:lnTo>
                    <a:lnTo>
                      <a:pt x="211" y="429"/>
                    </a:lnTo>
                    <a:lnTo>
                      <a:pt x="213" y="426"/>
                    </a:lnTo>
                    <a:lnTo>
                      <a:pt x="215" y="428"/>
                    </a:lnTo>
                    <a:lnTo>
                      <a:pt x="216" y="427"/>
                    </a:lnTo>
                    <a:lnTo>
                      <a:pt x="216" y="426"/>
                    </a:lnTo>
                    <a:lnTo>
                      <a:pt x="216" y="422"/>
                    </a:lnTo>
                    <a:lnTo>
                      <a:pt x="216" y="421"/>
                    </a:lnTo>
                    <a:lnTo>
                      <a:pt x="218" y="422"/>
                    </a:lnTo>
                    <a:lnTo>
                      <a:pt x="223" y="423"/>
                    </a:lnTo>
                    <a:lnTo>
                      <a:pt x="226" y="421"/>
                    </a:lnTo>
                    <a:lnTo>
                      <a:pt x="227" y="418"/>
                    </a:lnTo>
                    <a:lnTo>
                      <a:pt x="229" y="418"/>
                    </a:lnTo>
                    <a:lnTo>
                      <a:pt x="229" y="417"/>
                    </a:lnTo>
                    <a:lnTo>
                      <a:pt x="230" y="417"/>
                    </a:lnTo>
                    <a:lnTo>
                      <a:pt x="230" y="416"/>
                    </a:lnTo>
                    <a:lnTo>
                      <a:pt x="228" y="415"/>
                    </a:lnTo>
                    <a:lnTo>
                      <a:pt x="229" y="413"/>
                    </a:lnTo>
                    <a:lnTo>
                      <a:pt x="230" y="413"/>
                    </a:lnTo>
                    <a:lnTo>
                      <a:pt x="233" y="411"/>
                    </a:lnTo>
                    <a:lnTo>
                      <a:pt x="234" y="410"/>
                    </a:lnTo>
                    <a:lnTo>
                      <a:pt x="237" y="411"/>
                    </a:lnTo>
                    <a:lnTo>
                      <a:pt x="239" y="409"/>
                    </a:lnTo>
                    <a:lnTo>
                      <a:pt x="242" y="411"/>
                    </a:lnTo>
                    <a:lnTo>
                      <a:pt x="243" y="409"/>
                    </a:lnTo>
                    <a:lnTo>
                      <a:pt x="246" y="411"/>
                    </a:lnTo>
                    <a:lnTo>
                      <a:pt x="247" y="411"/>
                    </a:lnTo>
                    <a:lnTo>
                      <a:pt x="247" y="413"/>
                    </a:lnTo>
                    <a:lnTo>
                      <a:pt x="250" y="413"/>
                    </a:lnTo>
                    <a:lnTo>
                      <a:pt x="248" y="411"/>
                    </a:lnTo>
                    <a:lnTo>
                      <a:pt x="250" y="410"/>
                    </a:lnTo>
                    <a:lnTo>
                      <a:pt x="251" y="410"/>
                    </a:lnTo>
                    <a:lnTo>
                      <a:pt x="252" y="410"/>
                    </a:lnTo>
                    <a:lnTo>
                      <a:pt x="251" y="408"/>
                    </a:lnTo>
                    <a:lnTo>
                      <a:pt x="252" y="408"/>
                    </a:lnTo>
                    <a:lnTo>
                      <a:pt x="252" y="407"/>
                    </a:lnTo>
                    <a:lnTo>
                      <a:pt x="251" y="407"/>
                    </a:lnTo>
                    <a:lnTo>
                      <a:pt x="253" y="404"/>
                    </a:lnTo>
                    <a:lnTo>
                      <a:pt x="253" y="402"/>
                    </a:lnTo>
                    <a:lnTo>
                      <a:pt x="254" y="401"/>
                    </a:lnTo>
                    <a:lnTo>
                      <a:pt x="253" y="398"/>
                    </a:lnTo>
                    <a:lnTo>
                      <a:pt x="255" y="399"/>
                    </a:lnTo>
                    <a:lnTo>
                      <a:pt x="256" y="399"/>
                    </a:lnTo>
                    <a:lnTo>
                      <a:pt x="260" y="402"/>
                    </a:lnTo>
                    <a:lnTo>
                      <a:pt x="260" y="403"/>
                    </a:lnTo>
                    <a:lnTo>
                      <a:pt x="258" y="403"/>
                    </a:lnTo>
                    <a:lnTo>
                      <a:pt x="258" y="404"/>
                    </a:lnTo>
                    <a:lnTo>
                      <a:pt x="260" y="404"/>
                    </a:lnTo>
                    <a:lnTo>
                      <a:pt x="261" y="404"/>
                    </a:lnTo>
                    <a:lnTo>
                      <a:pt x="261" y="405"/>
                    </a:lnTo>
                    <a:lnTo>
                      <a:pt x="264" y="402"/>
                    </a:lnTo>
                    <a:lnTo>
                      <a:pt x="268" y="400"/>
                    </a:lnTo>
                    <a:lnTo>
                      <a:pt x="266" y="400"/>
                    </a:lnTo>
                    <a:lnTo>
                      <a:pt x="267" y="394"/>
                    </a:lnTo>
                    <a:lnTo>
                      <a:pt x="271" y="398"/>
                    </a:lnTo>
                    <a:lnTo>
                      <a:pt x="273" y="395"/>
                    </a:lnTo>
                    <a:lnTo>
                      <a:pt x="276" y="393"/>
                    </a:lnTo>
                    <a:lnTo>
                      <a:pt x="277" y="394"/>
                    </a:lnTo>
                    <a:lnTo>
                      <a:pt x="277" y="396"/>
                    </a:lnTo>
                    <a:lnTo>
                      <a:pt x="277" y="398"/>
                    </a:lnTo>
                    <a:lnTo>
                      <a:pt x="278" y="398"/>
                    </a:lnTo>
                    <a:lnTo>
                      <a:pt x="278" y="400"/>
                    </a:lnTo>
                    <a:lnTo>
                      <a:pt x="277" y="400"/>
                    </a:lnTo>
                    <a:lnTo>
                      <a:pt x="278" y="401"/>
                    </a:lnTo>
                    <a:lnTo>
                      <a:pt x="277" y="401"/>
                    </a:lnTo>
                    <a:lnTo>
                      <a:pt x="277" y="402"/>
                    </a:lnTo>
                    <a:lnTo>
                      <a:pt x="278" y="402"/>
                    </a:lnTo>
                    <a:lnTo>
                      <a:pt x="279" y="404"/>
                    </a:lnTo>
                    <a:lnTo>
                      <a:pt x="280" y="403"/>
                    </a:lnTo>
                    <a:lnTo>
                      <a:pt x="280" y="401"/>
                    </a:lnTo>
                    <a:lnTo>
                      <a:pt x="280" y="402"/>
                    </a:lnTo>
                    <a:lnTo>
                      <a:pt x="281" y="404"/>
                    </a:lnTo>
                    <a:lnTo>
                      <a:pt x="280" y="404"/>
                    </a:lnTo>
                    <a:lnTo>
                      <a:pt x="280" y="405"/>
                    </a:lnTo>
                    <a:lnTo>
                      <a:pt x="283" y="407"/>
                    </a:lnTo>
                    <a:lnTo>
                      <a:pt x="285" y="408"/>
                    </a:lnTo>
                    <a:lnTo>
                      <a:pt x="288" y="409"/>
                    </a:lnTo>
                    <a:lnTo>
                      <a:pt x="289" y="408"/>
                    </a:lnTo>
                    <a:lnTo>
                      <a:pt x="291" y="408"/>
                    </a:lnTo>
                    <a:lnTo>
                      <a:pt x="293" y="406"/>
                    </a:lnTo>
                    <a:lnTo>
                      <a:pt x="294" y="406"/>
                    </a:lnTo>
                    <a:lnTo>
                      <a:pt x="295" y="403"/>
                    </a:lnTo>
                    <a:lnTo>
                      <a:pt x="294" y="401"/>
                    </a:lnTo>
                    <a:lnTo>
                      <a:pt x="294" y="400"/>
                    </a:lnTo>
                    <a:lnTo>
                      <a:pt x="296" y="400"/>
                    </a:lnTo>
                    <a:lnTo>
                      <a:pt x="296" y="401"/>
                    </a:lnTo>
                    <a:lnTo>
                      <a:pt x="296" y="403"/>
                    </a:lnTo>
                    <a:lnTo>
                      <a:pt x="298" y="403"/>
                    </a:lnTo>
                    <a:lnTo>
                      <a:pt x="298" y="404"/>
                    </a:lnTo>
                    <a:lnTo>
                      <a:pt x="300" y="404"/>
                    </a:lnTo>
                    <a:lnTo>
                      <a:pt x="301" y="404"/>
                    </a:lnTo>
                    <a:lnTo>
                      <a:pt x="303" y="406"/>
                    </a:lnTo>
                    <a:lnTo>
                      <a:pt x="304" y="407"/>
                    </a:lnTo>
                    <a:lnTo>
                      <a:pt x="305" y="406"/>
                    </a:lnTo>
                    <a:lnTo>
                      <a:pt x="307" y="406"/>
                    </a:lnTo>
                    <a:lnTo>
                      <a:pt x="308" y="409"/>
                    </a:lnTo>
                    <a:lnTo>
                      <a:pt x="309" y="410"/>
                    </a:lnTo>
                    <a:lnTo>
                      <a:pt x="309" y="407"/>
                    </a:lnTo>
                    <a:lnTo>
                      <a:pt x="309" y="406"/>
                    </a:lnTo>
                    <a:lnTo>
                      <a:pt x="311" y="406"/>
                    </a:lnTo>
                    <a:lnTo>
                      <a:pt x="313" y="407"/>
                    </a:lnTo>
                    <a:lnTo>
                      <a:pt x="313" y="406"/>
                    </a:lnTo>
                    <a:lnTo>
                      <a:pt x="314" y="406"/>
                    </a:lnTo>
                    <a:lnTo>
                      <a:pt x="318" y="408"/>
                    </a:lnTo>
                    <a:lnTo>
                      <a:pt x="318" y="407"/>
                    </a:lnTo>
                    <a:lnTo>
                      <a:pt x="320" y="407"/>
                    </a:lnTo>
                    <a:lnTo>
                      <a:pt x="318" y="406"/>
                    </a:lnTo>
                    <a:lnTo>
                      <a:pt x="320" y="406"/>
                    </a:lnTo>
                    <a:lnTo>
                      <a:pt x="320" y="404"/>
                    </a:lnTo>
                    <a:lnTo>
                      <a:pt x="321" y="404"/>
                    </a:lnTo>
                    <a:lnTo>
                      <a:pt x="322" y="406"/>
                    </a:lnTo>
                    <a:lnTo>
                      <a:pt x="326" y="404"/>
                    </a:lnTo>
                    <a:lnTo>
                      <a:pt x="326" y="403"/>
                    </a:lnTo>
                    <a:lnTo>
                      <a:pt x="325" y="402"/>
                    </a:lnTo>
                    <a:lnTo>
                      <a:pt x="325" y="400"/>
                    </a:lnTo>
                    <a:lnTo>
                      <a:pt x="321" y="398"/>
                    </a:lnTo>
                    <a:lnTo>
                      <a:pt x="324" y="396"/>
                    </a:lnTo>
                    <a:lnTo>
                      <a:pt x="323" y="395"/>
                    </a:lnTo>
                    <a:lnTo>
                      <a:pt x="324" y="396"/>
                    </a:lnTo>
                    <a:lnTo>
                      <a:pt x="329" y="394"/>
                    </a:lnTo>
                    <a:lnTo>
                      <a:pt x="330" y="394"/>
                    </a:lnTo>
                    <a:lnTo>
                      <a:pt x="332" y="393"/>
                    </a:lnTo>
                    <a:lnTo>
                      <a:pt x="333" y="393"/>
                    </a:lnTo>
                    <a:lnTo>
                      <a:pt x="336" y="394"/>
                    </a:lnTo>
                    <a:lnTo>
                      <a:pt x="337" y="393"/>
                    </a:lnTo>
                    <a:lnTo>
                      <a:pt x="339" y="394"/>
                    </a:lnTo>
                    <a:lnTo>
                      <a:pt x="342" y="393"/>
                    </a:lnTo>
                    <a:lnTo>
                      <a:pt x="345" y="395"/>
                    </a:lnTo>
                    <a:lnTo>
                      <a:pt x="346" y="393"/>
                    </a:lnTo>
                    <a:lnTo>
                      <a:pt x="346" y="392"/>
                    </a:lnTo>
                    <a:lnTo>
                      <a:pt x="348" y="390"/>
                    </a:lnTo>
                    <a:lnTo>
                      <a:pt x="350" y="390"/>
                    </a:lnTo>
                    <a:lnTo>
                      <a:pt x="350" y="388"/>
                    </a:lnTo>
                    <a:lnTo>
                      <a:pt x="348" y="384"/>
                    </a:lnTo>
                    <a:lnTo>
                      <a:pt x="349" y="383"/>
                    </a:lnTo>
                    <a:lnTo>
                      <a:pt x="351" y="383"/>
                    </a:lnTo>
                    <a:lnTo>
                      <a:pt x="353" y="383"/>
                    </a:lnTo>
                    <a:lnTo>
                      <a:pt x="355" y="383"/>
                    </a:lnTo>
                    <a:lnTo>
                      <a:pt x="356" y="383"/>
                    </a:lnTo>
                    <a:lnTo>
                      <a:pt x="357" y="381"/>
                    </a:lnTo>
                    <a:lnTo>
                      <a:pt x="359" y="381"/>
                    </a:lnTo>
                    <a:lnTo>
                      <a:pt x="359" y="380"/>
                    </a:lnTo>
                    <a:lnTo>
                      <a:pt x="361" y="378"/>
                    </a:lnTo>
                    <a:lnTo>
                      <a:pt x="362" y="376"/>
                    </a:lnTo>
                    <a:lnTo>
                      <a:pt x="362" y="377"/>
                    </a:lnTo>
                    <a:lnTo>
                      <a:pt x="362" y="376"/>
                    </a:lnTo>
                    <a:lnTo>
                      <a:pt x="364" y="370"/>
                    </a:lnTo>
                    <a:lnTo>
                      <a:pt x="363" y="370"/>
                    </a:lnTo>
                    <a:lnTo>
                      <a:pt x="363" y="367"/>
                    </a:lnTo>
                    <a:lnTo>
                      <a:pt x="360" y="367"/>
                    </a:lnTo>
                    <a:lnTo>
                      <a:pt x="362" y="364"/>
                    </a:lnTo>
                    <a:lnTo>
                      <a:pt x="362" y="362"/>
                    </a:lnTo>
                    <a:lnTo>
                      <a:pt x="361" y="361"/>
                    </a:lnTo>
                    <a:lnTo>
                      <a:pt x="361" y="363"/>
                    </a:lnTo>
                    <a:lnTo>
                      <a:pt x="358" y="365"/>
                    </a:lnTo>
                    <a:lnTo>
                      <a:pt x="356" y="364"/>
                    </a:lnTo>
                    <a:lnTo>
                      <a:pt x="355" y="366"/>
                    </a:lnTo>
                    <a:lnTo>
                      <a:pt x="354" y="366"/>
                    </a:lnTo>
                    <a:lnTo>
                      <a:pt x="356" y="364"/>
                    </a:lnTo>
                    <a:lnTo>
                      <a:pt x="356" y="362"/>
                    </a:lnTo>
                    <a:lnTo>
                      <a:pt x="357" y="363"/>
                    </a:lnTo>
                    <a:lnTo>
                      <a:pt x="358" y="361"/>
                    </a:lnTo>
                    <a:lnTo>
                      <a:pt x="356" y="358"/>
                    </a:lnTo>
                    <a:lnTo>
                      <a:pt x="356" y="357"/>
                    </a:lnTo>
                    <a:lnTo>
                      <a:pt x="356" y="354"/>
                    </a:lnTo>
                    <a:lnTo>
                      <a:pt x="354" y="355"/>
                    </a:lnTo>
                    <a:lnTo>
                      <a:pt x="355" y="353"/>
                    </a:lnTo>
                    <a:lnTo>
                      <a:pt x="353" y="353"/>
                    </a:lnTo>
                    <a:lnTo>
                      <a:pt x="354" y="351"/>
                    </a:lnTo>
                    <a:lnTo>
                      <a:pt x="356" y="347"/>
                    </a:lnTo>
                    <a:lnTo>
                      <a:pt x="359" y="347"/>
                    </a:lnTo>
                    <a:lnTo>
                      <a:pt x="362" y="349"/>
                    </a:lnTo>
                    <a:lnTo>
                      <a:pt x="364" y="347"/>
                    </a:lnTo>
                    <a:lnTo>
                      <a:pt x="364" y="346"/>
                    </a:lnTo>
                    <a:lnTo>
                      <a:pt x="366" y="348"/>
                    </a:lnTo>
                    <a:lnTo>
                      <a:pt x="368" y="345"/>
                    </a:lnTo>
                    <a:lnTo>
                      <a:pt x="366" y="344"/>
                    </a:lnTo>
                    <a:lnTo>
                      <a:pt x="366" y="340"/>
                    </a:lnTo>
                    <a:lnTo>
                      <a:pt x="367" y="338"/>
                    </a:lnTo>
                    <a:lnTo>
                      <a:pt x="367" y="339"/>
                    </a:lnTo>
                    <a:lnTo>
                      <a:pt x="368" y="337"/>
                    </a:lnTo>
                    <a:lnTo>
                      <a:pt x="366" y="334"/>
                    </a:lnTo>
                    <a:lnTo>
                      <a:pt x="365" y="332"/>
                    </a:lnTo>
                    <a:lnTo>
                      <a:pt x="363" y="332"/>
                    </a:lnTo>
                    <a:lnTo>
                      <a:pt x="361" y="331"/>
                    </a:lnTo>
                    <a:lnTo>
                      <a:pt x="359" y="331"/>
                    </a:lnTo>
                    <a:lnTo>
                      <a:pt x="358" y="330"/>
                    </a:lnTo>
                    <a:lnTo>
                      <a:pt x="359" y="326"/>
                    </a:lnTo>
                    <a:lnTo>
                      <a:pt x="359" y="324"/>
                    </a:lnTo>
                    <a:lnTo>
                      <a:pt x="360" y="322"/>
                    </a:lnTo>
                    <a:lnTo>
                      <a:pt x="362" y="317"/>
                    </a:lnTo>
                    <a:lnTo>
                      <a:pt x="364" y="315"/>
                    </a:lnTo>
                    <a:lnTo>
                      <a:pt x="364" y="313"/>
                    </a:lnTo>
                    <a:lnTo>
                      <a:pt x="366" y="311"/>
                    </a:lnTo>
                    <a:lnTo>
                      <a:pt x="369" y="311"/>
                    </a:lnTo>
                    <a:lnTo>
                      <a:pt x="369" y="313"/>
                    </a:lnTo>
                    <a:lnTo>
                      <a:pt x="370" y="313"/>
                    </a:lnTo>
                    <a:lnTo>
                      <a:pt x="371" y="312"/>
                    </a:lnTo>
                    <a:lnTo>
                      <a:pt x="373" y="311"/>
                    </a:lnTo>
                    <a:lnTo>
                      <a:pt x="374" y="311"/>
                    </a:lnTo>
                    <a:lnTo>
                      <a:pt x="375" y="311"/>
                    </a:lnTo>
                    <a:lnTo>
                      <a:pt x="375" y="307"/>
                    </a:lnTo>
                    <a:lnTo>
                      <a:pt x="372" y="306"/>
                    </a:lnTo>
                    <a:lnTo>
                      <a:pt x="373" y="303"/>
                    </a:lnTo>
                    <a:lnTo>
                      <a:pt x="372" y="303"/>
                    </a:lnTo>
                    <a:lnTo>
                      <a:pt x="372" y="302"/>
                    </a:lnTo>
                    <a:lnTo>
                      <a:pt x="368" y="302"/>
                    </a:lnTo>
                    <a:lnTo>
                      <a:pt x="367" y="300"/>
                    </a:lnTo>
                    <a:lnTo>
                      <a:pt x="367" y="297"/>
                    </a:lnTo>
                    <a:lnTo>
                      <a:pt x="369" y="294"/>
                    </a:lnTo>
                    <a:lnTo>
                      <a:pt x="369" y="293"/>
                    </a:lnTo>
                    <a:lnTo>
                      <a:pt x="370" y="294"/>
                    </a:lnTo>
                    <a:lnTo>
                      <a:pt x="373" y="293"/>
                    </a:lnTo>
                    <a:lnTo>
                      <a:pt x="373" y="292"/>
                    </a:lnTo>
                    <a:lnTo>
                      <a:pt x="375" y="293"/>
                    </a:lnTo>
                    <a:lnTo>
                      <a:pt x="375" y="292"/>
                    </a:lnTo>
                    <a:lnTo>
                      <a:pt x="374" y="290"/>
                    </a:lnTo>
                    <a:lnTo>
                      <a:pt x="375" y="289"/>
                    </a:lnTo>
                    <a:lnTo>
                      <a:pt x="377" y="289"/>
                    </a:lnTo>
                    <a:lnTo>
                      <a:pt x="378" y="288"/>
                    </a:lnTo>
                    <a:lnTo>
                      <a:pt x="378" y="286"/>
                    </a:lnTo>
                    <a:lnTo>
                      <a:pt x="379" y="285"/>
                    </a:lnTo>
                    <a:lnTo>
                      <a:pt x="378" y="283"/>
                    </a:lnTo>
                    <a:lnTo>
                      <a:pt x="378" y="282"/>
                    </a:lnTo>
                    <a:lnTo>
                      <a:pt x="378" y="281"/>
                    </a:lnTo>
                    <a:lnTo>
                      <a:pt x="378" y="279"/>
                    </a:lnTo>
                    <a:lnTo>
                      <a:pt x="379" y="279"/>
                    </a:lnTo>
                    <a:lnTo>
                      <a:pt x="382" y="279"/>
                    </a:lnTo>
                    <a:lnTo>
                      <a:pt x="384" y="278"/>
                    </a:lnTo>
                    <a:lnTo>
                      <a:pt x="386" y="279"/>
                    </a:lnTo>
                    <a:lnTo>
                      <a:pt x="390" y="276"/>
                    </a:lnTo>
                    <a:lnTo>
                      <a:pt x="392" y="274"/>
                    </a:lnTo>
                    <a:lnTo>
                      <a:pt x="392" y="272"/>
                    </a:lnTo>
                    <a:lnTo>
                      <a:pt x="395" y="272"/>
                    </a:lnTo>
                    <a:lnTo>
                      <a:pt x="395" y="274"/>
                    </a:lnTo>
                    <a:lnTo>
                      <a:pt x="396" y="275"/>
                    </a:lnTo>
                    <a:lnTo>
                      <a:pt x="396" y="274"/>
                    </a:lnTo>
                    <a:lnTo>
                      <a:pt x="398" y="272"/>
                    </a:lnTo>
                    <a:lnTo>
                      <a:pt x="400" y="272"/>
                    </a:lnTo>
                    <a:lnTo>
                      <a:pt x="403" y="270"/>
                    </a:lnTo>
                    <a:lnTo>
                      <a:pt x="403" y="268"/>
                    </a:lnTo>
                    <a:lnTo>
                      <a:pt x="406" y="268"/>
                    </a:lnTo>
                    <a:lnTo>
                      <a:pt x="406" y="266"/>
                    </a:lnTo>
                    <a:lnTo>
                      <a:pt x="405" y="266"/>
                    </a:lnTo>
                    <a:lnTo>
                      <a:pt x="406" y="266"/>
                    </a:lnTo>
                    <a:lnTo>
                      <a:pt x="405" y="264"/>
                    </a:lnTo>
                    <a:lnTo>
                      <a:pt x="403" y="260"/>
                    </a:lnTo>
                    <a:lnTo>
                      <a:pt x="406" y="258"/>
                    </a:lnTo>
                    <a:lnTo>
                      <a:pt x="405" y="258"/>
                    </a:lnTo>
                    <a:lnTo>
                      <a:pt x="404" y="253"/>
                    </a:lnTo>
                    <a:lnTo>
                      <a:pt x="405" y="253"/>
                    </a:lnTo>
                    <a:lnTo>
                      <a:pt x="405" y="251"/>
                    </a:lnTo>
                    <a:lnTo>
                      <a:pt x="406" y="248"/>
                    </a:lnTo>
                    <a:lnTo>
                      <a:pt x="406" y="246"/>
                    </a:lnTo>
                    <a:lnTo>
                      <a:pt x="407" y="244"/>
                    </a:lnTo>
                    <a:lnTo>
                      <a:pt x="408" y="243"/>
                    </a:lnTo>
                    <a:lnTo>
                      <a:pt x="408" y="240"/>
                    </a:lnTo>
                    <a:lnTo>
                      <a:pt x="406" y="242"/>
                    </a:lnTo>
                    <a:lnTo>
                      <a:pt x="405" y="241"/>
                    </a:lnTo>
                    <a:lnTo>
                      <a:pt x="404" y="239"/>
                    </a:lnTo>
                    <a:lnTo>
                      <a:pt x="406" y="238"/>
                    </a:lnTo>
                    <a:lnTo>
                      <a:pt x="405" y="236"/>
                    </a:lnTo>
                    <a:lnTo>
                      <a:pt x="405" y="235"/>
                    </a:lnTo>
                    <a:lnTo>
                      <a:pt x="406" y="234"/>
                    </a:lnTo>
                    <a:lnTo>
                      <a:pt x="404" y="229"/>
                    </a:lnTo>
                    <a:lnTo>
                      <a:pt x="405" y="226"/>
                    </a:lnTo>
                    <a:lnTo>
                      <a:pt x="406" y="225"/>
                    </a:lnTo>
                    <a:lnTo>
                      <a:pt x="408" y="223"/>
                    </a:lnTo>
                    <a:lnTo>
                      <a:pt x="410" y="221"/>
                    </a:lnTo>
                    <a:lnTo>
                      <a:pt x="408" y="217"/>
                    </a:lnTo>
                    <a:lnTo>
                      <a:pt x="412" y="215"/>
                    </a:lnTo>
                    <a:lnTo>
                      <a:pt x="413" y="213"/>
                    </a:lnTo>
                    <a:lnTo>
                      <a:pt x="410" y="212"/>
                    </a:lnTo>
                    <a:lnTo>
                      <a:pt x="410" y="211"/>
                    </a:lnTo>
                    <a:lnTo>
                      <a:pt x="410" y="209"/>
                    </a:lnTo>
                    <a:lnTo>
                      <a:pt x="411" y="208"/>
                    </a:lnTo>
                    <a:lnTo>
                      <a:pt x="410" y="208"/>
                    </a:lnTo>
                    <a:lnTo>
                      <a:pt x="409" y="209"/>
                    </a:lnTo>
                    <a:lnTo>
                      <a:pt x="408" y="208"/>
                    </a:lnTo>
                    <a:lnTo>
                      <a:pt x="406" y="206"/>
                    </a:lnTo>
                    <a:lnTo>
                      <a:pt x="405" y="204"/>
                    </a:lnTo>
                    <a:lnTo>
                      <a:pt x="406" y="203"/>
                    </a:lnTo>
                    <a:lnTo>
                      <a:pt x="406" y="202"/>
                    </a:lnTo>
                    <a:lnTo>
                      <a:pt x="404" y="200"/>
                    </a:lnTo>
                    <a:lnTo>
                      <a:pt x="405" y="200"/>
                    </a:lnTo>
                    <a:lnTo>
                      <a:pt x="407" y="200"/>
                    </a:lnTo>
                    <a:lnTo>
                      <a:pt x="408" y="201"/>
                    </a:lnTo>
                    <a:lnTo>
                      <a:pt x="409" y="205"/>
                    </a:lnTo>
                    <a:lnTo>
                      <a:pt x="412" y="204"/>
                    </a:lnTo>
                    <a:lnTo>
                      <a:pt x="413" y="203"/>
                    </a:lnTo>
                    <a:lnTo>
                      <a:pt x="413" y="202"/>
                    </a:lnTo>
                    <a:lnTo>
                      <a:pt x="416" y="200"/>
                    </a:lnTo>
                    <a:lnTo>
                      <a:pt x="418" y="197"/>
                    </a:lnTo>
                    <a:lnTo>
                      <a:pt x="419" y="197"/>
                    </a:lnTo>
                    <a:lnTo>
                      <a:pt x="422" y="191"/>
                    </a:lnTo>
                    <a:lnTo>
                      <a:pt x="422" y="1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6" name="Freeform 67">
                <a:extLst>
                  <a:ext uri="{FF2B5EF4-FFF2-40B4-BE49-F238E27FC236}">
                    <a16:creationId xmlns:a16="http://schemas.microsoft.com/office/drawing/2014/main" id="{603C2DDF-86EB-4003-8BB6-96FDA1BEF5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6" y="3285"/>
                <a:ext cx="422" cy="438"/>
              </a:xfrm>
              <a:custGeom>
                <a:avLst/>
                <a:gdLst>
                  <a:gd name="T0" fmla="*/ 418 w 422"/>
                  <a:gd name="T1" fmla="*/ 168 h 438"/>
                  <a:gd name="T2" fmla="*/ 390 w 422"/>
                  <a:gd name="T3" fmla="*/ 138 h 438"/>
                  <a:gd name="T4" fmla="*/ 364 w 422"/>
                  <a:gd name="T5" fmla="*/ 110 h 438"/>
                  <a:gd name="T6" fmla="*/ 338 w 422"/>
                  <a:gd name="T7" fmla="*/ 91 h 438"/>
                  <a:gd name="T8" fmla="*/ 320 w 422"/>
                  <a:gd name="T9" fmla="*/ 76 h 438"/>
                  <a:gd name="T10" fmla="*/ 291 w 422"/>
                  <a:gd name="T11" fmla="*/ 93 h 438"/>
                  <a:gd name="T12" fmla="*/ 269 w 422"/>
                  <a:gd name="T13" fmla="*/ 61 h 438"/>
                  <a:gd name="T14" fmla="*/ 255 w 422"/>
                  <a:gd name="T15" fmla="*/ 47 h 438"/>
                  <a:gd name="T16" fmla="*/ 244 w 422"/>
                  <a:gd name="T17" fmla="*/ 35 h 438"/>
                  <a:gd name="T18" fmla="*/ 226 w 422"/>
                  <a:gd name="T19" fmla="*/ 32 h 438"/>
                  <a:gd name="T20" fmla="*/ 213 w 422"/>
                  <a:gd name="T21" fmla="*/ 24 h 438"/>
                  <a:gd name="T22" fmla="*/ 190 w 422"/>
                  <a:gd name="T23" fmla="*/ 0 h 438"/>
                  <a:gd name="T24" fmla="*/ 171 w 422"/>
                  <a:gd name="T25" fmla="*/ 11 h 438"/>
                  <a:gd name="T26" fmla="*/ 165 w 422"/>
                  <a:gd name="T27" fmla="*/ 29 h 438"/>
                  <a:gd name="T28" fmla="*/ 150 w 422"/>
                  <a:gd name="T29" fmla="*/ 34 h 438"/>
                  <a:gd name="T30" fmla="*/ 126 w 422"/>
                  <a:gd name="T31" fmla="*/ 41 h 438"/>
                  <a:gd name="T32" fmla="*/ 109 w 422"/>
                  <a:gd name="T33" fmla="*/ 41 h 438"/>
                  <a:gd name="T34" fmla="*/ 96 w 422"/>
                  <a:gd name="T35" fmla="*/ 62 h 438"/>
                  <a:gd name="T36" fmla="*/ 112 w 422"/>
                  <a:gd name="T37" fmla="*/ 94 h 438"/>
                  <a:gd name="T38" fmla="*/ 97 w 422"/>
                  <a:gd name="T39" fmla="*/ 104 h 438"/>
                  <a:gd name="T40" fmla="*/ 86 w 422"/>
                  <a:gd name="T41" fmla="*/ 114 h 438"/>
                  <a:gd name="T42" fmla="*/ 72 w 422"/>
                  <a:gd name="T43" fmla="*/ 104 h 438"/>
                  <a:gd name="T44" fmla="*/ 49 w 422"/>
                  <a:gd name="T45" fmla="*/ 105 h 438"/>
                  <a:gd name="T46" fmla="*/ 37 w 422"/>
                  <a:gd name="T47" fmla="*/ 112 h 438"/>
                  <a:gd name="T48" fmla="*/ 21 w 422"/>
                  <a:gd name="T49" fmla="*/ 130 h 438"/>
                  <a:gd name="T50" fmla="*/ 16 w 422"/>
                  <a:gd name="T51" fmla="*/ 149 h 438"/>
                  <a:gd name="T52" fmla="*/ 5 w 422"/>
                  <a:gd name="T53" fmla="*/ 183 h 438"/>
                  <a:gd name="T54" fmla="*/ 1 w 422"/>
                  <a:gd name="T55" fmla="*/ 201 h 438"/>
                  <a:gd name="T56" fmla="*/ 1 w 422"/>
                  <a:gd name="T57" fmla="*/ 223 h 438"/>
                  <a:gd name="T58" fmla="*/ 19 w 422"/>
                  <a:gd name="T59" fmla="*/ 253 h 438"/>
                  <a:gd name="T60" fmla="*/ 43 w 422"/>
                  <a:gd name="T61" fmla="*/ 258 h 438"/>
                  <a:gd name="T62" fmla="*/ 58 w 422"/>
                  <a:gd name="T63" fmla="*/ 275 h 438"/>
                  <a:gd name="T64" fmla="*/ 85 w 422"/>
                  <a:gd name="T65" fmla="*/ 288 h 438"/>
                  <a:gd name="T66" fmla="*/ 109 w 422"/>
                  <a:gd name="T67" fmla="*/ 293 h 438"/>
                  <a:gd name="T68" fmla="*/ 113 w 422"/>
                  <a:gd name="T69" fmla="*/ 321 h 438"/>
                  <a:gd name="T70" fmla="*/ 131 w 422"/>
                  <a:gd name="T71" fmla="*/ 341 h 438"/>
                  <a:gd name="T72" fmla="*/ 153 w 422"/>
                  <a:gd name="T73" fmla="*/ 347 h 438"/>
                  <a:gd name="T74" fmla="*/ 172 w 422"/>
                  <a:gd name="T75" fmla="*/ 351 h 438"/>
                  <a:gd name="T76" fmla="*/ 173 w 422"/>
                  <a:gd name="T77" fmla="*/ 371 h 438"/>
                  <a:gd name="T78" fmla="*/ 156 w 422"/>
                  <a:gd name="T79" fmla="*/ 388 h 438"/>
                  <a:gd name="T80" fmla="*/ 144 w 422"/>
                  <a:gd name="T81" fmla="*/ 407 h 438"/>
                  <a:gd name="T82" fmla="*/ 166 w 422"/>
                  <a:gd name="T83" fmla="*/ 424 h 438"/>
                  <a:gd name="T84" fmla="*/ 179 w 422"/>
                  <a:gd name="T85" fmla="*/ 435 h 438"/>
                  <a:gd name="T86" fmla="*/ 195 w 422"/>
                  <a:gd name="T87" fmla="*/ 427 h 438"/>
                  <a:gd name="T88" fmla="*/ 216 w 422"/>
                  <a:gd name="T89" fmla="*/ 427 h 438"/>
                  <a:gd name="T90" fmla="*/ 239 w 422"/>
                  <a:gd name="T91" fmla="*/ 409 h 438"/>
                  <a:gd name="T92" fmla="*/ 253 w 422"/>
                  <a:gd name="T93" fmla="*/ 398 h 438"/>
                  <a:gd name="T94" fmla="*/ 277 w 422"/>
                  <a:gd name="T95" fmla="*/ 396 h 438"/>
                  <a:gd name="T96" fmla="*/ 288 w 422"/>
                  <a:gd name="T97" fmla="*/ 409 h 438"/>
                  <a:gd name="T98" fmla="*/ 307 w 422"/>
                  <a:gd name="T99" fmla="*/ 406 h 438"/>
                  <a:gd name="T100" fmla="*/ 326 w 422"/>
                  <a:gd name="T101" fmla="*/ 404 h 438"/>
                  <a:gd name="T102" fmla="*/ 346 w 422"/>
                  <a:gd name="T103" fmla="*/ 392 h 438"/>
                  <a:gd name="T104" fmla="*/ 363 w 422"/>
                  <a:gd name="T105" fmla="*/ 370 h 438"/>
                  <a:gd name="T106" fmla="*/ 354 w 422"/>
                  <a:gd name="T107" fmla="*/ 355 h 438"/>
                  <a:gd name="T108" fmla="*/ 363 w 422"/>
                  <a:gd name="T109" fmla="*/ 332 h 438"/>
                  <a:gd name="T110" fmla="*/ 375 w 422"/>
                  <a:gd name="T111" fmla="*/ 311 h 438"/>
                  <a:gd name="T112" fmla="*/ 377 w 422"/>
                  <a:gd name="T113" fmla="*/ 289 h 438"/>
                  <a:gd name="T114" fmla="*/ 396 w 422"/>
                  <a:gd name="T115" fmla="*/ 275 h 438"/>
                  <a:gd name="T116" fmla="*/ 405 w 422"/>
                  <a:gd name="T117" fmla="*/ 253 h 438"/>
                  <a:gd name="T118" fmla="*/ 410 w 422"/>
                  <a:gd name="T119" fmla="*/ 221 h 438"/>
                  <a:gd name="T120" fmla="*/ 408 w 422"/>
                  <a:gd name="T121" fmla="*/ 201 h 43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22"/>
                  <a:gd name="T184" fmla="*/ 0 h 438"/>
                  <a:gd name="T185" fmla="*/ 422 w 422"/>
                  <a:gd name="T186" fmla="*/ 438 h 43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22" h="438">
                    <a:moveTo>
                      <a:pt x="422" y="187"/>
                    </a:moveTo>
                    <a:lnTo>
                      <a:pt x="421" y="184"/>
                    </a:lnTo>
                    <a:lnTo>
                      <a:pt x="417" y="183"/>
                    </a:lnTo>
                    <a:lnTo>
                      <a:pt x="417" y="182"/>
                    </a:lnTo>
                    <a:lnTo>
                      <a:pt x="415" y="182"/>
                    </a:lnTo>
                    <a:lnTo>
                      <a:pt x="414" y="181"/>
                    </a:lnTo>
                    <a:lnTo>
                      <a:pt x="414" y="180"/>
                    </a:lnTo>
                    <a:lnTo>
                      <a:pt x="413" y="179"/>
                    </a:lnTo>
                    <a:lnTo>
                      <a:pt x="413" y="178"/>
                    </a:lnTo>
                    <a:lnTo>
                      <a:pt x="411" y="177"/>
                    </a:lnTo>
                    <a:lnTo>
                      <a:pt x="412" y="175"/>
                    </a:lnTo>
                    <a:lnTo>
                      <a:pt x="414" y="175"/>
                    </a:lnTo>
                    <a:lnTo>
                      <a:pt x="415" y="174"/>
                    </a:lnTo>
                    <a:lnTo>
                      <a:pt x="417" y="172"/>
                    </a:lnTo>
                    <a:lnTo>
                      <a:pt x="417" y="169"/>
                    </a:lnTo>
                    <a:lnTo>
                      <a:pt x="418" y="169"/>
                    </a:lnTo>
                    <a:lnTo>
                      <a:pt x="418" y="168"/>
                    </a:lnTo>
                    <a:lnTo>
                      <a:pt x="418" y="164"/>
                    </a:lnTo>
                    <a:lnTo>
                      <a:pt x="418" y="163"/>
                    </a:lnTo>
                    <a:lnTo>
                      <a:pt x="414" y="157"/>
                    </a:lnTo>
                    <a:lnTo>
                      <a:pt x="414" y="155"/>
                    </a:lnTo>
                    <a:lnTo>
                      <a:pt x="413" y="152"/>
                    </a:lnTo>
                    <a:lnTo>
                      <a:pt x="410" y="152"/>
                    </a:lnTo>
                    <a:lnTo>
                      <a:pt x="408" y="149"/>
                    </a:lnTo>
                    <a:lnTo>
                      <a:pt x="408" y="147"/>
                    </a:lnTo>
                    <a:lnTo>
                      <a:pt x="405" y="145"/>
                    </a:lnTo>
                    <a:lnTo>
                      <a:pt x="403" y="145"/>
                    </a:lnTo>
                    <a:lnTo>
                      <a:pt x="400" y="142"/>
                    </a:lnTo>
                    <a:lnTo>
                      <a:pt x="398" y="143"/>
                    </a:lnTo>
                    <a:lnTo>
                      <a:pt x="396" y="140"/>
                    </a:lnTo>
                    <a:lnTo>
                      <a:pt x="395" y="142"/>
                    </a:lnTo>
                    <a:lnTo>
                      <a:pt x="394" y="142"/>
                    </a:lnTo>
                    <a:lnTo>
                      <a:pt x="392" y="142"/>
                    </a:lnTo>
                    <a:lnTo>
                      <a:pt x="391" y="139"/>
                    </a:lnTo>
                    <a:lnTo>
                      <a:pt x="390" y="138"/>
                    </a:lnTo>
                    <a:lnTo>
                      <a:pt x="387" y="136"/>
                    </a:lnTo>
                    <a:lnTo>
                      <a:pt x="389" y="132"/>
                    </a:lnTo>
                    <a:lnTo>
                      <a:pt x="387" y="131"/>
                    </a:lnTo>
                    <a:lnTo>
                      <a:pt x="385" y="128"/>
                    </a:lnTo>
                    <a:lnTo>
                      <a:pt x="382" y="122"/>
                    </a:lnTo>
                    <a:lnTo>
                      <a:pt x="380" y="120"/>
                    </a:lnTo>
                    <a:lnTo>
                      <a:pt x="377" y="119"/>
                    </a:lnTo>
                    <a:lnTo>
                      <a:pt x="375" y="117"/>
                    </a:lnTo>
                    <a:lnTo>
                      <a:pt x="374" y="117"/>
                    </a:lnTo>
                    <a:lnTo>
                      <a:pt x="372" y="117"/>
                    </a:lnTo>
                    <a:lnTo>
                      <a:pt x="372" y="115"/>
                    </a:lnTo>
                    <a:lnTo>
                      <a:pt x="370" y="114"/>
                    </a:lnTo>
                    <a:lnTo>
                      <a:pt x="369" y="111"/>
                    </a:lnTo>
                    <a:lnTo>
                      <a:pt x="368" y="111"/>
                    </a:lnTo>
                    <a:lnTo>
                      <a:pt x="367" y="113"/>
                    </a:lnTo>
                    <a:lnTo>
                      <a:pt x="366" y="113"/>
                    </a:lnTo>
                    <a:lnTo>
                      <a:pt x="364" y="110"/>
                    </a:lnTo>
                    <a:lnTo>
                      <a:pt x="362" y="108"/>
                    </a:lnTo>
                    <a:lnTo>
                      <a:pt x="360" y="108"/>
                    </a:lnTo>
                    <a:lnTo>
                      <a:pt x="358" y="110"/>
                    </a:lnTo>
                    <a:lnTo>
                      <a:pt x="357" y="109"/>
                    </a:lnTo>
                    <a:lnTo>
                      <a:pt x="358" y="108"/>
                    </a:lnTo>
                    <a:lnTo>
                      <a:pt x="356" y="105"/>
                    </a:lnTo>
                    <a:lnTo>
                      <a:pt x="355" y="103"/>
                    </a:lnTo>
                    <a:lnTo>
                      <a:pt x="351" y="105"/>
                    </a:lnTo>
                    <a:lnTo>
                      <a:pt x="348" y="104"/>
                    </a:lnTo>
                    <a:lnTo>
                      <a:pt x="346" y="104"/>
                    </a:lnTo>
                    <a:lnTo>
                      <a:pt x="345" y="105"/>
                    </a:lnTo>
                    <a:lnTo>
                      <a:pt x="343" y="103"/>
                    </a:lnTo>
                    <a:lnTo>
                      <a:pt x="342" y="97"/>
                    </a:lnTo>
                    <a:lnTo>
                      <a:pt x="340" y="94"/>
                    </a:lnTo>
                    <a:lnTo>
                      <a:pt x="339" y="93"/>
                    </a:lnTo>
                    <a:lnTo>
                      <a:pt x="338" y="91"/>
                    </a:lnTo>
                    <a:lnTo>
                      <a:pt x="337" y="91"/>
                    </a:lnTo>
                    <a:lnTo>
                      <a:pt x="335" y="89"/>
                    </a:lnTo>
                    <a:lnTo>
                      <a:pt x="334" y="89"/>
                    </a:lnTo>
                    <a:lnTo>
                      <a:pt x="333" y="88"/>
                    </a:lnTo>
                    <a:lnTo>
                      <a:pt x="332" y="91"/>
                    </a:lnTo>
                    <a:lnTo>
                      <a:pt x="331" y="90"/>
                    </a:lnTo>
                    <a:lnTo>
                      <a:pt x="329" y="88"/>
                    </a:lnTo>
                    <a:lnTo>
                      <a:pt x="328" y="87"/>
                    </a:lnTo>
                    <a:lnTo>
                      <a:pt x="326" y="87"/>
                    </a:lnTo>
                    <a:lnTo>
                      <a:pt x="324" y="87"/>
                    </a:lnTo>
                    <a:lnTo>
                      <a:pt x="321" y="83"/>
                    </a:lnTo>
                    <a:lnTo>
                      <a:pt x="321" y="81"/>
                    </a:lnTo>
                    <a:lnTo>
                      <a:pt x="321" y="79"/>
                    </a:lnTo>
                    <a:lnTo>
                      <a:pt x="321" y="78"/>
                    </a:lnTo>
                    <a:lnTo>
                      <a:pt x="322" y="77"/>
                    </a:lnTo>
                    <a:lnTo>
                      <a:pt x="321" y="78"/>
                    </a:lnTo>
                    <a:lnTo>
                      <a:pt x="320" y="76"/>
                    </a:lnTo>
                    <a:lnTo>
                      <a:pt x="318" y="76"/>
                    </a:lnTo>
                    <a:lnTo>
                      <a:pt x="318" y="79"/>
                    </a:lnTo>
                    <a:lnTo>
                      <a:pt x="311" y="84"/>
                    </a:lnTo>
                    <a:lnTo>
                      <a:pt x="310" y="88"/>
                    </a:lnTo>
                    <a:lnTo>
                      <a:pt x="310" y="92"/>
                    </a:lnTo>
                    <a:lnTo>
                      <a:pt x="309" y="93"/>
                    </a:lnTo>
                    <a:lnTo>
                      <a:pt x="305" y="91"/>
                    </a:lnTo>
                    <a:lnTo>
                      <a:pt x="306" y="97"/>
                    </a:lnTo>
                    <a:lnTo>
                      <a:pt x="303" y="98"/>
                    </a:lnTo>
                    <a:lnTo>
                      <a:pt x="301" y="98"/>
                    </a:lnTo>
                    <a:lnTo>
                      <a:pt x="299" y="97"/>
                    </a:lnTo>
                    <a:lnTo>
                      <a:pt x="297" y="97"/>
                    </a:lnTo>
                    <a:lnTo>
                      <a:pt x="296" y="98"/>
                    </a:lnTo>
                    <a:lnTo>
                      <a:pt x="295" y="98"/>
                    </a:lnTo>
                    <a:lnTo>
                      <a:pt x="292" y="93"/>
                    </a:lnTo>
                    <a:lnTo>
                      <a:pt x="291" y="93"/>
                    </a:lnTo>
                    <a:lnTo>
                      <a:pt x="291" y="92"/>
                    </a:lnTo>
                    <a:lnTo>
                      <a:pt x="289" y="91"/>
                    </a:lnTo>
                    <a:lnTo>
                      <a:pt x="286" y="88"/>
                    </a:lnTo>
                    <a:lnTo>
                      <a:pt x="283" y="88"/>
                    </a:lnTo>
                    <a:lnTo>
                      <a:pt x="279" y="84"/>
                    </a:lnTo>
                    <a:lnTo>
                      <a:pt x="280" y="83"/>
                    </a:lnTo>
                    <a:lnTo>
                      <a:pt x="278" y="80"/>
                    </a:lnTo>
                    <a:lnTo>
                      <a:pt x="281" y="75"/>
                    </a:lnTo>
                    <a:lnTo>
                      <a:pt x="283" y="74"/>
                    </a:lnTo>
                    <a:lnTo>
                      <a:pt x="283" y="69"/>
                    </a:lnTo>
                    <a:lnTo>
                      <a:pt x="281" y="70"/>
                    </a:lnTo>
                    <a:lnTo>
                      <a:pt x="279" y="71"/>
                    </a:lnTo>
                    <a:lnTo>
                      <a:pt x="278" y="70"/>
                    </a:lnTo>
                    <a:lnTo>
                      <a:pt x="274" y="68"/>
                    </a:lnTo>
                    <a:lnTo>
                      <a:pt x="272" y="63"/>
                    </a:lnTo>
                    <a:lnTo>
                      <a:pt x="271" y="63"/>
                    </a:lnTo>
                    <a:lnTo>
                      <a:pt x="269" y="61"/>
                    </a:lnTo>
                    <a:lnTo>
                      <a:pt x="268" y="60"/>
                    </a:lnTo>
                    <a:lnTo>
                      <a:pt x="266" y="61"/>
                    </a:lnTo>
                    <a:lnTo>
                      <a:pt x="265" y="58"/>
                    </a:lnTo>
                    <a:lnTo>
                      <a:pt x="264" y="59"/>
                    </a:lnTo>
                    <a:lnTo>
                      <a:pt x="264" y="60"/>
                    </a:lnTo>
                    <a:lnTo>
                      <a:pt x="263" y="59"/>
                    </a:lnTo>
                    <a:lnTo>
                      <a:pt x="261" y="61"/>
                    </a:lnTo>
                    <a:lnTo>
                      <a:pt x="260" y="61"/>
                    </a:lnTo>
                    <a:lnTo>
                      <a:pt x="260" y="59"/>
                    </a:lnTo>
                    <a:lnTo>
                      <a:pt x="260" y="56"/>
                    </a:lnTo>
                    <a:lnTo>
                      <a:pt x="261" y="51"/>
                    </a:lnTo>
                    <a:lnTo>
                      <a:pt x="263" y="49"/>
                    </a:lnTo>
                    <a:lnTo>
                      <a:pt x="261" y="49"/>
                    </a:lnTo>
                    <a:lnTo>
                      <a:pt x="261" y="50"/>
                    </a:lnTo>
                    <a:lnTo>
                      <a:pt x="259" y="49"/>
                    </a:lnTo>
                    <a:lnTo>
                      <a:pt x="257" y="49"/>
                    </a:lnTo>
                    <a:lnTo>
                      <a:pt x="255" y="47"/>
                    </a:lnTo>
                    <a:lnTo>
                      <a:pt x="252" y="47"/>
                    </a:lnTo>
                    <a:lnTo>
                      <a:pt x="248" y="45"/>
                    </a:lnTo>
                    <a:lnTo>
                      <a:pt x="249" y="45"/>
                    </a:lnTo>
                    <a:lnTo>
                      <a:pt x="248" y="43"/>
                    </a:lnTo>
                    <a:lnTo>
                      <a:pt x="248" y="42"/>
                    </a:lnTo>
                    <a:lnTo>
                      <a:pt x="247" y="43"/>
                    </a:lnTo>
                    <a:lnTo>
                      <a:pt x="247" y="42"/>
                    </a:lnTo>
                    <a:lnTo>
                      <a:pt x="246" y="42"/>
                    </a:lnTo>
                    <a:lnTo>
                      <a:pt x="245" y="41"/>
                    </a:lnTo>
                    <a:lnTo>
                      <a:pt x="246" y="41"/>
                    </a:lnTo>
                    <a:lnTo>
                      <a:pt x="247" y="40"/>
                    </a:lnTo>
                    <a:lnTo>
                      <a:pt x="246" y="40"/>
                    </a:lnTo>
                    <a:lnTo>
                      <a:pt x="245" y="40"/>
                    </a:lnTo>
                    <a:lnTo>
                      <a:pt x="245" y="37"/>
                    </a:lnTo>
                    <a:lnTo>
                      <a:pt x="244" y="36"/>
                    </a:lnTo>
                    <a:lnTo>
                      <a:pt x="244" y="35"/>
                    </a:lnTo>
                    <a:lnTo>
                      <a:pt x="242" y="37"/>
                    </a:lnTo>
                    <a:lnTo>
                      <a:pt x="240" y="36"/>
                    </a:lnTo>
                    <a:lnTo>
                      <a:pt x="240" y="34"/>
                    </a:lnTo>
                    <a:lnTo>
                      <a:pt x="239" y="36"/>
                    </a:lnTo>
                    <a:lnTo>
                      <a:pt x="237" y="34"/>
                    </a:lnTo>
                    <a:lnTo>
                      <a:pt x="237" y="33"/>
                    </a:lnTo>
                    <a:lnTo>
                      <a:pt x="239" y="33"/>
                    </a:lnTo>
                    <a:lnTo>
                      <a:pt x="238" y="31"/>
                    </a:lnTo>
                    <a:lnTo>
                      <a:pt x="235" y="31"/>
                    </a:lnTo>
                    <a:lnTo>
                      <a:pt x="235" y="30"/>
                    </a:lnTo>
                    <a:lnTo>
                      <a:pt x="234" y="30"/>
                    </a:lnTo>
                    <a:lnTo>
                      <a:pt x="233" y="30"/>
                    </a:lnTo>
                    <a:lnTo>
                      <a:pt x="232" y="27"/>
                    </a:lnTo>
                    <a:lnTo>
                      <a:pt x="231" y="28"/>
                    </a:lnTo>
                    <a:lnTo>
                      <a:pt x="230" y="32"/>
                    </a:lnTo>
                    <a:lnTo>
                      <a:pt x="228" y="32"/>
                    </a:lnTo>
                    <a:lnTo>
                      <a:pt x="227" y="31"/>
                    </a:lnTo>
                    <a:lnTo>
                      <a:pt x="226" y="32"/>
                    </a:lnTo>
                    <a:lnTo>
                      <a:pt x="225" y="28"/>
                    </a:lnTo>
                    <a:lnTo>
                      <a:pt x="226" y="27"/>
                    </a:lnTo>
                    <a:lnTo>
                      <a:pt x="223" y="27"/>
                    </a:lnTo>
                    <a:lnTo>
                      <a:pt x="223" y="28"/>
                    </a:lnTo>
                    <a:lnTo>
                      <a:pt x="221" y="28"/>
                    </a:lnTo>
                    <a:lnTo>
                      <a:pt x="221" y="29"/>
                    </a:lnTo>
                    <a:lnTo>
                      <a:pt x="220" y="29"/>
                    </a:lnTo>
                    <a:lnTo>
                      <a:pt x="220" y="28"/>
                    </a:lnTo>
                    <a:lnTo>
                      <a:pt x="218" y="28"/>
                    </a:lnTo>
                    <a:lnTo>
                      <a:pt x="216" y="28"/>
                    </a:lnTo>
                    <a:lnTo>
                      <a:pt x="215" y="28"/>
                    </a:lnTo>
                    <a:lnTo>
                      <a:pt x="215" y="27"/>
                    </a:lnTo>
                    <a:lnTo>
                      <a:pt x="213" y="28"/>
                    </a:lnTo>
                    <a:lnTo>
                      <a:pt x="213" y="27"/>
                    </a:lnTo>
                    <a:lnTo>
                      <a:pt x="213" y="29"/>
                    </a:lnTo>
                    <a:lnTo>
                      <a:pt x="212" y="28"/>
                    </a:lnTo>
                    <a:lnTo>
                      <a:pt x="213" y="27"/>
                    </a:lnTo>
                    <a:lnTo>
                      <a:pt x="213" y="24"/>
                    </a:lnTo>
                    <a:lnTo>
                      <a:pt x="212" y="24"/>
                    </a:lnTo>
                    <a:lnTo>
                      <a:pt x="212" y="23"/>
                    </a:lnTo>
                    <a:lnTo>
                      <a:pt x="210" y="23"/>
                    </a:lnTo>
                    <a:lnTo>
                      <a:pt x="209" y="21"/>
                    </a:lnTo>
                    <a:lnTo>
                      <a:pt x="209" y="19"/>
                    </a:lnTo>
                    <a:lnTo>
                      <a:pt x="207" y="19"/>
                    </a:lnTo>
                    <a:lnTo>
                      <a:pt x="206" y="17"/>
                    </a:lnTo>
                    <a:lnTo>
                      <a:pt x="206" y="16"/>
                    </a:lnTo>
                    <a:lnTo>
                      <a:pt x="204" y="16"/>
                    </a:lnTo>
                    <a:lnTo>
                      <a:pt x="201" y="11"/>
                    </a:lnTo>
                    <a:lnTo>
                      <a:pt x="199" y="11"/>
                    </a:lnTo>
                    <a:lnTo>
                      <a:pt x="198" y="10"/>
                    </a:lnTo>
                    <a:lnTo>
                      <a:pt x="196" y="7"/>
                    </a:lnTo>
                    <a:lnTo>
                      <a:pt x="195" y="6"/>
                    </a:lnTo>
                    <a:lnTo>
                      <a:pt x="193" y="4"/>
                    </a:lnTo>
                    <a:lnTo>
                      <a:pt x="190" y="0"/>
                    </a:lnTo>
                    <a:lnTo>
                      <a:pt x="189" y="1"/>
                    </a:lnTo>
                    <a:lnTo>
                      <a:pt x="189" y="4"/>
                    </a:lnTo>
                    <a:lnTo>
                      <a:pt x="187" y="6"/>
                    </a:lnTo>
                    <a:lnTo>
                      <a:pt x="186" y="4"/>
                    </a:lnTo>
                    <a:lnTo>
                      <a:pt x="183" y="4"/>
                    </a:lnTo>
                    <a:lnTo>
                      <a:pt x="183" y="5"/>
                    </a:lnTo>
                    <a:lnTo>
                      <a:pt x="183" y="6"/>
                    </a:lnTo>
                    <a:lnTo>
                      <a:pt x="183" y="7"/>
                    </a:lnTo>
                    <a:lnTo>
                      <a:pt x="181" y="8"/>
                    </a:lnTo>
                    <a:lnTo>
                      <a:pt x="180" y="8"/>
                    </a:lnTo>
                    <a:lnTo>
                      <a:pt x="180" y="10"/>
                    </a:lnTo>
                    <a:lnTo>
                      <a:pt x="179" y="10"/>
                    </a:lnTo>
                    <a:lnTo>
                      <a:pt x="178" y="7"/>
                    </a:lnTo>
                    <a:lnTo>
                      <a:pt x="176" y="6"/>
                    </a:lnTo>
                    <a:lnTo>
                      <a:pt x="175" y="6"/>
                    </a:lnTo>
                    <a:lnTo>
                      <a:pt x="171" y="10"/>
                    </a:lnTo>
                    <a:lnTo>
                      <a:pt x="171" y="11"/>
                    </a:lnTo>
                    <a:lnTo>
                      <a:pt x="169" y="11"/>
                    </a:lnTo>
                    <a:lnTo>
                      <a:pt x="167" y="13"/>
                    </a:lnTo>
                    <a:lnTo>
                      <a:pt x="166" y="16"/>
                    </a:lnTo>
                    <a:lnTo>
                      <a:pt x="166" y="17"/>
                    </a:lnTo>
                    <a:lnTo>
                      <a:pt x="166" y="19"/>
                    </a:lnTo>
                    <a:lnTo>
                      <a:pt x="168" y="19"/>
                    </a:lnTo>
                    <a:lnTo>
                      <a:pt x="169" y="19"/>
                    </a:lnTo>
                    <a:lnTo>
                      <a:pt x="169" y="21"/>
                    </a:lnTo>
                    <a:lnTo>
                      <a:pt x="170" y="22"/>
                    </a:lnTo>
                    <a:lnTo>
                      <a:pt x="169" y="24"/>
                    </a:lnTo>
                    <a:lnTo>
                      <a:pt x="171" y="25"/>
                    </a:lnTo>
                    <a:lnTo>
                      <a:pt x="170" y="26"/>
                    </a:lnTo>
                    <a:lnTo>
                      <a:pt x="170" y="27"/>
                    </a:lnTo>
                    <a:lnTo>
                      <a:pt x="169" y="28"/>
                    </a:lnTo>
                    <a:lnTo>
                      <a:pt x="167" y="28"/>
                    </a:lnTo>
                    <a:lnTo>
                      <a:pt x="166" y="30"/>
                    </a:lnTo>
                    <a:lnTo>
                      <a:pt x="165" y="29"/>
                    </a:lnTo>
                    <a:lnTo>
                      <a:pt x="164" y="29"/>
                    </a:lnTo>
                    <a:lnTo>
                      <a:pt x="164" y="28"/>
                    </a:lnTo>
                    <a:lnTo>
                      <a:pt x="162" y="29"/>
                    </a:lnTo>
                    <a:lnTo>
                      <a:pt x="159" y="27"/>
                    </a:lnTo>
                    <a:lnTo>
                      <a:pt x="159" y="28"/>
                    </a:lnTo>
                    <a:lnTo>
                      <a:pt x="158" y="28"/>
                    </a:lnTo>
                    <a:lnTo>
                      <a:pt x="157" y="27"/>
                    </a:lnTo>
                    <a:lnTo>
                      <a:pt x="157" y="24"/>
                    </a:lnTo>
                    <a:lnTo>
                      <a:pt x="156" y="25"/>
                    </a:lnTo>
                    <a:lnTo>
                      <a:pt x="156" y="24"/>
                    </a:lnTo>
                    <a:lnTo>
                      <a:pt x="155" y="27"/>
                    </a:lnTo>
                    <a:lnTo>
                      <a:pt x="152" y="29"/>
                    </a:lnTo>
                    <a:lnTo>
                      <a:pt x="151" y="32"/>
                    </a:lnTo>
                    <a:lnTo>
                      <a:pt x="152" y="33"/>
                    </a:lnTo>
                    <a:lnTo>
                      <a:pt x="151" y="34"/>
                    </a:lnTo>
                    <a:lnTo>
                      <a:pt x="151" y="36"/>
                    </a:lnTo>
                    <a:lnTo>
                      <a:pt x="150" y="36"/>
                    </a:lnTo>
                    <a:lnTo>
                      <a:pt x="150" y="34"/>
                    </a:lnTo>
                    <a:lnTo>
                      <a:pt x="148" y="34"/>
                    </a:lnTo>
                    <a:lnTo>
                      <a:pt x="145" y="37"/>
                    </a:lnTo>
                    <a:lnTo>
                      <a:pt x="142" y="34"/>
                    </a:lnTo>
                    <a:lnTo>
                      <a:pt x="139" y="36"/>
                    </a:lnTo>
                    <a:lnTo>
                      <a:pt x="136" y="38"/>
                    </a:lnTo>
                    <a:lnTo>
                      <a:pt x="135" y="38"/>
                    </a:lnTo>
                    <a:lnTo>
                      <a:pt x="134" y="38"/>
                    </a:lnTo>
                    <a:lnTo>
                      <a:pt x="133" y="38"/>
                    </a:lnTo>
                    <a:lnTo>
                      <a:pt x="131" y="38"/>
                    </a:lnTo>
                    <a:lnTo>
                      <a:pt x="131" y="36"/>
                    </a:lnTo>
                    <a:lnTo>
                      <a:pt x="131" y="38"/>
                    </a:lnTo>
                    <a:lnTo>
                      <a:pt x="130" y="38"/>
                    </a:lnTo>
                    <a:lnTo>
                      <a:pt x="128" y="38"/>
                    </a:lnTo>
                    <a:lnTo>
                      <a:pt x="127" y="40"/>
                    </a:lnTo>
                    <a:lnTo>
                      <a:pt x="126" y="39"/>
                    </a:lnTo>
                    <a:lnTo>
                      <a:pt x="125" y="40"/>
                    </a:lnTo>
                    <a:lnTo>
                      <a:pt x="126" y="41"/>
                    </a:lnTo>
                    <a:lnTo>
                      <a:pt x="123" y="42"/>
                    </a:lnTo>
                    <a:lnTo>
                      <a:pt x="123" y="41"/>
                    </a:lnTo>
                    <a:lnTo>
                      <a:pt x="122" y="43"/>
                    </a:lnTo>
                    <a:lnTo>
                      <a:pt x="121" y="41"/>
                    </a:lnTo>
                    <a:lnTo>
                      <a:pt x="120" y="42"/>
                    </a:lnTo>
                    <a:lnTo>
                      <a:pt x="120" y="41"/>
                    </a:lnTo>
                    <a:lnTo>
                      <a:pt x="117" y="41"/>
                    </a:lnTo>
                    <a:lnTo>
                      <a:pt x="120" y="38"/>
                    </a:lnTo>
                    <a:lnTo>
                      <a:pt x="119" y="37"/>
                    </a:lnTo>
                    <a:lnTo>
                      <a:pt x="118" y="37"/>
                    </a:lnTo>
                    <a:lnTo>
                      <a:pt x="117" y="38"/>
                    </a:lnTo>
                    <a:lnTo>
                      <a:pt x="115" y="38"/>
                    </a:lnTo>
                    <a:lnTo>
                      <a:pt x="114" y="40"/>
                    </a:lnTo>
                    <a:lnTo>
                      <a:pt x="112" y="40"/>
                    </a:lnTo>
                    <a:lnTo>
                      <a:pt x="112" y="39"/>
                    </a:lnTo>
                    <a:lnTo>
                      <a:pt x="110" y="41"/>
                    </a:lnTo>
                    <a:lnTo>
                      <a:pt x="109" y="41"/>
                    </a:lnTo>
                    <a:lnTo>
                      <a:pt x="109" y="43"/>
                    </a:lnTo>
                    <a:lnTo>
                      <a:pt x="110" y="44"/>
                    </a:lnTo>
                    <a:lnTo>
                      <a:pt x="110" y="45"/>
                    </a:lnTo>
                    <a:lnTo>
                      <a:pt x="107" y="47"/>
                    </a:lnTo>
                    <a:lnTo>
                      <a:pt x="107" y="51"/>
                    </a:lnTo>
                    <a:lnTo>
                      <a:pt x="107" y="53"/>
                    </a:lnTo>
                    <a:lnTo>
                      <a:pt x="102" y="55"/>
                    </a:lnTo>
                    <a:lnTo>
                      <a:pt x="102" y="56"/>
                    </a:lnTo>
                    <a:lnTo>
                      <a:pt x="100" y="59"/>
                    </a:lnTo>
                    <a:lnTo>
                      <a:pt x="99" y="59"/>
                    </a:lnTo>
                    <a:lnTo>
                      <a:pt x="99" y="58"/>
                    </a:lnTo>
                    <a:lnTo>
                      <a:pt x="98" y="58"/>
                    </a:lnTo>
                    <a:lnTo>
                      <a:pt x="98" y="59"/>
                    </a:lnTo>
                    <a:lnTo>
                      <a:pt x="97" y="59"/>
                    </a:lnTo>
                    <a:lnTo>
                      <a:pt x="98" y="61"/>
                    </a:lnTo>
                    <a:lnTo>
                      <a:pt x="96" y="62"/>
                    </a:lnTo>
                    <a:lnTo>
                      <a:pt x="96" y="64"/>
                    </a:lnTo>
                    <a:lnTo>
                      <a:pt x="95" y="65"/>
                    </a:lnTo>
                    <a:lnTo>
                      <a:pt x="96" y="67"/>
                    </a:lnTo>
                    <a:lnTo>
                      <a:pt x="94" y="71"/>
                    </a:lnTo>
                    <a:lnTo>
                      <a:pt x="95" y="73"/>
                    </a:lnTo>
                    <a:lnTo>
                      <a:pt x="94" y="75"/>
                    </a:lnTo>
                    <a:lnTo>
                      <a:pt x="96" y="76"/>
                    </a:lnTo>
                    <a:lnTo>
                      <a:pt x="95" y="76"/>
                    </a:lnTo>
                    <a:lnTo>
                      <a:pt x="96" y="80"/>
                    </a:lnTo>
                    <a:lnTo>
                      <a:pt x="97" y="80"/>
                    </a:lnTo>
                    <a:lnTo>
                      <a:pt x="99" y="77"/>
                    </a:lnTo>
                    <a:lnTo>
                      <a:pt x="101" y="82"/>
                    </a:lnTo>
                    <a:lnTo>
                      <a:pt x="104" y="81"/>
                    </a:lnTo>
                    <a:lnTo>
                      <a:pt x="109" y="82"/>
                    </a:lnTo>
                    <a:lnTo>
                      <a:pt x="108" y="84"/>
                    </a:lnTo>
                    <a:lnTo>
                      <a:pt x="109" y="88"/>
                    </a:lnTo>
                    <a:lnTo>
                      <a:pt x="112" y="93"/>
                    </a:lnTo>
                    <a:lnTo>
                      <a:pt x="112" y="94"/>
                    </a:lnTo>
                    <a:lnTo>
                      <a:pt x="110" y="95"/>
                    </a:lnTo>
                    <a:lnTo>
                      <a:pt x="110" y="97"/>
                    </a:lnTo>
                    <a:lnTo>
                      <a:pt x="111" y="98"/>
                    </a:lnTo>
                    <a:lnTo>
                      <a:pt x="109" y="102"/>
                    </a:lnTo>
                    <a:lnTo>
                      <a:pt x="108" y="100"/>
                    </a:lnTo>
                    <a:lnTo>
                      <a:pt x="108" y="102"/>
                    </a:lnTo>
                    <a:lnTo>
                      <a:pt x="107" y="102"/>
                    </a:lnTo>
                    <a:lnTo>
                      <a:pt x="105" y="104"/>
                    </a:lnTo>
                    <a:lnTo>
                      <a:pt x="105" y="105"/>
                    </a:lnTo>
                    <a:lnTo>
                      <a:pt x="102" y="106"/>
                    </a:lnTo>
                    <a:lnTo>
                      <a:pt x="102" y="105"/>
                    </a:lnTo>
                    <a:lnTo>
                      <a:pt x="101" y="105"/>
                    </a:lnTo>
                    <a:lnTo>
                      <a:pt x="99" y="106"/>
                    </a:lnTo>
                    <a:lnTo>
                      <a:pt x="99" y="105"/>
                    </a:lnTo>
                    <a:lnTo>
                      <a:pt x="98" y="106"/>
                    </a:lnTo>
                    <a:lnTo>
                      <a:pt x="97" y="104"/>
                    </a:lnTo>
                    <a:lnTo>
                      <a:pt x="94" y="102"/>
                    </a:lnTo>
                    <a:lnTo>
                      <a:pt x="94" y="103"/>
                    </a:lnTo>
                    <a:lnTo>
                      <a:pt x="92" y="102"/>
                    </a:lnTo>
                    <a:lnTo>
                      <a:pt x="92" y="105"/>
                    </a:lnTo>
                    <a:lnTo>
                      <a:pt x="90" y="106"/>
                    </a:lnTo>
                    <a:lnTo>
                      <a:pt x="89" y="105"/>
                    </a:lnTo>
                    <a:lnTo>
                      <a:pt x="90" y="104"/>
                    </a:lnTo>
                    <a:lnTo>
                      <a:pt x="88" y="104"/>
                    </a:lnTo>
                    <a:lnTo>
                      <a:pt x="88" y="105"/>
                    </a:lnTo>
                    <a:lnTo>
                      <a:pt x="89" y="106"/>
                    </a:lnTo>
                    <a:lnTo>
                      <a:pt x="89" y="108"/>
                    </a:lnTo>
                    <a:lnTo>
                      <a:pt x="87" y="108"/>
                    </a:lnTo>
                    <a:lnTo>
                      <a:pt x="87" y="110"/>
                    </a:lnTo>
                    <a:lnTo>
                      <a:pt x="86" y="110"/>
                    </a:lnTo>
                    <a:lnTo>
                      <a:pt x="86" y="111"/>
                    </a:lnTo>
                    <a:lnTo>
                      <a:pt x="86" y="113"/>
                    </a:lnTo>
                    <a:lnTo>
                      <a:pt x="86" y="114"/>
                    </a:lnTo>
                    <a:lnTo>
                      <a:pt x="82" y="114"/>
                    </a:lnTo>
                    <a:lnTo>
                      <a:pt x="82" y="111"/>
                    </a:lnTo>
                    <a:lnTo>
                      <a:pt x="82" y="109"/>
                    </a:lnTo>
                    <a:lnTo>
                      <a:pt x="79" y="107"/>
                    </a:lnTo>
                    <a:lnTo>
                      <a:pt x="79" y="108"/>
                    </a:lnTo>
                    <a:lnTo>
                      <a:pt x="77" y="108"/>
                    </a:lnTo>
                    <a:lnTo>
                      <a:pt x="76" y="108"/>
                    </a:lnTo>
                    <a:lnTo>
                      <a:pt x="75" y="108"/>
                    </a:lnTo>
                    <a:lnTo>
                      <a:pt x="74" y="106"/>
                    </a:lnTo>
                    <a:lnTo>
                      <a:pt x="74" y="105"/>
                    </a:lnTo>
                    <a:lnTo>
                      <a:pt x="73" y="105"/>
                    </a:lnTo>
                    <a:lnTo>
                      <a:pt x="73" y="104"/>
                    </a:lnTo>
                    <a:lnTo>
                      <a:pt x="74" y="104"/>
                    </a:lnTo>
                    <a:lnTo>
                      <a:pt x="74" y="103"/>
                    </a:lnTo>
                    <a:lnTo>
                      <a:pt x="73" y="103"/>
                    </a:lnTo>
                    <a:lnTo>
                      <a:pt x="72" y="104"/>
                    </a:lnTo>
                    <a:lnTo>
                      <a:pt x="71" y="104"/>
                    </a:lnTo>
                    <a:lnTo>
                      <a:pt x="70" y="104"/>
                    </a:lnTo>
                    <a:lnTo>
                      <a:pt x="70" y="107"/>
                    </a:lnTo>
                    <a:lnTo>
                      <a:pt x="68" y="105"/>
                    </a:lnTo>
                    <a:lnTo>
                      <a:pt x="65" y="106"/>
                    </a:lnTo>
                    <a:lnTo>
                      <a:pt x="65" y="108"/>
                    </a:lnTo>
                    <a:lnTo>
                      <a:pt x="63" y="108"/>
                    </a:lnTo>
                    <a:lnTo>
                      <a:pt x="62" y="106"/>
                    </a:lnTo>
                    <a:lnTo>
                      <a:pt x="61" y="108"/>
                    </a:lnTo>
                    <a:lnTo>
                      <a:pt x="60" y="108"/>
                    </a:lnTo>
                    <a:lnTo>
                      <a:pt x="59" y="107"/>
                    </a:lnTo>
                    <a:lnTo>
                      <a:pt x="57" y="108"/>
                    </a:lnTo>
                    <a:lnTo>
                      <a:pt x="54" y="105"/>
                    </a:lnTo>
                    <a:lnTo>
                      <a:pt x="52" y="105"/>
                    </a:lnTo>
                    <a:lnTo>
                      <a:pt x="52" y="104"/>
                    </a:lnTo>
                    <a:lnTo>
                      <a:pt x="49" y="104"/>
                    </a:lnTo>
                    <a:lnTo>
                      <a:pt x="49" y="105"/>
                    </a:lnTo>
                    <a:lnTo>
                      <a:pt x="48" y="105"/>
                    </a:lnTo>
                    <a:lnTo>
                      <a:pt x="47" y="105"/>
                    </a:lnTo>
                    <a:lnTo>
                      <a:pt x="47" y="104"/>
                    </a:lnTo>
                    <a:lnTo>
                      <a:pt x="46" y="104"/>
                    </a:lnTo>
                    <a:lnTo>
                      <a:pt x="44" y="103"/>
                    </a:lnTo>
                    <a:lnTo>
                      <a:pt x="45" y="102"/>
                    </a:lnTo>
                    <a:lnTo>
                      <a:pt x="43" y="100"/>
                    </a:lnTo>
                    <a:lnTo>
                      <a:pt x="38" y="100"/>
                    </a:lnTo>
                    <a:lnTo>
                      <a:pt x="36" y="100"/>
                    </a:lnTo>
                    <a:lnTo>
                      <a:pt x="33" y="104"/>
                    </a:lnTo>
                    <a:lnTo>
                      <a:pt x="34" y="105"/>
                    </a:lnTo>
                    <a:lnTo>
                      <a:pt x="36" y="106"/>
                    </a:lnTo>
                    <a:lnTo>
                      <a:pt x="37" y="109"/>
                    </a:lnTo>
                    <a:lnTo>
                      <a:pt x="37" y="110"/>
                    </a:lnTo>
                    <a:lnTo>
                      <a:pt x="37" y="111"/>
                    </a:lnTo>
                    <a:lnTo>
                      <a:pt x="37" y="112"/>
                    </a:lnTo>
                    <a:lnTo>
                      <a:pt x="34" y="113"/>
                    </a:lnTo>
                    <a:lnTo>
                      <a:pt x="30" y="111"/>
                    </a:lnTo>
                    <a:lnTo>
                      <a:pt x="29" y="114"/>
                    </a:lnTo>
                    <a:lnTo>
                      <a:pt x="26" y="111"/>
                    </a:lnTo>
                    <a:lnTo>
                      <a:pt x="24" y="111"/>
                    </a:lnTo>
                    <a:lnTo>
                      <a:pt x="23" y="112"/>
                    </a:lnTo>
                    <a:lnTo>
                      <a:pt x="23" y="115"/>
                    </a:lnTo>
                    <a:lnTo>
                      <a:pt x="22" y="115"/>
                    </a:lnTo>
                    <a:lnTo>
                      <a:pt x="22" y="116"/>
                    </a:lnTo>
                    <a:lnTo>
                      <a:pt x="23" y="117"/>
                    </a:lnTo>
                    <a:lnTo>
                      <a:pt x="24" y="121"/>
                    </a:lnTo>
                    <a:lnTo>
                      <a:pt x="23" y="121"/>
                    </a:lnTo>
                    <a:lnTo>
                      <a:pt x="21" y="121"/>
                    </a:lnTo>
                    <a:lnTo>
                      <a:pt x="21" y="124"/>
                    </a:lnTo>
                    <a:lnTo>
                      <a:pt x="19" y="127"/>
                    </a:lnTo>
                    <a:lnTo>
                      <a:pt x="21" y="130"/>
                    </a:lnTo>
                    <a:lnTo>
                      <a:pt x="21" y="134"/>
                    </a:lnTo>
                    <a:lnTo>
                      <a:pt x="22" y="135"/>
                    </a:lnTo>
                    <a:lnTo>
                      <a:pt x="22" y="136"/>
                    </a:lnTo>
                    <a:lnTo>
                      <a:pt x="20" y="138"/>
                    </a:lnTo>
                    <a:lnTo>
                      <a:pt x="17" y="136"/>
                    </a:lnTo>
                    <a:lnTo>
                      <a:pt x="16" y="136"/>
                    </a:lnTo>
                    <a:lnTo>
                      <a:pt x="14" y="135"/>
                    </a:lnTo>
                    <a:lnTo>
                      <a:pt x="14" y="136"/>
                    </a:lnTo>
                    <a:lnTo>
                      <a:pt x="13" y="135"/>
                    </a:lnTo>
                    <a:lnTo>
                      <a:pt x="11" y="138"/>
                    </a:lnTo>
                    <a:lnTo>
                      <a:pt x="11" y="140"/>
                    </a:lnTo>
                    <a:lnTo>
                      <a:pt x="13" y="141"/>
                    </a:lnTo>
                    <a:lnTo>
                      <a:pt x="14" y="142"/>
                    </a:lnTo>
                    <a:lnTo>
                      <a:pt x="14" y="143"/>
                    </a:lnTo>
                    <a:lnTo>
                      <a:pt x="14" y="144"/>
                    </a:lnTo>
                    <a:lnTo>
                      <a:pt x="17" y="148"/>
                    </a:lnTo>
                    <a:lnTo>
                      <a:pt x="16" y="148"/>
                    </a:lnTo>
                    <a:lnTo>
                      <a:pt x="16" y="149"/>
                    </a:lnTo>
                    <a:lnTo>
                      <a:pt x="17" y="149"/>
                    </a:lnTo>
                    <a:lnTo>
                      <a:pt x="16" y="152"/>
                    </a:lnTo>
                    <a:lnTo>
                      <a:pt x="17" y="155"/>
                    </a:lnTo>
                    <a:lnTo>
                      <a:pt x="16" y="155"/>
                    </a:lnTo>
                    <a:lnTo>
                      <a:pt x="14" y="158"/>
                    </a:lnTo>
                    <a:lnTo>
                      <a:pt x="13" y="158"/>
                    </a:lnTo>
                    <a:lnTo>
                      <a:pt x="13" y="161"/>
                    </a:lnTo>
                    <a:lnTo>
                      <a:pt x="14" y="161"/>
                    </a:lnTo>
                    <a:lnTo>
                      <a:pt x="14" y="162"/>
                    </a:lnTo>
                    <a:lnTo>
                      <a:pt x="13" y="171"/>
                    </a:lnTo>
                    <a:lnTo>
                      <a:pt x="11" y="171"/>
                    </a:lnTo>
                    <a:lnTo>
                      <a:pt x="9" y="173"/>
                    </a:lnTo>
                    <a:lnTo>
                      <a:pt x="9" y="178"/>
                    </a:lnTo>
                    <a:lnTo>
                      <a:pt x="7" y="180"/>
                    </a:lnTo>
                    <a:lnTo>
                      <a:pt x="6" y="180"/>
                    </a:lnTo>
                    <a:lnTo>
                      <a:pt x="5" y="181"/>
                    </a:lnTo>
                    <a:lnTo>
                      <a:pt x="5" y="183"/>
                    </a:lnTo>
                    <a:lnTo>
                      <a:pt x="7" y="182"/>
                    </a:lnTo>
                    <a:lnTo>
                      <a:pt x="8" y="181"/>
                    </a:lnTo>
                    <a:lnTo>
                      <a:pt x="9" y="181"/>
                    </a:lnTo>
                    <a:lnTo>
                      <a:pt x="8" y="184"/>
                    </a:lnTo>
                    <a:lnTo>
                      <a:pt x="6" y="185"/>
                    </a:lnTo>
                    <a:lnTo>
                      <a:pt x="6" y="187"/>
                    </a:lnTo>
                    <a:lnTo>
                      <a:pt x="5" y="187"/>
                    </a:lnTo>
                    <a:lnTo>
                      <a:pt x="5" y="191"/>
                    </a:lnTo>
                    <a:lnTo>
                      <a:pt x="4" y="192"/>
                    </a:lnTo>
                    <a:lnTo>
                      <a:pt x="4" y="193"/>
                    </a:lnTo>
                    <a:lnTo>
                      <a:pt x="4" y="195"/>
                    </a:lnTo>
                    <a:lnTo>
                      <a:pt x="3" y="196"/>
                    </a:lnTo>
                    <a:lnTo>
                      <a:pt x="1" y="195"/>
                    </a:lnTo>
                    <a:lnTo>
                      <a:pt x="1" y="197"/>
                    </a:lnTo>
                    <a:lnTo>
                      <a:pt x="2" y="198"/>
                    </a:lnTo>
                    <a:lnTo>
                      <a:pt x="1" y="198"/>
                    </a:lnTo>
                    <a:lnTo>
                      <a:pt x="0" y="200"/>
                    </a:lnTo>
                    <a:lnTo>
                      <a:pt x="1" y="201"/>
                    </a:lnTo>
                    <a:lnTo>
                      <a:pt x="1" y="202"/>
                    </a:lnTo>
                    <a:lnTo>
                      <a:pt x="0" y="204"/>
                    </a:lnTo>
                    <a:lnTo>
                      <a:pt x="0" y="205"/>
                    </a:lnTo>
                    <a:lnTo>
                      <a:pt x="1" y="205"/>
                    </a:lnTo>
                    <a:lnTo>
                      <a:pt x="4" y="208"/>
                    </a:lnTo>
                    <a:lnTo>
                      <a:pt x="7" y="208"/>
                    </a:lnTo>
                    <a:lnTo>
                      <a:pt x="8" y="211"/>
                    </a:lnTo>
                    <a:lnTo>
                      <a:pt x="8" y="215"/>
                    </a:lnTo>
                    <a:lnTo>
                      <a:pt x="10" y="215"/>
                    </a:lnTo>
                    <a:lnTo>
                      <a:pt x="9" y="217"/>
                    </a:lnTo>
                    <a:lnTo>
                      <a:pt x="8" y="216"/>
                    </a:lnTo>
                    <a:lnTo>
                      <a:pt x="7" y="217"/>
                    </a:lnTo>
                    <a:lnTo>
                      <a:pt x="5" y="219"/>
                    </a:lnTo>
                    <a:lnTo>
                      <a:pt x="4" y="219"/>
                    </a:lnTo>
                    <a:lnTo>
                      <a:pt x="4" y="221"/>
                    </a:lnTo>
                    <a:lnTo>
                      <a:pt x="3" y="221"/>
                    </a:lnTo>
                    <a:lnTo>
                      <a:pt x="3" y="223"/>
                    </a:lnTo>
                    <a:lnTo>
                      <a:pt x="1" y="223"/>
                    </a:lnTo>
                    <a:lnTo>
                      <a:pt x="1" y="225"/>
                    </a:lnTo>
                    <a:lnTo>
                      <a:pt x="2" y="226"/>
                    </a:lnTo>
                    <a:lnTo>
                      <a:pt x="4" y="230"/>
                    </a:lnTo>
                    <a:lnTo>
                      <a:pt x="7" y="231"/>
                    </a:lnTo>
                    <a:lnTo>
                      <a:pt x="7" y="232"/>
                    </a:lnTo>
                    <a:lnTo>
                      <a:pt x="5" y="236"/>
                    </a:lnTo>
                    <a:lnTo>
                      <a:pt x="8" y="237"/>
                    </a:lnTo>
                    <a:lnTo>
                      <a:pt x="11" y="238"/>
                    </a:lnTo>
                    <a:lnTo>
                      <a:pt x="11" y="239"/>
                    </a:lnTo>
                    <a:lnTo>
                      <a:pt x="12" y="240"/>
                    </a:lnTo>
                    <a:lnTo>
                      <a:pt x="11" y="242"/>
                    </a:lnTo>
                    <a:lnTo>
                      <a:pt x="13" y="245"/>
                    </a:lnTo>
                    <a:lnTo>
                      <a:pt x="13" y="246"/>
                    </a:lnTo>
                    <a:lnTo>
                      <a:pt x="14" y="245"/>
                    </a:lnTo>
                    <a:lnTo>
                      <a:pt x="17" y="248"/>
                    </a:lnTo>
                    <a:lnTo>
                      <a:pt x="18" y="251"/>
                    </a:lnTo>
                    <a:lnTo>
                      <a:pt x="18" y="253"/>
                    </a:lnTo>
                    <a:lnTo>
                      <a:pt x="19" y="253"/>
                    </a:lnTo>
                    <a:lnTo>
                      <a:pt x="22" y="255"/>
                    </a:lnTo>
                    <a:lnTo>
                      <a:pt x="25" y="250"/>
                    </a:lnTo>
                    <a:lnTo>
                      <a:pt x="27" y="249"/>
                    </a:lnTo>
                    <a:lnTo>
                      <a:pt x="29" y="248"/>
                    </a:lnTo>
                    <a:lnTo>
                      <a:pt x="30" y="248"/>
                    </a:lnTo>
                    <a:lnTo>
                      <a:pt x="31" y="247"/>
                    </a:lnTo>
                    <a:lnTo>
                      <a:pt x="33" y="246"/>
                    </a:lnTo>
                    <a:lnTo>
                      <a:pt x="34" y="247"/>
                    </a:lnTo>
                    <a:lnTo>
                      <a:pt x="35" y="247"/>
                    </a:lnTo>
                    <a:lnTo>
                      <a:pt x="34" y="249"/>
                    </a:lnTo>
                    <a:lnTo>
                      <a:pt x="36" y="249"/>
                    </a:lnTo>
                    <a:lnTo>
                      <a:pt x="37" y="253"/>
                    </a:lnTo>
                    <a:lnTo>
                      <a:pt x="38" y="255"/>
                    </a:lnTo>
                    <a:lnTo>
                      <a:pt x="41" y="258"/>
                    </a:lnTo>
                    <a:lnTo>
                      <a:pt x="41" y="259"/>
                    </a:lnTo>
                    <a:lnTo>
                      <a:pt x="42" y="259"/>
                    </a:lnTo>
                    <a:lnTo>
                      <a:pt x="43" y="258"/>
                    </a:lnTo>
                    <a:lnTo>
                      <a:pt x="44" y="259"/>
                    </a:lnTo>
                    <a:lnTo>
                      <a:pt x="47" y="260"/>
                    </a:lnTo>
                    <a:lnTo>
                      <a:pt x="52" y="262"/>
                    </a:lnTo>
                    <a:lnTo>
                      <a:pt x="52" y="265"/>
                    </a:lnTo>
                    <a:lnTo>
                      <a:pt x="50" y="266"/>
                    </a:lnTo>
                    <a:lnTo>
                      <a:pt x="51" y="269"/>
                    </a:lnTo>
                    <a:lnTo>
                      <a:pt x="50" y="271"/>
                    </a:lnTo>
                    <a:lnTo>
                      <a:pt x="45" y="270"/>
                    </a:lnTo>
                    <a:lnTo>
                      <a:pt x="44" y="269"/>
                    </a:lnTo>
                    <a:lnTo>
                      <a:pt x="45" y="272"/>
                    </a:lnTo>
                    <a:lnTo>
                      <a:pt x="47" y="272"/>
                    </a:lnTo>
                    <a:lnTo>
                      <a:pt x="49" y="275"/>
                    </a:lnTo>
                    <a:lnTo>
                      <a:pt x="52" y="272"/>
                    </a:lnTo>
                    <a:lnTo>
                      <a:pt x="55" y="272"/>
                    </a:lnTo>
                    <a:lnTo>
                      <a:pt x="57" y="273"/>
                    </a:lnTo>
                    <a:lnTo>
                      <a:pt x="57" y="275"/>
                    </a:lnTo>
                    <a:lnTo>
                      <a:pt x="58" y="275"/>
                    </a:lnTo>
                    <a:lnTo>
                      <a:pt x="59" y="278"/>
                    </a:lnTo>
                    <a:lnTo>
                      <a:pt x="60" y="279"/>
                    </a:lnTo>
                    <a:lnTo>
                      <a:pt x="59" y="280"/>
                    </a:lnTo>
                    <a:lnTo>
                      <a:pt x="60" y="284"/>
                    </a:lnTo>
                    <a:lnTo>
                      <a:pt x="59" y="285"/>
                    </a:lnTo>
                    <a:lnTo>
                      <a:pt x="62" y="287"/>
                    </a:lnTo>
                    <a:lnTo>
                      <a:pt x="65" y="288"/>
                    </a:lnTo>
                    <a:lnTo>
                      <a:pt x="66" y="289"/>
                    </a:lnTo>
                    <a:lnTo>
                      <a:pt x="69" y="287"/>
                    </a:lnTo>
                    <a:lnTo>
                      <a:pt x="74" y="283"/>
                    </a:lnTo>
                    <a:lnTo>
                      <a:pt x="74" y="281"/>
                    </a:lnTo>
                    <a:lnTo>
                      <a:pt x="76" y="281"/>
                    </a:lnTo>
                    <a:lnTo>
                      <a:pt x="77" y="287"/>
                    </a:lnTo>
                    <a:lnTo>
                      <a:pt x="78" y="285"/>
                    </a:lnTo>
                    <a:lnTo>
                      <a:pt x="81" y="285"/>
                    </a:lnTo>
                    <a:lnTo>
                      <a:pt x="84" y="288"/>
                    </a:lnTo>
                    <a:lnTo>
                      <a:pt x="85" y="288"/>
                    </a:lnTo>
                    <a:lnTo>
                      <a:pt x="87" y="289"/>
                    </a:lnTo>
                    <a:lnTo>
                      <a:pt x="91" y="293"/>
                    </a:lnTo>
                    <a:lnTo>
                      <a:pt x="90" y="294"/>
                    </a:lnTo>
                    <a:lnTo>
                      <a:pt x="89" y="297"/>
                    </a:lnTo>
                    <a:lnTo>
                      <a:pt x="91" y="296"/>
                    </a:lnTo>
                    <a:lnTo>
                      <a:pt x="91" y="295"/>
                    </a:lnTo>
                    <a:lnTo>
                      <a:pt x="93" y="294"/>
                    </a:lnTo>
                    <a:lnTo>
                      <a:pt x="94" y="294"/>
                    </a:lnTo>
                    <a:lnTo>
                      <a:pt x="95" y="296"/>
                    </a:lnTo>
                    <a:lnTo>
                      <a:pt x="97" y="295"/>
                    </a:lnTo>
                    <a:lnTo>
                      <a:pt x="99" y="293"/>
                    </a:lnTo>
                    <a:lnTo>
                      <a:pt x="101" y="293"/>
                    </a:lnTo>
                    <a:lnTo>
                      <a:pt x="104" y="296"/>
                    </a:lnTo>
                    <a:lnTo>
                      <a:pt x="107" y="295"/>
                    </a:lnTo>
                    <a:lnTo>
                      <a:pt x="107" y="293"/>
                    </a:lnTo>
                    <a:lnTo>
                      <a:pt x="109" y="293"/>
                    </a:lnTo>
                    <a:lnTo>
                      <a:pt x="109" y="294"/>
                    </a:lnTo>
                    <a:lnTo>
                      <a:pt x="110" y="294"/>
                    </a:lnTo>
                    <a:lnTo>
                      <a:pt x="112" y="294"/>
                    </a:lnTo>
                    <a:lnTo>
                      <a:pt x="114" y="295"/>
                    </a:lnTo>
                    <a:lnTo>
                      <a:pt x="115" y="296"/>
                    </a:lnTo>
                    <a:lnTo>
                      <a:pt x="115" y="300"/>
                    </a:lnTo>
                    <a:lnTo>
                      <a:pt x="115" y="303"/>
                    </a:lnTo>
                    <a:lnTo>
                      <a:pt x="115" y="306"/>
                    </a:lnTo>
                    <a:lnTo>
                      <a:pt x="116" y="307"/>
                    </a:lnTo>
                    <a:lnTo>
                      <a:pt x="114" y="310"/>
                    </a:lnTo>
                    <a:lnTo>
                      <a:pt x="114" y="311"/>
                    </a:lnTo>
                    <a:lnTo>
                      <a:pt x="112" y="313"/>
                    </a:lnTo>
                    <a:lnTo>
                      <a:pt x="112" y="316"/>
                    </a:lnTo>
                    <a:lnTo>
                      <a:pt x="110" y="319"/>
                    </a:lnTo>
                    <a:lnTo>
                      <a:pt x="112" y="319"/>
                    </a:lnTo>
                    <a:lnTo>
                      <a:pt x="113" y="319"/>
                    </a:lnTo>
                    <a:lnTo>
                      <a:pt x="113" y="321"/>
                    </a:lnTo>
                    <a:lnTo>
                      <a:pt x="114" y="324"/>
                    </a:lnTo>
                    <a:lnTo>
                      <a:pt x="114" y="326"/>
                    </a:lnTo>
                    <a:lnTo>
                      <a:pt x="115" y="326"/>
                    </a:lnTo>
                    <a:lnTo>
                      <a:pt x="115" y="324"/>
                    </a:lnTo>
                    <a:lnTo>
                      <a:pt x="116" y="324"/>
                    </a:lnTo>
                    <a:lnTo>
                      <a:pt x="117" y="324"/>
                    </a:lnTo>
                    <a:lnTo>
                      <a:pt x="116" y="326"/>
                    </a:lnTo>
                    <a:lnTo>
                      <a:pt x="118" y="328"/>
                    </a:lnTo>
                    <a:lnTo>
                      <a:pt x="119" y="327"/>
                    </a:lnTo>
                    <a:lnTo>
                      <a:pt x="120" y="329"/>
                    </a:lnTo>
                    <a:lnTo>
                      <a:pt x="121" y="332"/>
                    </a:lnTo>
                    <a:lnTo>
                      <a:pt x="120" y="334"/>
                    </a:lnTo>
                    <a:lnTo>
                      <a:pt x="123" y="336"/>
                    </a:lnTo>
                    <a:lnTo>
                      <a:pt x="124" y="336"/>
                    </a:lnTo>
                    <a:lnTo>
                      <a:pt x="125" y="336"/>
                    </a:lnTo>
                    <a:lnTo>
                      <a:pt x="127" y="337"/>
                    </a:lnTo>
                    <a:lnTo>
                      <a:pt x="128" y="340"/>
                    </a:lnTo>
                    <a:lnTo>
                      <a:pt x="131" y="341"/>
                    </a:lnTo>
                    <a:lnTo>
                      <a:pt x="131" y="344"/>
                    </a:lnTo>
                    <a:lnTo>
                      <a:pt x="131" y="345"/>
                    </a:lnTo>
                    <a:lnTo>
                      <a:pt x="133" y="343"/>
                    </a:lnTo>
                    <a:lnTo>
                      <a:pt x="134" y="340"/>
                    </a:lnTo>
                    <a:lnTo>
                      <a:pt x="135" y="339"/>
                    </a:lnTo>
                    <a:lnTo>
                      <a:pt x="136" y="338"/>
                    </a:lnTo>
                    <a:lnTo>
                      <a:pt x="138" y="338"/>
                    </a:lnTo>
                    <a:lnTo>
                      <a:pt x="139" y="340"/>
                    </a:lnTo>
                    <a:lnTo>
                      <a:pt x="141" y="344"/>
                    </a:lnTo>
                    <a:lnTo>
                      <a:pt x="142" y="344"/>
                    </a:lnTo>
                    <a:lnTo>
                      <a:pt x="142" y="346"/>
                    </a:lnTo>
                    <a:lnTo>
                      <a:pt x="143" y="345"/>
                    </a:lnTo>
                    <a:lnTo>
                      <a:pt x="144" y="346"/>
                    </a:lnTo>
                    <a:lnTo>
                      <a:pt x="144" y="344"/>
                    </a:lnTo>
                    <a:lnTo>
                      <a:pt x="149" y="346"/>
                    </a:lnTo>
                    <a:lnTo>
                      <a:pt x="151" y="346"/>
                    </a:lnTo>
                    <a:lnTo>
                      <a:pt x="153" y="347"/>
                    </a:lnTo>
                    <a:lnTo>
                      <a:pt x="156" y="343"/>
                    </a:lnTo>
                    <a:lnTo>
                      <a:pt x="157" y="342"/>
                    </a:lnTo>
                    <a:lnTo>
                      <a:pt x="160" y="343"/>
                    </a:lnTo>
                    <a:lnTo>
                      <a:pt x="161" y="345"/>
                    </a:lnTo>
                    <a:lnTo>
                      <a:pt x="161" y="346"/>
                    </a:lnTo>
                    <a:lnTo>
                      <a:pt x="163" y="346"/>
                    </a:lnTo>
                    <a:lnTo>
                      <a:pt x="164" y="345"/>
                    </a:lnTo>
                    <a:lnTo>
                      <a:pt x="163" y="343"/>
                    </a:lnTo>
                    <a:lnTo>
                      <a:pt x="164" y="341"/>
                    </a:lnTo>
                    <a:lnTo>
                      <a:pt x="165" y="341"/>
                    </a:lnTo>
                    <a:lnTo>
                      <a:pt x="166" y="341"/>
                    </a:lnTo>
                    <a:lnTo>
                      <a:pt x="169" y="343"/>
                    </a:lnTo>
                    <a:lnTo>
                      <a:pt x="168" y="346"/>
                    </a:lnTo>
                    <a:lnTo>
                      <a:pt x="169" y="343"/>
                    </a:lnTo>
                    <a:lnTo>
                      <a:pt x="172" y="345"/>
                    </a:lnTo>
                    <a:lnTo>
                      <a:pt x="172" y="349"/>
                    </a:lnTo>
                    <a:lnTo>
                      <a:pt x="172" y="351"/>
                    </a:lnTo>
                    <a:lnTo>
                      <a:pt x="169" y="351"/>
                    </a:lnTo>
                    <a:lnTo>
                      <a:pt x="168" y="351"/>
                    </a:lnTo>
                    <a:lnTo>
                      <a:pt x="169" y="353"/>
                    </a:lnTo>
                    <a:lnTo>
                      <a:pt x="172" y="357"/>
                    </a:lnTo>
                    <a:lnTo>
                      <a:pt x="173" y="357"/>
                    </a:lnTo>
                    <a:lnTo>
                      <a:pt x="172" y="356"/>
                    </a:lnTo>
                    <a:lnTo>
                      <a:pt x="174" y="355"/>
                    </a:lnTo>
                    <a:lnTo>
                      <a:pt x="177" y="357"/>
                    </a:lnTo>
                    <a:lnTo>
                      <a:pt x="177" y="358"/>
                    </a:lnTo>
                    <a:lnTo>
                      <a:pt x="175" y="358"/>
                    </a:lnTo>
                    <a:lnTo>
                      <a:pt x="174" y="359"/>
                    </a:lnTo>
                    <a:lnTo>
                      <a:pt x="179" y="366"/>
                    </a:lnTo>
                    <a:lnTo>
                      <a:pt x="176" y="366"/>
                    </a:lnTo>
                    <a:lnTo>
                      <a:pt x="177" y="369"/>
                    </a:lnTo>
                    <a:lnTo>
                      <a:pt x="177" y="371"/>
                    </a:lnTo>
                    <a:lnTo>
                      <a:pt x="176" y="372"/>
                    </a:lnTo>
                    <a:lnTo>
                      <a:pt x="174" y="372"/>
                    </a:lnTo>
                    <a:lnTo>
                      <a:pt x="173" y="371"/>
                    </a:lnTo>
                    <a:lnTo>
                      <a:pt x="172" y="372"/>
                    </a:lnTo>
                    <a:lnTo>
                      <a:pt x="172" y="371"/>
                    </a:lnTo>
                    <a:lnTo>
                      <a:pt x="169" y="371"/>
                    </a:lnTo>
                    <a:lnTo>
                      <a:pt x="165" y="369"/>
                    </a:lnTo>
                    <a:lnTo>
                      <a:pt x="164" y="371"/>
                    </a:lnTo>
                    <a:lnTo>
                      <a:pt x="166" y="374"/>
                    </a:lnTo>
                    <a:lnTo>
                      <a:pt x="165" y="377"/>
                    </a:lnTo>
                    <a:lnTo>
                      <a:pt x="164" y="376"/>
                    </a:lnTo>
                    <a:lnTo>
                      <a:pt x="161" y="376"/>
                    </a:lnTo>
                    <a:lnTo>
                      <a:pt x="161" y="377"/>
                    </a:lnTo>
                    <a:lnTo>
                      <a:pt x="162" y="377"/>
                    </a:lnTo>
                    <a:lnTo>
                      <a:pt x="161" y="380"/>
                    </a:lnTo>
                    <a:lnTo>
                      <a:pt x="163" y="381"/>
                    </a:lnTo>
                    <a:lnTo>
                      <a:pt x="162" y="384"/>
                    </a:lnTo>
                    <a:lnTo>
                      <a:pt x="159" y="385"/>
                    </a:lnTo>
                    <a:lnTo>
                      <a:pt x="156" y="385"/>
                    </a:lnTo>
                    <a:lnTo>
                      <a:pt x="156" y="387"/>
                    </a:lnTo>
                    <a:lnTo>
                      <a:pt x="156" y="388"/>
                    </a:lnTo>
                    <a:lnTo>
                      <a:pt x="157" y="389"/>
                    </a:lnTo>
                    <a:lnTo>
                      <a:pt x="156" y="391"/>
                    </a:lnTo>
                    <a:lnTo>
                      <a:pt x="156" y="392"/>
                    </a:lnTo>
                    <a:lnTo>
                      <a:pt x="155" y="393"/>
                    </a:lnTo>
                    <a:lnTo>
                      <a:pt x="155" y="394"/>
                    </a:lnTo>
                    <a:lnTo>
                      <a:pt x="152" y="393"/>
                    </a:lnTo>
                    <a:lnTo>
                      <a:pt x="152" y="397"/>
                    </a:lnTo>
                    <a:lnTo>
                      <a:pt x="152" y="396"/>
                    </a:lnTo>
                    <a:lnTo>
                      <a:pt x="151" y="395"/>
                    </a:lnTo>
                    <a:lnTo>
                      <a:pt x="150" y="395"/>
                    </a:lnTo>
                    <a:lnTo>
                      <a:pt x="150" y="397"/>
                    </a:lnTo>
                    <a:lnTo>
                      <a:pt x="148" y="399"/>
                    </a:lnTo>
                    <a:lnTo>
                      <a:pt x="146" y="399"/>
                    </a:lnTo>
                    <a:lnTo>
                      <a:pt x="144" y="400"/>
                    </a:lnTo>
                    <a:lnTo>
                      <a:pt x="144" y="402"/>
                    </a:lnTo>
                    <a:lnTo>
                      <a:pt x="142" y="404"/>
                    </a:lnTo>
                    <a:lnTo>
                      <a:pt x="144" y="407"/>
                    </a:lnTo>
                    <a:lnTo>
                      <a:pt x="145" y="406"/>
                    </a:lnTo>
                    <a:lnTo>
                      <a:pt x="147" y="406"/>
                    </a:lnTo>
                    <a:lnTo>
                      <a:pt x="149" y="404"/>
                    </a:lnTo>
                    <a:lnTo>
                      <a:pt x="151" y="405"/>
                    </a:lnTo>
                    <a:lnTo>
                      <a:pt x="152" y="406"/>
                    </a:lnTo>
                    <a:lnTo>
                      <a:pt x="153" y="408"/>
                    </a:lnTo>
                    <a:lnTo>
                      <a:pt x="152" y="409"/>
                    </a:lnTo>
                    <a:lnTo>
                      <a:pt x="152" y="411"/>
                    </a:lnTo>
                    <a:lnTo>
                      <a:pt x="151" y="413"/>
                    </a:lnTo>
                    <a:lnTo>
                      <a:pt x="152" y="415"/>
                    </a:lnTo>
                    <a:lnTo>
                      <a:pt x="153" y="416"/>
                    </a:lnTo>
                    <a:lnTo>
                      <a:pt x="158" y="417"/>
                    </a:lnTo>
                    <a:lnTo>
                      <a:pt x="159" y="417"/>
                    </a:lnTo>
                    <a:lnTo>
                      <a:pt x="163" y="419"/>
                    </a:lnTo>
                    <a:lnTo>
                      <a:pt x="167" y="422"/>
                    </a:lnTo>
                    <a:lnTo>
                      <a:pt x="166" y="423"/>
                    </a:lnTo>
                    <a:lnTo>
                      <a:pt x="166" y="424"/>
                    </a:lnTo>
                    <a:lnTo>
                      <a:pt x="165" y="425"/>
                    </a:lnTo>
                    <a:lnTo>
                      <a:pt x="164" y="427"/>
                    </a:lnTo>
                    <a:lnTo>
                      <a:pt x="167" y="430"/>
                    </a:lnTo>
                    <a:lnTo>
                      <a:pt x="170" y="428"/>
                    </a:lnTo>
                    <a:lnTo>
                      <a:pt x="169" y="428"/>
                    </a:lnTo>
                    <a:lnTo>
                      <a:pt x="169" y="427"/>
                    </a:lnTo>
                    <a:lnTo>
                      <a:pt x="167" y="427"/>
                    </a:lnTo>
                    <a:lnTo>
                      <a:pt x="166" y="427"/>
                    </a:lnTo>
                    <a:lnTo>
                      <a:pt x="169" y="427"/>
                    </a:lnTo>
                    <a:lnTo>
                      <a:pt x="173" y="430"/>
                    </a:lnTo>
                    <a:lnTo>
                      <a:pt x="172" y="427"/>
                    </a:lnTo>
                    <a:lnTo>
                      <a:pt x="175" y="426"/>
                    </a:lnTo>
                    <a:lnTo>
                      <a:pt x="176" y="427"/>
                    </a:lnTo>
                    <a:lnTo>
                      <a:pt x="177" y="429"/>
                    </a:lnTo>
                    <a:lnTo>
                      <a:pt x="178" y="430"/>
                    </a:lnTo>
                    <a:lnTo>
                      <a:pt x="177" y="432"/>
                    </a:lnTo>
                    <a:lnTo>
                      <a:pt x="177" y="434"/>
                    </a:lnTo>
                    <a:lnTo>
                      <a:pt x="179" y="435"/>
                    </a:lnTo>
                    <a:lnTo>
                      <a:pt x="180" y="435"/>
                    </a:lnTo>
                    <a:lnTo>
                      <a:pt x="182" y="434"/>
                    </a:lnTo>
                    <a:lnTo>
                      <a:pt x="182" y="437"/>
                    </a:lnTo>
                    <a:lnTo>
                      <a:pt x="183" y="438"/>
                    </a:lnTo>
                    <a:lnTo>
                      <a:pt x="185" y="435"/>
                    </a:lnTo>
                    <a:lnTo>
                      <a:pt x="185" y="434"/>
                    </a:lnTo>
                    <a:lnTo>
                      <a:pt x="185" y="433"/>
                    </a:lnTo>
                    <a:lnTo>
                      <a:pt x="187" y="433"/>
                    </a:lnTo>
                    <a:lnTo>
                      <a:pt x="187" y="431"/>
                    </a:lnTo>
                    <a:lnTo>
                      <a:pt x="189" y="430"/>
                    </a:lnTo>
                    <a:lnTo>
                      <a:pt x="190" y="430"/>
                    </a:lnTo>
                    <a:lnTo>
                      <a:pt x="188" y="426"/>
                    </a:lnTo>
                    <a:lnTo>
                      <a:pt x="190" y="425"/>
                    </a:lnTo>
                    <a:lnTo>
                      <a:pt x="191" y="425"/>
                    </a:lnTo>
                    <a:lnTo>
                      <a:pt x="192" y="427"/>
                    </a:lnTo>
                    <a:lnTo>
                      <a:pt x="194" y="427"/>
                    </a:lnTo>
                    <a:lnTo>
                      <a:pt x="194" y="428"/>
                    </a:lnTo>
                    <a:lnTo>
                      <a:pt x="195" y="427"/>
                    </a:lnTo>
                    <a:lnTo>
                      <a:pt x="198" y="425"/>
                    </a:lnTo>
                    <a:lnTo>
                      <a:pt x="201" y="425"/>
                    </a:lnTo>
                    <a:lnTo>
                      <a:pt x="201" y="427"/>
                    </a:lnTo>
                    <a:lnTo>
                      <a:pt x="204" y="429"/>
                    </a:lnTo>
                    <a:lnTo>
                      <a:pt x="204" y="432"/>
                    </a:lnTo>
                    <a:lnTo>
                      <a:pt x="206" y="434"/>
                    </a:lnTo>
                    <a:lnTo>
                      <a:pt x="207" y="435"/>
                    </a:lnTo>
                    <a:lnTo>
                      <a:pt x="208" y="434"/>
                    </a:lnTo>
                    <a:lnTo>
                      <a:pt x="209" y="434"/>
                    </a:lnTo>
                    <a:lnTo>
                      <a:pt x="209" y="432"/>
                    </a:lnTo>
                    <a:lnTo>
                      <a:pt x="211" y="430"/>
                    </a:lnTo>
                    <a:lnTo>
                      <a:pt x="210" y="430"/>
                    </a:lnTo>
                    <a:lnTo>
                      <a:pt x="210" y="429"/>
                    </a:lnTo>
                    <a:lnTo>
                      <a:pt x="209" y="428"/>
                    </a:lnTo>
                    <a:lnTo>
                      <a:pt x="211" y="429"/>
                    </a:lnTo>
                    <a:lnTo>
                      <a:pt x="213" y="426"/>
                    </a:lnTo>
                    <a:lnTo>
                      <a:pt x="215" y="428"/>
                    </a:lnTo>
                    <a:lnTo>
                      <a:pt x="216" y="427"/>
                    </a:lnTo>
                    <a:lnTo>
                      <a:pt x="216" y="426"/>
                    </a:lnTo>
                    <a:lnTo>
                      <a:pt x="216" y="422"/>
                    </a:lnTo>
                    <a:lnTo>
                      <a:pt x="216" y="421"/>
                    </a:lnTo>
                    <a:lnTo>
                      <a:pt x="218" y="422"/>
                    </a:lnTo>
                    <a:lnTo>
                      <a:pt x="223" y="423"/>
                    </a:lnTo>
                    <a:lnTo>
                      <a:pt x="226" y="421"/>
                    </a:lnTo>
                    <a:lnTo>
                      <a:pt x="227" y="418"/>
                    </a:lnTo>
                    <a:lnTo>
                      <a:pt x="229" y="418"/>
                    </a:lnTo>
                    <a:lnTo>
                      <a:pt x="229" y="417"/>
                    </a:lnTo>
                    <a:lnTo>
                      <a:pt x="230" y="417"/>
                    </a:lnTo>
                    <a:lnTo>
                      <a:pt x="230" y="416"/>
                    </a:lnTo>
                    <a:lnTo>
                      <a:pt x="228" y="415"/>
                    </a:lnTo>
                    <a:lnTo>
                      <a:pt x="229" y="413"/>
                    </a:lnTo>
                    <a:lnTo>
                      <a:pt x="230" y="413"/>
                    </a:lnTo>
                    <a:lnTo>
                      <a:pt x="233" y="411"/>
                    </a:lnTo>
                    <a:lnTo>
                      <a:pt x="234" y="410"/>
                    </a:lnTo>
                    <a:lnTo>
                      <a:pt x="237" y="411"/>
                    </a:lnTo>
                    <a:lnTo>
                      <a:pt x="239" y="409"/>
                    </a:lnTo>
                    <a:lnTo>
                      <a:pt x="242" y="411"/>
                    </a:lnTo>
                    <a:lnTo>
                      <a:pt x="243" y="409"/>
                    </a:lnTo>
                    <a:lnTo>
                      <a:pt x="246" y="411"/>
                    </a:lnTo>
                    <a:lnTo>
                      <a:pt x="247" y="411"/>
                    </a:lnTo>
                    <a:lnTo>
                      <a:pt x="247" y="413"/>
                    </a:lnTo>
                    <a:lnTo>
                      <a:pt x="250" y="413"/>
                    </a:lnTo>
                    <a:lnTo>
                      <a:pt x="248" y="411"/>
                    </a:lnTo>
                    <a:lnTo>
                      <a:pt x="250" y="410"/>
                    </a:lnTo>
                    <a:lnTo>
                      <a:pt x="251" y="410"/>
                    </a:lnTo>
                    <a:lnTo>
                      <a:pt x="252" y="410"/>
                    </a:lnTo>
                    <a:lnTo>
                      <a:pt x="251" y="408"/>
                    </a:lnTo>
                    <a:lnTo>
                      <a:pt x="252" y="408"/>
                    </a:lnTo>
                    <a:lnTo>
                      <a:pt x="252" y="407"/>
                    </a:lnTo>
                    <a:lnTo>
                      <a:pt x="251" y="407"/>
                    </a:lnTo>
                    <a:lnTo>
                      <a:pt x="253" y="404"/>
                    </a:lnTo>
                    <a:lnTo>
                      <a:pt x="253" y="402"/>
                    </a:lnTo>
                    <a:lnTo>
                      <a:pt x="254" y="401"/>
                    </a:lnTo>
                    <a:lnTo>
                      <a:pt x="253" y="398"/>
                    </a:lnTo>
                    <a:lnTo>
                      <a:pt x="255" y="399"/>
                    </a:lnTo>
                    <a:lnTo>
                      <a:pt x="256" y="399"/>
                    </a:lnTo>
                    <a:lnTo>
                      <a:pt x="260" y="402"/>
                    </a:lnTo>
                    <a:lnTo>
                      <a:pt x="260" y="403"/>
                    </a:lnTo>
                    <a:lnTo>
                      <a:pt x="258" y="403"/>
                    </a:lnTo>
                    <a:lnTo>
                      <a:pt x="258" y="404"/>
                    </a:lnTo>
                    <a:lnTo>
                      <a:pt x="260" y="404"/>
                    </a:lnTo>
                    <a:lnTo>
                      <a:pt x="261" y="404"/>
                    </a:lnTo>
                    <a:lnTo>
                      <a:pt x="261" y="405"/>
                    </a:lnTo>
                    <a:lnTo>
                      <a:pt x="264" y="402"/>
                    </a:lnTo>
                    <a:lnTo>
                      <a:pt x="268" y="400"/>
                    </a:lnTo>
                    <a:lnTo>
                      <a:pt x="266" y="400"/>
                    </a:lnTo>
                    <a:lnTo>
                      <a:pt x="267" y="394"/>
                    </a:lnTo>
                    <a:lnTo>
                      <a:pt x="271" y="398"/>
                    </a:lnTo>
                    <a:lnTo>
                      <a:pt x="273" y="395"/>
                    </a:lnTo>
                    <a:lnTo>
                      <a:pt x="276" y="393"/>
                    </a:lnTo>
                    <a:lnTo>
                      <a:pt x="277" y="394"/>
                    </a:lnTo>
                    <a:lnTo>
                      <a:pt x="277" y="396"/>
                    </a:lnTo>
                    <a:lnTo>
                      <a:pt x="277" y="398"/>
                    </a:lnTo>
                    <a:lnTo>
                      <a:pt x="278" y="398"/>
                    </a:lnTo>
                    <a:lnTo>
                      <a:pt x="278" y="400"/>
                    </a:lnTo>
                    <a:lnTo>
                      <a:pt x="277" y="400"/>
                    </a:lnTo>
                    <a:lnTo>
                      <a:pt x="278" y="401"/>
                    </a:lnTo>
                    <a:lnTo>
                      <a:pt x="277" y="401"/>
                    </a:lnTo>
                    <a:lnTo>
                      <a:pt x="277" y="402"/>
                    </a:lnTo>
                    <a:lnTo>
                      <a:pt x="278" y="402"/>
                    </a:lnTo>
                    <a:lnTo>
                      <a:pt x="279" y="404"/>
                    </a:lnTo>
                    <a:lnTo>
                      <a:pt x="280" y="403"/>
                    </a:lnTo>
                    <a:lnTo>
                      <a:pt x="280" y="401"/>
                    </a:lnTo>
                    <a:lnTo>
                      <a:pt x="280" y="402"/>
                    </a:lnTo>
                    <a:lnTo>
                      <a:pt x="281" y="404"/>
                    </a:lnTo>
                    <a:lnTo>
                      <a:pt x="280" y="404"/>
                    </a:lnTo>
                    <a:lnTo>
                      <a:pt x="280" y="405"/>
                    </a:lnTo>
                    <a:lnTo>
                      <a:pt x="283" y="407"/>
                    </a:lnTo>
                    <a:lnTo>
                      <a:pt x="285" y="408"/>
                    </a:lnTo>
                    <a:lnTo>
                      <a:pt x="288" y="409"/>
                    </a:lnTo>
                    <a:lnTo>
                      <a:pt x="289" y="408"/>
                    </a:lnTo>
                    <a:lnTo>
                      <a:pt x="291" y="408"/>
                    </a:lnTo>
                    <a:lnTo>
                      <a:pt x="293" y="406"/>
                    </a:lnTo>
                    <a:lnTo>
                      <a:pt x="294" y="406"/>
                    </a:lnTo>
                    <a:lnTo>
                      <a:pt x="295" y="403"/>
                    </a:lnTo>
                    <a:lnTo>
                      <a:pt x="294" y="401"/>
                    </a:lnTo>
                    <a:lnTo>
                      <a:pt x="294" y="400"/>
                    </a:lnTo>
                    <a:lnTo>
                      <a:pt x="296" y="400"/>
                    </a:lnTo>
                    <a:lnTo>
                      <a:pt x="296" y="401"/>
                    </a:lnTo>
                    <a:lnTo>
                      <a:pt x="296" y="403"/>
                    </a:lnTo>
                    <a:lnTo>
                      <a:pt x="298" y="403"/>
                    </a:lnTo>
                    <a:lnTo>
                      <a:pt x="298" y="404"/>
                    </a:lnTo>
                    <a:lnTo>
                      <a:pt x="300" y="404"/>
                    </a:lnTo>
                    <a:lnTo>
                      <a:pt x="301" y="404"/>
                    </a:lnTo>
                    <a:lnTo>
                      <a:pt x="303" y="406"/>
                    </a:lnTo>
                    <a:lnTo>
                      <a:pt x="304" y="407"/>
                    </a:lnTo>
                    <a:lnTo>
                      <a:pt x="305" y="406"/>
                    </a:lnTo>
                    <a:lnTo>
                      <a:pt x="307" y="406"/>
                    </a:lnTo>
                    <a:lnTo>
                      <a:pt x="308" y="409"/>
                    </a:lnTo>
                    <a:lnTo>
                      <a:pt x="309" y="410"/>
                    </a:lnTo>
                    <a:lnTo>
                      <a:pt x="309" y="407"/>
                    </a:lnTo>
                    <a:lnTo>
                      <a:pt x="309" y="406"/>
                    </a:lnTo>
                    <a:lnTo>
                      <a:pt x="311" y="406"/>
                    </a:lnTo>
                    <a:lnTo>
                      <a:pt x="313" y="407"/>
                    </a:lnTo>
                    <a:lnTo>
                      <a:pt x="313" y="406"/>
                    </a:lnTo>
                    <a:lnTo>
                      <a:pt x="314" y="406"/>
                    </a:lnTo>
                    <a:lnTo>
                      <a:pt x="318" y="408"/>
                    </a:lnTo>
                    <a:lnTo>
                      <a:pt x="318" y="407"/>
                    </a:lnTo>
                    <a:lnTo>
                      <a:pt x="320" y="407"/>
                    </a:lnTo>
                    <a:lnTo>
                      <a:pt x="318" y="406"/>
                    </a:lnTo>
                    <a:lnTo>
                      <a:pt x="320" y="406"/>
                    </a:lnTo>
                    <a:lnTo>
                      <a:pt x="320" y="404"/>
                    </a:lnTo>
                    <a:lnTo>
                      <a:pt x="321" y="404"/>
                    </a:lnTo>
                    <a:lnTo>
                      <a:pt x="322" y="406"/>
                    </a:lnTo>
                    <a:lnTo>
                      <a:pt x="326" y="404"/>
                    </a:lnTo>
                    <a:lnTo>
                      <a:pt x="326" y="403"/>
                    </a:lnTo>
                    <a:lnTo>
                      <a:pt x="325" y="402"/>
                    </a:lnTo>
                    <a:lnTo>
                      <a:pt x="325" y="400"/>
                    </a:lnTo>
                    <a:lnTo>
                      <a:pt x="321" y="398"/>
                    </a:lnTo>
                    <a:lnTo>
                      <a:pt x="324" y="396"/>
                    </a:lnTo>
                    <a:lnTo>
                      <a:pt x="323" y="395"/>
                    </a:lnTo>
                    <a:lnTo>
                      <a:pt x="324" y="396"/>
                    </a:lnTo>
                    <a:lnTo>
                      <a:pt x="329" y="394"/>
                    </a:lnTo>
                    <a:lnTo>
                      <a:pt x="330" y="394"/>
                    </a:lnTo>
                    <a:lnTo>
                      <a:pt x="332" y="393"/>
                    </a:lnTo>
                    <a:lnTo>
                      <a:pt x="333" y="393"/>
                    </a:lnTo>
                    <a:lnTo>
                      <a:pt x="336" y="394"/>
                    </a:lnTo>
                    <a:lnTo>
                      <a:pt x="337" y="393"/>
                    </a:lnTo>
                    <a:lnTo>
                      <a:pt x="339" y="394"/>
                    </a:lnTo>
                    <a:lnTo>
                      <a:pt x="342" y="393"/>
                    </a:lnTo>
                    <a:lnTo>
                      <a:pt x="345" y="395"/>
                    </a:lnTo>
                    <a:lnTo>
                      <a:pt x="346" y="393"/>
                    </a:lnTo>
                    <a:lnTo>
                      <a:pt x="346" y="392"/>
                    </a:lnTo>
                    <a:lnTo>
                      <a:pt x="348" y="390"/>
                    </a:lnTo>
                    <a:lnTo>
                      <a:pt x="350" y="390"/>
                    </a:lnTo>
                    <a:lnTo>
                      <a:pt x="350" y="388"/>
                    </a:lnTo>
                    <a:lnTo>
                      <a:pt x="348" y="384"/>
                    </a:lnTo>
                    <a:lnTo>
                      <a:pt x="349" y="383"/>
                    </a:lnTo>
                    <a:lnTo>
                      <a:pt x="351" y="383"/>
                    </a:lnTo>
                    <a:lnTo>
                      <a:pt x="353" y="383"/>
                    </a:lnTo>
                    <a:lnTo>
                      <a:pt x="355" y="383"/>
                    </a:lnTo>
                    <a:lnTo>
                      <a:pt x="356" y="383"/>
                    </a:lnTo>
                    <a:lnTo>
                      <a:pt x="357" y="381"/>
                    </a:lnTo>
                    <a:lnTo>
                      <a:pt x="359" y="381"/>
                    </a:lnTo>
                    <a:lnTo>
                      <a:pt x="359" y="380"/>
                    </a:lnTo>
                    <a:lnTo>
                      <a:pt x="361" y="378"/>
                    </a:lnTo>
                    <a:lnTo>
                      <a:pt x="362" y="376"/>
                    </a:lnTo>
                    <a:lnTo>
                      <a:pt x="362" y="377"/>
                    </a:lnTo>
                    <a:lnTo>
                      <a:pt x="362" y="376"/>
                    </a:lnTo>
                    <a:lnTo>
                      <a:pt x="364" y="370"/>
                    </a:lnTo>
                    <a:lnTo>
                      <a:pt x="363" y="370"/>
                    </a:lnTo>
                    <a:lnTo>
                      <a:pt x="363" y="367"/>
                    </a:lnTo>
                    <a:lnTo>
                      <a:pt x="360" y="367"/>
                    </a:lnTo>
                    <a:lnTo>
                      <a:pt x="362" y="364"/>
                    </a:lnTo>
                    <a:lnTo>
                      <a:pt x="362" y="362"/>
                    </a:lnTo>
                    <a:lnTo>
                      <a:pt x="361" y="361"/>
                    </a:lnTo>
                    <a:lnTo>
                      <a:pt x="361" y="363"/>
                    </a:lnTo>
                    <a:lnTo>
                      <a:pt x="358" y="365"/>
                    </a:lnTo>
                    <a:lnTo>
                      <a:pt x="356" y="364"/>
                    </a:lnTo>
                    <a:lnTo>
                      <a:pt x="355" y="366"/>
                    </a:lnTo>
                    <a:lnTo>
                      <a:pt x="354" y="366"/>
                    </a:lnTo>
                    <a:lnTo>
                      <a:pt x="356" y="364"/>
                    </a:lnTo>
                    <a:lnTo>
                      <a:pt x="356" y="362"/>
                    </a:lnTo>
                    <a:lnTo>
                      <a:pt x="357" y="363"/>
                    </a:lnTo>
                    <a:lnTo>
                      <a:pt x="358" y="361"/>
                    </a:lnTo>
                    <a:lnTo>
                      <a:pt x="356" y="358"/>
                    </a:lnTo>
                    <a:lnTo>
                      <a:pt x="356" y="357"/>
                    </a:lnTo>
                    <a:lnTo>
                      <a:pt x="356" y="354"/>
                    </a:lnTo>
                    <a:lnTo>
                      <a:pt x="354" y="355"/>
                    </a:lnTo>
                    <a:lnTo>
                      <a:pt x="355" y="353"/>
                    </a:lnTo>
                    <a:lnTo>
                      <a:pt x="353" y="353"/>
                    </a:lnTo>
                    <a:lnTo>
                      <a:pt x="354" y="351"/>
                    </a:lnTo>
                    <a:lnTo>
                      <a:pt x="356" y="347"/>
                    </a:lnTo>
                    <a:lnTo>
                      <a:pt x="359" y="347"/>
                    </a:lnTo>
                    <a:lnTo>
                      <a:pt x="362" y="349"/>
                    </a:lnTo>
                    <a:lnTo>
                      <a:pt x="364" y="347"/>
                    </a:lnTo>
                    <a:lnTo>
                      <a:pt x="364" y="346"/>
                    </a:lnTo>
                    <a:lnTo>
                      <a:pt x="366" y="348"/>
                    </a:lnTo>
                    <a:lnTo>
                      <a:pt x="368" y="345"/>
                    </a:lnTo>
                    <a:lnTo>
                      <a:pt x="366" y="344"/>
                    </a:lnTo>
                    <a:lnTo>
                      <a:pt x="366" y="340"/>
                    </a:lnTo>
                    <a:lnTo>
                      <a:pt x="367" y="338"/>
                    </a:lnTo>
                    <a:lnTo>
                      <a:pt x="367" y="339"/>
                    </a:lnTo>
                    <a:lnTo>
                      <a:pt x="368" y="337"/>
                    </a:lnTo>
                    <a:lnTo>
                      <a:pt x="366" y="334"/>
                    </a:lnTo>
                    <a:lnTo>
                      <a:pt x="365" y="332"/>
                    </a:lnTo>
                    <a:lnTo>
                      <a:pt x="363" y="332"/>
                    </a:lnTo>
                    <a:lnTo>
                      <a:pt x="361" y="331"/>
                    </a:lnTo>
                    <a:lnTo>
                      <a:pt x="359" y="331"/>
                    </a:lnTo>
                    <a:lnTo>
                      <a:pt x="358" y="330"/>
                    </a:lnTo>
                    <a:lnTo>
                      <a:pt x="359" y="326"/>
                    </a:lnTo>
                    <a:lnTo>
                      <a:pt x="359" y="324"/>
                    </a:lnTo>
                    <a:lnTo>
                      <a:pt x="360" y="322"/>
                    </a:lnTo>
                    <a:lnTo>
                      <a:pt x="362" y="317"/>
                    </a:lnTo>
                    <a:lnTo>
                      <a:pt x="364" y="315"/>
                    </a:lnTo>
                    <a:lnTo>
                      <a:pt x="364" y="313"/>
                    </a:lnTo>
                    <a:lnTo>
                      <a:pt x="366" y="311"/>
                    </a:lnTo>
                    <a:lnTo>
                      <a:pt x="369" y="311"/>
                    </a:lnTo>
                    <a:lnTo>
                      <a:pt x="369" y="313"/>
                    </a:lnTo>
                    <a:lnTo>
                      <a:pt x="370" y="313"/>
                    </a:lnTo>
                    <a:lnTo>
                      <a:pt x="371" y="312"/>
                    </a:lnTo>
                    <a:lnTo>
                      <a:pt x="373" y="311"/>
                    </a:lnTo>
                    <a:lnTo>
                      <a:pt x="374" y="311"/>
                    </a:lnTo>
                    <a:lnTo>
                      <a:pt x="375" y="311"/>
                    </a:lnTo>
                    <a:lnTo>
                      <a:pt x="375" y="307"/>
                    </a:lnTo>
                    <a:lnTo>
                      <a:pt x="372" y="306"/>
                    </a:lnTo>
                    <a:lnTo>
                      <a:pt x="373" y="303"/>
                    </a:lnTo>
                    <a:lnTo>
                      <a:pt x="372" y="303"/>
                    </a:lnTo>
                    <a:lnTo>
                      <a:pt x="372" y="302"/>
                    </a:lnTo>
                    <a:lnTo>
                      <a:pt x="368" y="302"/>
                    </a:lnTo>
                    <a:lnTo>
                      <a:pt x="367" y="300"/>
                    </a:lnTo>
                    <a:lnTo>
                      <a:pt x="367" y="297"/>
                    </a:lnTo>
                    <a:lnTo>
                      <a:pt x="369" y="294"/>
                    </a:lnTo>
                    <a:lnTo>
                      <a:pt x="369" y="293"/>
                    </a:lnTo>
                    <a:lnTo>
                      <a:pt x="370" y="294"/>
                    </a:lnTo>
                    <a:lnTo>
                      <a:pt x="373" y="293"/>
                    </a:lnTo>
                    <a:lnTo>
                      <a:pt x="373" y="292"/>
                    </a:lnTo>
                    <a:lnTo>
                      <a:pt x="375" y="293"/>
                    </a:lnTo>
                    <a:lnTo>
                      <a:pt x="375" y="292"/>
                    </a:lnTo>
                    <a:lnTo>
                      <a:pt x="374" y="290"/>
                    </a:lnTo>
                    <a:lnTo>
                      <a:pt x="375" y="289"/>
                    </a:lnTo>
                    <a:lnTo>
                      <a:pt x="377" y="289"/>
                    </a:lnTo>
                    <a:lnTo>
                      <a:pt x="378" y="288"/>
                    </a:lnTo>
                    <a:lnTo>
                      <a:pt x="378" y="286"/>
                    </a:lnTo>
                    <a:lnTo>
                      <a:pt x="379" y="285"/>
                    </a:lnTo>
                    <a:lnTo>
                      <a:pt x="378" y="283"/>
                    </a:lnTo>
                    <a:lnTo>
                      <a:pt x="378" y="282"/>
                    </a:lnTo>
                    <a:lnTo>
                      <a:pt x="378" y="281"/>
                    </a:lnTo>
                    <a:lnTo>
                      <a:pt x="378" y="279"/>
                    </a:lnTo>
                    <a:lnTo>
                      <a:pt x="379" y="279"/>
                    </a:lnTo>
                    <a:lnTo>
                      <a:pt x="382" y="279"/>
                    </a:lnTo>
                    <a:lnTo>
                      <a:pt x="384" y="278"/>
                    </a:lnTo>
                    <a:lnTo>
                      <a:pt x="386" y="279"/>
                    </a:lnTo>
                    <a:lnTo>
                      <a:pt x="390" y="276"/>
                    </a:lnTo>
                    <a:lnTo>
                      <a:pt x="392" y="274"/>
                    </a:lnTo>
                    <a:lnTo>
                      <a:pt x="392" y="272"/>
                    </a:lnTo>
                    <a:lnTo>
                      <a:pt x="395" y="272"/>
                    </a:lnTo>
                    <a:lnTo>
                      <a:pt x="395" y="274"/>
                    </a:lnTo>
                    <a:lnTo>
                      <a:pt x="396" y="275"/>
                    </a:lnTo>
                    <a:lnTo>
                      <a:pt x="396" y="274"/>
                    </a:lnTo>
                    <a:lnTo>
                      <a:pt x="398" y="272"/>
                    </a:lnTo>
                    <a:lnTo>
                      <a:pt x="400" y="272"/>
                    </a:lnTo>
                    <a:lnTo>
                      <a:pt x="403" y="270"/>
                    </a:lnTo>
                    <a:lnTo>
                      <a:pt x="403" y="268"/>
                    </a:lnTo>
                    <a:lnTo>
                      <a:pt x="406" y="268"/>
                    </a:lnTo>
                    <a:lnTo>
                      <a:pt x="406" y="266"/>
                    </a:lnTo>
                    <a:lnTo>
                      <a:pt x="405" y="266"/>
                    </a:lnTo>
                    <a:lnTo>
                      <a:pt x="406" y="266"/>
                    </a:lnTo>
                    <a:lnTo>
                      <a:pt x="405" y="264"/>
                    </a:lnTo>
                    <a:lnTo>
                      <a:pt x="403" y="260"/>
                    </a:lnTo>
                    <a:lnTo>
                      <a:pt x="406" y="258"/>
                    </a:lnTo>
                    <a:lnTo>
                      <a:pt x="405" y="258"/>
                    </a:lnTo>
                    <a:lnTo>
                      <a:pt x="404" y="253"/>
                    </a:lnTo>
                    <a:lnTo>
                      <a:pt x="405" y="253"/>
                    </a:lnTo>
                    <a:lnTo>
                      <a:pt x="405" y="251"/>
                    </a:lnTo>
                    <a:lnTo>
                      <a:pt x="406" y="248"/>
                    </a:lnTo>
                    <a:lnTo>
                      <a:pt x="406" y="246"/>
                    </a:lnTo>
                    <a:lnTo>
                      <a:pt x="407" y="244"/>
                    </a:lnTo>
                    <a:lnTo>
                      <a:pt x="408" y="243"/>
                    </a:lnTo>
                    <a:lnTo>
                      <a:pt x="408" y="240"/>
                    </a:lnTo>
                    <a:lnTo>
                      <a:pt x="406" y="242"/>
                    </a:lnTo>
                    <a:lnTo>
                      <a:pt x="405" y="241"/>
                    </a:lnTo>
                    <a:lnTo>
                      <a:pt x="404" y="239"/>
                    </a:lnTo>
                    <a:lnTo>
                      <a:pt x="406" y="238"/>
                    </a:lnTo>
                    <a:lnTo>
                      <a:pt x="405" y="236"/>
                    </a:lnTo>
                    <a:lnTo>
                      <a:pt x="405" y="235"/>
                    </a:lnTo>
                    <a:lnTo>
                      <a:pt x="406" y="234"/>
                    </a:lnTo>
                    <a:lnTo>
                      <a:pt x="404" y="229"/>
                    </a:lnTo>
                    <a:lnTo>
                      <a:pt x="405" y="226"/>
                    </a:lnTo>
                    <a:lnTo>
                      <a:pt x="406" y="225"/>
                    </a:lnTo>
                    <a:lnTo>
                      <a:pt x="408" y="223"/>
                    </a:lnTo>
                    <a:lnTo>
                      <a:pt x="410" y="221"/>
                    </a:lnTo>
                    <a:lnTo>
                      <a:pt x="408" y="217"/>
                    </a:lnTo>
                    <a:lnTo>
                      <a:pt x="412" y="215"/>
                    </a:lnTo>
                    <a:lnTo>
                      <a:pt x="413" y="213"/>
                    </a:lnTo>
                    <a:lnTo>
                      <a:pt x="410" y="212"/>
                    </a:lnTo>
                    <a:lnTo>
                      <a:pt x="410" y="211"/>
                    </a:lnTo>
                    <a:lnTo>
                      <a:pt x="410" y="209"/>
                    </a:lnTo>
                    <a:lnTo>
                      <a:pt x="411" y="208"/>
                    </a:lnTo>
                    <a:lnTo>
                      <a:pt x="410" y="208"/>
                    </a:lnTo>
                    <a:lnTo>
                      <a:pt x="409" y="209"/>
                    </a:lnTo>
                    <a:lnTo>
                      <a:pt x="408" y="208"/>
                    </a:lnTo>
                    <a:lnTo>
                      <a:pt x="406" y="206"/>
                    </a:lnTo>
                    <a:lnTo>
                      <a:pt x="405" y="204"/>
                    </a:lnTo>
                    <a:lnTo>
                      <a:pt x="406" y="203"/>
                    </a:lnTo>
                    <a:lnTo>
                      <a:pt x="406" y="202"/>
                    </a:lnTo>
                    <a:lnTo>
                      <a:pt x="404" y="200"/>
                    </a:lnTo>
                    <a:lnTo>
                      <a:pt x="405" y="200"/>
                    </a:lnTo>
                    <a:lnTo>
                      <a:pt x="407" y="200"/>
                    </a:lnTo>
                    <a:lnTo>
                      <a:pt x="408" y="201"/>
                    </a:lnTo>
                    <a:lnTo>
                      <a:pt x="409" y="205"/>
                    </a:lnTo>
                    <a:lnTo>
                      <a:pt x="412" y="204"/>
                    </a:lnTo>
                    <a:lnTo>
                      <a:pt x="413" y="203"/>
                    </a:lnTo>
                    <a:lnTo>
                      <a:pt x="413" y="202"/>
                    </a:lnTo>
                    <a:lnTo>
                      <a:pt x="416" y="200"/>
                    </a:lnTo>
                    <a:lnTo>
                      <a:pt x="418" y="197"/>
                    </a:lnTo>
                    <a:lnTo>
                      <a:pt x="419" y="197"/>
                    </a:lnTo>
                    <a:lnTo>
                      <a:pt x="422" y="191"/>
                    </a:lnTo>
                    <a:lnTo>
                      <a:pt x="422" y="187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68" name="Group 71">
              <a:extLst>
                <a:ext uri="{FF2B5EF4-FFF2-40B4-BE49-F238E27FC236}">
                  <a16:creationId xmlns:a16="http://schemas.microsoft.com/office/drawing/2014/main" id="{52D913FF-6289-484F-8DF3-99B81ADBFD2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49" y="3515"/>
              <a:ext cx="370" cy="313"/>
              <a:chOff x="1749" y="3515"/>
              <a:chExt cx="370" cy="313"/>
            </a:xfrm>
          </p:grpSpPr>
          <p:sp>
            <p:nvSpPr>
              <p:cNvPr id="523" name="Freeform 69">
                <a:extLst>
                  <a:ext uri="{FF2B5EF4-FFF2-40B4-BE49-F238E27FC236}">
                    <a16:creationId xmlns:a16="http://schemas.microsoft.com/office/drawing/2014/main" id="{D87BD330-A0A9-4A7F-AE4A-2BA366A6F3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9" y="3515"/>
                <a:ext cx="370" cy="313"/>
              </a:xfrm>
              <a:custGeom>
                <a:avLst/>
                <a:gdLst>
                  <a:gd name="T0" fmla="*/ 360 w 370"/>
                  <a:gd name="T1" fmla="*/ 67 h 313"/>
                  <a:gd name="T2" fmla="*/ 345 w 370"/>
                  <a:gd name="T3" fmla="*/ 47 h 313"/>
                  <a:gd name="T4" fmla="*/ 321 w 370"/>
                  <a:gd name="T5" fmla="*/ 29 h 313"/>
                  <a:gd name="T6" fmla="*/ 291 w 370"/>
                  <a:gd name="T7" fmla="*/ 15 h 313"/>
                  <a:gd name="T8" fmla="*/ 261 w 370"/>
                  <a:gd name="T9" fmla="*/ 18 h 313"/>
                  <a:gd name="T10" fmla="*/ 248 w 370"/>
                  <a:gd name="T11" fmla="*/ 0 h 313"/>
                  <a:gd name="T12" fmla="*/ 224 w 370"/>
                  <a:gd name="T13" fmla="*/ 10 h 313"/>
                  <a:gd name="T14" fmla="*/ 217 w 370"/>
                  <a:gd name="T15" fmla="*/ 11 h 313"/>
                  <a:gd name="T16" fmla="*/ 202 w 370"/>
                  <a:gd name="T17" fmla="*/ 21 h 313"/>
                  <a:gd name="T18" fmla="*/ 198 w 370"/>
                  <a:gd name="T19" fmla="*/ 39 h 313"/>
                  <a:gd name="T20" fmla="*/ 187 w 370"/>
                  <a:gd name="T21" fmla="*/ 43 h 313"/>
                  <a:gd name="T22" fmla="*/ 178 w 370"/>
                  <a:gd name="T23" fmla="*/ 34 h 313"/>
                  <a:gd name="T24" fmla="*/ 168 w 370"/>
                  <a:gd name="T25" fmla="*/ 38 h 313"/>
                  <a:gd name="T26" fmla="*/ 156 w 370"/>
                  <a:gd name="T27" fmla="*/ 36 h 313"/>
                  <a:gd name="T28" fmla="*/ 157 w 370"/>
                  <a:gd name="T29" fmla="*/ 53 h 313"/>
                  <a:gd name="T30" fmla="*/ 147 w 370"/>
                  <a:gd name="T31" fmla="*/ 56 h 313"/>
                  <a:gd name="T32" fmla="*/ 132 w 370"/>
                  <a:gd name="T33" fmla="*/ 51 h 313"/>
                  <a:gd name="T34" fmla="*/ 124 w 370"/>
                  <a:gd name="T35" fmla="*/ 54 h 313"/>
                  <a:gd name="T36" fmla="*/ 110 w 370"/>
                  <a:gd name="T37" fmla="*/ 73 h 313"/>
                  <a:gd name="T38" fmla="*/ 100 w 370"/>
                  <a:gd name="T39" fmla="*/ 62 h 313"/>
                  <a:gd name="T40" fmla="*/ 85 w 370"/>
                  <a:gd name="T41" fmla="*/ 58 h 313"/>
                  <a:gd name="T42" fmla="*/ 83 w 370"/>
                  <a:gd name="T43" fmla="*/ 45 h 313"/>
                  <a:gd name="T44" fmla="*/ 74 w 370"/>
                  <a:gd name="T45" fmla="*/ 53 h 313"/>
                  <a:gd name="T46" fmla="*/ 77 w 370"/>
                  <a:gd name="T47" fmla="*/ 73 h 313"/>
                  <a:gd name="T48" fmla="*/ 66 w 370"/>
                  <a:gd name="T49" fmla="*/ 79 h 313"/>
                  <a:gd name="T50" fmla="*/ 59 w 370"/>
                  <a:gd name="T51" fmla="*/ 93 h 313"/>
                  <a:gd name="T52" fmla="*/ 45 w 370"/>
                  <a:gd name="T53" fmla="*/ 95 h 313"/>
                  <a:gd name="T54" fmla="*/ 30 w 370"/>
                  <a:gd name="T55" fmla="*/ 93 h 313"/>
                  <a:gd name="T56" fmla="*/ 25 w 370"/>
                  <a:gd name="T57" fmla="*/ 104 h 313"/>
                  <a:gd name="T58" fmla="*/ 15 w 370"/>
                  <a:gd name="T59" fmla="*/ 111 h 313"/>
                  <a:gd name="T60" fmla="*/ 16 w 370"/>
                  <a:gd name="T61" fmla="*/ 138 h 313"/>
                  <a:gd name="T62" fmla="*/ 16 w 370"/>
                  <a:gd name="T63" fmla="*/ 148 h 313"/>
                  <a:gd name="T64" fmla="*/ 27 w 370"/>
                  <a:gd name="T65" fmla="*/ 154 h 313"/>
                  <a:gd name="T66" fmla="*/ 18 w 370"/>
                  <a:gd name="T67" fmla="*/ 168 h 313"/>
                  <a:gd name="T68" fmla="*/ 6 w 370"/>
                  <a:gd name="T69" fmla="*/ 181 h 313"/>
                  <a:gd name="T70" fmla="*/ 11 w 370"/>
                  <a:gd name="T71" fmla="*/ 192 h 313"/>
                  <a:gd name="T72" fmla="*/ 31 w 370"/>
                  <a:gd name="T73" fmla="*/ 197 h 313"/>
                  <a:gd name="T74" fmla="*/ 28 w 370"/>
                  <a:gd name="T75" fmla="*/ 216 h 313"/>
                  <a:gd name="T76" fmla="*/ 42 w 370"/>
                  <a:gd name="T77" fmla="*/ 227 h 313"/>
                  <a:gd name="T78" fmla="*/ 55 w 370"/>
                  <a:gd name="T79" fmla="*/ 229 h 313"/>
                  <a:gd name="T80" fmla="*/ 64 w 370"/>
                  <a:gd name="T81" fmla="*/ 240 h 313"/>
                  <a:gd name="T82" fmla="*/ 68 w 370"/>
                  <a:gd name="T83" fmla="*/ 247 h 313"/>
                  <a:gd name="T84" fmla="*/ 89 w 370"/>
                  <a:gd name="T85" fmla="*/ 259 h 313"/>
                  <a:gd name="T86" fmla="*/ 104 w 370"/>
                  <a:gd name="T87" fmla="*/ 262 h 313"/>
                  <a:gd name="T88" fmla="*/ 124 w 370"/>
                  <a:gd name="T89" fmla="*/ 285 h 313"/>
                  <a:gd name="T90" fmla="*/ 136 w 370"/>
                  <a:gd name="T91" fmla="*/ 305 h 313"/>
                  <a:gd name="T92" fmla="*/ 159 w 370"/>
                  <a:gd name="T93" fmla="*/ 306 h 313"/>
                  <a:gd name="T94" fmla="*/ 178 w 370"/>
                  <a:gd name="T95" fmla="*/ 283 h 313"/>
                  <a:gd name="T96" fmla="*/ 212 w 370"/>
                  <a:gd name="T97" fmla="*/ 271 h 313"/>
                  <a:gd name="T98" fmla="*/ 221 w 370"/>
                  <a:gd name="T99" fmla="*/ 244 h 313"/>
                  <a:gd name="T100" fmla="*/ 250 w 370"/>
                  <a:gd name="T101" fmla="*/ 245 h 313"/>
                  <a:gd name="T102" fmla="*/ 274 w 370"/>
                  <a:gd name="T103" fmla="*/ 219 h 313"/>
                  <a:gd name="T104" fmla="*/ 278 w 370"/>
                  <a:gd name="T105" fmla="*/ 191 h 313"/>
                  <a:gd name="T106" fmla="*/ 290 w 370"/>
                  <a:gd name="T107" fmla="*/ 157 h 313"/>
                  <a:gd name="T108" fmla="*/ 303 w 370"/>
                  <a:gd name="T109" fmla="*/ 128 h 313"/>
                  <a:gd name="T110" fmla="*/ 320 w 370"/>
                  <a:gd name="T111" fmla="*/ 123 h 313"/>
                  <a:gd name="T112" fmla="*/ 345 w 370"/>
                  <a:gd name="T113" fmla="*/ 114 h 31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70"/>
                  <a:gd name="T172" fmla="*/ 0 h 313"/>
                  <a:gd name="T173" fmla="*/ 370 w 370"/>
                  <a:gd name="T174" fmla="*/ 313 h 31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70" h="313">
                    <a:moveTo>
                      <a:pt x="370" y="93"/>
                    </a:moveTo>
                    <a:lnTo>
                      <a:pt x="368" y="84"/>
                    </a:lnTo>
                    <a:lnTo>
                      <a:pt x="368" y="82"/>
                    </a:lnTo>
                    <a:lnTo>
                      <a:pt x="368" y="80"/>
                    </a:lnTo>
                    <a:lnTo>
                      <a:pt x="366" y="78"/>
                    </a:lnTo>
                    <a:lnTo>
                      <a:pt x="364" y="78"/>
                    </a:lnTo>
                    <a:lnTo>
                      <a:pt x="362" y="76"/>
                    </a:lnTo>
                    <a:lnTo>
                      <a:pt x="360" y="75"/>
                    </a:lnTo>
                    <a:lnTo>
                      <a:pt x="357" y="75"/>
                    </a:lnTo>
                    <a:lnTo>
                      <a:pt x="360" y="67"/>
                    </a:lnTo>
                    <a:lnTo>
                      <a:pt x="358" y="61"/>
                    </a:lnTo>
                    <a:lnTo>
                      <a:pt x="357" y="61"/>
                    </a:lnTo>
                    <a:lnTo>
                      <a:pt x="356" y="60"/>
                    </a:lnTo>
                    <a:lnTo>
                      <a:pt x="357" y="60"/>
                    </a:lnTo>
                    <a:lnTo>
                      <a:pt x="356" y="59"/>
                    </a:lnTo>
                    <a:lnTo>
                      <a:pt x="354" y="55"/>
                    </a:lnTo>
                    <a:lnTo>
                      <a:pt x="352" y="55"/>
                    </a:lnTo>
                    <a:lnTo>
                      <a:pt x="349" y="52"/>
                    </a:lnTo>
                    <a:lnTo>
                      <a:pt x="347" y="51"/>
                    </a:lnTo>
                    <a:lnTo>
                      <a:pt x="345" y="47"/>
                    </a:lnTo>
                    <a:lnTo>
                      <a:pt x="343" y="44"/>
                    </a:lnTo>
                    <a:lnTo>
                      <a:pt x="343" y="35"/>
                    </a:lnTo>
                    <a:lnTo>
                      <a:pt x="342" y="33"/>
                    </a:lnTo>
                    <a:lnTo>
                      <a:pt x="340" y="32"/>
                    </a:lnTo>
                    <a:lnTo>
                      <a:pt x="335" y="31"/>
                    </a:lnTo>
                    <a:lnTo>
                      <a:pt x="334" y="31"/>
                    </a:lnTo>
                    <a:lnTo>
                      <a:pt x="331" y="34"/>
                    </a:lnTo>
                    <a:lnTo>
                      <a:pt x="329" y="35"/>
                    </a:lnTo>
                    <a:lnTo>
                      <a:pt x="322" y="32"/>
                    </a:lnTo>
                    <a:lnTo>
                      <a:pt x="321" y="29"/>
                    </a:lnTo>
                    <a:lnTo>
                      <a:pt x="319" y="29"/>
                    </a:lnTo>
                    <a:lnTo>
                      <a:pt x="315" y="31"/>
                    </a:lnTo>
                    <a:lnTo>
                      <a:pt x="312" y="29"/>
                    </a:lnTo>
                    <a:lnTo>
                      <a:pt x="309" y="23"/>
                    </a:lnTo>
                    <a:lnTo>
                      <a:pt x="307" y="18"/>
                    </a:lnTo>
                    <a:lnTo>
                      <a:pt x="306" y="17"/>
                    </a:lnTo>
                    <a:lnTo>
                      <a:pt x="304" y="18"/>
                    </a:lnTo>
                    <a:lnTo>
                      <a:pt x="298" y="19"/>
                    </a:lnTo>
                    <a:lnTo>
                      <a:pt x="296" y="14"/>
                    </a:lnTo>
                    <a:lnTo>
                      <a:pt x="291" y="15"/>
                    </a:lnTo>
                    <a:lnTo>
                      <a:pt x="289" y="14"/>
                    </a:lnTo>
                    <a:lnTo>
                      <a:pt x="288" y="15"/>
                    </a:lnTo>
                    <a:lnTo>
                      <a:pt x="285" y="14"/>
                    </a:lnTo>
                    <a:lnTo>
                      <a:pt x="283" y="15"/>
                    </a:lnTo>
                    <a:lnTo>
                      <a:pt x="282" y="15"/>
                    </a:lnTo>
                    <a:lnTo>
                      <a:pt x="279" y="14"/>
                    </a:lnTo>
                    <a:lnTo>
                      <a:pt x="276" y="15"/>
                    </a:lnTo>
                    <a:lnTo>
                      <a:pt x="270" y="16"/>
                    </a:lnTo>
                    <a:lnTo>
                      <a:pt x="264" y="18"/>
                    </a:lnTo>
                    <a:lnTo>
                      <a:pt x="261" y="18"/>
                    </a:lnTo>
                    <a:lnTo>
                      <a:pt x="261" y="19"/>
                    </a:lnTo>
                    <a:lnTo>
                      <a:pt x="258" y="17"/>
                    </a:lnTo>
                    <a:lnTo>
                      <a:pt x="259" y="14"/>
                    </a:lnTo>
                    <a:lnTo>
                      <a:pt x="259" y="9"/>
                    </a:lnTo>
                    <a:lnTo>
                      <a:pt x="257" y="6"/>
                    </a:lnTo>
                    <a:lnTo>
                      <a:pt x="255" y="2"/>
                    </a:lnTo>
                    <a:lnTo>
                      <a:pt x="253" y="2"/>
                    </a:lnTo>
                    <a:lnTo>
                      <a:pt x="253" y="3"/>
                    </a:lnTo>
                    <a:lnTo>
                      <a:pt x="250" y="0"/>
                    </a:lnTo>
                    <a:lnTo>
                      <a:pt x="248" y="0"/>
                    </a:lnTo>
                    <a:lnTo>
                      <a:pt x="239" y="0"/>
                    </a:lnTo>
                    <a:lnTo>
                      <a:pt x="237" y="6"/>
                    </a:lnTo>
                    <a:lnTo>
                      <a:pt x="233" y="10"/>
                    </a:lnTo>
                    <a:lnTo>
                      <a:pt x="233" y="11"/>
                    </a:lnTo>
                    <a:lnTo>
                      <a:pt x="233" y="13"/>
                    </a:lnTo>
                    <a:lnTo>
                      <a:pt x="230" y="13"/>
                    </a:lnTo>
                    <a:lnTo>
                      <a:pt x="228" y="10"/>
                    </a:lnTo>
                    <a:lnTo>
                      <a:pt x="226" y="11"/>
                    </a:lnTo>
                    <a:lnTo>
                      <a:pt x="225" y="10"/>
                    </a:lnTo>
                    <a:lnTo>
                      <a:pt x="224" y="10"/>
                    </a:lnTo>
                    <a:lnTo>
                      <a:pt x="224" y="8"/>
                    </a:lnTo>
                    <a:lnTo>
                      <a:pt x="220" y="8"/>
                    </a:lnTo>
                    <a:lnTo>
                      <a:pt x="220" y="6"/>
                    </a:lnTo>
                    <a:lnTo>
                      <a:pt x="219" y="5"/>
                    </a:lnTo>
                    <a:lnTo>
                      <a:pt x="217" y="5"/>
                    </a:lnTo>
                    <a:lnTo>
                      <a:pt x="218" y="6"/>
                    </a:lnTo>
                    <a:lnTo>
                      <a:pt x="218" y="8"/>
                    </a:lnTo>
                    <a:lnTo>
                      <a:pt x="217" y="10"/>
                    </a:lnTo>
                    <a:lnTo>
                      <a:pt x="217" y="11"/>
                    </a:lnTo>
                    <a:lnTo>
                      <a:pt x="217" y="14"/>
                    </a:lnTo>
                    <a:lnTo>
                      <a:pt x="211" y="15"/>
                    </a:lnTo>
                    <a:lnTo>
                      <a:pt x="210" y="14"/>
                    </a:lnTo>
                    <a:lnTo>
                      <a:pt x="209" y="16"/>
                    </a:lnTo>
                    <a:lnTo>
                      <a:pt x="209" y="17"/>
                    </a:lnTo>
                    <a:lnTo>
                      <a:pt x="208" y="19"/>
                    </a:lnTo>
                    <a:lnTo>
                      <a:pt x="204" y="20"/>
                    </a:lnTo>
                    <a:lnTo>
                      <a:pt x="203" y="21"/>
                    </a:lnTo>
                    <a:lnTo>
                      <a:pt x="202" y="20"/>
                    </a:lnTo>
                    <a:lnTo>
                      <a:pt x="202" y="21"/>
                    </a:lnTo>
                    <a:lnTo>
                      <a:pt x="204" y="25"/>
                    </a:lnTo>
                    <a:lnTo>
                      <a:pt x="204" y="28"/>
                    </a:lnTo>
                    <a:lnTo>
                      <a:pt x="203" y="29"/>
                    </a:lnTo>
                    <a:lnTo>
                      <a:pt x="203" y="30"/>
                    </a:lnTo>
                    <a:lnTo>
                      <a:pt x="202" y="31"/>
                    </a:lnTo>
                    <a:lnTo>
                      <a:pt x="201" y="32"/>
                    </a:lnTo>
                    <a:lnTo>
                      <a:pt x="198" y="33"/>
                    </a:lnTo>
                    <a:lnTo>
                      <a:pt x="198" y="34"/>
                    </a:lnTo>
                    <a:lnTo>
                      <a:pt x="199" y="36"/>
                    </a:lnTo>
                    <a:lnTo>
                      <a:pt x="198" y="39"/>
                    </a:lnTo>
                    <a:lnTo>
                      <a:pt x="198" y="40"/>
                    </a:lnTo>
                    <a:lnTo>
                      <a:pt x="198" y="42"/>
                    </a:lnTo>
                    <a:lnTo>
                      <a:pt x="197" y="42"/>
                    </a:lnTo>
                    <a:lnTo>
                      <a:pt x="197" y="43"/>
                    </a:lnTo>
                    <a:lnTo>
                      <a:pt x="196" y="43"/>
                    </a:lnTo>
                    <a:lnTo>
                      <a:pt x="195" y="43"/>
                    </a:lnTo>
                    <a:lnTo>
                      <a:pt x="194" y="43"/>
                    </a:lnTo>
                    <a:lnTo>
                      <a:pt x="194" y="42"/>
                    </a:lnTo>
                    <a:lnTo>
                      <a:pt x="192" y="42"/>
                    </a:lnTo>
                    <a:lnTo>
                      <a:pt x="187" y="43"/>
                    </a:lnTo>
                    <a:lnTo>
                      <a:pt x="186" y="44"/>
                    </a:lnTo>
                    <a:lnTo>
                      <a:pt x="185" y="44"/>
                    </a:lnTo>
                    <a:lnTo>
                      <a:pt x="183" y="41"/>
                    </a:lnTo>
                    <a:lnTo>
                      <a:pt x="181" y="41"/>
                    </a:lnTo>
                    <a:lnTo>
                      <a:pt x="181" y="40"/>
                    </a:lnTo>
                    <a:lnTo>
                      <a:pt x="179" y="39"/>
                    </a:lnTo>
                    <a:lnTo>
                      <a:pt x="179" y="38"/>
                    </a:lnTo>
                    <a:lnTo>
                      <a:pt x="180" y="36"/>
                    </a:lnTo>
                    <a:lnTo>
                      <a:pt x="179" y="36"/>
                    </a:lnTo>
                    <a:lnTo>
                      <a:pt x="178" y="34"/>
                    </a:lnTo>
                    <a:lnTo>
                      <a:pt x="176" y="32"/>
                    </a:lnTo>
                    <a:lnTo>
                      <a:pt x="175" y="29"/>
                    </a:lnTo>
                    <a:lnTo>
                      <a:pt x="173" y="31"/>
                    </a:lnTo>
                    <a:lnTo>
                      <a:pt x="171" y="29"/>
                    </a:lnTo>
                    <a:lnTo>
                      <a:pt x="170" y="29"/>
                    </a:lnTo>
                    <a:lnTo>
                      <a:pt x="170" y="31"/>
                    </a:lnTo>
                    <a:lnTo>
                      <a:pt x="168" y="32"/>
                    </a:lnTo>
                    <a:lnTo>
                      <a:pt x="168" y="34"/>
                    </a:lnTo>
                    <a:lnTo>
                      <a:pt x="168" y="38"/>
                    </a:lnTo>
                    <a:lnTo>
                      <a:pt x="167" y="39"/>
                    </a:lnTo>
                    <a:lnTo>
                      <a:pt x="165" y="39"/>
                    </a:lnTo>
                    <a:lnTo>
                      <a:pt x="163" y="33"/>
                    </a:lnTo>
                    <a:lnTo>
                      <a:pt x="159" y="34"/>
                    </a:lnTo>
                    <a:lnTo>
                      <a:pt x="158" y="34"/>
                    </a:lnTo>
                    <a:lnTo>
                      <a:pt x="157" y="35"/>
                    </a:lnTo>
                    <a:lnTo>
                      <a:pt x="156" y="33"/>
                    </a:lnTo>
                    <a:lnTo>
                      <a:pt x="155" y="34"/>
                    </a:lnTo>
                    <a:lnTo>
                      <a:pt x="156" y="36"/>
                    </a:lnTo>
                    <a:lnTo>
                      <a:pt x="155" y="37"/>
                    </a:lnTo>
                    <a:lnTo>
                      <a:pt x="158" y="40"/>
                    </a:lnTo>
                    <a:lnTo>
                      <a:pt x="158" y="43"/>
                    </a:lnTo>
                    <a:lnTo>
                      <a:pt x="159" y="45"/>
                    </a:lnTo>
                    <a:lnTo>
                      <a:pt x="162" y="47"/>
                    </a:lnTo>
                    <a:lnTo>
                      <a:pt x="160" y="47"/>
                    </a:lnTo>
                    <a:lnTo>
                      <a:pt x="162" y="50"/>
                    </a:lnTo>
                    <a:lnTo>
                      <a:pt x="158" y="53"/>
                    </a:lnTo>
                    <a:lnTo>
                      <a:pt x="157" y="53"/>
                    </a:lnTo>
                    <a:lnTo>
                      <a:pt x="156" y="56"/>
                    </a:lnTo>
                    <a:lnTo>
                      <a:pt x="153" y="57"/>
                    </a:lnTo>
                    <a:lnTo>
                      <a:pt x="151" y="57"/>
                    </a:lnTo>
                    <a:lnTo>
                      <a:pt x="150" y="57"/>
                    </a:lnTo>
                    <a:lnTo>
                      <a:pt x="150" y="56"/>
                    </a:lnTo>
                    <a:lnTo>
                      <a:pt x="150" y="57"/>
                    </a:lnTo>
                    <a:lnTo>
                      <a:pt x="148" y="57"/>
                    </a:lnTo>
                    <a:lnTo>
                      <a:pt x="147" y="57"/>
                    </a:lnTo>
                    <a:lnTo>
                      <a:pt x="147" y="56"/>
                    </a:lnTo>
                    <a:lnTo>
                      <a:pt x="145" y="57"/>
                    </a:lnTo>
                    <a:lnTo>
                      <a:pt x="145" y="56"/>
                    </a:lnTo>
                    <a:lnTo>
                      <a:pt x="145" y="54"/>
                    </a:lnTo>
                    <a:lnTo>
                      <a:pt x="143" y="52"/>
                    </a:lnTo>
                    <a:lnTo>
                      <a:pt x="142" y="51"/>
                    </a:lnTo>
                    <a:lnTo>
                      <a:pt x="141" y="52"/>
                    </a:lnTo>
                    <a:lnTo>
                      <a:pt x="139" y="52"/>
                    </a:lnTo>
                    <a:lnTo>
                      <a:pt x="139" y="51"/>
                    </a:lnTo>
                    <a:lnTo>
                      <a:pt x="133" y="53"/>
                    </a:lnTo>
                    <a:lnTo>
                      <a:pt x="132" y="51"/>
                    </a:lnTo>
                    <a:lnTo>
                      <a:pt x="130" y="53"/>
                    </a:lnTo>
                    <a:lnTo>
                      <a:pt x="129" y="53"/>
                    </a:lnTo>
                    <a:lnTo>
                      <a:pt x="127" y="56"/>
                    </a:lnTo>
                    <a:lnTo>
                      <a:pt x="126" y="55"/>
                    </a:lnTo>
                    <a:lnTo>
                      <a:pt x="126" y="54"/>
                    </a:lnTo>
                    <a:lnTo>
                      <a:pt x="126" y="52"/>
                    </a:lnTo>
                    <a:lnTo>
                      <a:pt x="124" y="53"/>
                    </a:lnTo>
                    <a:lnTo>
                      <a:pt x="121" y="52"/>
                    </a:lnTo>
                    <a:lnTo>
                      <a:pt x="124" y="54"/>
                    </a:lnTo>
                    <a:lnTo>
                      <a:pt x="122" y="56"/>
                    </a:lnTo>
                    <a:lnTo>
                      <a:pt x="123" y="56"/>
                    </a:lnTo>
                    <a:lnTo>
                      <a:pt x="124" y="57"/>
                    </a:lnTo>
                    <a:lnTo>
                      <a:pt x="123" y="62"/>
                    </a:lnTo>
                    <a:lnTo>
                      <a:pt x="122" y="63"/>
                    </a:lnTo>
                    <a:lnTo>
                      <a:pt x="121" y="63"/>
                    </a:lnTo>
                    <a:lnTo>
                      <a:pt x="120" y="63"/>
                    </a:lnTo>
                    <a:lnTo>
                      <a:pt x="117" y="67"/>
                    </a:lnTo>
                    <a:lnTo>
                      <a:pt x="110" y="73"/>
                    </a:lnTo>
                    <a:lnTo>
                      <a:pt x="110" y="68"/>
                    </a:lnTo>
                    <a:lnTo>
                      <a:pt x="109" y="66"/>
                    </a:lnTo>
                    <a:lnTo>
                      <a:pt x="107" y="63"/>
                    </a:lnTo>
                    <a:lnTo>
                      <a:pt x="104" y="62"/>
                    </a:lnTo>
                    <a:lnTo>
                      <a:pt x="105" y="61"/>
                    </a:lnTo>
                    <a:lnTo>
                      <a:pt x="102" y="61"/>
                    </a:lnTo>
                    <a:lnTo>
                      <a:pt x="101" y="60"/>
                    </a:lnTo>
                    <a:lnTo>
                      <a:pt x="101" y="61"/>
                    </a:lnTo>
                    <a:lnTo>
                      <a:pt x="99" y="60"/>
                    </a:lnTo>
                    <a:lnTo>
                      <a:pt x="100" y="62"/>
                    </a:lnTo>
                    <a:lnTo>
                      <a:pt x="99" y="63"/>
                    </a:lnTo>
                    <a:lnTo>
                      <a:pt x="99" y="61"/>
                    </a:lnTo>
                    <a:lnTo>
                      <a:pt x="95" y="61"/>
                    </a:lnTo>
                    <a:lnTo>
                      <a:pt x="96" y="59"/>
                    </a:lnTo>
                    <a:lnTo>
                      <a:pt x="94" y="57"/>
                    </a:lnTo>
                    <a:lnTo>
                      <a:pt x="93" y="57"/>
                    </a:lnTo>
                    <a:lnTo>
                      <a:pt x="89" y="55"/>
                    </a:lnTo>
                    <a:lnTo>
                      <a:pt x="89" y="59"/>
                    </a:lnTo>
                    <a:lnTo>
                      <a:pt x="88" y="58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5" y="54"/>
                    </a:lnTo>
                    <a:lnTo>
                      <a:pt x="86" y="50"/>
                    </a:lnTo>
                    <a:lnTo>
                      <a:pt x="88" y="47"/>
                    </a:lnTo>
                    <a:lnTo>
                      <a:pt x="87" y="47"/>
                    </a:lnTo>
                    <a:lnTo>
                      <a:pt x="85" y="43"/>
                    </a:lnTo>
                    <a:lnTo>
                      <a:pt x="85" y="44"/>
                    </a:lnTo>
                    <a:lnTo>
                      <a:pt x="83" y="44"/>
                    </a:lnTo>
                    <a:lnTo>
                      <a:pt x="83" y="45"/>
                    </a:lnTo>
                    <a:lnTo>
                      <a:pt x="80" y="45"/>
                    </a:lnTo>
                    <a:lnTo>
                      <a:pt x="80" y="48"/>
                    </a:lnTo>
                    <a:lnTo>
                      <a:pt x="78" y="49"/>
                    </a:lnTo>
                    <a:lnTo>
                      <a:pt x="79" y="49"/>
                    </a:lnTo>
                    <a:lnTo>
                      <a:pt x="78" y="50"/>
                    </a:lnTo>
                    <a:lnTo>
                      <a:pt x="77" y="50"/>
                    </a:lnTo>
                    <a:lnTo>
                      <a:pt x="76" y="51"/>
                    </a:lnTo>
                    <a:lnTo>
                      <a:pt x="76" y="53"/>
                    </a:lnTo>
                    <a:lnTo>
                      <a:pt x="74" y="53"/>
                    </a:lnTo>
                    <a:lnTo>
                      <a:pt x="74" y="56"/>
                    </a:lnTo>
                    <a:lnTo>
                      <a:pt x="73" y="56"/>
                    </a:lnTo>
                    <a:lnTo>
                      <a:pt x="73" y="57"/>
                    </a:lnTo>
                    <a:lnTo>
                      <a:pt x="73" y="60"/>
                    </a:lnTo>
                    <a:lnTo>
                      <a:pt x="74" y="63"/>
                    </a:lnTo>
                    <a:lnTo>
                      <a:pt x="75" y="65"/>
                    </a:lnTo>
                    <a:lnTo>
                      <a:pt x="74" y="67"/>
                    </a:lnTo>
                    <a:lnTo>
                      <a:pt x="77" y="68"/>
                    </a:lnTo>
                    <a:lnTo>
                      <a:pt x="77" y="69"/>
                    </a:lnTo>
                    <a:lnTo>
                      <a:pt x="77" y="73"/>
                    </a:lnTo>
                    <a:lnTo>
                      <a:pt x="77" y="76"/>
                    </a:lnTo>
                    <a:lnTo>
                      <a:pt x="75" y="76"/>
                    </a:lnTo>
                    <a:lnTo>
                      <a:pt x="74" y="76"/>
                    </a:lnTo>
                    <a:lnTo>
                      <a:pt x="73" y="76"/>
                    </a:lnTo>
                    <a:lnTo>
                      <a:pt x="71" y="79"/>
                    </a:lnTo>
                    <a:lnTo>
                      <a:pt x="69" y="78"/>
                    </a:lnTo>
                    <a:lnTo>
                      <a:pt x="69" y="80"/>
                    </a:lnTo>
                    <a:lnTo>
                      <a:pt x="67" y="80"/>
                    </a:lnTo>
                    <a:lnTo>
                      <a:pt x="66" y="79"/>
                    </a:lnTo>
                    <a:lnTo>
                      <a:pt x="65" y="86"/>
                    </a:lnTo>
                    <a:lnTo>
                      <a:pt x="64" y="86"/>
                    </a:lnTo>
                    <a:lnTo>
                      <a:pt x="63" y="87"/>
                    </a:lnTo>
                    <a:lnTo>
                      <a:pt x="62" y="87"/>
                    </a:lnTo>
                    <a:lnTo>
                      <a:pt x="63" y="88"/>
                    </a:lnTo>
                    <a:lnTo>
                      <a:pt x="61" y="88"/>
                    </a:lnTo>
                    <a:lnTo>
                      <a:pt x="61" y="90"/>
                    </a:lnTo>
                    <a:lnTo>
                      <a:pt x="59" y="91"/>
                    </a:lnTo>
                    <a:lnTo>
                      <a:pt x="58" y="92"/>
                    </a:lnTo>
                    <a:lnTo>
                      <a:pt x="59" y="93"/>
                    </a:lnTo>
                    <a:lnTo>
                      <a:pt x="58" y="93"/>
                    </a:lnTo>
                    <a:lnTo>
                      <a:pt x="55" y="95"/>
                    </a:lnTo>
                    <a:lnTo>
                      <a:pt x="53" y="95"/>
                    </a:lnTo>
                    <a:lnTo>
                      <a:pt x="53" y="96"/>
                    </a:lnTo>
                    <a:lnTo>
                      <a:pt x="50" y="93"/>
                    </a:lnTo>
                    <a:lnTo>
                      <a:pt x="49" y="93"/>
                    </a:lnTo>
                    <a:lnTo>
                      <a:pt x="49" y="91"/>
                    </a:lnTo>
                    <a:lnTo>
                      <a:pt x="48" y="93"/>
                    </a:lnTo>
                    <a:lnTo>
                      <a:pt x="46" y="94"/>
                    </a:lnTo>
                    <a:lnTo>
                      <a:pt x="45" y="95"/>
                    </a:lnTo>
                    <a:lnTo>
                      <a:pt x="42" y="93"/>
                    </a:lnTo>
                    <a:lnTo>
                      <a:pt x="41" y="93"/>
                    </a:lnTo>
                    <a:lnTo>
                      <a:pt x="39" y="94"/>
                    </a:lnTo>
                    <a:lnTo>
                      <a:pt x="37" y="94"/>
                    </a:lnTo>
                    <a:lnTo>
                      <a:pt x="37" y="96"/>
                    </a:lnTo>
                    <a:lnTo>
                      <a:pt x="36" y="97"/>
                    </a:lnTo>
                    <a:lnTo>
                      <a:pt x="33" y="95"/>
                    </a:lnTo>
                    <a:lnTo>
                      <a:pt x="33" y="92"/>
                    </a:lnTo>
                    <a:lnTo>
                      <a:pt x="32" y="92"/>
                    </a:lnTo>
                    <a:lnTo>
                      <a:pt x="30" y="93"/>
                    </a:lnTo>
                    <a:lnTo>
                      <a:pt x="32" y="95"/>
                    </a:lnTo>
                    <a:lnTo>
                      <a:pt x="30" y="96"/>
                    </a:lnTo>
                    <a:lnTo>
                      <a:pt x="29" y="96"/>
                    </a:lnTo>
                    <a:lnTo>
                      <a:pt x="27" y="97"/>
                    </a:lnTo>
                    <a:lnTo>
                      <a:pt x="27" y="100"/>
                    </a:lnTo>
                    <a:lnTo>
                      <a:pt x="27" y="103"/>
                    </a:lnTo>
                    <a:lnTo>
                      <a:pt x="25" y="105"/>
                    </a:lnTo>
                    <a:lnTo>
                      <a:pt x="25" y="104"/>
                    </a:lnTo>
                    <a:lnTo>
                      <a:pt x="25" y="105"/>
                    </a:lnTo>
                    <a:lnTo>
                      <a:pt x="24" y="104"/>
                    </a:lnTo>
                    <a:lnTo>
                      <a:pt x="23" y="103"/>
                    </a:lnTo>
                    <a:lnTo>
                      <a:pt x="22" y="102"/>
                    </a:lnTo>
                    <a:lnTo>
                      <a:pt x="21" y="101"/>
                    </a:lnTo>
                    <a:lnTo>
                      <a:pt x="19" y="104"/>
                    </a:lnTo>
                    <a:lnTo>
                      <a:pt x="18" y="108"/>
                    </a:lnTo>
                    <a:lnTo>
                      <a:pt x="16" y="109"/>
                    </a:lnTo>
                    <a:lnTo>
                      <a:pt x="15" y="111"/>
                    </a:lnTo>
                    <a:lnTo>
                      <a:pt x="12" y="112"/>
                    </a:lnTo>
                    <a:lnTo>
                      <a:pt x="12" y="115"/>
                    </a:lnTo>
                    <a:lnTo>
                      <a:pt x="14" y="116"/>
                    </a:lnTo>
                    <a:lnTo>
                      <a:pt x="14" y="118"/>
                    </a:lnTo>
                    <a:lnTo>
                      <a:pt x="16" y="120"/>
                    </a:lnTo>
                    <a:lnTo>
                      <a:pt x="16" y="124"/>
                    </a:lnTo>
                    <a:lnTo>
                      <a:pt x="12" y="128"/>
                    </a:lnTo>
                    <a:lnTo>
                      <a:pt x="14" y="131"/>
                    </a:lnTo>
                    <a:lnTo>
                      <a:pt x="16" y="134"/>
                    </a:lnTo>
                    <a:lnTo>
                      <a:pt x="16" y="138"/>
                    </a:lnTo>
                    <a:lnTo>
                      <a:pt x="17" y="139"/>
                    </a:lnTo>
                    <a:lnTo>
                      <a:pt x="18" y="140"/>
                    </a:lnTo>
                    <a:lnTo>
                      <a:pt x="19" y="140"/>
                    </a:lnTo>
                    <a:lnTo>
                      <a:pt x="19" y="142"/>
                    </a:lnTo>
                    <a:lnTo>
                      <a:pt x="17" y="144"/>
                    </a:lnTo>
                    <a:lnTo>
                      <a:pt x="16" y="143"/>
                    </a:lnTo>
                    <a:lnTo>
                      <a:pt x="16" y="146"/>
                    </a:lnTo>
                    <a:lnTo>
                      <a:pt x="14" y="148"/>
                    </a:lnTo>
                    <a:lnTo>
                      <a:pt x="16" y="150"/>
                    </a:lnTo>
                    <a:lnTo>
                      <a:pt x="16" y="148"/>
                    </a:lnTo>
                    <a:lnTo>
                      <a:pt x="20" y="148"/>
                    </a:lnTo>
                    <a:lnTo>
                      <a:pt x="22" y="148"/>
                    </a:lnTo>
                    <a:lnTo>
                      <a:pt x="23" y="150"/>
                    </a:lnTo>
                    <a:lnTo>
                      <a:pt x="25" y="149"/>
                    </a:lnTo>
                    <a:lnTo>
                      <a:pt x="27" y="145"/>
                    </a:lnTo>
                    <a:lnTo>
                      <a:pt x="28" y="145"/>
                    </a:lnTo>
                    <a:lnTo>
                      <a:pt x="29" y="148"/>
                    </a:lnTo>
                    <a:lnTo>
                      <a:pt x="27" y="152"/>
                    </a:lnTo>
                    <a:lnTo>
                      <a:pt x="27" y="154"/>
                    </a:lnTo>
                    <a:lnTo>
                      <a:pt x="27" y="155"/>
                    </a:lnTo>
                    <a:lnTo>
                      <a:pt x="27" y="156"/>
                    </a:lnTo>
                    <a:lnTo>
                      <a:pt x="25" y="157"/>
                    </a:lnTo>
                    <a:lnTo>
                      <a:pt x="23" y="166"/>
                    </a:lnTo>
                    <a:lnTo>
                      <a:pt x="21" y="165"/>
                    </a:lnTo>
                    <a:lnTo>
                      <a:pt x="20" y="166"/>
                    </a:lnTo>
                    <a:lnTo>
                      <a:pt x="19" y="165"/>
                    </a:lnTo>
                    <a:lnTo>
                      <a:pt x="19" y="167"/>
                    </a:lnTo>
                    <a:lnTo>
                      <a:pt x="18" y="168"/>
                    </a:lnTo>
                    <a:lnTo>
                      <a:pt x="17" y="168"/>
                    </a:lnTo>
                    <a:lnTo>
                      <a:pt x="16" y="167"/>
                    </a:lnTo>
                    <a:lnTo>
                      <a:pt x="14" y="167"/>
                    </a:lnTo>
                    <a:lnTo>
                      <a:pt x="12" y="167"/>
                    </a:lnTo>
                    <a:lnTo>
                      <a:pt x="11" y="171"/>
                    </a:lnTo>
                    <a:lnTo>
                      <a:pt x="9" y="177"/>
                    </a:lnTo>
                    <a:lnTo>
                      <a:pt x="9" y="180"/>
                    </a:lnTo>
                    <a:lnTo>
                      <a:pt x="7" y="181"/>
                    </a:lnTo>
                    <a:lnTo>
                      <a:pt x="6" y="181"/>
                    </a:lnTo>
                    <a:lnTo>
                      <a:pt x="1" y="180"/>
                    </a:lnTo>
                    <a:lnTo>
                      <a:pt x="1" y="187"/>
                    </a:lnTo>
                    <a:lnTo>
                      <a:pt x="2" y="186"/>
                    </a:lnTo>
                    <a:lnTo>
                      <a:pt x="3" y="188"/>
                    </a:lnTo>
                    <a:lnTo>
                      <a:pt x="2" y="191"/>
                    </a:lnTo>
                    <a:lnTo>
                      <a:pt x="0" y="192"/>
                    </a:lnTo>
                    <a:lnTo>
                      <a:pt x="6" y="194"/>
                    </a:lnTo>
                    <a:lnTo>
                      <a:pt x="8" y="193"/>
                    </a:lnTo>
                    <a:lnTo>
                      <a:pt x="9" y="195"/>
                    </a:lnTo>
                    <a:lnTo>
                      <a:pt x="11" y="192"/>
                    </a:lnTo>
                    <a:lnTo>
                      <a:pt x="12" y="192"/>
                    </a:lnTo>
                    <a:lnTo>
                      <a:pt x="13" y="191"/>
                    </a:lnTo>
                    <a:lnTo>
                      <a:pt x="14" y="192"/>
                    </a:lnTo>
                    <a:lnTo>
                      <a:pt x="16" y="191"/>
                    </a:lnTo>
                    <a:lnTo>
                      <a:pt x="20" y="191"/>
                    </a:lnTo>
                    <a:lnTo>
                      <a:pt x="25" y="188"/>
                    </a:lnTo>
                    <a:lnTo>
                      <a:pt x="28" y="189"/>
                    </a:lnTo>
                    <a:lnTo>
                      <a:pt x="29" y="189"/>
                    </a:lnTo>
                    <a:lnTo>
                      <a:pt x="29" y="196"/>
                    </a:lnTo>
                    <a:lnTo>
                      <a:pt x="31" y="197"/>
                    </a:lnTo>
                    <a:lnTo>
                      <a:pt x="32" y="198"/>
                    </a:lnTo>
                    <a:lnTo>
                      <a:pt x="32" y="200"/>
                    </a:lnTo>
                    <a:lnTo>
                      <a:pt x="32" y="202"/>
                    </a:lnTo>
                    <a:lnTo>
                      <a:pt x="32" y="206"/>
                    </a:lnTo>
                    <a:lnTo>
                      <a:pt x="31" y="208"/>
                    </a:lnTo>
                    <a:lnTo>
                      <a:pt x="29" y="210"/>
                    </a:lnTo>
                    <a:lnTo>
                      <a:pt x="29" y="211"/>
                    </a:lnTo>
                    <a:lnTo>
                      <a:pt x="28" y="214"/>
                    </a:lnTo>
                    <a:lnTo>
                      <a:pt x="27" y="215"/>
                    </a:lnTo>
                    <a:lnTo>
                      <a:pt x="28" y="216"/>
                    </a:lnTo>
                    <a:lnTo>
                      <a:pt x="29" y="215"/>
                    </a:lnTo>
                    <a:lnTo>
                      <a:pt x="30" y="213"/>
                    </a:lnTo>
                    <a:lnTo>
                      <a:pt x="37" y="214"/>
                    </a:lnTo>
                    <a:lnTo>
                      <a:pt x="37" y="218"/>
                    </a:lnTo>
                    <a:lnTo>
                      <a:pt x="39" y="217"/>
                    </a:lnTo>
                    <a:lnTo>
                      <a:pt x="41" y="218"/>
                    </a:lnTo>
                    <a:lnTo>
                      <a:pt x="42" y="220"/>
                    </a:lnTo>
                    <a:lnTo>
                      <a:pt x="43" y="221"/>
                    </a:lnTo>
                    <a:lnTo>
                      <a:pt x="42" y="227"/>
                    </a:lnTo>
                    <a:lnTo>
                      <a:pt x="44" y="227"/>
                    </a:lnTo>
                    <a:lnTo>
                      <a:pt x="45" y="225"/>
                    </a:lnTo>
                    <a:lnTo>
                      <a:pt x="47" y="227"/>
                    </a:lnTo>
                    <a:lnTo>
                      <a:pt x="47" y="226"/>
                    </a:lnTo>
                    <a:lnTo>
                      <a:pt x="49" y="227"/>
                    </a:lnTo>
                    <a:lnTo>
                      <a:pt x="50" y="226"/>
                    </a:lnTo>
                    <a:lnTo>
                      <a:pt x="52" y="227"/>
                    </a:lnTo>
                    <a:lnTo>
                      <a:pt x="52" y="229"/>
                    </a:lnTo>
                    <a:lnTo>
                      <a:pt x="55" y="229"/>
                    </a:lnTo>
                    <a:lnTo>
                      <a:pt x="56" y="229"/>
                    </a:lnTo>
                    <a:lnTo>
                      <a:pt x="59" y="228"/>
                    </a:lnTo>
                    <a:lnTo>
                      <a:pt x="61" y="230"/>
                    </a:lnTo>
                    <a:lnTo>
                      <a:pt x="60" y="231"/>
                    </a:lnTo>
                    <a:lnTo>
                      <a:pt x="63" y="233"/>
                    </a:lnTo>
                    <a:lnTo>
                      <a:pt x="63" y="232"/>
                    </a:lnTo>
                    <a:lnTo>
                      <a:pt x="65" y="234"/>
                    </a:lnTo>
                    <a:lnTo>
                      <a:pt x="64" y="237"/>
                    </a:lnTo>
                    <a:lnTo>
                      <a:pt x="65" y="238"/>
                    </a:lnTo>
                    <a:lnTo>
                      <a:pt x="64" y="240"/>
                    </a:lnTo>
                    <a:lnTo>
                      <a:pt x="64" y="241"/>
                    </a:lnTo>
                    <a:lnTo>
                      <a:pt x="62" y="243"/>
                    </a:lnTo>
                    <a:lnTo>
                      <a:pt x="63" y="244"/>
                    </a:lnTo>
                    <a:lnTo>
                      <a:pt x="62" y="245"/>
                    </a:lnTo>
                    <a:lnTo>
                      <a:pt x="62" y="246"/>
                    </a:lnTo>
                    <a:lnTo>
                      <a:pt x="63" y="246"/>
                    </a:lnTo>
                    <a:lnTo>
                      <a:pt x="65" y="248"/>
                    </a:lnTo>
                    <a:lnTo>
                      <a:pt x="66" y="247"/>
                    </a:lnTo>
                    <a:lnTo>
                      <a:pt x="67" y="248"/>
                    </a:lnTo>
                    <a:lnTo>
                      <a:pt x="68" y="247"/>
                    </a:lnTo>
                    <a:lnTo>
                      <a:pt x="68" y="249"/>
                    </a:lnTo>
                    <a:lnTo>
                      <a:pt x="69" y="246"/>
                    </a:lnTo>
                    <a:lnTo>
                      <a:pt x="74" y="246"/>
                    </a:lnTo>
                    <a:lnTo>
                      <a:pt x="74" y="250"/>
                    </a:lnTo>
                    <a:lnTo>
                      <a:pt x="76" y="252"/>
                    </a:lnTo>
                    <a:lnTo>
                      <a:pt x="80" y="257"/>
                    </a:lnTo>
                    <a:lnTo>
                      <a:pt x="83" y="261"/>
                    </a:lnTo>
                    <a:lnTo>
                      <a:pt x="88" y="258"/>
                    </a:lnTo>
                    <a:lnTo>
                      <a:pt x="89" y="259"/>
                    </a:lnTo>
                    <a:lnTo>
                      <a:pt x="90" y="257"/>
                    </a:lnTo>
                    <a:lnTo>
                      <a:pt x="91" y="258"/>
                    </a:lnTo>
                    <a:lnTo>
                      <a:pt x="93" y="257"/>
                    </a:lnTo>
                    <a:lnTo>
                      <a:pt x="94" y="257"/>
                    </a:lnTo>
                    <a:lnTo>
                      <a:pt x="96" y="260"/>
                    </a:lnTo>
                    <a:lnTo>
                      <a:pt x="102" y="259"/>
                    </a:lnTo>
                    <a:lnTo>
                      <a:pt x="102" y="255"/>
                    </a:lnTo>
                    <a:lnTo>
                      <a:pt x="104" y="261"/>
                    </a:lnTo>
                    <a:lnTo>
                      <a:pt x="104" y="262"/>
                    </a:lnTo>
                    <a:lnTo>
                      <a:pt x="108" y="261"/>
                    </a:lnTo>
                    <a:lnTo>
                      <a:pt x="113" y="265"/>
                    </a:lnTo>
                    <a:lnTo>
                      <a:pt x="116" y="268"/>
                    </a:lnTo>
                    <a:lnTo>
                      <a:pt x="115" y="269"/>
                    </a:lnTo>
                    <a:lnTo>
                      <a:pt x="115" y="271"/>
                    </a:lnTo>
                    <a:lnTo>
                      <a:pt x="111" y="278"/>
                    </a:lnTo>
                    <a:lnTo>
                      <a:pt x="114" y="280"/>
                    </a:lnTo>
                    <a:lnTo>
                      <a:pt x="116" y="278"/>
                    </a:lnTo>
                    <a:lnTo>
                      <a:pt x="118" y="278"/>
                    </a:lnTo>
                    <a:lnTo>
                      <a:pt x="124" y="285"/>
                    </a:lnTo>
                    <a:lnTo>
                      <a:pt x="128" y="285"/>
                    </a:lnTo>
                    <a:lnTo>
                      <a:pt x="132" y="294"/>
                    </a:lnTo>
                    <a:lnTo>
                      <a:pt x="134" y="299"/>
                    </a:lnTo>
                    <a:lnTo>
                      <a:pt x="133" y="300"/>
                    </a:lnTo>
                    <a:lnTo>
                      <a:pt x="134" y="302"/>
                    </a:lnTo>
                    <a:lnTo>
                      <a:pt x="137" y="301"/>
                    </a:lnTo>
                    <a:lnTo>
                      <a:pt x="136" y="302"/>
                    </a:lnTo>
                    <a:lnTo>
                      <a:pt x="137" y="303"/>
                    </a:lnTo>
                    <a:lnTo>
                      <a:pt x="136" y="303"/>
                    </a:lnTo>
                    <a:lnTo>
                      <a:pt x="136" y="305"/>
                    </a:lnTo>
                    <a:lnTo>
                      <a:pt x="138" y="313"/>
                    </a:lnTo>
                    <a:lnTo>
                      <a:pt x="141" y="312"/>
                    </a:lnTo>
                    <a:lnTo>
                      <a:pt x="143" y="313"/>
                    </a:lnTo>
                    <a:lnTo>
                      <a:pt x="146" y="312"/>
                    </a:lnTo>
                    <a:lnTo>
                      <a:pt x="147" y="312"/>
                    </a:lnTo>
                    <a:lnTo>
                      <a:pt x="149" y="310"/>
                    </a:lnTo>
                    <a:lnTo>
                      <a:pt x="150" y="310"/>
                    </a:lnTo>
                    <a:lnTo>
                      <a:pt x="155" y="312"/>
                    </a:lnTo>
                    <a:lnTo>
                      <a:pt x="158" y="309"/>
                    </a:lnTo>
                    <a:lnTo>
                      <a:pt x="159" y="306"/>
                    </a:lnTo>
                    <a:lnTo>
                      <a:pt x="163" y="303"/>
                    </a:lnTo>
                    <a:lnTo>
                      <a:pt x="165" y="301"/>
                    </a:lnTo>
                    <a:lnTo>
                      <a:pt x="166" y="300"/>
                    </a:lnTo>
                    <a:lnTo>
                      <a:pt x="168" y="299"/>
                    </a:lnTo>
                    <a:lnTo>
                      <a:pt x="168" y="297"/>
                    </a:lnTo>
                    <a:lnTo>
                      <a:pt x="170" y="293"/>
                    </a:lnTo>
                    <a:lnTo>
                      <a:pt x="175" y="289"/>
                    </a:lnTo>
                    <a:lnTo>
                      <a:pt x="176" y="289"/>
                    </a:lnTo>
                    <a:lnTo>
                      <a:pt x="178" y="288"/>
                    </a:lnTo>
                    <a:lnTo>
                      <a:pt x="178" y="283"/>
                    </a:lnTo>
                    <a:lnTo>
                      <a:pt x="187" y="284"/>
                    </a:lnTo>
                    <a:lnTo>
                      <a:pt x="188" y="284"/>
                    </a:lnTo>
                    <a:lnTo>
                      <a:pt x="189" y="283"/>
                    </a:lnTo>
                    <a:lnTo>
                      <a:pt x="195" y="284"/>
                    </a:lnTo>
                    <a:lnTo>
                      <a:pt x="198" y="284"/>
                    </a:lnTo>
                    <a:lnTo>
                      <a:pt x="203" y="287"/>
                    </a:lnTo>
                    <a:lnTo>
                      <a:pt x="208" y="285"/>
                    </a:lnTo>
                    <a:lnTo>
                      <a:pt x="208" y="281"/>
                    </a:lnTo>
                    <a:lnTo>
                      <a:pt x="211" y="274"/>
                    </a:lnTo>
                    <a:lnTo>
                      <a:pt x="212" y="271"/>
                    </a:lnTo>
                    <a:lnTo>
                      <a:pt x="213" y="270"/>
                    </a:lnTo>
                    <a:lnTo>
                      <a:pt x="212" y="266"/>
                    </a:lnTo>
                    <a:lnTo>
                      <a:pt x="213" y="263"/>
                    </a:lnTo>
                    <a:lnTo>
                      <a:pt x="215" y="259"/>
                    </a:lnTo>
                    <a:lnTo>
                      <a:pt x="217" y="257"/>
                    </a:lnTo>
                    <a:lnTo>
                      <a:pt x="218" y="253"/>
                    </a:lnTo>
                    <a:lnTo>
                      <a:pt x="217" y="249"/>
                    </a:lnTo>
                    <a:lnTo>
                      <a:pt x="218" y="247"/>
                    </a:lnTo>
                    <a:lnTo>
                      <a:pt x="220" y="246"/>
                    </a:lnTo>
                    <a:lnTo>
                      <a:pt x="221" y="244"/>
                    </a:lnTo>
                    <a:lnTo>
                      <a:pt x="224" y="242"/>
                    </a:lnTo>
                    <a:lnTo>
                      <a:pt x="228" y="242"/>
                    </a:lnTo>
                    <a:lnTo>
                      <a:pt x="229" y="242"/>
                    </a:lnTo>
                    <a:lnTo>
                      <a:pt x="236" y="244"/>
                    </a:lnTo>
                    <a:lnTo>
                      <a:pt x="237" y="242"/>
                    </a:lnTo>
                    <a:lnTo>
                      <a:pt x="239" y="241"/>
                    </a:lnTo>
                    <a:lnTo>
                      <a:pt x="241" y="241"/>
                    </a:lnTo>
                    <a:lnTo>
                      <a:pt x="244" y="244"/>
                    </a:lnTo>
                    <a:lnTo>
                      <a:pt x="248" y="245"/>
                    </a:lnTo>
                    <a:lnTo>
                      <a:pt x="250" y="245"/>
                    </a:lnTo>
                    <a:lnTo>
                      <a:pt x="251" y="242"/>
                    </a:lnTo>
                    <a:lnTo>
                      <a:pt x="254" y="242"/>
                    </a:lnTo>
                    <a:lnTo>
                      <a:pt x="261" y="239"/>
                    </a:lnTo>
                    <a:lnTo>
                      <a:pt x="263" y="237"/>
                    </a:lnTo>
                    <a:lnTo>
                      <a:pt x="266" y="234"/>
                    </a:lnTo>
                    <a:lnTo>
                      <a:pt x="266" y="232"/>
                    </a:lnTo>
                    <a:lnTo>
                      <a:pt x="270" y="229"/>
                    </a:lnTo>
                    <a:lnTo>
                      <a:pt x="269" y="228"/>
                    </a:lnTo>
                    <a:lnTo>
                      <a:pt x="270" y="226"/>
                    </a:lnTo>
                    <a:lnTo>
                      <a:pt x="274" y="219"/>
                    </a:lnTo>
                    <a:lnTo>
                      <a:pt x="277" y="215"/>
                    </a:lnTo>
                    <a:lnTo>
                      <a:pt x="277" y="204"/>
                    </a:lnTo>
                    <a:lnTo>
                      <a:pt x="278" y="202"/>
                    </a:lnTo>
                    <a:lnTo>
                      <a:pt x="279" y="202"/>
                    </a:lnTo>
                    <a:lnTo>
                      <a:pt x="280" y="202"/>
                    </a:lnTo>
                    <a:lnTo>
                      <a:pt x="279" y="199"/>
                    </a:lnTo>
                    <a:lnTo>
                      <a:pt x="277" y="197"/>
                    </a:lnTo>
                    <a:lnTo>
                      <a:pt x="277" y="194"/>
                    </a:lnTo>
                    <a:lnTo>
                      <a:pt x="278" y="191"/>
                    </a:lnTo>
                    <a:lnTo>
                      <a:pt x="280" y="190"/>
                    </a:lnTo>
                    <a:lnTo>
                      <a:pt x="280" y="187"/>
                    </a:lnTo>
                    <a:lnTo>
                      <a:pt x="280" y="186"/>
                    </a:lnTo>
                    <a:lnTo>
                      <a:pt x="286" y="183"/>
                    </a:lnTo>
                    <a:lnTo>
                      <a:pt x="284" y="179"/>
                    </a:lnTo>
                    <a:lnTo>
                      <a:pt x="285" y="169"/>
                    </a:lnTo>
                    <a:lnTo>
                      <a:pt x="288" y="167"/>
                    </a:lnTo>
                    <a:lnTo>
                      <a:pt x="289" y="163"/>
                    </a:lnTo>
                    <a:lnTo>
                      <a:pt x="290" y="163"/>
                    </a:lnTo>
                    <a:lnTo>
                      <a:pt x="290" y="157"/>
                    </a:lnTo>
                    <a:lnTo>
                      <a:pt x="292" y="157"/>
                    </a:lnTo>
                    <a:lnTo>
                      <a:pt x="292" y="155"/>
                    </a:lnTo>
                    <a:lnTo>
                      <a:pt x="293" y="151"/>
                    </a:lnTo>
                    <a:lnTo>
                      <a:pt x="290" y="151"/>
                    </a:lnTo>
                    <a:lnTo>
                      <a:pt x="291" y="147"/>
                    </a:lnTo>
                    <a:lnTo>
                      <a:pt x="291" y="142"/>
                    </a:lnTo>
                    <a:lnTo>
                      <a:pt x="296" y="140"/>
                    </a:lnTo>
                    <a:lnTo>
                      <a:pt x="296" y="137"/>
                    </a:lnTo>
                    <a:lnTo>
                      <a:pt x="302" y="133"/>
                    </a:lnTo>
                    <a:lnTo>
                      <a:pt x="303" y="128"/>
                    </a:lnTo>
                    <a:lnTo>
                      <a:pt x="303" y="125"/>
                    </a:lnTo>
                    <a:lnTo>
                      <a:pt x="305" y="124"/>
                    </a:lnTo>
                    <a:lnTo>
                      <a:pt x="306" y="124"/>
                    </a:lnTo>
                    <a:lnTo>
                      <a:pt x="308" y="123"/>
                    </a:lnTo>
                    <a:lnTo>
                      <a:pt x="310" y="124"/>
                    </a:lnTo>
                    <a:lnTo>
                      <a:pt x="311" y="122"/>
                    </a:lnTo>
                    <a:lnTo>
                      <a:pt x="312" y="123"/>
                    </a:lnTo>
                    <a:lnTo>
                      <a:pt x="313" y="121"/>
                    </a:lnTo>
                    <a:lnTo>
                      <a:pt x="320" y="123"/>
                    </a:lnTo>
                    <a:lnTo>
                      <a:pt x="322" y="122"/>
                    </a:lnTo>
                    <a:lnTo>
                      <a:pt x="326" y="121"/>
                    </a:lnTo>
                    <a:lnTo>
                      <a:pt x="327" y="120"/>
                    </a:lnTo>
                    <a:lnTo>
                      <a:pt x="330" y="120"/>
                    </a:lnTo>
                    <a:lnTo>
                      <a:pt x="335" y="120"/>
                    </a:lnTo>
                    <a:lnTo>
                      <a:pt x="336" y="119"/>
                    </a:lnTo>
                    <a:lnTo>
                      <a:pt x="336" y="118"/>
                    </a:lnTo>
                    <a:lnTo>
                      <a:pt x="341" y="116"/>
                    </a:lnTo>
                    <a:lnTo>
                      <a:pt x="344" y="114"/>
                    </a:lnTo>
                    <a:lnTo>
                      <a:pt x="345" y="114"/>
                    </a:lnTo>
                    <a:lnTo>
                      <a:pt x="353" y="113"/>
                    </a:lnTo>
                    <a:lnTo>
                      <a:pt x="358" y="110"/>
                    </a:lnTo>
                    <a:lnTo>
                      <a:pt x="362" y="103"/>
                    </a:lnTo>
                    <a:lnTo>
                      <a:pt x="363" y="102"/>
                    </a:lnTo>
                    <a:lnTo>
                      <a:pt x="366" y="102"/>
                    </a:lnTo>
                    <a:lnTo>
                      <a:pt x="365" y="98"/>
                    </a:lnTo>
                    <a:lnTo>
                      <a:pt x="368" y="97"/>
                    </a:lnTo>
                    <a:lnTo>
                      <a:pt x="370" y="9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4" name="Freeform 70">
                <a:extLst>
                  <a:ext uri="{FF2B5EF4-FFF2-40B4-BE49-F238E27FC236}">
                    <a16:creationId xmlns:a16="http://schemas.microsoft.com/office/drawing/2014/main" id="{A23A1873-AEBF-4828-A478-A4262C4A56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9" y="3515"/>
                <a:ext cx="370" cy="313"/>
              </a:xfrm>
              <a:custGeom>
                <a:avLst/>
                <a:gdLst>
                  <a:gd name="T0" fmla="*/ 360 w 370"/>
                  <a:gd name="T1" fmla="*/ 67 h 313"/>
                  <a:gd name="T2" fmla="*/ 345 w 370"/>
                  <a:gd name="T3" fmla="*/ 47 h 313"/>
                  <a:gd name="T4" fmla="*/ 321 w 370"/>
                  <a:gd name="T5" fmla="*/ 29 h 313"/>
                  <a:gd name="T6" fmla="*/ 291 w 370"/>
                  <a:gd name="T7" fmla="*/ 15 h 313"/>
                  <a:gd name="T8" fmla="*/ 261 w 370"/>
                  <a:gd name="T9" fmla="*/ 18 h 313"/>
                  <a:gd name="T10" fmla="*/ 248 w 370"/>
                  <a:gd name="T11" fmla="*/ 0 h 313"/>
                  <a:gd name="T12" fmla="*/ 224 w 370"/>
                  <a:gd name="T13" fmla="*/ 10 h 313"/>
                  <a:gd name="T14" fmla="*/ 217 w 370"/>
                  <a:gd name="T15" fmla="*/ 11 h 313"/>
                  <a:gd name="T16" fmla="*/ 202 w 370"/>
                  <a:gd name="T17" fmla="*/ 21 h 313"/>
                  <a:gd name="T18" fmla="*/ 198 w 370"/>
                  <a:gd name="T19" fmla="*/ 39 h 313"/>
                  <a:gd name="T20" fmla="*/ 187 w 370"/>
                  <a:gd name="T21" fmla="*/ 43 h 313"/>
                  <a:gd name="T22" fmla="*/ 178 w 370"/>
                  <a:gd name="T23" fmla="*/ 34 h 313"/>
                  <a:gd name="T24" fmla="*/ 168 w 370"/>
                  <a:gd name="T25" fmla="*/ 38 h 313"/>
                  <a:gd name="T26" fmla="*/ 156 w 370"/>
                  <a:gd name="T27" fmla="*/ 36 h 313"/>
                  <a:gd name="T28" fmla="*/ 157 w 370"/>
                  <a:gd name="T29" fmla="*/ 53 h 313"/>
                  <a:gd name="T30" fmla="*/ 147 w 370"/>
                  <a:gd name="T31" fmla="*/ 56 h 313"/>
                  <a:gd name="T32" fmla="*/ 132 w 370"/>
                  <a:gd name="T33" fmla="*/ 51 h 313"/>
                  <a:gd name="T34" fmla="*/ 124 w 370"/>
                  <a:gd name="T35" fmla="*/ 54 h 313"/>
                  <a:gd name="T36" fmla="*/ 110 w 370"/>
                  <a:gd name="T37" fmla="*/ 73 h 313"/>
                  <a:gd name="T38" fmla="*/ 100 w 370"/>
                  <a:gd name="T39" fmla="*/ 62 h 313"/>
                  <a:gd name="T40" fmla="*/ 85 w 370"/>
                  <a:gd name="T41" fmla="*/ 58 h 313"/>
                  <a:gd name="T42" fmla="*/ 83 w 370"/>
                  <a:gd name="T43" fmla="*/ 45 h 313"/>
                  <a:gd name="T44" fmla="*/ 74 w 370"/>
                  <a:gd name="T45" fmla="*/ 53 h 313"/>
                  <a:gd name="T46" fmla="*/ 77 w 370"/>
                  <a:gd name="T47" fmla="*/ 73 h 313"/>
                  <a:gd name="T48" fmla="*/ 66 w 370"/>
                  <a:gd name="T49" fmla="*/ 79 h 313"/>
                  <a:gd name="T50" fmla="*/ 59 w 370"/>
                  <a:gd name="T51" fmla="*/ 93 h 313"/>
                  <a:gd name="T52" fmla="*/ 45 w 370"/>
                  <a:gd name="T53" fmla="*/ 95 h 313"/>
                  <a:gd name="T54" fmla="*/ 30 w 370"/>
                  <a:gd name="T55" fmla="*/ 93 h 313"/>
                  <a:gd name="T56" fmla="*/ 25 w 370"/>
                  <a:gd name="T57" fmla="*/ 104 h 313"/>
                  <a:gd name="T58" fmla="*/ 15 w 370"/>
                  <a:gd name="T59" fmla="*/ 111 h 313"/>
                  <a:gd name="T60" fmla="*/ 16 w 370"/>
                  <a:gd name="T61" fmla="*/ 138 h 313"/>
                  <a:gd name="T62" fmla="*/ 16 w 370"/>
                  <a:gd name="T63" fmla="*/ 148 h 313"/>
                  <a:gd name="T64" fmla="*/ 27 w 370"/>
                  <a:gd name="T65" fmla="*/ 154 h 313"/>
                  <a:gd name="T66" fmla="*/ 18 w 370"/>
                  <a:gd name="T67" fmla="*/ 168 h 313"/>
                  <a:gd name="T68" fmla="*/ 6 w 370"/>
                  <a:gd name="T69" fmla="*/ 181 h 313"/>
                  <a:gd name="T70" fmla="*/ 11 w 370"/>
                  <a:gd name="T71" fmla="*/ 192 h 313"/>
                  <a:gd name="T72" fmla="*/ 31 w 370"/>
                  <a:gd name="T73" fmla="*/ 197 h 313"/>
                  <a:gd name="T74" fmla="*/ 28 w 370"/>
                  <a:gd name="T75" fmla="*/ 216 h 313"/>
                  <a:gd name="T76" fmla="*/ 42 w 370"/>
                  <a:gd name="T77" fmla="*/ 227 h 313"/>
                  <a:gd name="T78" fmla="*/ 55 w 370"/>
                  <a:gd name="T79" fmla="*/ 229 h 313"/>
                  <a:gd name="T80" fmla="*/ 64 w 370"/>
                  <a:gd name="T81" fmla="*/ 240 h 313"/>
                  <a:gd name="T82" fmla="*/ 68 w 370"/>
                  <a:gd name="T83" fmla="*/ 247 h 313"/>
                  <a:gd name="T84" fmla="*/ 89 w 370"/>
                  <a:gd name="T85" fmla="*/ 259 h 313"/>
                  <a:gd name="T86" fmla="*/ 104 w 370"/>
                  <a:gd name="T87" fmla="*/ 262 h 313"/>
                  <a:gd name="T88" fmla="*/ 124 w 370"/>
                  <a:gd name="T89" fmla="*/ 285 h 313"/>
                  <a:gd name="T90" fmla="*/ 136 w 370"/>
                  <a:gd name="T91" fmla="*/ 305 h 313"/>
                  <a:gd name="T92" fmla="*/ 159 w 370"/>
                  <a:gd name="T93" fmla="*/ 306 h 313"/>
                  <a:gd name="T94" fmla="*/ 178 w 370"/>
                  <a:gd name="T95" fmla="*/ 283 h 313"/>
                  <a:gd name="T96" fmla="*/ 212 w 370"/>
                  <a:gd name="T97" fmla="*/ 271 h 313"/>
                  <a:gd name="T98" fmla="*/ 221 w 370"/>
                  <a:gd name="T99" fmla="*/ 244 h 313"/>
                  <a:gd name="T100" fmla="*/ 250 w 370"/>
                  <a:gd name="T101" fmla="*/ 245 h 313"/>
                  <a:gd name="T102" fmla="*/ 274 w 370"/>
                  <a:gd name="T103" fmla="*/ 219 h 313"/>
                  <a:gd name="T104" fmla="*/ 278 w 370"/>
                  <a:gd name="T105" fmla="*/ 191 h 313"/>
                  <a:gd name="T106" fmla="*/ 290 w 370"/>
                  <a:gd name="T107" fmla="*/ 157 h 313"/>
                  <a:gd name="T108" fmla="*/ 303 w 370"/>
                  <a:gd name="T109" fmla="*/ 128 h 313"/>
                  <a:gd name="T110" fmla="*/ 320 w 370"/>
                  <a:gd name="T111" fmla="*/ 123 h 313"/>
                  <a:gd name="T112" fmla="*/ 345 w 370"/>
                  <a:gd name="T113" fmla="*/ 114 h 31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70"/>
                  <a:gd name="T172" fmla="*/ 0 h 313"/>
                  <a:gd name="T173" fmla="*/ 370 w 370"/>
                  <a:gd name="T174" fmla="*/ 313 h 31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70" h="313">
                    <a:moveTo>
                      <a:pt x="370" y="93"/>
                    </a:moveTo>
                    <a:lnTo>
                      <a:pt x="368" y="84"/>
                    </a:lnTo>
                    <a:lnTo>
                      <a:pt x="368" y="82"/>
                    </a:lnTo>
                    <a:lnTo>
                      <a:pt x="368" y="80"/>
                    </a:lnTo>
                    <a:lnTo>
                      <a:pt x="366" y="78"/>
                    </a:lnTo>
                    <a:lnTo>
                      <a:pt x="364" y="78"/>
                    </a:lnTo>
                    <a:lnTo>
                      <a:pt x="362" y="76"/>
                    </a:lnTo>
                    <a:lnTo>
                      <a:pt x="360" y="75"/>
                    </a:lnTo>
                    <a:lnTo>
                      <a:pt x="357" y="75"/>
                    </a:lnTo>
                    <a:lnTo>
                      <a:pt x="360" y="67"/>
                    </a:lnTo>
                    <a:lnTo>
                      <a:pt x="358" y="61"/>
                    </a:lnTo>
                    <a:lnTo>
                      <a:pt x="357" y="61"/>
                    </a:lnTo>
                    <a:lnTo>
                      <a:pt x="356" y="60"/>
                    </a:lnTo>
                    <a:lnTo>
                      <a:pt x="357" y="60"/>
                    </a:lnTo>
                    <a:lnTo>
                      <a:pt x="356" y="59"/>
                    </a:lnTo>
                    <a:lnTo>
                      <a:pt x="354" y="55"/>
                    </a:lnTo>
                    <a:lnTo>
                      <a:pt x="352" y="55"/>
                    </a:lnTo>
                    <a:lnTo>
                      <a:pt x="349" y="52"/>
                    </a:lnTo>
                    <a:lnTo>
                      <a:pt x="347" y="51"/>
                    </a:lnTo>
                    <a:lnTo>
                      <a:pt x="345" y="47"/>
                    </a:lnTo>
                    <a:lnTo>
                      <a:pt x="343" y="44"/>
                    </a:lnTo>
                    <a:lnTo>
                      <a:pt x="343" y="35"/>
                    </a:lnTo>
                    <a:lnTo>
                      <a:pt x="342" y="33"/>
                    </a:lnTo>
                    <a:lnTo>
                      <a:pt x="340" y="32"/>
                    </a:lnTo>
                    <a:lnTo>
                      <a:pt x="335" y="31"/>
                    </a:lnTo>
                    <a:lnTo>
                      <a:pt x="334" y="31"/>
                    </a:lnTo>
                    <a:lnTo>
                      <a:pt x="331" y="34"/>
                    </a:lnTo>
                    <a:lnTo>
                      <a:pt x="329" y="35"/>
                    </a:lnTo>
                    <a:lnTo>
                      <a:pt x="322" y="32"/>
                    </a:lnTo>
                    <a:lnTo>
                      <a:pt x="321" y="29"/>
                    </a:lnTo>
                    <a:lnTo>
                      <a:pt x="319" y="29"/>
                    </a:lnTo>
                    <a:lnTo>
                      <a:pt x="315" y="31"/>
                    </a:lnTo>
                    <a:lnTo>
                      <a:pt x="312" y="29"/>
                    </a:lnTo>
                    <a:lnTo>
                      <a:pt x="309" y="23"/>
                    </a:lnTo>
                    <a:lnTo>
                      <a:pt x="307" y="18"/>
                    </a:lnTo>
                    <a:lnTo>
                      <a:pt x="306" y="17"/>
                    </a:lnTo>
                    <a:lnTo>
                      <a:pt x="304" y="18"/>
                    </a:lnTo>
                    <a:lnTo>
                      <a:pt x="298" y="19"/>
                    </a:lnTo>
                    <a:lnTo>
                      <a:pt x="296" y="14"/>
                    </a:lnTo>
                    <a:lnTo>
                      <a:pt x="291" y="15"/>
                    </a:lnTo>
                    <a:lnTo>
                      <a:pt x="289" y="14"/>
                    </a:lnTo>
                    <a:lnTo>
                      <a:pt x="288" y="15"/>
                    </a:lnTo>
                    <a:lnTo>
                      <a:pt x="285" y="14"/>
                    </a:lnTo>
                    <a:lnTo>
                      <a:pt x="283" y="15"/>
                    </a:lnTo>
                    <a:lnTo>
                      <a:pt x="282" y="15"/>
                    </a:lnTo>
                    <a:lnTo>
                      <a:pt x="279" y="14"/>
                    </a:lnTo>
                    <a:lnTo>
                      <a:pt x="276" y="15"/>
                    </a:lnTo>
                    <a:lnTo>
                      <a:pt x="270" y="16"/>
                    </a:lnTo>
                    <a:lnTo>
                      <a:pt x="264" y="18"/>
                    </a:lnTo>
                    <a:lnTo>
                      <a:pt x="261" y="18"/>
                    </a:lnTo>
                    <a:lnTo>
                      <a:pt x="261" y="19"/>
                    </a:lnTo>
                    <a:lnTo>
                      <a:pt x="258" y="17"/>
                    </a:lnTo>
                    <a:lnTo>
                      <a:pt x="259" y="14"/>
                    </a:lnTo>
                    <a:lnTo>
                      <a:pt x="259" y="9"/>
                    </a:lnTo>
                    <a:lnTo>
                      <a:pt x="257" y="6"/>
                    </a:lnTo>
                    <a:lnTo>
                      <a:pt x="255" y="2"/>
                    </a:lnTo>
                    <a:lnTo>
                      <a:pt x="253" y="2"/>
                    </a:lnTo>
                    <a:lnTo>
                      <a:pt x="253" y="3"/>
                    </a:lnTo>
                    <a:lnTo>
                      <a:pt x="250" y="0"/>
                    </a:lnTo>
                    <a:lnTo>
                      <a:pt x="248" y="0"/>
                    </a:lnTo>
                    <a:lnTo>
                      <a:pt x="239" y="0"/>
                    </a:lnTo>
                    <a:lnTo>
                      <a:pt x="237" y="6"/>
                    </a:lnTo>
                    <a:lnTo>
                      <a:pt x="233" y="10"/>
                    </a:lnTo>
                    <a:lnTo>
                      <a:pt x="233" y="11"/>
                    </a:lnTo>
                    <a:lnTo>
                      <a:pt x="233" y="13"/>
                    </a:lnTo>
                    <a:lnTo>
                      <a:pt x="230" y="13"/>
                    </a:lnTo>
                    <a:lnTo>
                      <a:pt x="228" y="10"/>
                    </a:lnTo>
                    <a:lnTo>
                      <a:pt x="226" y="11"/>
                    </a:lnTo>
                    <a:lnTo>
                      <a:pt x="225" y="10"/>
                    </a:lnTo>
                    <a:lnTo>
                      <a:pt x="224" y="10"/>
                    </a:lnTo>
                    <a:lnTo>
                      <a:pt x="224" y="8"/>
                    </a:lnTo>
                    <a:lnTo>
                      <a:pt x="220" y="8"/>
                    </a:lnTo>
                    <a:lnTo>
                      <a:pt x="220" y="6"/>
                    </a:lnTo>
                    <a:lnTo>
                      <a:pt x="219" y="5"/>
                    </a:lnTo>
                    <a:lnTo>
                      <a:pt x="217" y="5"/>
                    </a:lnTo>
                    <a:lnTo>
                      <a:pt x="218" y="6"/>
                    </a:lnTo>
                    <a:lnTo>
                      <a:pt x="218" y="8"/>
                    </a:lnTo>
                    <a:lnTo>
                      <a:pt x="217" y="10"/>
                    </a:lnTo>
                    <a:lnTo>
                      <a:pt x="217" y="11"/>
                    </a:lnTo>
                    <a:lnTo>
                      <a:pt x="217" y="14"/>
                    </a:lnTo>
                    <a:lnTo>
                      <a:pt x="211" y="15"/>
                    </a:lnTo>
                    <a:lnTo>
                      <a:pt x="210" y="14"/>
                    </a:lnTo>
                    <a:lnTo>
                      <a:pt x="209" y="16"/>
                    </a:lnTo>
                    <a:lnTo>
                      <a:pt x="209" y="17"/>
                    </a:lnTo>
                    <a:lnTo>
                      <a:pt x="208" y="19"/>
                    </a:lnTo>
                    <a:lnTo>
                      <a:pt x="204" y="20"/>
                    </a:lnTo>
                    <a:lnTo>
                      <a:pt x="203" y="21"/>
                    </a:lnTo>
                    <a:lnTo>
                      <a:pt x="202" y="20"/>
                    </a:lnTo>
                    <a:lnTo>
                      <a:pt x="202" y="21"/>
                    </a:lnTo>
                    <a:lnTo>
                      <a:pt x="204" y="25"/>
                    </a:lnTo>
                    <a:lnTo>
                      <a:pt x="204" y="28"/>
                    </a:lnTo>
                    <a:lnTo>
                      <a:pt x="203" y="29"/>
                    </a:lnTo>
                    <a:lnTo>
                      <a:pt x="203" y="30"/>
                    </a:lnTo>
                    <a:lnTo>
                      <a:pt x="202" y="31"/>
                    </a:lnTo>
                    <a:lnTo>
                      <a:pt x="201" y="32"/>
                    </a:lnTo>
                    <a:lnTo>
                      <a:pt x="198" y="33"/>
                    </a:lnTo>
                    <a:lnTo>
                      <a:pt x="198" y="34"/>
                    </a:lnTo>
                    <a:lnTo>
                      <a:pt x="199" y="36"/>
                    </a:lnTo>
                    <a:lnTo>
                      <a:pt x="198" y="39"/>
                    </a:lnTo>
                    <a:lnTo>
                      <a:pt x="198" y="40"/>
                    </a:lnTo>
                    <a:lnTo>
                      <a:pt x="198" y="42"/>
                    </a:lnTo>
                    <a:lnTo>
                      <a:pt x="197" y="42"/>
                    </a:lnTo>
                    <a:lnTo>
                      <a:pt x="197" y="43"/>
                    </a:lnTo>
                    <a:lnTo>
                      <a:pt x="196" y="43"/>
                    </a:lnTo>
                    <a:lnTo>
                      <a:pt x="195" y="43"/>
                    </a:lnTo>
                    <a:lnTo>
                      <a:pt x="194" y="43"/>
                    </a:lnTo>
                    <a:lnTo>
                      <a:pt x="194" y="42"/>
                    </a:lnTo>
                    <a:lnTo>
                      <a:pt x="192" y="42"/>
                    </a:lnTo>
                    <a:lnTo>
                      <a:pt x="187" y="43"/>
                    </a:lnTo>
                    <a:lnTo>
                      <a:pt x="186" y="44"/>
                    </a:lnTo>
                    <a:lnTo>
                      <a:pt x="185" y="44"/>
                    </a:lnTo>
                    <a:lnTo>
                      <a:pt x="183" y="41"/>
                    </a:lnTo>
                    <a:lnTo>
                      <a:pt x="181" y="41"/>
                    </a:lnTo>
                    <a:lnTo>
                      <a:pt x="181" y="40"/>
                    </a:lnTo>
                    <a:lnTo>
                      <a:pt x="179" y="39"/>
                    </a:lnTo>
                    <a:lnTo>
                      <a:pt x="179" y="38"/>
                    </a:lnTo>
                    <a:lnTo>
                      <a:pt x="180" y="36"/>
                    </a:lnTo>
                    <a:lnTo>
                      <a:pt x="179" y="36"/>
                    </a:lnTo>
                    <a:lnTo>
                      <a:pt x="178" y="34"/>
                    </a:lnTo>
                    <a:lnTo>
                      <a:pt x="176" y="32"/>
                    </a:lnTo>
                    <a:lnTo>
                      <a:pt x="175" y="29"/>
                    </a:lnTo>
                    <a:lnTo>
                      <a:pt x="173" y="31"/>
                    </a:lnTo>
                    <a:lnTo>
                      <a:pt x="171" y="29"/>
                    </a:lnTo>
                    <a:lnTo>
                      <a:pt x="170" y="29"/>
                    </a:lnTo>
                    <a:lnTo>
                      <a:pt x="170" y="31"/>
                    </a:lnTo>
                    <a:lnTo>
                      <a:pt x="168" y="32"/>
                    </a:lnTo>
                    <a:lnTo>
                      <a:pt x="168" y="34"/>
                    </a:lnTo>
                    <a:lnTo>
                      <a:pt x="168" y="38"/>
                    </a:lnTo>
                    <a:lnTo>
                      <a:pt x="167" y="39"/>
                    </a:lnTo>
                    <a:lnTo>
                      <a:pt x="165" y="39"/>
                    </a:lnTo>
                    <a:lnTo>
                      <a:pt x="163" y="33"/>
                    </a:lnTo>
                    <a:lnTo>
                      <a:pt x="159" y="34"/>
                    </a:lnTo>
                    <a:lnTo>
                      <a:pt x="158" y="34"/>
                    </a:lnTo>
                    <a:lnTo>
                      <a:pt x="157" y="35"/>
                    </a:lnTo>
                    <a:lnTo>
                      <a:pt x="156" y="33"/>
                    </a:lnTo>
                    <a:lnTo>
                      <a:pt x="155" y="34"/>
                    </a:lnTo>
                    <a:lnTo>
                      <a:pt x="156" y="36"/>
                    </a:lnTo>
                    <a:lnTo>
                      <a:pt x="155" y="37"/>
                    </a:lnTo>
                    <a:lnTo>
                      <a:pt x="158" y="40"/>
                    </a:lnTo>
                    <a:lnTo>
                      <a:pt x="158" y="43"/>
                    </a:lnTo>
                    <a:lnTo>
                      <a:pt x="159" y="45"/>
                    </a:lnTo>
                    <a:lnTo>
                      <a:pt x="162" y="47"/>
                    </a:lnTo>
                    <a:lnTo>
                      <a:pt x="160" y="47"/>
                    </a:lnTo>
                    <a:lnTo>
                      <a:pt x="162" y="50"/>
                    </a:lnTo>
                    <a:lnTo>
                      <a:pt x="158" y="53"/>
                    </a:lnTo>
                    <a:lnTo>
                      <a:pt x="157" y="53"/>
                    </a:lnTo>
                    <a:lnTo>
                      <a:pt x="156" y="56"/>
                    </a:lnTo>
                    <a:lnTo>
                      <a:pt x="153" y="57"/>
                    </a:lnTo>
                    <a:lnTo>
                      <a:pt x="151" y="57"/>
                    </a:lnTo>
                    <a:lnTo>
                      <a:pt x="150" y="57"/>
                    </a:lnTo>
                    <a:lnTo>
                      <a:pt x="150" y="56"/>
                    </a:lnTo>
                    <a:lnTo>
                      <a:pt x="150" y="57"/>
                    </a:lnTo>
                    <a:lnTo>
                      <a:pt x="148" y="57"/>
                    </a:lnTo>
                    <a:lnTo>
                      <a:pt x="147" y="57"/>
                    </a:lnTo>
                    <a:lnTo>
                      <a:pt x="147" y="56"/>
                    </a:lnTo>
                    <a:lnTo>
                      <a:pt x="145" y="57"/>
                    </a:lnTo>
                    <a:lnTo>
                      <a:pt x="145" y="56"/>
                    </a:lnTo>
                    <a:lnTo>
                      <a:pt x="145" y="54"/>
                    </a:lnTo>
                    <a:lnTo>
                      <a:pt x="143" y="52"/>
                    </a:lnTo>
                    <a:lnTo>
                      <a:pt x="142" y="51"/>
                    </a:lnTo>
                    <a:lnTo>
                      <a:pt x="141" y="52"/>
                    </a:lnTo>
                    <a:lnTo>
                      <a:pt x="139" y="52"/>
                    </a:lnTo>
                    <a:lnTo>
                      <a:pt x="139" y="51"/>
                    </a:lnTo>
                    <a:lnTo>
                      <a:pt x="133" y="53"/>
                    </a:lnTo>
                    <a:lnTo>
                      <a:pt x="132" y="51"/>
                    </a:lnTo>
                    <a:lnTo>
                      <a:pt x="130" y="53"/>
                    </a:lnTo>
                    <a:lnTo>
                      <a:pt x="129" y="53"/>
                    </a:lnTo>
                    <a:lnTo>
                      <a:pt x="127" y="56"/>
                    </a:lnTo>
                    <a:lnTo>
                      <a:pt x="126" y="55"/>
                    </a:lnTo>
                    <a:lnTo>
                      <a:pt x="126" y="54"/>
                    </a:lnTo>
                    <a:lnTo>
                      <a:pt x="126" y="52"/>
                    </a:lnTo>
                    <a:lnTo>
                      <a:pt x="124" y="53"/>
                    </a:lnTo>
                    <a:lnTo>
                      <a:pt x="121" y="52"/>
                    </a:lnTo>
                    <a:lnTo>
                      <a:pt x="124" y="54"/>
                    </a:lnTo>
                    <a:lnTo>
                      <a:pt x="122" y="56"/>
                    </a:lnTo>
                    <a:lnTo>
                      <a:pt x="123" y="56"/>
                    </a:lnTo>
                    <a:lnTo>
                      <a:pt x="124" y="57"/>
                    </a:lnTo>
                    <a:lnTo>
                      <a:pt x="123" y="62"/>
                    </a:lnTo>
                    <a:lnTo>
                      <a:pt x="122" y="63"/>
                    </a:lnTo>
                    <a:lnTo>
                      <a:pt x="121" y="63"/>
                    </a:lnTo>
                    <a:lnTo>
                      <a:pt x="120" y="63"/>
                    </a:lnTo>
                    <a:lnTo>
                      <a:pt x="117" y="67"/>
                    </a:lnTo>
                    <a:lnTo>
                      <a:pt x="110" y="73"/>
                    </a:lnTo>
                    <a:lnTo>
                      <a:pt x="110" y="68"/>
                    </a:lnTo>
                    <a:lnTo>
                      <a:pt x="109" y="66"/>
                    </a:lnTo>
                    <a:lnTo>
                      <a:pt x="107" y="63"/>
                    </a:lnTo>
                    <a:lnTo>
                      <a:pt x="104" y="62"/>
                    </a:lnTo>
                    <a:lnTo>
                      <a:pt x="105" y="61"/>
                    </a:lnTo>
                    <a:lnTo>
                      <a:pt x="102" y="61"/>
                    </a:lnTo>
                    <a:lnTo>
                      <a:pt x="101" y="60"/>
                    </a:lnTo>
                    <a:lnTo>
                      <a:pt x="101" y="61"/>
                    </a:lnTo>
                    <a:lnTo>
                      <a:pt x="99" y="60"/>
                    </a:lnTo>
                    <a:lnTo>
                      <a:pt x="100" y="62"/>
                    </a:lnTo>
                    <a:lnTo>
                      <a:pt x="99" y="63"/>
                    </a:lnTo>
                    <a:lnTo>
                      <a:pt x="99" y="61"/>
                    </a:lnTo>
                    <a:lnTo>
                      <a:pt x="95" y="61"/>
                    </a:lnTo>
                    <a:lnTo>
                      <a:pt x="96" y="59"/>
                    </a:lnTo>
                    <a:lnTo>
                      <a:pt x="94" y="57"/>
                    </a:lnTo>
                    <a:lnTo>
                      <a:pt x="93" y="57"/>
                    </a:lnTo>
                    <a:lnTo>
                      <a:pt x="89" y="55"/>
                    </a:lnTo>
                    <a:lnTo>
                      <a:pt x="89" y="59"/>
                    </a:lnTo>
                    <a:lnTo>
                      <a:pt x="88" y="58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5" y="54"/>
                    </a:lnTo>
                    <a:lnTo>
                      <a:pt x="86" y="50"/>
                    </a:lnTo>
                    <a:lnTo>
                      <a:pt x="88" y="47"/>
                    </a:lnTo>
                    <a:lnTo>
                      <a:pt x="87" y="47"/>
                    </a:lnTo>
                    <a:lnTo>
                      <a:pt x="85" y="43"/>
                    </a:lnTo>
                    <a:lnTo>
                      <a:pt x="85" y="44"/>
                    </a:lnTo>
                    <a:lnTo>
                      <a:pt x="83" y="44"/>
                    </a:lnTo>
                    <a:lnTo>
                      <a:pt x="83" y="45"/>
                    </a:lnTo>
                    <a:lnTo>
                      <a:pt x="80" y="45"/>
                    </a:lnTo>
                    <a:lnTo>
                      <a:pt x="80" y="48"/>
                    </a:lnTo>
                    <a:lnTo>
                      <a:pt x="78" y="49"/>
                    </a:lnTo>
                    <a:lnTo>
                      <a:pt x="79" y="49"/>
                    </a:lnTo>
                    <a:lnTo>
                      <a:pt x="78" y="50"/>
                    </a:lnTo>
                    <a:lnTo>
                      <a:pt x="77" y="50"/>
                    </a:lnTo>
                    <a:lnTo>
                      <a:pt x="76" y="51"/>
                    </a:lnTo>
                    <a:lnTo>
                      <a:pt x="76" y="53"/>
                    </a:lnTo>
                    <a:lnTo>
                      <a:pt x="74" y="53"/>
                    </a:lnTo>
                    <a:lnTo>
                      <a:pt x="74" y="56"/>
                    </a:lnTo>
                    <a:lnTo>
                      <a:pt x="73" y="56"/>
                    </a:lnTo>
                    <a:lnTo>
                      <a:pt x="73" y="57"/>
                    </a:lnTo>
                    <a:lnTo>
                      <a:pt x="73" y="60"/>
                    </a:lnTo>
                    <a:lnTo>
                      <a:pt x="74" y="63"/>
                    </a:lnTo>
                    <a:lnTo>
                      <a:pt x="75" y="65"/>
                    </a:lnTo>
                    <a:lnTo>
                      <a:pt x="74" y="67"/>
                    </a:lnTo>
                    <a:lnTo>
                      <a:pt x="77" y="68"/>
                    </a:lnTo>
                    <a:lnTo>
                      <a:pt x="77" y="69"/>
                    </a:lnTo>
                    <a:lnTo>
                      <a:pt x="77" y="73"/>
                    </a:lnTo>
                    <a:lnTo>
                      <a:pt x="77" y="76"/>
                    </a:lnTo>
                    <a:lnTo>
                      <a:pt x="75" y="76"/>
                    </a:lnTo>
                    <a:lnTo>
                      <a:pt x="74" y="76"/>
                    </a:lnTo>
                    <a:lnTo>
                      <a:pt x="73" y="76"/>
                    </a:lnTo>
                    <a:lnTo>
                      <a:pt x="71" y="79"/>
                    </a:lnTo>
                    <a:lnTo>
                      <a:pt x="69" y="78"/>
                    </a:lnTo>
                    <a:lnTo>
                      <a:pt x="69" y="80"/>
                    </a:lnTo>
                    <a:lnTo>
                      <a:pt x="67" y="80"/>
                    </a:lnTo>
                    <a:lnTo>
                      <a:pt x="66" y="79"/>
                    </a:lnTo>
                    <a:lnTo>
                      <a:pt x="65" y="86"/>
                    </a:lnTo>
                    <a:lnTo>
                      <a:pt x="64" y="86"/>
                    </a:lnTo>
                    <a:lnTo>
                      <a:pt x="63" y="87"/>
                    </a:lnTo>
                    <a:lnTo>
                      <a:pt x="62" y="87"/>
                    </a:lnTo>
                    <a:lnTo>
                      <a:pt x="63" y="88"/>
                    </a:lnTo>
                    <a:lnTo>
                      <a:pt x="61" y="88"/>
                    </a:lnTo>
                    <a:lnTo>
                      <a:pt x="61" y="90"/>
                    </a:lnTo>
                    <a:lnTo>
                      <a:pt x="59" y="91"/>
                    </a:lnTo>
                    <a:lnTo>
                      <a:pt x="58" y="92"/>
                    </a:lnTo>
                    <a:lnTo>
                      <a:pt x="59" y="93"/>
                    </a:lnTo>
                    <a:lnTo>
                      <a:pt x="58" y="93"/>
                    </a:lnTo>
                    <a:lnTo>
                      <a:pt x="55" y="95"/>
                    </a:lnTo>
                    <a:lnTo>
                      <a:pt x="53" y="95"/>
                    </a:lnTo>
                    <a:lnTo>
                      <a:pt x="53" y="96"/>
                    </a:lnTo>
                    <a:lnTo>
                      <a:pt x="50" y="93"/>
                    </a:lnTo>
                    <a:lnTo>
                      <a:pt x="49" y="93"/>
                    </a:lnTo>
                    <a:lnTo>
                      <a:pt x="49" y="91"/>
                    </a:lnTo>
                    <a:lnTo>
                      <a:pt x="48" y="93"/>
                    </a:lnTo>
                    <a:lnTo>
                      <a:pt x="46" y="94"/>
                    </a:lnTo>
                    <a:lnTo>
                      <a:pt x="45" y="95"/>
                    </a:lnTo>
                    <a:lnTo>
                      <a:pt x="42" y="93"/>
                    </a:lnTo>
                    <a:lnTo>
                      <a:pt x="41" y="93"/>
                    </a:lnTo>
                    <a:lnTo>
                      <a:pt x="39" y="94"/>
                    </a:lnTo>
                    <a:lnTo>
                      <a:pt x="37" y="94"/>
                    </a:lnTo>
                    <a:lnTo>
                      <a:pt x="37" y="96"/>
                    </a:lnTo>
                    <a:lnTo>
                      <a:pt x="36" y="97"/>
                    </a:lnTo>
                    <a:lnTo>
                      <a:pt x="33" y="95"/>
                    </a:lnTo>
                    <a:lnTo>
                      <a:pt x="33" y="92"/>
                    </a:lnTo>
                    <a:lnTo>
                      <a:pt x="32" y="92"/>
                    </a:lnTo>
                    <a:lnTo>
                      <a:pt x="30" y="93"/>
                    </a:lnTo>
                    <a:lnTo>
                      <a:pt x="32" y="95"/>
                    </a:lnTo>
                    <a:lnTo>
                      <a:pt x="30" y="96"/>
                    </a:lnTo>
                    <a:lnTo>
                      <a:pt x="29" y="96"/>
                    </a:lnTo>
                    <a:lnTo>
                      <a:pt x="27" y="97"/>
                    </a:lnTo>
                    <a:lnTo>
                      <a:pt x="27" y="100"/>
                    </a:lnTo>
                    <a:lnTo>
                      <a:pt x="27" y="103"/>
                    </a:lnTo>
                    <a:lnTo>
                      <a:pt x="25" y="105"/>
                    </a:lnTo>
                    <a:lnTo>
                      <a:pt x="25" y="104"/>
                    </a:lnTo>
                    <a:lnTo>
                      <a:pt x="25" y="105"/>
                    </a:lnTo>
                    <a:lnTo>
                      <a:pt x="24" y="104"/>
                    </a:lnTo>
                    <a:lnTo>
                      <a:pt x="23" y="103"/>
                    </a:lnTo>
                    <a:lnTo>
                      <a:pt x="22" y="102"/>
                    </a:lnTo>
                    <a:lnTo>
                      <a:pt x="21" y="101"/>
                    </a:lnTo>
                    <a:lnTo>
                      <a:pt x="19" y="104"/>
                    </a:lnTo>
                    <a:lnTo>
                      <a:pt x="18" y="108"/>
                    </a:lnTo>
                    <a:lnTo>
                      <a:pt x="16" y="109"/>
                    </a:lnTo>
                    <a:lnTo>
                      <a:pt x="15" y="111"/>
                    </a:lnTo>
                    <a:lnTo>
                      <a:pt x="12" y="112"/>
                    </a:lnTo>
                    <a:lnTo>
                      <a:pt x="12" y="115"/>
                    </a:lnTo>
                    <a:lnTo>
                      <a:pt x="14" y="116"/>
                    </a:lnTo>
                    <a:lnTo>
                      <a:pt x="14" y="118"/>
                    </a:lnTo>
                    <a:lnTo>
                      <a:pt x="16" y="120"/>
                    </a:lnTo>
                    <a:lnTo>
                      <a:pt x="16" y="124"/>
                    </a:lnTo>
                    <a:lnTo>
                      <a:pt x="12" y="128"/>
                    </a:lnTo>
                    <a:lnTo>
                      <a:pt x="14" y="131"/>
                    </a:lnTo>
                    <a:lnTo>
                      <a:pt x="16" y="134"/>
                    </a:lnTo>
                    <a:lnTo>
                      <a:pt x="16" y="138"/>
                    </a:lnTo>
                    <a:lnTo>
                      <a:pt x="17" y="139"/>
                    </a:lnTo>
                    <a:lnTo>
                      <a:pt x="18" y="140"/>
                    </a:lnTo>
                    <a:lnTo>
                      <a:pt x="19" y="140"/>
                    </a:lnTo>
                    <a:lnTo>
                      <a:pt x="19" y="142"/>
                    </a:lnTo>
                    <a:lnTo>
                      <a:pt x="17" y="144"/>
                    </a:lnTo>
                    <a:lnTo>
                      <a:pt x="16" y="143"/>
                    </a:lnTo>
                    <a:lnTo>
                      <a:pt x="16" y="146"/>
                    </a:lnTo>
                    <a:lnTo>
                      <a:pt x="14" y="148"/>
                    </a:lnTo>
                    <a:lnTo>
                      <a:pt x="16" y="150"/>
                    </a:lnTo>
                    <a:lnTo>
                      <a:pt x="16" y="148"/>
                    </a:lnTo>
                    <a:lnTo>
                      <a:pt x="20" y="148"/>
                    </a:lnTo>
                    <a:lnTo>
                      <a:pt x="22" y="148"/>
                    </a:lnTo>
                    <a:lnTo>
                      <a:pt x="23" y="150"/>
                    </a:lnTo>
                    <a:lnTo>
                      <a:pt x="25" y="149"/>
                    </a:lnTo>
                    <a:lnTo>
                      <a:pt x="27" y="145"/>
                    </a:lnTo>
                    <a:lnTo>
                      <a:pt x="28" y="145"/>
                    </a:lnTo>
                    <a:lnTo>
                      <a:pt x="29" y="148"/>
                    </a:lnTo>
                    <a:lnTo>
                      <a:pt x="27" y="152"/>
                    </a:lnTo>
                    <a:lnTo>
                      <a:pt x="27" y="154"/>
                    </a:lnTo>
                    <a:lnTo>
                      <a:pt x="27" y="155"/>
                    </a:lnTo>
                    <a:lnTo>
                      <a:pt x="27" y="156"/>
                    </a:lnTo>
                    <a:lnTo>
                      <a:pt x="25" y="157"/>
                    </a:lnTo>
                    <a:lnTo>
                      <a:pt x="23" y="166"/>
                    </a:lnTo>
                    <a:lnTo>
                      <a:pt x="21" y="165"/>
                    </a:lnTo>
                    <a:lnTo>
                      <a:pt x="20" y="166"/>
                    </a:lnTo>
                    <a:lnTo>
                      <a:pt x="19" y="165"/>
                    </a:lnTo>
                    <a:lnTo>
                      <a:pt x="19" y="167"/>
                    </a:lnTo>
                    <a:lnTo>
                      <a:pt x="18" y="168"/>
                    </a:lnTo>
                    <a:lnTo>
                      <a:pt x="17" y="168"/>
                    </a:lnTo>
                    <a:lnTo>
                      <a:pt x="16" y="167"/>
                    </a:lnTo>
                    <a:lnTo>
                      <a:pt x="14" y="167"/>
                    </a:lnTo>
                    <a:lnTo>
                      <a:pt x="12" y="167"/>
                    </a:lnTo>
                    <a:lnTo>
                      <a:pt x="11" y="171"/>
                    </a:lnTo>
                    <a:lnTo>
                      <a:pt x="9" y="177"/>
                    </a:lnTo>
                    <a:lnTo>
                      <a:pt x="9" y="180"/>
                    </a:lnTo>
                    <a:lnTo>
                      <a:pt x="7" y="181"/>
                    </a:lnTo>
                    <a:lnTo>
                      <a:pt x="6" y="181"/>
                    </a:lnTo>
                    <a:lnTo>
                      <a:pt x="1" y="180"/>
                    </a:lnTo>
                    <a:lnTo>
                      <a:pt x="1" y="187"/>
                    </a:lnTo>
                    <a:lnTo>
                      <a:pt x="2" y="186"/>
                    </a:lnTo>
                    <a:lnTo>
                      <a:pt x="3" y="188"/>
                    </a:lnTo>
                    <a:lnTo>
                      <a:pt x="2" y="191"/>
                    </a:lnTo>
                    <a:lnTo>
                      <a:pt x="0" y="192"/>
                    </a:lnTo>
                    <a:lnTo>
                      <a:pt x="6" y="194"/>
                    </a:lnTo>
                    <a:lnTo>
                      <a:pt x="8" y="193"/>
                    </a:lnTo>
                    <a:lnTo>
                      <a:pt x="9" y="195"/>
                    </a:lnTo>
                    <a:lnTo>
                      <a:pt x="11" y="192"/>
                    </a:lnTo>
                    <a:lnTo>
                      <a:pt x="12" y="192"/>
                    </a:lnTo>
                    <a:lnTo>
                      <a:pt x="13" y="191"/>
                    </a:lnTo>
                    <a:lnTo>
                      <a:pt x="14" y="192"/>
                    </a:lnTo>
                    <a:lnTo>
                      <a:pt x="16" y="191"/>
                    </a:lnTo>
                    <a:lnTo>
                      <a:pt x="20" y="191"/>
                    </a:lnTo>
                    <a:lnTo>
                      <a:pt x="25" y="188"/>
                    </a:lnTo>
                    <a:lnTo>
                      <a:pt x="28" y="189"/>
                    </a:lnTo>
                    <a:lnTo>
                      <a:pt x="29" y="189"/>
                    </a:lnTo>
                    <a:lnTo>
                      <a:pt x="29" y="196"/>
                    </a:lnTo>
                    <a:lnTo>
                      <a:pt x="31" y="197"/>
                    </a:lnTo>
                    <a:lnTo>
                      <a:pt x="32" y="198"/>
                    </a:lnTo>
                    <a:lnTo>
                      <a:pt x="32" y="200"/>
                    </a:lnTo>
                    <a:lnTo>
                      <a:pt x="32" y="202"/>
                    </a:lnTo>
                    <a:lnTo>
                      <a:pt x="32" y="206"/>
                    </a:lnTo>
                    <a:lnTo>
                      <a:pt x="31" y="208"/>
                    </a:lnTo>
                    <a:lnTo>
                      <a:pt x="29" y="210"/>
                    </a:lnTo>
                    <a:lnTo>
                      <a:pt x="29" y="211"/>
                    </a:lnTo>
                    <a:lnTo>
                      <a:pt x="28" y="214"/>
                    </a:lnTo>
                    <a:lnTo>
                      <a:pt x="27" y="215"/>
                    </a:lnTo>
                    <a:lnTo>
                      <a:pt x="28" y="216"/>
                    </a:lnTo>
                    <a:lnTo>
                      <a:pt x="29" y="215"/>
                    </a:lnTo>
                    <a:lnTo>
                      <a:pt x="30" y="213"/>
                    </a:lnTo>
                    <a:lnTo>
                      <a:pt x="37" y="214"/>
                    </a:lnTo>
                    <a:lnTo>
                      <a:pt x="37" y="218"/>
                    </a:lnTo>
                    <a:lnTo>
                      <a:pt x="39" y="217"/>
                    </a:lnTo>
                    <a:lnTo>
                      <a:pt x="41" y="218"/>
                    </a:lnTo>
                    <a:lnTo>
                      <a:pt x="42" y="220"/>
                    </a:lnTo>
                    <a:lnTo>
                      <a:pt x="43" y="221"/>
                    </a:lnTo>
                    <a:lnTo>
                      <a:pt x="42" y="227"/>
                    </a:lnTo>
                    <a:lnTo>
                      <a:pt x="44" y="227"/>
                    </a:lnTo>
                    <a:lnTo>
                      <a:pt x="45" y="225"/>
                    </a:lnTo>
                    <a:lnTo>
                      <a:pt x="47" y="227"/>
                    </a:lnTo>
                    <a:lnTo>
                      <a:pt x="47" y="226"/>
                    </a:lnTo>
                    <a:lnTo>
                      <a:pt x="49" y="227"/>
                    </a:lnTo>
                    <a:lnTo>
                      <a:pt x="50" y="226"/>
                    </a:lnTo>
                    <a:lnTo>
                      <a:pt x="52" y="227"/>
                    </a:lnTo>
                    <a:lnTo>
                      <a:pt x="52" y="229"/>
                    </a:lnTo>
                    <a:lnTo>
                      <a:pt x="55" y="229"/>
                    </a:lnTo>
                    <a:lnTo>
                      <a:pt x="56" y="229"/>
                    </a:lnTo>
                    <a:lnTo>
                      <a:pt x="59" y="228"/>
                    </a:lnTo>
                    <a:lnTo>
                      <a:pt x="61" y="230"/>
                    </a:lnTo>
                    <a:lnTo>
                      <a:pt x="60" y="231"/>
                    </a:lnTo>
                    <a:lnTo>
                      <a:pt x="63" y="233"/>
                    </a:lnTo>
                    <a:lnTo>
                      <a:pt x="63" y="232"/>
                    </a:lnTo>
                    <a:lnTo>
                      <a:pt x="65" y="234"/>
                    </a:lnTo>
                    <a:lnTo>
                      <a:pt x="64" y="237"/>
                    </a:lnTo>
                    <a:lnTo>
                      <a:pt x="65" y="238"/>
                    </a:lnTo>
                    <a:lnTo>
                      <a:pt x="64" y="240"/>
                    </a:lnTo>
                    <a:lnTo>
                      <a:pt x="64" y="241"/>
                    </a:lnTo>
                    <a:lnTo>
                      <a:pt x="62" y="243"/>
                    </a:lnTo>
                    <a:lnTo>
                      <a:pt x="63" y="244"/>
                    </a:lnTo>
                    <a:lnTo>
                      <a:pt x="62" y="245"/>
                    </a:lnTo>
                    <a:lnTo>
                      <a:pt x="62" y="246"/>
                    </a:lnTo>
                    <a:lnTo>
                      <a:pt x="63" y="246"/>
                    </a:lnTo>
                    <a:lnTo>
                      <a:pt x="65" y="248"/>
                    </a:lnTo>
                    <a:lnTo>
                      <a:pt x="66" y="247"/>
                    </a:lnTo>
                    <a:lnTo>
                      <a:pt x="67" y="248"/>
                    </a:lnTo>
                    <a:lnTo>
                      <a:pt x="68" y="247"/>
                    </a:lnTo>
                    <a:lnTo>
                      <a:pt x="68" y="249"/>
                    </a:lnTo>
                    <a:lnTo>
                      <a:pt x="69" y="246"/>
                    </a:lnTo>
                    <a:lnTo>
                      <a:pt x="74" y="246"/>
                    </a:lnTo>
                    <a:lnTo>
                      <a:pt x="74" y="250"/>
                    </a:lnTo>
                    <a:lnTo>
                      <a:pt x="76" y="252"/>
                    </a:lnTo>
                    <a:lnTo>
                      <a:pt x="80" y="257"/>
                    </a:lnTo>
                    <a:lnTo>
                      <a:pt x="83" y="261"/>
                    </a:lnTo>
                    <a:lnTo>
                      <a:pt x="88" y="258"/>
                    </a:lnTo>
                    <a:lnTo>
                      <a:pt x="89" y="259"/>
                    </a:lnTo>
                    <a:lnTo>
                      <a:pt x="90" y="257"/>
                    </a:lnTo>
                    <a:lnTo>
                      <a:pt x="91" y="258"/>
                    </a:lnTo>
                    <a:lnTo>
                      <a:pt x="93" y="257"/>
                    </a:lnTo>
                    <a:lnTo>
                      <a:pt x="94" y="257"/>
                    </a:lnTo>
                    <a:lnTo>
                      <a:pt x="96" y="260"/>
                    </a:lnTo>
                    <a:lnTo>
                      <a:pt x="102" y="259"/>
                    </a:lnTo>
                    <a:lnTo>
                      <a:pt x="102" y="255"/>
                    </a:lnTo>
                    <a:lnTo>
                      <a:pt x="104" y="261"/>
                    </a:lnTo>
                    <a:lnTo>
                      <a:pt x="104" y="262"/>
                    </a:lnTo>
                    <a:lnTo>
                      <a:pt x="108" y="261"/>
                    </a:lnTo>
                    <a:lnTo>
                      <a:pt x="113" y="265"/>
                    </a:lnTo>
                    <a:lnTo>
                      <a:pt x="116" y="268"/>
                    </a:lnTo>
                    <a:lnTo>
                      <a:pt x="115" y="269"/>
                    </a:lnTo>
                    <a:lnTo>
                      <a:pt x="115" y="271"/>
                    </a:lnTo>
                    <a:lnTo>
                      <a:pt x="111" y="278"/>
                    </a:lnTo>
                    <a:lnTo>
                      <a:pt x="114" y="280"/>
                    </a:lnTo>
                    <a:lnTo>
                      <a:pt x="116" y="278"/>
                    </a:lnTo>
                    <a:lnTo>
                      <a:pt x="118" y="278"/>
                    </a:lnTo>
                    <a:lnTo>
                      <a:pt x="124" y="285"/>
                    </a:lnTo>
                    <a:lnTo>
                      <a:pt x="128" y="285"/>
                    </a:lnTo>
                    <a:lnTo>
                      <a:pt x="132" y="294"/>
                    </a:lnTo>
                    <a:lnTo>
                      <a:pt x="134" y="299"/>
                    </a:lnTo>
                    <a:lnTo>
                      <a:pt x="133" y="300"/>
                    </a:lnTo>
                    <a:lnTo>
                      <a:pt x="134" y="302"/>
                    </a:lnTo>
                    <a:lnTo>
                      <a:pt x="137" y="301"/>
                    </a:lnTo>
                    <a:lnTo>
                      <a:pt x="136" y="302"/>
                    </a:lnTo>
                    <a:lnTo>
                      <a:pt x="137" y="303"/>
                    </a:lnTo>
                    <a:lnTo>
                      <a:pt x="136" y="303"/>
                    </a:lnTo>
                    <a:lnTo>
                      <a:pt x="136" y="305"/>
                    </a:lnTo>
                    <a:lnTo>
                      <a:pt x="138" y="313"/>
                    </a:lnTo>
                    <a:lnTo>
                      <a:pt x="141" y="312"/>
                    </a:lnTo>
                    <a:lnTo>
                      <a:pt x="143" y="313"/>
                    </a:lnTo>
                    <a:lnTo>
                      <a:pt x="146" y="312"/>
                    </a:lnTo>
                    <a:lnTo>
                      <a:pt x="147" y="312"/>
                    </a:lnTo>
                    <a:lnTo>
                      <a:pt x="149" y="310"/>
                    </a:lnTo>
                    <a:lnTo>
                      <a:pt x="150" y="310"/>
                    </a:lnTo>
                    <a:lnTo>
                      <a:pt x="155" y="312"/>
                    </a:lnTo>
                    <a:lnTo>
                      <a:pt x="158" y="309"/>
                    </a:lnTo>
                    <a:lnTo>
                      <a:pt x="159" y="306"/>
                    </a:lnTo>
                    <a:lnTo>
                      <a:pt x="163" y="303"/>
                    </a:lnTo>
                    <a:lnTo>
                      <a:pt x="165" y="301"/>
                    </a:lnTo>
                    <a:lnTo>
                      <a:pt x="166" y="300"/>
                    </a:lnTo>
                    <a:lnTo>
                      <a:pt x="168" y="299"/>
                    </a:lnTo>
                    <a:lnTo>
                      <a:pt x="168" y="297"/>
                    </a:lnTo>
                    <a:lnTo>
                      <a:pt x="170" y="293"/>
                    </a:lnTo>
                    <a:lnTo>
                      <a:pt x="175" y="289"/>
                    </a:lnTo>
                    <a:lnTo>
                      <a:pt x="176" y="289"/>
                    </a:lnTo>
                    <a:lnTo>
                      <a:pt x="178" y="288"/>
                    </a:lnTo>
                    <a:lnTo>
                      <a:pt x="178" y="283"/>
                    </a:lnTo>
                    <a:lnTo>
                      <a:pt x="187" y="284"/>
                    </a:lnTo>
                    <a:lnTo>
                      <a:pt x="188" y="284"/>
                    </a:lnTo>
                    <a:lnTo>
                      <a:pt x="189" y="283"/>
                    </a:lnTo>
                    <a:lnTo>
                      <a:pt x="195" y="284"/>
                    </a:lnTo>
                    <a:lnTo>
                      <a:pt x="198" y="284"/>
                    </a:lnTo>
                    <a:lnTo>
                      <a:pt x="203" y="287"/>
                    </a:lnTo>
                    <a:lnTo>
                      <a:pt x="208" y="285"/>
                    </a:lnTo>
                    <a:lnTo>
                      <a:pt x="208" y="281"/>
                    </a:lnTo>
                    <a:lnTo>
                      <a:pt x="211" y="274"/>
                    </a:lnTo>
                    <a:lnTo>
                      <a:pt x="212" y="271"/>
                    </a:lnTo>
                    <a:lnTo>
                      <a:pt x="213" y="270"/>
                    </a:lnTo>
                    <a:lnTo>
                      <a:pt x="212" y="266"/>
                    </a:lnTo>
                    <a:lnTo>
                      <a:pt x="213" y="263"/>
                    </a:lnTo>
                    <a:lnTo>
                      <a:pt x="215" y="259"/>
                    </a:lnTo>
                    <a:lnTo>
                      <a:pt x="217" y="257"/>
                    </a:lnTo>
                    <a:lnTo>
                      <a:pt x="218" y="253"/>
                    </a:lnTo>
                    <a:lnTo>
                      <a:pt x="217" y="249"/>
                    </a:lnTo>
                    <a:lnTo>
                      <a:pt x="218" y="247"/>
                    </a:lnTo>
                    <a:lnTo>
                      <a:pt x="220" y="246"/>
                    </a:lnTo>
                    <a:lnTo>
                      <a:pt x="221" y="244"/>
                    </a:lnTo>
                    <a:lnTo>
                      <a:pt x="224" y="242"/>
                    </a:lnTo>
                    <a:lnTo>
                      <a:pt x="228" y="242"/>
                    </a:lnTo>
                    <a:lnTo>
                      <a:pt x="229" y="242"/>
                    </a:lnTo>
                    <a:lnTo>
                      <a:pt x="236" y="244"/>
                    </a:lnTo>
                    <a:lnTo>
                      <a:pt x="237" y="242"/>
                    </a:lnTo>
                    <a:lnTo>
                      <a:pt x="239" y="241"/>
                    </a:lnTo>
                    <a:lnTo>
                      <a:pt x="241" y="241"/>
                    </a:lnTo>
                    <a:lnTo>
                      <a:pt x="244" y="244"/>
                    </a:lnTo>
                    <a:lnTo>
                      <a:pt x="248" y="245"/>
                    </a:lnTo>
                    <a:lnTo>
                      <a:pt x="250" y="245"/>
                    </a:lnTo>
                    <a:lnTo>
                      <a:pt x="251" y="242"/>
                    </a:lnTo>
                    <a:lnTo>
                      <a:pt x="254" y="242"/>
                    </a:lnTo>
                    <a:lnTo>
                      <a:pt x="261" y="239"/>
                    </a:lnTo>
                    <a:lnTo>
                      <a:pt x="263" y="237"/>
                    </a:lnTo>
                    <a:lnTo>
                      <a:pt x="266" y="234"/>
                    </a:lnTo>
                    <a:lnTo>
                      <a:pt x="266" y="232"/>
                    </a:lnTo>
                    <a:lnTo>
                      <a:pt x="270" y="229"/>
                    </a:lnTo>
                    <a:lnTo>
                      <a:pt x="269" y="228"/>
                    </a:lnTo>
                    <a:lnTo>
                      <a:pt x="270" y="226"/>
                    </a:lnTo>
                    <a:lnTo>
                      <a:pt x="274" y="219"/>
                    </a:lnTo>
                    <a:lnTo>
                      <a:pt x="277" y="215"/>
                    </a:lnTo>
                    <a:lnTo>
                      <a:pt x="277" y="204"/>
                    </a:lnTo>
                    <a:lnTo>
                      <a:pt x="278" y="202"/>
                    </a:lnTo>
                    <a:lnTo>
                      <a:pt x="279" y="202"/>
                    </a:lnTo>
                    <a:lnTo>
                      <a:pt x="280" y="202"/>
                    </a:lnTo>
                    <a:lnTo>
                      <a:pt x="279" y="199"/>
                    </a:lnTo>
                    <a:lnTo>
                      <a:pt x="277" y="197"/>
                    </a:lnTo>
                    <a:lnTo>
                      <a:pt x="277" y="194"/>
                    </a:lnTo>
                    <a:lnTo>
                      <a:pt x="278" y="191"/>
                    </a:lnTo>
                    <a:lnTo>
                      <a:pt x="280" y="190"/>
                    </a:lnTo>
                    <a:lnTo>
                      <a:pt x="280" y="187"/>
                    </a:lnTo>
                    <a:lnTo>
                      <a:pt x="280" y="186"/>
                    </a:lnTo>
                    <a:lnTo>
                      <a:pt x="286" y="183"/>
                    </a:lnTo>
                    <a:lnTo>
                      <a:pt x="284" y="179"/>
                    </a:lnTo>
                    <a:lnTo>
                      <a:pt x="285" y="169"/>
                    </a:lnTo>
                    <a:lnTo>
                      <a:pt x="288" y="167"/>
                    </a:lnTo>
                    <a:lnTo>
                      <a:pt x="289" y="163"/>
                    </a:lnTo>
                    <a:lnTo>
                      <a:pt x="290" y="163"/>
                    </a:lnTo>
                    <a:lnTo>
                      <a:pt x="290" y="157"/>
                    </a:lnTo>
                    <a:lnTo>
                      <a:pt x="292" y="157"/>
                    </a:lnTo>
                    <a:lnTo>
                      <a:pt x="292" y="155"/>
                    </a:lnTo>
                    <a:lnTo>
                      <a:pt x="293" y="151"/>
                    </a:lnTo>
                    <a:lnTo>
                      <a:pt x="290" y="151"/>
                    </a:lnTo>
                    <a:lnTo>
                      <a:pt x="291" y="147"/>
                    </a:lnTo>
                    <a:lnTo>
                      <a:pt x="291" y="142"/>
                    </a:lnTo>
                    <a:lnTo>
                      <a:pt x="296" y="140"/>
                    </a:lnTo>
                    <a:lnTo>
                      <a:pt x="296" y="137"/>
                    </a:lnTo>
                    <a:lnTo>
                      <a:pt x="302" y="133"/>
                    </a:lnTo>
                    <a:lnTo>
                      <a:pt x="303" y="128"/>
                    </a:lnTo>
                    <a:lnTo>
                      <a:pt x="303" y="125"/>
                    </a:lnTo>
                    <a:lnTo>
                      <a:pt x="305" y="124"/>
                    </a:lnTo>
                    <a:lnTo>
                      <a:pt x="306" y="124"/>
                    </a:lnTo>
                    <a:lnTo>
                      <a:pt x="308" y="123"/>
                    </a:lnTo>
                    <a:lnTo>
                      <a:pt x="310" y="124"/>
                    </a:lnTo>
                    <a:lnTo>
                      <a:pt x="311" y="122"/>
                    </a:lnTo>
                    <a:lnTo>
                      <a:pt x="312" y="123"/>
                    </a:lnTo>
                    <a:lnTo>
                      <a:pt x="313" y="121"/>
                    </a:lnTo>
                    <a:lnTo>
                      <a:pt x="320" y="123"/>
                    </a:lnTo>
                    <a:lnTo>
                      <a:pt x="322" y="122"/>
                    </a:lnTo>
                    <a:lnTo>
                      <a:pt x="326" y="121"/>
                    </a:lnTo>
                    <a:lnTo>
                      <a:pt x="327" y="120"/>
                    </a:lnTo>
                    <a:lnTo>
                      <a:pt x="330" y="120"/>
                    </a:lnTo>
                    <a:lnTo>
                      <a:pt x="335" y="120"/>
                    </a:lnTo>
                    <a:lnTo>
                      <a:pt x="336" y="119"/>
                    </a:lnTo>
                    <a:lnTo>
                      <a:pt x="336" y="118"/>
                    </a:lnTo>
                    <a:lnTo>
                      <a:pt x="341" y="116"/>
                    </a:lnTo>
                    <a:lnTo>
                      <a:pt x="344" y="114"/>
                    </a:lnTo>
                    <a:lnTo>
                      <a:pt x="345" y="114"/>
                    </a:lnTo>
                    <a:lnTo>
                      <a:pt x="353" y="113"/>
                    </a:lnTo>
                    <a:lnTo>
                      <a:pt x="358" y="110"/>
                    </a:lnTo>
                    <a:lnTo>
                      <a:pt x="362" y="103"/>
                    </a:lnTo>
                    <a:lnTo>
                      <a:pt x="363" y="102"/>
                    </a:lnTo>
                    <a:lnTo>
                      <a:pt x="366" y="102"/>
                    </a:lnTo>
                    <a:lnTo>
                      <a:pt x="365" y="98"/>
                    </a:lnTo>
                    <a:lnTo>
                      <a:pt x="368" y="97"/>
                    </a:lnTo>
                    <a:lnTo>
                      <a:pt x="370" y="93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69" name="Group 74">
              <a:extLst>
                <a:ext uri="{FF2B5EF4-FFF2-40B4-BE49-F238E27FC236}">
                  <a16:creationId xmlns:a16="http://schemas.microsoft.com/office/drawing/2014/main" id="{145FE365-F0EF-4BBD-9DA8-BFE992E1763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3" y="3367"/>
              <a:ext cx="572" cy="484"/>
              <a:chOff x="763" y="3367"/>
              <a:chExt cx="572" cy="484"/>
            </a:xfrm>
          </p:grpSpPr>
          <p:sp>
            <p:nvSpPr>
              <p:cNvPr id="521" name="Freeform 72">
                <a:extLst>
                  <a:ext uri="{FF2B5EF4-FFF2-40B4-BE49-F238E27FC236}">
                    <a16:creationId xmlns:a16="http://schemas.microsoft.com/office/drawing/2014/main" id="{0A6F2E1D-3001-4512-801D-F22F6BBCC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" y="3367"/>
                <a:ext cx="572" cy="484"/>
              </a:xfrm>
              <a:custGeom>
                <a:avLst/>
                <a:gdLst>
                  <a:gd name="T0" fmla="*/ 557 w 572"/>
                  <a:gd name="T1" fmla="*/ 259 h 484"/>
                  <a:gd name="T2" fmla="*/ 527 w 572"/>
                  <a:gd name="T3" fmla="*/ 257 h 484"/>
                  <a:gd name="T4" fmla="*/ 507 w 572"/>
                  <a:gd name="T5" fmla="*/ 242 h 484"/>
                  <a:gd name="T6" fmla="*/ 497 w 572"/>
                  <a:gd name="T7" fmla="*/ 214 h 484"/>
                  <a:gd name="T8" fmla="*/ 467 w 572"/>
                  <a:gd name="T9" fmla="*/ 200 h 484"/>
                  <a:gd name="T10" fmla="*/ 443 w 572"/>
                  <a:gd name="T11" fmla="*/ 189 h 484"/>
                  <a:gd name="T12" fmla="*/ 418 w 572"/>
                  <a:gd name="T13" fmla="*/ 168 h 484"/>
                  <a:gd name="T14" fmla="*/ 395 w 572"/>
                  <a:gd name="T15" fmla="*/ 140 h 484"/>
                  <a:gd name="T16" fmla="*/ 394 w 572"/>
                  <a:gd name="T17" fmla="*/ 113 h 484"/>
                  <a:gd name="T18" fmla="*/ 407 w 572"/>
                  <a:gd name="T19" fmla="*/ 79 h 484"/>
                  <a:gd name="T20" fmla="*/ 410 w 572"/>
                  <a:gd name="T21" fmla="*/ 54 h 484"/>
                  <a:gd name="T22" fmla="*/ 401 w 572"/>
                  <a:gd name="T23" fmla="*/ 32 h 484"/>
                  <a:gd name="T24" fmla="*/ 391 w 572"/>
                  <a:gd name="T25" fmla="*/ 24 h 484"/>
                  <a:gd name="T26" fmla="*/ 365 w 572"/>
                  <a:gd name="T27" fmla="*/ 14 h 484"/>
                  <a:gd name="T28" fmla="*/ 360 w 572"/>
                  <a:gd name="T29" fmla="*/ 29 h 484"/>
                  <a:gd name="T30" fmla="*/ 344 w 572"/>
                  <a:gd name="T31" fmla="*/ 39 h 484"/>
                  <a:gd name="T32" fmla="*/ 315 w 572"/>
                  <a:gd name="T33" fmla="*/ 39 h 484"/>
                  <a:gd name="T34" fmla="*/ 308 w 572"/>
                  <a:gd name="T35" fmla="*/ 34 h 484"/>
                  <a:gd name="T36" fmla="*/ 288 w 572"/>
                  <a:gd name="T37" fmla="*/ 31 h 484"/>
                  <a:gd name="T38" fmla="*/ 271 w 572"/>
                  <a:gd name="T39" fmla="*/ 22 h 484"/>
                  <a:gd name="T40" fmla="*/ 262 w 572"/>
                  <a:gd name="T41" fmla="*/ 26 h 484"/>
                  <a:gd name="T42" fmla="*/ 250 w 572"/>
                  <a:gd name="T43" fmla="*/ 21 h 484"/>
                  <a:gd name="T44" fmla="*/ 225 w 572"/>
                  <a:gd name="T45" fmla="*/ 6 h 484"/>
                  <a:gd name="T46" fmla="*/ 205 w 572"/>
                  <a:gd name="T47" fmla="*/ 17 h 484"/>
                  <a:gd name="T48" fmla="*/ 179 w 572"/>
                  <a:gd name="T49" fmla="*/ 16 h 484"/>
                  <a:gd name="T50" fmla="*/ 163 w 572"/>
                  <a:gd name="T51" fmla="*/ 6 h 484"/>
                  <a:gd name="T52" fmla="*/ 154 w 572"/>
                  <a:gd name="T53" fmla="*/ 16 h 484"/>
                  <a:gd name="T54" fmla="*/ 131 w 572"/>
                  <a:gd name="T55" fmla="*/ 15 h 484"/>
                  <a:gd name="T56" fmla="*/ 113 w 572"/>
                  <a:gd name="T57" fmla="*/ 10 h 484"/>
                  <a:gd name="T58" fmla="*/ 90 w 572"/>
                  <a:gd name="T59" fmla="*/ 17 h 484"/>
                  <a:gd name="T60" fmla="*/ 91 w 572"/>
                  <a:gd name="T61" fmla="*/ 32 h 484"/>
                  <a:gd name="T62" fmla="*/ 92 w 572"/>
                  <a:gd name="T63" fmla="*/ 49 h 484"/>
                  <a:gd name="T64" fmla="*/ 89 w 572"/>
                  <a:gd name="T65" fmla="*/ 74 h 484"/>
                  <a:gd name="T66" fmla="*/ 84 w 572"/>
                  <a:gd name="T67" fmla="*/ 98 h 484"/>
                  <a:gd name="T68" fmla="*/ 62 w 572"/>
                  <a:gd name="T69" fmla="*/ 116 h 484"/>
                  <a:gd name="T70" fmla="*/ 58 w 572"/>
                  <a:gd name="T71" fmla="*/ 138 h 484"/>
                  <a:gd name="T72" fmla="*/ 52 w 572"/>
                  <a:gd name="T73" fmla="*/ 168 h 484"/>
                  <a:gd name="T74" fmla="*/ 34 w 572"/>
                  <a:gd name="T75" fmla="*/ 177 h 484"/>
                  <a:gd name="T76" fmla="*/ 20 w 572"/>
                  <a:gd name="T77" fmla="*/ 196 h 484"/>
                  <a:gd name="T78" fmla="*/ 0 w 572"/>
                  <a:gd name="T79" fmla="*/ 245 h 484"/>
                  <a:gd name="T80" fmla="*/ 24 w 572"/>
                  <a:gd name="T81" fmla="*/ 282 h 484"/>
                  <a:gd name="T82" fmla="*/ 57 w 572"/>
                  <a:gd name="T83" fmla="*/ 328 h 484"/>
                  <a:gd name="T84" fmla="*/ 97 w 572"/>
                  <a:gd name="T85" fmla="*/ 386 h 484"/>
                  <a:gd name="T86" fmla="*/ 125 w 572"/>
                  <a:gd name="T87" fmla="*/ 414 h 484"/>
                  <a:gd name="T88" fmla="*/ 119 w 572"/>
                  <a:gd name="T89" fmla="*/ 447 h 484"/>
                  <a:gd name="T90" fmla="*/ 155 w 572"/>
                  <a:gd name="T91" fmla="*/ 457 h 484"/>
                  <a:gd name="T92" fmla="*/ 208 w 572"/>
                  <a:gd name="T93" fmla="*/ 477 h 484"/>
                  <a:gd name="T94" fmla="*/ 229 w 572"/>
                  <a:gd name="T95" fmla="*/ 444 h 484"/>
                  <a:gd name="T96" fmla="*/ 260 w 572"/>
                  <a:gd name="T97" fmla="*/ 468 h 484"/>
                  <a:gd name="T98" fmla="*/ 299 w 572"/>
                  <a:gd name="T99" fmla="*/ 482 h 484"/>
                  <a:gd name="T100" fmla="*/ 332 w 572"/>
                  <a:gd name="T101" fmla="*/ 418 h 484"/>
                  <a:gd name="T102" fmla="*/ 356 w 572"/>
                  <a:gd name="T103" fmla="*/ 399 h 484"/>
                  <a:gd name="T104" fmla="*/ 379 w 572"/>
                  <a:gd name="T105" fmla="*/ 397 h 484"/>
                  <a:gd name="T106" fmla="*/ 395 w 572"/>
                  <a:gd name="T107" fmla="*/ 340 h 484"/>
                  <a:gd name="T108" fmla="*/ 403 w 572"/>
                  <a:gd name="T109" fmla="*/ 295 h 484"/>
                  <a:gd name="T110" fmla="*/ 444 w 572"/>
                  <a:gd name="T111" fmla="*/ 311 h 484"/>
                  <a:gd name="T112" fmla="*/ 462 w 572"/>
                  <a:gd name="T113" fmla="*/ 329 h 484"/>
                  <a:gd name="T114" fmla="*/ 497 w 572"/>
                  <a:gd name="T115" fmla="*/ 322 h 484"/>
                  <a:gd name="T116" fmla="*/ 550 w 572"/>
                  <a:gd name="T117" fmla="*/ 358 h 484"/>
                  <a:gd name="T118" fmla="*/ 560 w 572"/>
                  <a:gd name="T119" fmla="*/ 348 h 484"/>
                  <a:gd name="T120" fmla="*/ 535 w 572"/>
                  <a:gd name="T121" fmla="*/ 322 h 484"/>
                  <a:gd name="T122" fmla="*/ 556 w 572"/>
                  <a:gd name="T123" fmla="*/ 299 h 48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2"/>
                  <a:gd name="T187" fmla="*/ 0 h 484"/>
                  <a:gd name="T188" fmla="*/ 572 w 572"/>
                  <a:gd name="T189" fmla="*/ 484 h 48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2" h="484">
                    <a:moveTo>
                      <a:pt x="572" y="284"/>
                    </a:moveTo>
                    <a:lnTo>
                      <a:pt x="567" y="277"/>
                    </a:lnTo>
                    <a:lnTo>
                      <a:pt x="568" y="276"/>
                    </a:lnTo>
                    <a:lnTo>
                      <a:pt x="570" y="276"/>
                    </a:lnTo>
                    <a:lnTo>
                      <a:pt x="570" y="274"/>
                    </a:lnTo>
                    <a:lnTo>
                      <a:pt x="567" y="273"/>
                    </a:lnTo>
                    <a:lnTo>
                      <a:pt x="565" y="274"/>
                    </a:lnTo>
                    <a:lnTo>
                      <a:pt x="566" y="274"/>
                    </a:lnTo>
                    <a:lnTo>
                      <a:pt x="565" y="275"/>
                    </a:lnTo>
                    <a:lnTo>
                      <a:pt x="562" y="271"/>
                    </a:lnTo>
                    <a:lnTo>
                      <a:pt x="561" y="269"/>
                    </a:lnTo>
                    <a:lnTo>
                      <a:pt x="562" y="268"/>
                    </a:lnTo>
                    <a:lnTo>
                      <a:pt x="565" y="268"/>
                    </a:lnTo>
                    <a:lnTo>
                      <a:pt x="565" y="269"/>
                    </a:lnTo>
                    <a:lnTo>
                      <a:pt x="565" y="267"/>
                    </a:lnTo>
                    <a:lnTo>
                      <a:pt x="565" y="263"/>
                    </a:lnTo>
                    <a:lnTo>
                      <a:pt x="562" y="261"/>
                    </a:lnTo>
                    <a:lnTo>
                      <a:pt x="561" y="264"/>
                    </a:lnTo>
                    <a:lnTo>
                      <a:pt x="562" y="261"/>
                    </a:lnTo>
                    <a:lnTo>
                      <a:pt x="559" y="259"/>
                    </a:lnTo>
                    <a:lnTo>
                      <a:pt x="558" y="259"/>
                    </a:lnTo>
                    <a:lnTo>
                      <a:pt x="557" y="259"/>
                    </a:lnTo>
                    <a:lnTo>
                      <a:pt x="556" y="261"/>
                    </a:lnTo>
                    <a:lnTo>
                      <a:pt x="557" y="263"/>
                    </a:lnTo>
                    <a:lnTo>
                      <a:pt x="556" y="264"/>
                    </a:lnTo>
                    <a:lnTo>
                      <a:pt x="554" y="264"/>
                    </a:lnTo>
                    <a:lnTo>
                      <a:pt x="554" y="263"/>
                    </a:lnTo>
                    <a:lnTo>
                      <a:pt x="553" y="261"/>
                    </a:lnTo>
                    <a:lnTo>
                      <a:pt x="550" y="260"/>
                    </a:lnTo>
                    <a:lnTo>
                      <a:pt x="549" y="261"/>
                    </a:lnTo>
                    <a:lnTo>
                      <a:pt x="546" y="265"/>
                    </a:lnTo>
                    <a:lnTo>
                      <a:pt x="544" y="264"/>
                    </a:lnTo>
                    <a:lnTo>
                      <a:pt x="542" y="264"/>
                    </a:lnTo>
                    <a:lnTo>
                      <a:pt x="537" y="262"/>
                    </a:lnTo>
                    <a:lnTo>
                      <a:pt x="537" y="264"/>
                    </a:lnTo>
                    <a:lnTo>
                      <a:pt x="536" y="263"/>
                    </a:lnTo>
                    <a:lnTo>
                      <a:pt x="535" y="264"/>
                    </a:lnTo>
                    <a:lnTo>
                      <a:pt x="535" y="262"/>
                    </a:lnTo>
                    <a:lnTo>
                      <a:pt x="534" y="262"/>
                    </a:lnTo>
                    <a:lnTo>
                      <a:pt x="532" y="257"/>
                    </a:lnTo>
                    <a:lnTo>
                      <a:pt x="531" y="256"/>
                    </a:lnTo>
                    <a:lnTo>
                      <a:pt x="529" y="256"/>
                    </a:lnTo>
                    <a:lnTo>
                      <a:pt x="528" y="257"/>
                    </a:lnTo>
                    <a:lnTo>
                      <a:pt x="527" y="257"/>
                    </a:lnTo>
                    <a:lnTo>
                      <a:pt x="526" y="261"/>
                    </a:lnTo>
                    <a:lnTo>
                      <a:pt x="524" y="263"/>
                    </a:lnTo>
                    <a:lnTo>
                      <a:pt x="524" y="262"/>
                    </a:lnTo>
                    <a:lnTo>
                      <a:pt x="524" y="259"/>
                    </a:lnTo>
                    <a:lnTo>
                      <a:pt x="521" y="257"/>
                    </a:lnTo>
                    <a:lnTo>
                      <a:pt x="520" y="255"/>
                    </a:lnTo>
                    <a:lnTo>
                      <a:pt x="518" y="254"/>
                    </a:lnTo>
                    <a:lnTo>
                      <a:pt x="517" y="254"/>
                    </a:lnTo>
                    <a:lnTo>
                      <a:pt x="516" y="254"/>
                    </a:lnTo>
                    <a:lnTo>
                      <a:pt x="513" y="251"/>
                    </a:lnTo>
                    <a:lnTo>
                      <a:pt x="514" y="250"/>
                    </a:lnTo>
                    <a:lnTo>
                      <a:pt x="513" y="247"/>
                    </a:lnTo>
                    <a:lnTo>
                      <a:pt x="512" y="245"/>
                    </a:lnTo>
                    <a:lnTo>
                      <a:pt x="511" y="246"/>
                    </a:lnTo>
                    <a:lnTo>
                      <a:pt x="509" y="244"/>
                    </a:lnTo>
                    <a:lnTo>
                      <a:pt x="510" y="242"/>
                    </a:lnTo>
                    <a:lnTo>
                      <a:pt x="509" y="242"/>
                    </a:lnTo>
                    <a:lnTo>
                      <a:pt x="508" y="242"/>
                    </a:lnTo>
                    <a:lnTo>
                      <a:pt x="508" y="244"/>
                    </a:lnTo>
                    <a:lnTo>
                      <a:pt x="507" y="244"/>
                    </a:lnTo>
                    <a:lnTo>
                      <a:pt x="507" y="242"/>
                    </a:lnTo>
                    <a:lnTo>
                      <a:pt x="506" y="239"/>
                    </a:lnTo>
                    <a:lnTo>
                      <a:pt x="506" y="237"/>
                    </a:lnTo>
                    <a:lnTo>
                      <a:pt x="504" y="237"/>
                    </a:lnTo>
                    <a:lnTo>
                      <a:pt x="503" y="237"/>
                    </a:lnTo>
                    <a:lnTo>
                      <a:pt x="505" y="234"/>
                    </a:lnTo>
                    <a:lnTo>
                      <a:pt x="505" y="231"/>
                    </a:lnTo>
                    <a:lnTo>
                      <a:pt x="507" y="229"/>
                    </a:lnTo>
                    <a:lnTo>
                      <a:pt x="507" y="227"/>
                    </a:lnTo>
                    <a:lnTo>
                      <a:pt x="509" y="225"/>
                    </a:lnTo>
                    <a:lnTo>
                      <a:pt x="508" y="224"/>
                    </a:lnTo>
                    <a:lnTo>
                      <a:pt x="508" y="223"/>
                    </a:lnTo>
                    <a:lnTo>
                      <a:pt x="508" y="221"/>
                    </a:lnTo>
                    <a:lnTo>
                      <a:pt x="508" y="217"/>
                    </a:lnTo>
                    <a:lnTo>
                      <a:pt x="508" y="214"/>
                    </a:lnTo>
                    <a:lnTo>
                      <a:pt x="507" y="213"/>
                    </a:lnTo>
                    <a:lnTo>
                      <a:pt x="504" y="212"/>
                    </a:lnTo>
                    <a:lnTo>
                      <a:pt x="503" y="212"/>
                    </a:lnTo>
                    <a:lnTo>
                      <a:pt x="502" y="212"/>
                    </a:lnTo>
                    <a:lnTo>
                      <a:pt x="501" y="211"/>
                    </a:lnTo>
                    <a:lnTo>
                      <a:pt x="499" y="211"/>
                    </a:lnTo>
                    <a:lnTo>
                      <a:pt x="499" y="213"/>
                    </a:lnTo>
                    <a:lnTo>
                      <a:pt x="497" y="214"/>
                    </a:lnTo>
                    <a:lnTo>
                      <a:pt x="494" y="211"/>
                    </a:lnTo>
                    <a:lnTo>
                      <a:pt x="491" y="211"/>
                    </a:lnTo>
                    <a:lnTo>
                      <a:pt x="490" y="213"/>
                    </a:lnTo>
                    <a:lnTo>
                      <a:pt x="488" y="214"/>
                    </a:lnTo>
                    <a:lnTo>
                      <a:pt x="487" y="212"/>
                    </a:lnTo>
                    <a:lnTo>
                      <a:pt x="486" y="212"/>
                    </a:lnTo>
                    <a:lnTo>
                      <a:pt x="484" y="213"/>
                    </a:lnTo>
                    <a:lnTo>
                      <a:pt x="484" y="214"/>
                    </a:lnTo>
                    <a:lnTo>
                      <a:pt x="482" y="215"/>
                    </a:lnTo>
                    <a:lnTo>
                      <a:pt x="483" y="212"/>
                    </a:lnTo>
                    <a:lnTo>
                      <a:pt x="484" y="210"/>
                    </a:lnTo>
                    <a:lnTo>
                      <a:pt x="480" y="206"/>
                    </a:lnTo>
                    <a:lnTo>
                      <a:pt x="480" y="207"/>
                    </a:lnTo>
                    <a:lnTo>
                      <a:pt x="478" y="206"/>
                    </a:lnTo>
                    <a:lnTo>
                      <a:pt x="477" y="206"/>
                    </a:lnTo>
                    <a:lnTo>
                      <a:pt x="474" y="203"/>
                    </a:lnTo>
                    <a:lnTo>
                      <a:pt x="471" y="203"/>
                    </a:lnTo>
                    <a:lnTo>
                      <a:pt x="470" y="204"/>
                    </a:lnTo>
                    <a:lnTo>
                      <a:pt x="469" y="199"/>
                    </a:lnTo>
                    <a:lnTo>
                      <a:pt x="467" y="199"/>
                    </a:lnTo>
                    <a:lnTo>
                      <a:pt x="467" y="200"/>
                    </a:lnTo>
                    <a:lnTo>
                      <a:pt x="462" y="205"/>
                    </a:lnTo>
                    <a:lnTo>
                      <a:pt x="459" y="206"/>
                    </a:lnTo>
                    <a:lnTo>
                      <a:pt x="458" y="206"/>
                    </a:lnTo>
                    <a:lnTo>
                      <a:pt x="455" y="204"/>
                    </a:lnTo>
                    <a:lnTo>
                      <a:pt x="452" y="203"/>
                    </a:lnTo>
                    <a:lnTo>
                      <a:pt x="453" y="202"/>
                    </a:lnTo>
                    <a:lnTo>
                      <a:pt x="452" y="198"/>
                    </a:lnTo>
                    <a:lnTo>
                      <a:pt x="453" y="197"/>
                    </a:lnTo>
                    <a:lnTo>
                      <a:pt x="452" y="196"/>
                    </a:lnTo>
                    <a:lnTo>
                      <a:pt x="451" y="193"/>
                    </a:lnTo>
                    <a:lnTo>
                      <a:pt x="450" y="193"/>
                    </a:lnTo>
                    <a:lnTo>
                      <a:pt x="449" y="191"/>
                    </a:lnTo>
                    <a:lnTo>
                      <a:pt x="448" y="190"/>
                    </a:lnTo>
                    <a:lnTo>
                      <a:pt x="444" y="190"/>
                    </a:lnTo>
                    <a:lnTo>
                      <a:pt x="442" y="193"/>
                    </a:lnTo>
                    <a:lnTo>
                      <a:pt x="440" y="190"/>
                    </a:lnTo>
                    <a:lnTo>
                      <a:pt x="438" y="190"/>
                    </a:lnTo>
                    <a:lnTo>
                      <a:pt x="436" y="187"/>
                    </a:lnTo>
                    <a:lnTo>
                      <a:pt x="437" y="187"/>
                    </a:lnTo>
                    <a:lnTo>
                      <a:pt x="438" y="187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42" y="184"/>
                    </a:lnTo>
                    <a:lnTo>
                      <a:pt x="444" y="183"/>
                    </a:lnTo>
                    <a:lnTo>
                      <a:pt x="445" y="180"/>
                    </a:lnTo>
                    <a:lnTo>
                      <a:pt x="439" y="177"/>
                    </a:lnTo>
                    <a:lnTo>
                      <a:pt x="436" y="176"/>
                    </a:lnTo>
                    <a:lnTo>
                      <a:pt x="435" y="177"/>
                    </a:lnTo>
                    <a:lnTo>
                      <a:pt x="433" y="176"/>
                    </a:lnTo>
                    <a:lnTo>
                      <a:pt x="434" y="176"/>
                    </a:lnTo>
                    <a:lnTo>
                      <a:pt x="431" y="173"/>
                    </a:lnTo>
                    <a:lnTo>
                      <a:pt x="430" y="171"/>
                    </a:lnTo>
                    <a:lnTo>
                      <a:pt x="429" y="167"/>
                    </a:lnTo>
                    <a:lnTo>
                      <a:pt x="427" y="167"/>
                    </a:lnTo>
                    <a:lnTo>
                      <a:pt x="428" y="165"/>
                    </a:lnTo>
                    <a:lnTo>
                      <a:pt x="427" y="165"/>
                    </a:lnTo>
                    <a:lnTo>
                      <a:pt x="426" y="164"/>
                    </a:lnTo>
                    <a:lnTo>
                      <a:pt x="424" y="165"/>
                    </a:lnTo>
                    <a:lnTo>
                      <a:pt x="423" y="166"/>
                    </a:lnTo>
                    <a:lnTo>
                      <a:pt x="422" y="166"/>
                    </a:lnTo>
                    <a:lnTo>
                      <a:pt x="420" y="167"/>
                    </a:lnTo>
                    <a:lnTo>
                      <a:pt x="418" y="168"/>
                    </a:lnTo>
                    <a:lnTo>
                      <a:pt x="415" y="172"/>
                    </a:lnTo>
                    <a:lnTo>
                      <a:pt x="412" y="171"/>
                    </a:lnTo>
                    <a:lnTo>
                      <a:pt x="412" y="170"/>
                    </a:lnTo>
                    <a:lnTo>
                      <a:pt x="411" y="170"/>
                    </a:lnTo>
                    <a:lnTo>
                      <a:pt x="411" y="169"/>
                    </a:lnTo>
                    <a:lnTo>
                      <a:pt x="410" y="166"/>
                    </a:lnTo>
                    <a:lnTo>
                      <a:pt x="407" y="163"/>
                    </a:lnTo>
                    <a:lnTo>
                      <a:pt x="406" y="163"/>
                    </a:lnTo>
                    <a:lnTo>
                      <a:pt x="404" y="160"/>
                    </a:lnTo>
                    <a:lnTo>
                      <a:pt x="405" y="158"/>
                    </a:lnTo>
                    <a:lnTo>
                      <a:pt x="403" y="157"/>
                    </a:lnTo>
                    <a:lnTo>
                      <a:pt x="403" y="156"/>
                    </a:lnTo>
                    <a:lnTo>
                      <a:pt x="401" y="155"/>
                    </a:lnTo>
                    <a:lnTo>
                      <a:pt x="398" y="153"/>
                    </a:lnTo>
                    <a:lnTo>
                      <a:pt x="400" y="150"/>
                    </a:lnTo>
                    <a:lnTo>
                      <a:pt x="400" y="149"/>
                    </a:lnTo>
                    <a:lnTo>
                      <a:pt x="397" y="148"/>
                    </a:lnTo>
                    <a:lnTo>
                      <a:pt x="395" y="144"/>
                    </a:lnTo>
                    <a:lnTo>
                      <a:pt x="394" y="142"/>
                    </a:lnTo>
                    <a:lnTo>
                      <a:pt x="394" y="141"/>
                    </a:lnTo>
                    <a:lnTo>
                      <a:pt x="395" y="140"/>
                    </a:lnTo>
                    <a:lnTo>
                      <a:pt x="395" y="139"/>
                    </a:lnTo>
                    <a:lnTo>
                      <a:pt x="397" y="139"/>
                    </a:lnTo>
                    <a:lnTo>
                      <a:pt x="397" y="136"/>
                    </a:lnTo>
                    <a:lnTo>
                      <a:pt x="398" y="137"/>
                    </a:lnTo>
                    <a:lnTo>
                      <a:pt x="400" y="135"/>
                    </a:lnTo>
                    <a:lnTo>
                      <a:pt x="401" y="134"/>
                    </a:lnTo>
                    <a:lnTo>
                      <a:pt x="402" y="135"/>
                    </a:lnTo>
                    <a:lnTo>
                      <a:pt x="403" y="132"/>
                    </a:lnTo>
                    <a:lnTo>
                      <a:pt x="401" y="133"/>
                    </a:lnTo>
                    <a:lnTo>
                      <a:pt x="401" y="129"/>
                    </a:lnTo>
                    <a:lnTo>
                      <a:pt x="400" y="126"/>
                    </a:lnTo>
                    <a:lnTo>
                      <a:pt x="397" y="125"/>
                    </a:lnTo>
                    <a:lnTo>
                      <a:pt x="393" y="123"/>
                    </a:lnTo>
                    <a:lnTo>
                      <a:pt x="392" y="122"/>
                    </a:lnTo>
                    <a:lnTo>
                      <a:pt x="393" y="120"/>
                    </a:lnTo>
                    <a:lnTo>
                      <a:pt x="393" y="119"/>
                    </a:lnTo>
                    <a:lnTo>
                      <a:pt x="393" y="118"/>
                    </a:lnTo>
                    <a:lnTo>
                      <a:pt x="393" y="116"/>
                    </a:lnTo>
                    <a:lnTo>
                      <a:pt x="395" y="116"/>
                    </a:lnTo>
                    <a:lnTo>
                      <a:pt x="393" y="115"/>
                    </a:lnTo>
                    <a:lnTo>
                      <a:pt x="394" y="113"/>
                    </a:lnTo>
                    <a:lnTo>
                      <a:pt x="395" y="113"/>
                    </a:lnTo>
                    <a:lnTo>
                      <a:pt x="397" y="113"/>
                    </a:lnTo>
                    <a:lnTo>
                      <a:pt x="397" y="111"/>
                    </a:lnTo>
                    <a:lnTo>
                      <a:pt x="397" y="109"/>
                    </a:lnTo>
                    <a:lnTo>
                      <a:pt x="398" y="108"/>
                    </a:lnTo>
                    <a:lnTo>
                      <a:pt x="398" y="105"/>
                    </a:lnTo>
                    <a:lnTo>
                      <a:pt x="399" y="105"/>
                    </a:lnTo>
                    <a:lnTo>
                      <a:pt x="399" y="102"/>
                    </a:lnTo>
                    <a:lnTo>
                      <a:pt x="401" y="102"/>
                    </a:lnTo>
                    <a:lnTo>
                      <a:pt x="402" y="99"/>
                    </a:lnTo>
                    <a:lnTo>
                      <a:pt x="401" y="99"/>
                    </a:lnTo>
                    <a:lnTo>
                      <a:pt x="400" y="100"/>
                    </a:lnTo>
                    <a:lnTo>
                      <a:pt x="398" y="100"/>
                    </a:lnTo>
                    <a:lnTo>
                      <a:pt x="398" y="99"/>
                    </a:lnTo>
                    <a:lnTo>
                      <a:pt x="398" y="98"/>
                    </a:lnTo>
                    <a:lnTo>
                      <a:pt x="400" y="98"/>
                    </a:lnTo>
                    <a:lnTo>
                      <a:pt x="402" y="95"/>
                    </a:lnTo>
                    <a:lnTo>
                      <a:pt x="402" y="91"/>
                    </a:lnTo>
                    <a:lnTo>
                      <a:pt x="403" y="89"/>
                    </a:lnTo>
                    <a:lnTo>
                      <a:pt x="406" y="89"/>
                    </a:lnTo>
                    <a:lnTo>
                      <a:pt x="407" y="80"/>
                    </a:lnTo>
                    <a:lnTo>
                      <a:pt x="407" y="79"/>
                    </a:lnTo>
                    <a:lnTo>
                      <a:pt x="406" y="78"/>
                    </a:lnTo>
                    <a:lnTo>
                      <a:pt x="406" y="76"/>
                    </a:lnTo>
                    <a:lnTo>
                      <a:pt x="407" y="75"/>
                    </a:lnTo>
                    <a:lnTo>
                      <a:pt x="409" y="73"/>
                    </a:lnTo>
                    <a:lnTo>
                      <a:pt x="410" y="72"/>
                    </a:lnTo>
                    <a:lnTo>
                      <a:pt x="409" y="70"/>
                    </a:lnTo>
                    <a:lnTo>
                      <a:pt x="410" y="67"/>
                    </a:lnTo>
                    <a:lnTo>
                      <a:pt x="409" y="66"/>
                    </a:lnTo>
                    <a:lnTo>
                      <a:pt x="409" y="65"/>
                    </a:lnTo>
                    <a:lnTo>
                      <a:pt x="410" y="65"/>
                    </a:lnTo>
                    <a:lnTo>
                      <a:pt x="407" y="62"/>
                    </a:lnTo>
                    <a:lnTo>
                      <a:pt x="407" y="61"/>
                    </a:lnTo>
                    <a:lnTo>
                      <a:pt x="407" y="59"/>
                    </a:lnTo>
                    <a:lnTo>
                      <a:pt x="406" y="59"/>
                    </a:lnTo>
                    <a:lnTo>
                      <a:pt x="403" y="57"/>
                    </a:lnTo>
                    <a:lnTo>
                      <a:pt x="404" y="55"/>
                    </a:lnTo>
                    <a:lnTo>
                      <a:pt x="406" y="53"/>
                    </a:lnTo>
                    <a:lnTo>
                      <a:pt x="407" y="54"/>
                    </a:lnTo>
                    <a:lnTo>
                      <a:pt x="407" y="53"/>
                    </a:lnTo>
                    <a:lnTo>
                      <a:pt x="409" y="54"/>
                    </a:lnTo>
                    <a:lnTo>
                      <a:pt x="410" y="54"/>
                    </a:lnTo>
                    <a:lnTo>
                      <a:pt x="413" y="55"/>
                    </a:lnTo>
                    <a:lnTo>
                      <a:pt x="415" y="54"/>
                    </a:lnTo>
                    <a:lnTo>
                      <a:pt x="415" y="53"/>
                    </a:lnTo>
                    <a:lnTo>
                      <a:pt x="414" y="51"/>
                    </a:lnTo>
                    <a:lnTo>
                      <a:pt x="414" y="48"/>
                    </a:lnTo>
                    <a:lnTo>
                      <a:pt x="412" y="45"/>
                    </a:lnTo>
                    <a:lnTo>
                      <a:pt x="412" y="44"/>
                    </a:lnTo>
                    <a:lnTo>
                      <a:pt x="414" y="42"/>
                    </a:lnTo>
                    <a:lnTo>
                      <a:pt x="412" y="42"/>
                    </a:lnTo>
                    <a:lnTo>
                      <a:pt x="411" y="44"/>
                    </a:lnTo>
                    <a:lnTo>
                      <a:pt x="410" y="44"/>
                    </a:lnTo>
                    <a:lnTo>
                      <a:pt x="409" y="42"/>
                    </a:lnTo>
                    <a:lnTo>
                      <a:pt x="407" y="44"/>
                    </a:lnTo>
                    <a:lnTo>
                      <a:pt x="406" y="44"/>
                    </a:lnTo>
                    <a:lnTo>
                      <a:pt x="405" y="41"/>
                    </a:lnTo>
                    <a:lnTo>
                      <a:pt x="402" y="38"/>
                    </a:lnTo>
                    <a:lnTo>
                      <a:pt x="404" y="37"/>
                    </a:lnTo>
                    <a:lnTo>
                      <a:pt x="402" y="36"/>
                    </a:lnTo>
                    <a:lnTo>
                      <a:pt x="402" y="34"/>
                    </a:lnTo>
                    <a:lnTo>
                      <a:pt x="402" y="33"/>
                    </a:lnTo>
                    <a:lnTo>
                      <a:pt x="401" y="32"/>
                    </a:lnTo>
                    <a:lnTo>
                      <a:pt x="401" y="28"/>
                    </a:lnTo>
                    <a:lnTo>
                      <a:pt x="399" y="29"/>
                    </a:lnTo>
                    <a:lnTo>
                      <a:pt x="400" y="28"/>
                    </a:lnTo>
                    <a:lnTo>
                      <a:pt x="400" y="27"/>
                    </a:lnTo>
                    <a:lnTo>
                      <a:pt x="399" y="27"/>
                    </a:lnTo>
                    <a:lnTo>
                      <a:pt x="400" y="26"/>
                    </a:lnTo>
                    <a:lnTo>
                      <a:pt x="400" y="24"/>
                    </a:lnTo>
                    <a:lnTo>
                      <a:pt x="398" y="23"/>
                    </a:lnTo>
                    <a:lnTo>
                      <a:pt x="399" y="23"/>
                    </a:lnTo>
                    <a:lnTo>
                      <a:pt x="401" y="23"/>
                    </a:lnTo>
                    <a:lnTo>
                      <a:pt x="398" y="21"/>
                    </a:lnTo>
                    <a:lnTo>
                      <a:pt x="398" y="20"/>
                    </a:lnTo>
                    <a:lnTo>
                      <a:pt x="397" y="22"/>
                    </a:lnTo>
                    <a:lnTo>
                      <a:pt x="396" y="22"/>
                    </a:lnTo>
                    <a:lnTo>
                      <a:pt x="395" y="21"/>
                    </a:lnTo>
                    <a:lnTo>
                      <a:pt x="394" y="21"/>
                    </a:lnTo>
                    <a:lnTo>
                      <a:pt x="392" y="25"/>
                    </a:lnTo>
                    <a:lnTo>
                      <a:pt x="393" y="26"/>
                    </a:lnTo>
                    <a:lnTo>
                      <a:pt x="392" y="27"/>
                    </a:lnTo>
                    <a:lnTo>
                      <a:pt x="391" y="26"/>
                    </a:lnTo>
                    <a:lnTo>
                      <a:pt x="391" y="24"/>
                    </a:lnTo>
                    <a:lnTo>
                      <a:pt x="390" y="22"/>
                    </a:lnTo>
                    <a:lnTo>
                      <a:pt x="389" y="22"/>
                    </a:lnTo>
                    <a:lnTo>
                      <a:pt x="387" y="21"/>
                    </a:lnTo>
                    <a:lnTo>
                      <a:pt x="385" y="17"/>
                    </a:lnTo>
                    <a:lnTo>
                      <a:pt x="384" y="13"/>
                    </a:lnTo>
                    <a:lnTo>
                      <a:pt x="382" y="13"/>
                    </a:lnTo>
                    <a:lnTo>
                      <a:pt x="376" y="10"/>
                    </a:lnTo>
                    <a:lnTo>
                      <a:pt x="375" y="8"/>
                    </a:lnTo>
                    <a:lnTo>
                      <a:pt x="372" y="3"/>
                    </a:lnTo>
                    <a:lnTo>
                      <a:pt x="373" y="2"/>
                    </a:lnTo>
                    <a:lnTo>
                      <a:pt x="372" y="2"/>
                    </a:lnTo>
                    <a:lnTo>
                      <a:pt x="371" y="4"/>
                    </a:lnTo>
                    <a:lnTo>
                      <a:pt x="371" y="7"/>
                    </a:lnTo>
                    <a:lnTo>
                      <a:pt x="368" y="7"/>
                    </a:lnTo>
                    <a:lnTo>
                      <a:pt x="368" y="8"/>
                    </a:lnTo>
                    <a:lnTo>
                      <a:pt x="366" y="8"/>
                    </a:lnTo>
                    <a:lnTo>
                      <a:pt x="366" y="9"/>
                    </a:lnTo>
                    <a:lnTo>
                      <a:pt x="366" y="8"/>
                    </a:lnTo>
                    <a:lnTo>
                      <a:pt x="365" y="10"/>
                    </a:lnTo>
                    <a:lnTo>
                      <a:pt x="366" y="10"/>
                    </a:lnTo>
                    <a:lnTo>
                      <a:pt x="365" y="14"/>
                    </a:lnTo>
                    <a:lnTo>
                      <a:pt x="361" y="11"/>
                    </a:lnTo>
                    <a:lnTo>
                      <a:pt x="361" y="13"/>
                    </a:lnTo>
                    <a:lnTo>
                      <a:pt x="361" y="14"/>
                    </a:lnTo>
                    <a:lnTo>
                      <a:pt x="360" y="14"/>
                    </a:lnTo>
                    <a:lnTo>
                      <a:pt x="361" y="15"/>
                    </a:lnTo>
                    <a:lnTo>
                      <a:pt x="360" y="15"/>
                    </a:lnTo>
                    <a:lnTo>
                      <a:pt x="361" y="16"/>
                    </a:lnTo>
                    <a:lnTo>
                      <a:pt x="360" y="18"/>
                    </a:lnTo>
                    <a:lnTo>
                      <a:pt x="361" y="19"/>
                    </a:lnTo>
                    <a:lnTo>
                      <a:pt x="360" y="19"/>
                    </a:lnTo>
                    <a:lnTo>
                      <a:pt x="359" y="20"/>
                    </a:lnTo>
                    <a:lnTo>
                      <a:pt x="358" y="20"/>
                    </a:lnTo>
                    <a:lnTo>
                      <a:pt x="358" y="23"/>
                    </a:lnTo>
                    <a:lnTo>
                      <a:pt x="357" y="23"/>
                    </a:lnTo>
                    <a:lnTo>
                      <a:pt x="357" y="24"/>
                    </a:lnTo>
                    <a:lnTo>
                      <a:pt x="357" y="25"/>
                    </a:lnTo>
                    <a:lnTo>
                      <a:pt x="359" y="26"/>
                    </a:lnTo>
                    <a:lnTo>
                      <a:pt x="358" y="28"/>
                    </a:lnTo>
                    <a:lnTo>
                      <a:pt x="358" y="30"/>
                    </a:lnTo>
                    <a:lnTo>
                      <a:pt x="360" y="29"/>
                    </a:lnTo>
                    <a:lnTo>
                      <a:pt x="360" y="31"/>
                    </a:lnTo>
                    <a:lnTo>
                      <a:pt x="359" y="31"/>
                    </a:lnTo>
                    <a:lnTo>
                      <a:pt x="361" y="32"/>
                    </a:lnTo>
                    <a:lnTo>
                      <a:pt x="361" y="33"/>
                    </a:lnTo>
                    <a:lnTo>
                      <a:pt x="359" y="34"/>
                    </a:lnTo>
                    <a:lnTo>
                      <a:pt x="361" y="34"/>
                    </a:lnTo>
                    <a:lnTo>
                      <a:pt x="360" y="34"/>
                    </a:lnTo>
                    <a:lnTo>
                      <a:pt x="358" y="35"/>
                    </a:lnTo>
                    <a:lnTo>
                      <a:pt x="357" y="34"/>
                    </a:lnTo>
                    <a:lnTo>
                      <a:pt x="357" y="35"/>
                    </a:lnTo>
                    <a:lnTo>
                      <a:pt x="357" y="36"/>
                    </a:lnTo>
                    <a:lnTo>
                      <a:pt x="353" y="36"/>
                    </a:lnTo>
                    <a:lnTo>
                      <a:pt x="353" y="37"/>
                    </a:lnTo>
                    <a:lnTo>
                      <a:pt x="352" y="37"/>
                    </a:lnTo>
                    <a:lnTo>
                      <a:pt x="352" y="36"/>
                    </a:lnTo>
                    <a:lnTo>
                      <a:pt x="349" y="36"/>
                    </a:lnTo>
                    <a:lnTo>
                      <a:pt x="348" y="35"/>
                    </a:lnTo>
                    <a:lnTo>
                      <a:pt x="348" y="36"/>
                    </a:lnTo>
                    <a:lnTo>
                      <a:pt x="348" y="37"/>
                    </a:lnTo>
                    <a:lnTo>
                      <a:pt x="346" y="37"/>
                    </a:lnTo>
                    <a:lnTo>
                      <a:pt x="345" y="37"/>
                    </a:lnTo>
                    <a:lnTo>
                      <a:pt x="344" y="39"/>
                    </a:lnTo>
                    <a:lnTo>
                      <a:pt x="341" y="42"/>
                    </a:lnTo>
                    <a:lnTo>
                      <a:pt x="340" y="41"/>
                    </a:lnTo>
                    <a:lnTo>
                      <a:pt x="340" y="42"/>
                    </a:lnTo>
                    <a:lnTo>
                      <a:pt x="338" y="42"/>
                    </a:lnTo>
                    <a:lnTo>
                      <a:pt x="336" y="43"/>
                    </a:lnTo>
                    <a:lnTo>
                      <a:pt x="336" y="44"/>
                    </a:lnTo>
                    <a:lnTo>
                      <a:pt x="335" y="44"/>
                    </a:lnTo>
                    <a:lnTo>
                      <a:pt x="336" y="48"/>
                    </a:lnTo>
                    <a:lnTo>
                      <a:pt x="335" y="49"/>
                    </a:lnTo>
                    <a:lnTo>
                      <a:pt x="335" y="51"/>
                    </a:lnTo>
                    <a:lnTo>
                      <a:pt x="334" y="52"/>
                    </a:lnTo>
                    <a:lnTo>
                      <a:pt x="332" y="51"/>
                    </a:lnTo>
                    <a:lnTo>
                      <a:pt x="331" y="50"/>
                    </a:lnTo>
                    <a:lnTo>
                      <a:pt x="332" y="49"/>
                    </a:lnTo>
                    <a:lnTo>
                      <a:pt x="331" y="45"/>
                    </a:lnTo>
                    <a:lnTo>
                      <a:pt x="329" y="44"/>
                    </a:lnTo>
                    <a:lnTo>
                      <a:pt x="324" y="41"/>
                    </a:lnTo>
                    <a:lnTo>
                      <a:pt x="319" y="42"/>
                    </a:lnTo>
                    <a:lnTo>
                      <a:pt x="317" y="42"/>
                    </a:lnTo>
                    <a:lnTo>
                      <a:pt x="317" y="40"/>
                    </a:lnTo>
                    <a:lnTo>
                      <a:pt x="315" y="40"/>
                    </a:lnTo>
                    <a:lnTo>
                      <a:pt x="315" y="39"/>
                    </a:lnTo>
                    <a:lnTo>
                      <a:pt x="316" y="38"/>
                    </a:lnTo>
                    <a:lnTo>
                      <a:pt x="317" y="38"/>
                    </a:lnTo>
                    <a:lnTo>
                      <a:pt x="318" y="36"/>
                    </a:lnTo>
                    <a:lnTo>
                      <a:pt x="319" y="35"/>
                    </a:lnTo>
                    <a:lnTo>
                      <a:pt x="320" y="32"/>
                    </a:lnTo>
                    <a:lnTo>
                      <a:pt x="320" y="31"/>
                    </a:lnTo>
                    <a:lnTo>
                      <a:pt x="319" y="31"/>
                    </a:lnTo>
                    <a:lnTo>
                      <a:pt x="318" y="33"/>
                    </a:lnTo>
                    <a:lnTo>
                      <a:pt x="317" y="34"/>
                    </a:lnTo>
                    <a:lnTo>
                      <a:pt x="315" y="33"/>
                    </a:lnTo>
                    <a:lnTo>
                      <a:pt x="315" y="34"/>
                    </a:lnTo>
                    <a:lnTo>
                      <a:pt x="314" y="34"/>
                    </a:lnTo>
                    <a:lnTo>
                      <a:pt x="314" y="32"/>
                    </a:lnTo>
                    <a:lnTo>
                      <a:pt x="312" y="36"/>
                    </a:lnTo>
                    <a:lnTo>
                      <a:pt x="310" y="35"/>
                    </a:lnTo>
                    <a:lnTo>
                      <a:pt x="311" y="34"/>
                    </a:lnTo>
                    <a:lnTo>
                      <a:pt x="310" y="34"/>
                    </a:lnTo>
                    <a:lnTo>
                      <a:pt x="309" y="35"/>
                    </a:lnTo>
                    <a:lnTo>
                      <a:pt x="309" y="34"/>
                    </a:lnTo>
                    <a:lnTo>
                      <a:pt x="308" y="34"/>
                    </a:lnTo>
                    <a:lnTo>
                      <a:pt x="306" y="33"/>
                    </a:lnTo>
                    <a:lnTo>
                      <a:pt x="305" y="32"/>
                    </a:lnTo>
                    <a:lnTo>
                      <a:pt x="304" y="32"/>
                    </a:lnTo>
                    <a:lnTo>
                      <a:pt x="303" y="34"/>
                    </a:lnTo>
                    <a:lnTo>
                      <a:pt x="302" y="32"/>
                    </a:lnTo>
                    <a:lnTo>
                      <a:pt x="301" y="32"/>
                    </a:lnTo>
                    <a:lnTo>
                      <a:pt x="301" y="31"/>
                    </a:lnTo>
                    <a:lnTo>
                      <a:pt x="300" y="32"/>
                    </a:lnTo>
                    <a:lnTo>
                      <a:pt x="300" y="31"/>
                    </a:lnTo>
                    <a:lnTo>
                      <a:pt x="298" y="31"/>
                    </a:lnTo>
                    <a:lnTo>
                      <a:pt x="300" y="28"/>
                    </a:lnTo>
                    <a:lnTo>
                      <a:pt x="299" y="27"/>
                    </a:lnTo>
                    <a:lnTo>
                      <a:pt x="297" y="27"/>
                    </a:lnTo>
                    <a:lnTo>
                      <a:pt x="296" y="28"/>
                    </a:lnTo>
                    <a:lnTo>
                      <a:pt x="294" y="28"/>
                    </a:lnTo>
                    <a:lnTo>
                      <a:pt x="291" y="25"/>
                    </a:lnTo>
                    <a:lnTo>
                      <a:pt x="289" y="25"/>
                    </a:lnTo>
                    <a:lnTo>
                      <a:pt x="289" y="26"/>
                    </a:lnTo>
                    <a:lnTo>
                      <a:pt x="288" y="28"/>
                    </a:lnTo>
                    <a:lnTo>
                      <a:pt x="286" y="29"/>
                    </a:lnTo>
                    <a:lnTo>
                      <a:pt x="286" y="31"/>
                    </a:lnTo>
                    <a:lnTo>
                      <a:pt x="288" y="31"/>
                    </a:lnTo>
                    <a:lnTo>
                      <a:pt x="287" y="31"/>
                    </a:lnTo>
                    <a:lnTo>
                      <a:pt x="286" y="31"/>
                    </a:lnTo>
                    <a:lnTo>
                      <a:pt x="285" y="29"/>
                    </a:lnTo>
                    <a:lnTo>
                      <a:pt x="284" y="31"/>
                    </a:lnTo>
                    <a:lnTo>
                      <a:pt x="283" y="29"/>
                    </a:lnTo>
                    <a:lnTo>
                      <a:pt x="283" y="28"/>
                    </a:lnTo>
                    <a:lnTo>
                      <a:pt x="282" y="26"/>
                    </a:lnTo>
                    <a:lnTo>
                      <a:pt x="280" y="26"/>
                    </a:lnTo>
                    <a:lnTo>
                      <a:pt x="280" y="23"/>
                    </a:lnTo>
                    <a:lnTo>
                      <a:pt x="278" y="23"/>
                    </a:lnTo>
                    <a:lnTo>
                      <a:pt x="277" y="24"/>
                    </a:lnTo>
                    <a:lnTo>
                      <a:pt x="276" y="24"/>
                    </a:lnTo>
                    <a:lnTo>
                      <a:pt x="273" y="18"/>
                    </a:lnTo>
                    <a:lnTo>
                      <a:pt x="272" y="18"/>
                    </a:lnTo>
                    <a:lnTo>
                      <a:pt x="271" y="16"/>
                    </a:lnTo>
                    <a:lnTo>
                      <a:pt x="271" y="19"/>
                    </a:lnTo>
                    <a:lnTo>
                      <a:pt x="270" y="17"/>
                    </a:lnTo>
                    <a:lnTo>
                      <a:pt x="269" y="18"/>
                    </a:lnTo>
                    <a:lnTo>
                      <a:pt x="270" y="18"/>
                    </a:lnTo>
                    <a:lnTo>
                      <a:pt x="271" y="22"/>
                    </a:lnTo>
                    <a:lnTo>
                      <a:pt x="270" y="23"/>
                    </a:lnTo>
                    <a:lnTo>
                      <a:pt x="271" y="23"/>
                    </a:lnTo>
                    <a:lnTo>
                      <a:pt x="270" y="25"/>
                    </a:lnTo>
                    <a:lnTo>
                      <a:pt x="270" y="26"/>
                    </a:lnTo>
                    <a:lnTo>
                      <a:pt x="272" y="26"/>
                    </a:lnTo>
                    <a:lnTo>
                      <a:pt x="271" y="27"/>
                    </a:lnTo>
                    <a:lnTo>
                      <a:pt x="270" y="26"/>
                    </a:lnTo>
                    <a:lnTo>
                      <a:pt x="270" y="27"/>
                    </a:lnTo>
                    <a:lnTo>
                      <a:pt x="269" y="24"/>
                    </a:lnTo>
                    <a:lnTo>
                      <a:pt x="268" y="24"/>
                    </a:lnTo>
                    <a:lnTo>
                      <a:pt x="267" y="23"/>
                    </a:lnTo>
                    <a:lnTo>
                      <a:pt x="265" y="23"/>
                    </a:lnTo>
                    <a:lnTo>
                      <a:pt x="264" y="24"/>
                    </a:lnTo>
                    <a:lnTo>
                      <a:pt x="263" y="23"/>
                    </a:lnTo>
                    <a:lnTo>
                      <a:pt x="263" y="24"/>
                    </a:lnTo>
                    <a:lnTo>
                      <a:pt x="262" y="24"/>
                    </a:lnTo>
                    <a:lnTo>
                      <a:pt x="263" y="25"/>
                    </a:lnTo>
                    <a:lnTo>
                      <a:pt x="262" y="25"/>
                    </a:lnTo>
                    <a:lnTo>
                      <a:pt x="262" y="26"/>
                    </a:lnTo>
                    <a:lnTo>
                      <a:pt x="262" y="25"/>
                    </a:lnTo>
                    <a:lnTo>
                      <a:pt x="262" y="26"/>
                    </a:lnTo>
                    <a:lnTo>
                      <a:pt x="261" y="27"/>
                    </a:lnTo>
                    <a:lnTo>
                      <a:pt x="260" y="25"/>
                    </a:lnTo>
                    <a:lnTo>
                      <a:pt x="260" y="26"/>
                    </a:lnTo>
                    <a:lnTo>
                      <a:pt x="259" y="28"/>
                    </a:lnTo>
                    <a:lnTo>
                      <a:pt x="258" y="28"/>
                    </a:lnTo>
                    <a:lnTo>
                      <a:pt x="259" y="27"/>
                    </a:lnTo>
                    <a:lnTo>
                      <a:pt x="257" y="27"/>
                    </a:lnTo>
                    <a:lnTo>
                      <a:pt x="256" y="28"/>
                    </a:lnTo>
                    <a:lnTo>
                      <a:pt x="255" y="30"/>
                    </a:lnTo>
                    <a:lnTo>
                      <a:pt x="255" y="28"/>
                    </a:lnTo>
                    <a:lnTo>
                      <a:pt x="254" y="28"/>
                    </a:lnTo>
                    <a:lnTo>
                      <a:pt x="254" y="27"/>
                    </a:lnTo>
                    <a:lnTo>
                      <a:pt x="252" y="26"/>
                    </a:lnTo>
                    <a:lnTo>
                      <a:pt x="249" y="28"/>
                    </a:lnTo>
                    <a:lnTo>
                      <a:pt x="248" y="27"/>
                    </a:lnTo>
                    <a:lnTo>
                      <a:pt x="247" y="27"/>
                    </a:lnTo>
                    <a:lnTo>
                      <a:pt x="249" y="27"/>
                    </a:lnTo>
                    <a:lnTo>
                      <a:pt x="249" y="26"/>
                    </a:lnTo>
                    <a:lnTo>
                      <a:pt x="249" y="24"/>
                    </a:lnTo>
                    <a:lnTo>
                      <a:pt x="250" y="23"/>
                    </a:lnTo>
                    <a:lnTo>
                      <a:pt x="250" y="21"/>
                    </a:lnTo>
                    <a:lnTo>
                      <a:pt x="249" y="21"/>
                    </a:lnTo>
                    <a:lnTo>
                      <a:pt x="248" y="21"/>
                    </a:lnTo>
                    <a:lnTo>
                      <a:pt x="247" y="20"/>
                    </a:lnTo>
                    <a:lnTo>
                      <a:pt x="247" y="18"/>
                    </a:lnTo>
                    <a:lnTo>
                      <a:pt x="246" y="19"/>
                    </a:lnTo>
                    <a:lnTo>
                      <a:pt x="243" y="16"/>
                    </a:lnTo>
                    <a:lnTo>
                      <a:pt x="241" y="18"/>
                    </a:lnTo>
                    <a:lnTo>
                      <a:pt x="240" y="16"/>
                    </a:lnTo>
                    <a:lnTo>
                      <a:pt x="240" y="17"/>
                    </a:lnTo>
                    <a:lnTo>
                      <a:pt x="240" y="16"/>
                    </a:lnTo>
                    <a:lnTo>
                      <a:pt x="239" y="15"/>
                    </a:lnTo>
                    <a:lnTo>
                      <a:pt x="240" y="12"/>
                    </a:lnTo>
                    <a:lnTo>
                      <a:pt x="240" y="11"/>
                    </a:lnTo>
                    <a:lnTo>
                      <a:pt x="239" y="10"/>
                    </a:lnTo>
                    <a:lnTo>
                      <a:pt x="236" y="9"/>
                    </a:lnTo>
                    <a:lnTo>
                      <a:pt x="236" y="8"/>
                    </a:lnTo>
                    <a:lnTo>
                      <a:pt x="234" y="8"/>
                    </a:lnTo>
                    <a:lnTo>
                      <a:pt x="234" y="6"/>
                    </a:lnTo>
                    <a:lnTo>
                      <a:pt x="231" y="8"/>
                    </a:lnTo>
                    <a:lnTo>
                      <a:pt x="230" y="8"/>
                    </a:lnTo>
                    <a:lnTo>
                      <a:pt x="226" y="8"/>
                    </a:lnTo>
                    <a:lnTo>
                      <a:pt x="225" y="6"/>
                    </a:lnTo>
                    <a:lnTo>
                      <a:pt x="224" y="8"/>
                    </a:lnTo>
                    <a:lnTo>
                      <a:pt x="223" y="8"/>
                    </a:lnTo>
                    <a:lnTo>
                      <a:pt x="222" y="8"/>
                    </a:lnTo>
                    <a:lnTo>
                      <a:pt x="222" y="10"/>
                    </a:lnTo>
                    <a:lnTo>
                      <a:pt x="222" y="13"/>
                    </a:lnTo>
                    <a:lnTo>
                      <a:pt x="220" y="14"/>
                    </a:lnTo>
                    <a:lnTo>
                      <a:pt x="220" y="15"/>
                    </a:lnTo>
                    <a:lnTo>
                      <a:pt x="218" y="16"/>
                    </a:lnTo>
                    <a:lnTo>
                      <a:pt x="217" y="16"/>
                    </a:lnTo>
                    <a:lnTo>
                      <a:pt x="217" y="17"/>
                    </a:lnTo>
                    <a:lnTo>
                      <a:pt x="218" y="17"/>
                    </a:lnTo>
                    <a:lnTo>
                      <a:pt x="216" y="19"/>
                    </a:lnTo>
                    <a:lnTo>
                      <a:pt x="216" y="21"/>
                    </a:lnTo>
                    <a:lnTo>
                      <a:pt x="214" y="20"/>
                    </a:lnTo>
                    <a:lnTo>
                      <a:pt x="214" y="19"/>
                    </a:lnTo>
                    <a:lnTo>
                      <a:pt x="215" y="18"/>
                    </a:lnTo>
                    <a:lnTo>
                      <a:pt x="215" y="17"/>
                    </a:lnTo>
                    <a:lnTo>
                      <a:pt x="212" y="18"/>
                    </a:lnTo>
                    <a:lnTo>
                      <a:pt x="209" y="18"/>
                    </a:lnTo>
                    <a:lnTo>
                      <a:pt x="208" y="19"/>
                    </a:lnTo>
                    <a:lnTo>
                      <a:pt x="206" y="18"/>
                    </a:lnTo>
                    <a:lnTo>
                      <a:pt x="205" y="17"/>
                    </a:lnTo>
                    <a:lnTo>
                      <a:pt x="202" y="17"/>
                    </a:lnTo>
                    <a:lnTo>
                      <a:pt x="201" y="17"/>
                    </a:lnTo>
                    <a:lnTo>
                      <a:pt x="200" y="19"/>
                    </a:lnTo>
                    <a:lnTo>
                      <a:pt x="198" y="16"/>
                    </a:lnTo>
                    <a:lnTo>
                      <a:pt x="196" y="16"/>
                    </a:lnTo>
                    <a:lnTo>
                      <a:pt x="193" y="15"/>
                    </a:lnTo>
                    <a:lnTo>
                      <a:pt x="193" y="19"/>
                    </a:lnTo>
                    <a:lnTo>
                      <a:pt x="191" y="17"/>
                    </a:lnTo>
                    <a:lnTo>
                      <a:pt x="189" y="18"/>
                    </a:lnTo>
                    <a:lnTo>
                      <a:pt x="188" y="17"/>
                    </a:lnTo>
                    <a:lnTo>
                      <a:pt x="188" y="16"/>
                    </a:lnTo>
                    <a:lnTo>
                      <a:pt x="189" y="15"/>
                    </a:lnTo>
                    <a:lnTo>
                      <a:pt x="188" y="14"/>
                    </a:lnTo>
                    <a:lnTo>
                      <a:pt x="187" y="14"/>
                    </a:lnTo>
                    <a:lnTo>
                      <a:pt x="187" y="16"/>
                    </a:lnTo>
                    <a:lnTo>
                      <a:pt x="186" y="17"/>
                    </a:lnTo>
                    <a:lnTo>
                      <a:pt x="184" y="17"/>
                    </a:lnTo>
                    <a:lnTo>
                      <a:pt x="183" y="17"/>
                    </a:lnTo>
                    <a:lnTo>
                      <a:pt x="183" y="16"/>
                    </a:lnTo>
                    <a:lnTo>
                      <a:pt x="180" y="16"/>
                    </a:lnTo>
                    <a:lnTo>
                      <a:pt x="180" y="15"/>
                    </a:lnTo>
                    <a:lnTo>
                      <a:pt x="179" y="16"/>
                    </a:lnTo>
                    <a:lnTo>
                      <a:pt x="178" y="15"/>
                    </a:lnTo>
                    <a:lnTo>
                      <a:pt x="177" y="12"/>
                    </a:lnTo>
                    <a:lnTo>
                      <a:pt x="178" y="10"/>
                    </a:lnTo>
                    <a:lnTo>
                      <a:pt x="178" y="7"/>
                    </a:lnTo>
                    <a:lnTo>
                      <a:pt x="178" y="6"/>
                    </a:lnTo>
                    <a:lnTo>
                      <a:pt x="179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3"/>
                    </a:lnTo>
                    <a:lnTo>
                      <a:pt x="177" y="0"/>
                    </a:lnTo>
                    <a:lnTo>
                      <a:pt x="177" y="1"/>
                    </a:lnTo>
                    <a:lnTo>
                      <a:pt x="173" y="1"/>
                    </a:lnTo>
                    <a:lnTo>
                      <a:pt x="172" y="0"/>
                    </a:lnTo>
                    <a:lnTo>
                      <a:pt x="170" y="3"/>
                    </a:lnTo>
                    <a:lnTo>
                      <a:pt x="170" y="2"/>
                    </a:lnTo>
                    <a:lnTo>
                      <a:pt x="167" y="4"/>
                    </a:lnTo>
                    <a:lnTo>
                      <a:pt x="166" y="4"/>
                    </a:lnTo>
                    <a:lnTo>
                      <a:pt x="164" y="3"/>
                    </a:lnTo>
                    <a:lnTo>
                      <a:pt x="163" y="6"/>
                    </a:lnTo>
                    <a:lnTo>
                      <a:pt x="164" y="8"/>
                    </a:lnTo>
                    <a:lnTo>
                      <a:pt x="163" y="10"/>
                    </a:lnTo>
                    <a:lnTo>
                      <a:pt x="163" y="8"/>
                    </a:lnTo>
                    <a:lnTo>
                      <a:pt x="162" y="11"/>
                    </a:lnTo>
                    <a:lnTo>
                      <a:pt x="162" y="13"/>
                    </a:lnTo>
                    <a:lnTo>
                      <a:pt x="161" y="13"/>
                    </a:lnTo>
                    <a:lnTo>
                      <a:pt x="161" y="14"/>
                    </a:lnTo>
                    <a:lnTo>
                      <a:pt x="160" y="12"/>
                    </a:lnTo>
                    <a:lnTo>
                      <a:pt x="159" y="12"/>
                    </a:lnTo>
                    <a:lnTo>
                      <a:pt x="159" y="14"/>
                    </a:lnTo>
                    <a:lnTo>
                      <a:pt x="160" y="16"/>
                    </a:lnTo>
                    <a:lnTo>
                      <a:pt x="159" y="16"/>
                    </a:lnTo>
                    <a:lnTo>
                      <a:pt x="159" y="17"/>
                    </a:lnTo>
                    <a:lnTo>
                      <a:pt x="158" y="17"/>
                    </a:lnTo>
                    <a:lnTo>
                      <a:pt x="158" y="15"/>
                    </a:lnTo>
                    <a:lnTo>
                      <a:pt x="156" y="15"/>
                    </a:lnTo>
                    <a:lnTo>
                      <a:pt x="156" y="13"/>
                    </a:lnTo>
                    <a:lnTo>
                      <a:pt x="154" y="15"/>
                    </a:lnTo>
                    <a:lnTo>
                      <a:pt x="154" y="16"/>
                    </a:lnTo>
                    <a:lnTo>
                      <a:pt x="153" y="17"/>
                    </a:lnTo>
                    <a:lnTo>
                      <a:pt x="153" y="19"/>
                    </a:lnTo>
                    <a:lnTo>
                      <a:pt x="153" y="20"/>
                    </a:lnTo>
                    <a:lnTo>
                      <a:pt x="149" y="19"/>
                    </a:lnTo>
                    <a:lnTo>
                      <a:pt x="146" y="18"/>
                    </a:lnTo>
                    <a:lnTo>
                      <a:pt x="146" y="16"/>
                    </a:lnTo>
                    <a:lnTo>
                      <a:pt x="145" y="15"/>
                    </a:lnTo>
                    <a:lnTo>
                      <a:pt x="141" y="18"/>
                    </a:lnTo>
                    <a:lnTo>
                      <a:pt x="141" y="21"/>
                    </a:lnTo>
                    <a:lnTo>
                      <a:pt x="139" y="23"/>
                    </a:lnTo>
                    <a:lnTo>
                      <a:pt x="139" y="21"/>
                    </a:lnTo>
                    <a:lnTo>
                      <a:pt x="135" y="22"/>
                    </a:lnTo>
                    <a:lnTo>
                      <a:pt x="134" y="21"/>
                    </a:lnTo>
                    <a:lnTo>
                      <a:pt x="133" y="21"/>
                    </a:lnTo>
                    <a:lnTo>
                      <a:pt x="133" y="19"/>
                    </a:lnTo>
                    <a:lnTo>
                      <a:pt x="131" y="17"/>
                    </a:lnTo>
                    <a:lnTo>
                      <a:pt x="131" y="19"/>
                    </a:lnTo>
                    <a:lnTo>
                      <a:pt x="128" y="19"/>
                    </a:lnTo>
                    <a:lnTo>
                      <a:pt x="130" y="17"/>
                    </a:lnTo>
                    <a:lnTo>
                      <a:pt x="130" y="16"/>
                    </a:lnTo>
                    <a:lnTo>
                      <a:pt x="131" y="15"/>
                    </a:lnTo>
                    <a:lnTo>
                      <a:pt x="128" y="15"/>
                    </a:lnTo>
                    <a:lnTo>
                      <a:pt x="128" y="16"/>
                    </a:lnTo>
                    <a:lnTo>
                      <a:pt x="126" y="15"/>
                    </a:lnTo>
                    <a:lnTo>
                      <a:pt x="126" y="13"/>
                    </a:lnTo>
                    <a:lnTo>
                      <a:pt x="126" y="10"/>
                    </a:lnTo>
                    <a:lnTo>
                      <a:pt x="123" y="8"/>
                    </a:lnTo>
                    <a:lnTo>
                      <a:pt x="121" y="9"/>
                    </a:lnTo>
                    <a:lnTo>
                      <a:pt x="121" y="10"/>
                    </a:lnTo>
                    <a:lnTo>
                      <a:pt x="122" y="10"/>
                    </a:lnTo>
                    <a:lnTo>
                      <a:pt x="120" y="11"/>
                    </a:lnTo>
                    <a:lnTo>
                      <a:pt x="118" y="14"/>
                    </a:lnTo>
                    <a:lnTo>
                      <a:pt x="117" y="14"/>
                    </a:lnTo>
                    <a:lnTo>
                      <a:pt x="115" y="15"/>
                    </a:lnTo>
                    <a:lnTo>
                      <a:pt x="115" y="14"/>
                    </a:lnTo>
                    <a:lnTo>
                      <a:pt x="115" y="13"/>
                    </a:lnTo>
                    <a:lnTo>
                      <a:pt x="114" y="14"/>
                    </a:lnTo>
                    <a:lnTo>
                      <a:pt x="113" y="14"/>
                    </a:lnTo>
                    <a:lnTo>
                      <a:pt x="113" y="10"/>
                    </a:lnTo>
                    <a:lnTo>
                      <a:pt x="112" y="10"/>
                    </a:lnTo>
                    <a:lnTo>
                      <a:pt x="112" y="6"/>
                    </a:lnTo>
                    <a:lnTo>
                      <a:pt x="110" y="6"/>
                    </a:lnTo>
                    <a:lnTo>
                      <a:pt x="111" y="7"/>
                    </a:lnTo>
                    <a:lnTo>
                      <a:pt x="109" y="7"/>
                    </a:lnTo>
                    <a:lnTo>
                      <a:pt x="109" y="10"/>
                    </a:lnTo>
                    <a:lnTo>
                      <a:pt x="107" y="10"/>
                    </a:lnTo>
                    <a:lnTo>
                      <a:pt x="107" y="11"/>
                    </a:lnTo>
                    <a:lnTo>
                      <a:pt x="104" y="9"/>
                    </a:lnTo>
                    <a:lnTo>
                      <a:pt x="102" y="8"/>
                    </a:lnTo>
                    <a:lnTo>
                      <a:pt x="100" y="12"/>
                    </a:lnTo>
                    <a:lnTo>
                      <a:pt x="99" y="12"/>
                    </a:lnTo>
                    <a:lnTo>
                      <a:pt x="95" y="11"/>
                    </a:lnTo>
                    <a:lnTo>
                      <a:pt x="95" y="10"/>
                    </a:lnTo>
                    <a:lnTo>
                      <a:pt x="93" y="10"/>
                    </a:lnTo>
                    <a:lnTo>
                      <a:pt x="93" y="11"/>
                    </a:lnTo>
                    <a:lnTo>
                      <a:pt x="91" y="12"/>
                    </a:lnTo>
                    <a:lnTo>
                      <a:pt x="90" y="14"/>
                    </a:lnTo>
                    <a:lnTo>
                      <a:pt x="92" y="15"/>
                    </a:lnTo>
                    <a:lnTo>
                      <a:pt x="92" y="16"/>
                    </a:lnTo>
                    <a:lnTo>
                      <a:pt x="92" y="17"/>
                    </a:lnTo>
                    <a:lnTo>
                      <a:pt x="90" y="17"/>
                    </a:lnTo>
                    <a:lnTo>
                      <a:pt x="90" y="18"/>
                    </a:lnTo>
                    <a:lnTo>
                      <a:pt x="88" y="18"/>
                    </a:lnTo>
                    <a:lnTo>
                      <a:pt x="89" y="19"/>
                    </a:lnTo>
                    <a:lnTo>
                      <a:pt x="88" y="20"/>
                    </a:lnTo>
                    <a:lnTo>
                      <a:pt x="88" y="23"/>
                    </a:lnTo>
                    <a:lnTo>
                      <a:pt x="90" y="23"/>
                    </a:lnTo>
                    <a:lnTo>
                      <a:pt x="91" y="23"/>
                    </a:lnTo>
                    <a:lnTo>
                      <a:pt x="91" y="24"/>
                    </a:lnTo>
                    <a:lnTo>
                      <a:pt x="91" y="23"/>
                    </a:lnTo>
                    <a:lnTo>
                      <a:pt x="93" y="24"/>
                    </a:lnTo>
                    <a:lnTo>
                      <a:pt x="93" y="25"/>
                    </a:lnTo>
                    <a:lnTo>
                      <a:pt x="91" y="24"/>
                    </a:lnTo>
                    <a:lnTo>
                      <a:pt x="92" y="25"/>
                    </a:lnTo>
                    <a:lnTo>
                      <a:pt x="91" y="27"/>
                    </a:lnTo>
                    <a:lnTo>
                      <a:pt x="92" y="25"/>
                    </a:lnTo>
                    <a:lnTo>
                      <a:pt x="92" y="27"/>
                    </a:lnTo>
                    <a:lnTo>
                      <a:pt x="91" y="28"/>
                    </a:lnTo>
                    <a:lnTo>
                      <a:pt x="92" y="28"/>
                    </a:lnTo>
                    <a:lnTo>
                      <a:pt x="92" y="29"/>
                    </a:lnTo>
                    <a:lnTo>
                      <a:pt x="92" y="32"/>
                    </a:lnTo>
                    <a:lnTo>
                      <a:pt x="91" y="32"/>
                    </a:lnTo>
                    <a:lnTo>
                      <a:pt x="90" y="34"/>
                    </a:lnTo>
                    <a:lnTo>
                      <a:pt x="92" y="35"/>
                    </a:lnTo>
                    <a:lnTo>
                      <a:pt x="91" y="36"/>
                    </a:lnTo>
                    <a:lnTo>
                      <a:pt x="91" y="37"/>
                    </a:lnTo>
                    <a:lnTo>
                      <a:pt x="90" y="38"/>
                    </a:lnTo>
                    <a:lnTo>
                      <a:pt x="91" y="39"/>
                    </a:lnTo>
                    <a:lnTo>
                      <a:pt x="92" y="41"/>
                    </a:lnTo>
                    <a:lnTo>
                      <a:pt x="92" y="42"/>
                    </a:lnTo>
                    <a:lnTo>
                      <a:pt x="93" y="43"/>
                    </a:lnTo>
                    <a:lnTo>
                      <a:pt x="93" y="44"/>
                    </a:lnTo>
                    <a:lnTo>
                      <a:pt x="94" y="44"/>
                    </a:lnTo>
                    <a:lnTo>
                      <a:pt x="94" y="45"/>
                    </a:lnTo>
                    <a:lnTo>
                      <a:pt x="93" y="45"/>
                    </a:lnTo>
                    <a:lnTo>
                      <a:pt x="93" y="46"/>
                    </a:lnTo>
                    <a:lnTo>
                      <a:pt x="97" y="47"/>
                    </a:lnTo>
                    <a:lnTo>
                      <a:pt x="97" y="48"/>
                    </a:lnTo>
                    <a:lnTo>
                      <a:pt x="95" y="48"/>
                    </a:lnTo>
                    <a:lnTo>
                      <a:pt x="93" y="47"/>
                    </a:lnTo>
                    <a:lnTo>
                      <a:pt x="92" y="49"/>
                    </a:lnTo>
                    <a:lnTo>
                      <a:pt x="90" y="52"/>
                    </a:lnTo>
                    <a:lnTo>
                      <a:pt x="88" y="52"/>
                    </a:lnTo>
                    <a:lnTo>
                      <a:pt x="89" y="53"/>
                    </a:lnTo>
                    <a:lnTo>
                      <a:pt x="88" y="55"/>
                    </a:lnTo>
                    <a:lnTo>
                      <a:pt x="88" y="57"/>
                    </a:lnTo>
                    <a:lnTo>
                      <a:pt x="88" y="58"/>
                    </a:lnTo>
                    <a:lnTo>
                      <a:pt x="87" y="61"/>
                    </a:lnTo>
                    <a:lnTo>
                      <a:pt x="86" y="61"/>
                    </a:lnTo>
                    <a:lnTo>
                      <a:pt x="86" y="62"/>
                    </a:lnTo>
                    <a:lnTo>
                      <a:pt x="87" y="62"/>
                    </a:lnTo>
                    <a:lnTo>
                      <a:pt x="86" y="62"/>
                    </a:lnTo>
                    <a:lnTo>
                      <a:pt x="87" y="62"/>
                    </a:lnTo>
                    <a:lnTo>
                      <a:pt x="86" y="63"/>
                    </a:lnTo>
                    <a:lnTo>
                      <a:pt x="87" y="66"/>
                    </a:lnTo>
                    <a:lnTo>
                      <a:pt x="87" y="68"/>
                    </a:lnTo>
                    <a:lnTo>
                      <a:pt x="88" y="70"/>
                    </a:lnTo>
                    <a:lnTo>
                      <a:pt x="89" y="72"/>
                    </a:lnTo>
                    <a:lnTo>
                      <a:pt x="88" y="72"/>
                    </a:lnTo>
                    <a:lnTo>
                      <a:pt x="89" y="73"/>
                    </a:lnTo>
                    <a:lnTo>
                      <a:pt x="88" y="73"/>
                    </a:lnTo>
                    <a:lnTo>
                      <a:pt x="88" y="74"/>
                    </a:lnTo>
                    <a:lnTo>
                      <a:pt x="89" y="74"/>
                    </a:lnTo>
                    <a:lnTo>
                      <a:pt x="90" y="75"/>
                    </a:lnTo>
                    <a:lnTo>
                      <a:pt x="92" y="75"/>
                    </a:lnTo>
                    <a:lnTo>
                      <a:pt x="91" y="76"/>
                    </a:lnTo>
                    <a:lnTo>
                      <a:pt x="92" y="77"/>
                    </a:lnTo>
                    <a:lnTo>
                      <a:pt x="92" y="79"/>
                    </a:lnTo>
                    <a:lnTo>
                      <a:pt x="92" y="81"/>
                    </a:lnTo>
                    <a:lnTo>
                      <a:pt x="91" y="80"/>
                    </a:lnTo>
                    <a:lnTo>
                      <a:pt x="91" y="82"/>
                    </a:lnTo>
                    <a:lnTo>
                      <a:pt x="90" y="82"/>
                    </a:lnTo>
                    <a:lnTo>
                      <a:pt x="88" y="83"/>
                    </a:lnTo>
                    <a:lnTo>
                      <a:pt x="89" y="84"/>
                    </a:lnTo>
                    <a:lnTo>
                      <a:pt x="90" y="82"/>
                    </a:lnTo>
                    <a:lnTo>
                      <a:pt x="90" y="85"/>
                    </a:lnTo>
                    <a:lnTo>
                      <a:pt x="91" y="86"/>
                    </a:lnTo>
                    <a:lnTo>
                      <a:pt x="88" y="86"/>
                    </a:lnTo>
                    <a:lnTo>
                      <a:pt x="86" y="89"/>
                    </a:lnTo>
                    <a:lnTo>
                      <a:pt x="85" y="92"/>
                    </a:lnTo>
                    <a:lnTo>
                      <a:pt x="85" y="93"/>
                    </a:lnTo>
                    <a:lnTo>
                      <a:pt x="84" y="93"/>
                    </a:lnTo>
                    <a:lnTo>
                      <a:pt x="85" y="96"/>
                    </a:lnTo>
                    <a:lnTo>
                      <a:pt x="84" y="98"/>
                    </a:lnTo>
                    <a:lnTo>
                      <a:pt x="80" y="97"/>
                    </a:lnTo>
                    <a:lnTo>
                      <a:pt x="79" y="98"/>
                    </a:lnTo>
                    <a:lnTo>
                      <a:pt x="78" y="100"/>
                    </a:lnTo>
                    <a:lnTo>
                      <a:pt x="77" y="100"/>
                    </a:lnTo>
                    <a:lnTo>
                      <a:pt x="75" y="100"/>
                    </a:lnTo>
                    <a:lnTo>
                      <a:pt x="74" y="105"/>
                    </a:lnTo>
                    <a:lnTo>
                      <a:pt x="71" y="102"/>
                    </a:lnTo>
                    <a:lnTo>
                      <a:pt x="71" y="107"/>
                    </a:lnTo>
                    <a:lnTo>
                      <a:pt x="70" y="108"/>
                    </a:lnTo>
                    <a:lnTo>
                      <a:pt x="69" y="108"/>
                    </a:lnTo>
                    <a:lnTo>
                      <a:pt x="71" y="111"/>
                    </a:lnTo>
                    <a:lnTo>
                      <a:pt x="72" y="111"/>
                    </a:lnTo>
                    <a:lnTo>
                      <a:pt x="73" y="112"/>
                    </a:lnTo>
                    <a:lnTo>
                      <a:pt x="72" y="114"/>
                    </a:lnTo>
                    <a:lnTo>
                      <a:pt x="71" y="115"/>
                    </a:lnTo>
                    <a:lnTo>
                      <a:pt x="71" y="118"/>
                    </a:lnTo>
                    <a:lnTo>
                      <a:pt x="69" y="118"/>
                    </a:lnTo>
                    <a:lnTo>
                      <a:pt x="68" y="118"/>
                    </a:lnTo>
                    <a:lnTo>
                      <a:pt x="67" y="116"/>
                    </a:lnTo>
                    <a:lnTo>
                      <a:pt x="65" y="116"/>
                    </a:lnTo>
                    <a:lnTo>
                      <a:pt x="63" y="116"/>
                    </a:lnTo>
                    <a:lnTo>
                      <a:pt x="62" y="116"/>
                    </a:lnTo>
                    <a:lnTo>
                      <a:pt x="63" y="118"/>
                    </a:lnTo>
                    <a:lnTo>
                      <a:pt x="63" y="122"/>
                    </a:lnTo>
                    <a:lnTo>
                      <a:pt x="63" y="126"/>
                    </a:lnTo>
                    <a:lnTo>
                      <a:pt x="64" y="126"/>
                    </a:lnTo>
                    <a:lnTo>
                      <a:pt x="65" y="126"/>
                    </a:lnTo>
                    <a:lnTo>
                      <a:pt x="69" y="127"/>
                    </a:lnTo>
                    <a:lnTo>
                      <a:pt x="70" y="126"/>
                    </a:lnTo>
                    <a:lnTo>
                      <a:pt x="71" y="128"/>
                    </a:lnTo>
                    <a:lnTo>
                      <a:pt x="69" y="128"/>
                    </a:lnTo>
                    <a:lnTo>
                      <a:pt x="66" y="130"/>
                    </a:lnTo>
                    <a:lnTo>
                      <a:pt x="66" y="131"/>
                    </a:lnTo>
                    <a:lnTo>
                      <a:pt x="68" y="134"/>
                    </a:lnTo>
                    <a:lnTo>
                      <a:pt x="67" y="134"/>
                    </a:lnTo>
                    <a:lnTo>
                      <a:pt x="64" y="133"/>
                    </a:lnTo>
                    <a:lnTo>
                      <a:pt x="64" y="132"/>
                    </a:lnTo>
                    <a:lnTo>
                      <a:pt x="63" y="131"/>
                    </a:lnTo>
                    <a:lnTo>
                      <a:pt x="62" y="133"/>
                    </a:lnTo>
                    <a:lnTo>
                      <a:pt x="63" y="134"/>
                    </a:lnTo>
                    <a:lnTo>
                      <a:pt x="63" y="136"/>
                    </a:lnTo>
                    <a:lnTo>
                      <a:pt x="60" y="135"/>
                    </a:lnTo>
                    <a:lnTo>
                      <a:pt x="58" y="137"/>
                    </a:lnTo>
                    <a:lnTo>
                      <a:pt x="58" y="138"/>
                    </a:lnTo>
                    <a:lnTo>
                      <a:pt x="58" y="139"/>
                    </a:lnTo>
                    <a:lnTo>
                      <a:pt x="57" y="139"/>
                    </a:lnTo>
                    <a:lnTo>
                      <a:pt x="56" y="139"/>
                    </a:lnTo>
                    <a:lnTo>
                      <a:pt x="56" y="141"/>
                    </a:lnTo>
                    <a:lnTo>
                      <a:pt x="58" y="141"/>
                    </a:lnTo>
                    <a:lnTo>
                      <a:pt x="57" y="141"/>
                    </a:lnTo>
                    <a:lnTo>
                      <a:pt x="57" y="143"/>
                    </a:lnTo>
                    <a:lnTo>
                      <a:pt x="58" y="142"/>
                    </a:lnTo>
                    <a:lnTo>
                      <a:pt x="58" y="146"/>
                    </a:lnTo>
                    <a:lnTo>
                      <a:pt x="61" y="148"/>
                    </a:lnTo>
                    <a:lnTo>
                      <a:pt x="61" y="149"/>
                    </a:lnTo>
                    <a:lnTo>
                      <a:pt x="62" y="149"/>
                    </a:lnTo>
                    <a:lnTo>
                      <a:pt x="62" y="153"/>
                    </a:lnTo>
                    <a:lnTo>
                      <a:pt x="63" y="156"/>
                    </a:lnTo>
                    <a:lnTo>
                      <a:pt x="61" y="157"/>
                    </a:lnTo>
                    <a:lnTo>
                      <a:pt x="59" y="156"/>
                    </a:lnTo>
                    <a:lnTo>
                      <a:pt x="58" y="156"/>
                    </a:lnTo>
                    <a:lnTo>
                      <a:pt x="55" y="159"/>
                    </a:lnTo>
                    <a:lnTo>
                      <a:pt x="54" y="167"/>
                    </a:lnTo>
                    <a:lnTo>
                      <a:pt x="52" y="168"/>
                    </a:lnTo>
                    <a:lnTo>
                      <a:pt x="53" y="169"/>
                    </a:lnTo>
                    <a:lnTo>
                      <a:pt x="55" y="169"/>
                    </a:lnTo>
                    <a:lnTo>
                      <a:pt x="53" y="170"/>
                    </a:lnTo>
                    <a:lnTo>
                      <a:pt x="53" y="172"/>
                    </a:lnTo>
                    <a:lnTo>
                      <a:pt x="53" y="170"/>
                    </a:lnTo>
                    <a:lnTo>
                      <a:pt x="52" y="170"/>
                    </a:lnTo>
                    <a:lnTo>
                      <a:pt x="51" y="169"/>
                    </a:lnTo>
                    <a:lnTo>
                      <a:pt x="50" y="170"/>
                    </a:lnTo>
                    <a:lnTo>
                      <a:pt x="49" y="169"/>
                    </a:lnTo>
                    <a:lnTo>
                      <a:pt x="47" y="170"/>
                    </a:lnTo>
                    <a:lnTo>
                      <a:pt x="44" y="170"/>
                    </a:lnTo>
                    <a:lnTo>
                      <a:pt x="44" y="172"/>
                    </a:lnTo>
                    <a:lnTo>
                      <a:pt x="43" y="172"/>
                    </a:lnTo>
                    <a:lnTo>
                      <a:pt x="43" y="174"/>
                    </a:lnTo>
                    <a:lnTo>
                      <a:pt x="41" y="174"/>
                    </a:lnTo>
                    <a:lnTo>
                      <a:pt x="40" y="174"/>
                    </a:lnTo>
                    <a:lnTo>
                      <a:pt x="39" y="176"/>
                    </a:lnTo>
                    <a:lnTo>
                      <a:pt x="35" y="179"/>
                    </a:lnTo>
                    <a:lnTo>
                      <a:pt x="34" y="177"/>
                    </a:lnTo>
                    <a:lnTo>
                      <a:pt x="33" y="176"/>
                    </a:lnTo>
                    <a:lnTo>
                      <a:pt x="32" y="176"/>
                    </a:lnTo>
                    <a:lnTo>
                      <a:pt x="28" y="174"/>
                    </a:lnTo>
                    <a:lnTo>
                      <a:pt x="30" y="174"/>
                    </a:lnTo>
                    <a:lnTo>
                      <a:pt x="30" y="173"/>
                    </a:lnTo>
                    <a:lnTo>
                      <a:pt x="25" y="172"/>
                    </a:lnTo>
                    <a:lnTo>
                      <a:pt x="24" y="172"/>
                    </a:lnTo>
                    <a:lnTo>
                      <a:pt x="24" y="173"/>
                    </a:lnTo>
                    <a:lnTo>
                      <a:pt x="27" y="174"/>
                    </a:lnTo>
                    <a:lnTo>
                      <a:pt x="27" y="176"/>
                    </a:lnTo>
                    <a:lnTo>
                      <a:pt x="25" y="177"/>
                    </a:lnTo>
                    <a:lnTo>
                      <a:pt x="24" y="180"/>
                    </a:lnTo>
                    <a:lnTo>
                      <a:pt x="24" y="182"/>
                    </a:lnTo>
                    <a:lnTo>
                      <a:pt x="23" y="183"/>
                    </a:lnTo>
                    <a:lnTo>
                      <a:pt x="24" y="184"/>
                    </a:lnTo>
                    <a:lnTo>
                      <a:pt x="24" y="190"/>
                    </a:lnTo>
                    <a:lnTo>
                      <a:pt x="24" y="191"/>
                    </a:lnTo>
                    <a:lnTo>
                      <a:pt x="19" y="191"/>
                    </a:lnTo>
                    <a:lnTo>
                      <a:pt x="19" y="192"/>
                    </a:lnTo>
                    <a:lnTo>
                      <a:pt x="20" y="196"/>
                    </a:lnTo>
                    <a:lnTo>
                      <a:pt x="22" y="199"/>
                    </a:lnTo>
                    <a:lnTo>
                      <a:pt x="23" y="200"/>
                    </a:lnTo>
                    <a:lnTo>
                      <a:pt x="22" y="203"/>
                    </a:lnTo>
                    <a:lnTo>
                      <a:pt x="24" y="208"/>
                    </a:lnTo>
                    <a:lnTo>
                      <a:pt x="24" y="211"/>
                    </a:lnTo>
                    <a:lnTo>
                      <a:pt x="24" y="212"/>
                    </a:lnTo>
                    <a:lnTo>
                      <a:pt x="22" y="216"/>
                    </a:lnTo>
                    <a:lnTo>
                      <a:pt x="17" y="220"/>
                    </a:lnTo>
                    <a:lnTo>
                      <a:pt x="15" y="218"/>
                    </a:lnTo>
                    <a:lnTo>
                      <a:pt x="14" y="217"/>
                    </a:lnTo>
                    <a:lnTo>
                      <a:pt x="14" y="216"/>
                    </a:lnTo>
                    <a:lnTo>
                      <a:pt x="13" y="216"/>
                    </a:lnTo>
                    <a:lnTo>
                      <a:pt x="13" y="217"/>
                    </a:lnTo>
                    <a:lnTo>
                      <a:pt x="9" y="222"/>
                    </a:lnTo>
                    <a:lnTo>
                      <a:pt x="7" y="227"/>
                    </a:lnTo>
                    <a:lnTo>
                      <a:pt x="4" y="231"/>
                    </a:lnTo>
                    <a:lnTo>
                      <a:pt x="4" y="232"/>
                    </a:lnTo>
                    <a:lnTo>
                      <a:pt x="4" y="234"/>
                    </a:lnTo>
                    <a:lnTo>
                      <a:pt x="4" y="237"/>
                    </a:lnTo>
                    <a:lnTo>
                      <a:pt x="1" y="240"/>
                    </a:lnTo>
                    <a:lnTo>
                      <a:pt x="1" y="242"/>
                    </a:lnTo>
                    <a:lnTo>
                      <a:pt x="0" y="245"/>
                    </a:lnTo>
                    <a:lnTo>
                      <a:pt x="1" y="248"/>
                    </a:lnTo>
                    <a:lnTo>
                      <a:pt x="4" y="249"/>
                    </a:lnTo>
                    <a:lnTo>
                      <a:pt x="3" y="251"/>
                    </a:lnTo>
                    <a:lnTo>
                      <a:pt x="3" y="254"/>
                    </a:lnTo>
                    <a:lnTo>
                      <a:pt x="5" y="255"/>
                    </a:lnTo>
                    <a:lnTo>
                      <a:pt x="6" y="254"/>
                    </a:lnTo>
                    <a:lnTo>
                      <a:pt x="9" y="256"/>
                    </a:lnTo>
                    <a:lnTo>
                      <a:pt x="10" y="255"/>
                    </a:lnTo>
                    <a:lnTo>
                      <a:pt x="11" y="254"/>
                    </a:lnTo>
                    <a:lnTo>
                      <a:pt x="14" y="259"/>
                    </a:lnTo>
                    <a:lnTo>
                      <a:pt x="12" y="262"/>
                    </a:lnTo>
                    <a:lnTo>
                      <a:pt x="14" y="265"/>
                    </a:lnTo>
                    <a:lnTo>
                      <a:pt x="17" y="271"/>
                    </a:lnTo>
                    <a:lnTo>
                      <a:pt x="17" y="268"/>
                    </a:lnTo>
                    <a:lnTo>
                      <a:pt x="19" y="268"/>
                    </a:lnTo>
                    <a:lnTo>
                      <a:pt x="20" y="266"/>
                    </a:lnTo>
                    <a:lnTo>
                      <a:pt x="23" y="267"/>
                    </a:lnTo>
                    <a:lnTo>
                      <a:pt x="24" y="267"/>
                    </a:lnTo>
                    <a:lnTo>
                      <a:pt x="21" y="269"/>
                    </a:lnTo>
                    <a:lnTo>
                      <a:pt x="20" y="271"/>
                    </a:lnTo>
                    <a:lnTo>
                      <a:pt x="24" y="277"/>
                    </a:lnTo>
                    <a:lnTo>
                      <a:pt x="24" y="282"/>
                    </a:lnTo>
                    <a:lnTo>
                      <a:pt x="25" y="283"/>
                    </a:lnTo>
                    <a:lnTo>
                      <a:pt x="27" y="293"/>
                    </a:lnTo>
                    <a:lnTo>
                      <a:pt x="28" y="294"/>
                    </a:lnTo>
                    <a:lnTo>
                      <a:pt x="30" y="295"/>
                    </a:lnTo>
                    <a:lnTo>
                      <a:pt x="30" y="297"/>
                    </a:lnTo>
                    <a:lnTo>
                      <a:pt x="30" y="300"/>
                    </a:lnTo>
                    <a:lnTo>
                      <a:pt x="32" y="301"/>
                    </a:lnTo>
                    <a:lnTo>
                      <a:pt x="34" y="301"/>
                    </a:lnTo>
                    <a:lnTo>
                      <a:pt x="35" y="302"/>
                    </a:lnTo>
                    <a:lnTo>
                      <a:pt x="38" y="301"/>
                    </a:lnTo>
                    <a:lnTo>
                      <a:pt x="43" y="303"/>
                    </a:lnTo>
                    <a:lnTo>
                      <a:pt x="45" y="302"/>
                    </a:lnTo>
                    <a:lnTo>
                      <a:pt x="47" y="300"/>
                    </a:lnTo>
                    <a:lnTo>
                      <a:pt x="49" y="301"/>
                    </a:lnTo>
                    <a:lnTo>
                      <a:pt x="49" y="305"/>
                    </a:lnTo>
                    <a:lnTo>
                      <a:pt x="52" y="311"/>
                    </a:lnTo>
                    <a:lnTo>
                      <a:pt x="50" y="313"/>
                    </a:lnTo>
                    <a:lnTo>
                      <a:pt x="53" y="324"/>
                    </a:lnTo>
                    <a:lnTo>
                      <a:pt x="53" y="325"/>
                    </a:lnTo>
                    <a:lnTo>
                      <a:pt x="55" y="328"/>
                    </a:lnTo>
                    <a:lnTo>
                      <a:pt x="57" y="328"/>
                    </a:lnTo>
                    <a:lnTo>
                      <a:pt x="61" y="329"/>
                    </a:lnTo>
                    <a:lnTo>
                      <a:pt x="59" y="332"/>
                    </a:lnTo>
                    <a:lnTo>
                      <a:pt x="61" y="335"/>
                    </a:lnTo>
                    <a:lnTo>
                      <a:pt x="61" y="337"/>
                    </a:lnTo>
                    <a:lnTo>
                      <a:pt x="64" y="345"/>
                    </a:lnTo>
                    <a:lnTo>
                      <a:pt x="62" y="351"/>
                    </a:lnTo>
                    <a:lnTo>
                      <a:pt x="61" y="353"/>
                    </a:lnTo>
                    <a:lnTo>
                      <a:pt x="63" y="356"/>
                    </a:lnTo>
                    <a:lnTo>
                      <a:pt x="68" y="359"/>
                    </a:lnTo>
                    <a:lnTo>
                      <a:pt x="71" y="358"/>
                    </a:lnTo>
                    <a:lnTo>
                      <a:pt x="72" y="360"/>
                    </a:lnTo>
                    <a:lnTo>
                      <a:pt x="74" y="359"/>
                    </a:lnTo>
                    <a:lnTo>
                      <a:pt x="79" y="362"/>
                    </a:lnTo>
                    <a:lnTo>
                      <a:pt x="82" y="366"/>
                    </a:lnTo>
                    <a:lnTo>
                      <a:pt x="85" y="368"/>
                    </a:lnTo>
                    <a:lnTo>
                      <a:pt x="88" y="375"/>
                    </a:lnTo>
                    <a:lnTo>
                      <a:pt x="90" y="377"/>
                    </a:lnTo>
                    <a:lnTo>
                      <a:pt x="90" y="379"/>
                    </a:lnTo>
                    <a:lnTo>
                      <a:pt x="92" y="379"/>
                    </a:lnTo>
                    <a:lnTo>
                      <a:pt x="92" y="381"/>
                    </a:lnTo>
                    <a:lnTo>
                      <a:pt x="95" y="386"/>
                    </a:lnTo>
                    <a:lnTo>
                      <a:pt x="97" y="386"/>
                    </a:lnTo>
                    <a:lnTo>
                      <a:pt x="98" y="388"/>
                    </a:lnTo>
                    <a:lnTo>
                      <a:pt x="99" y="391"/>
                    </a:lnTo>
                    <a:lnTo>
                      <a:pt x="103" y="392"/>
                    </a:lnTo>
                    <a:lnTo>
                      <a:pt x="105" y="394"/>
                    </a:lnTo>
                    <a:lnTo>
                      <a:pt x="107" y="394"/>
                    </a:lnTo>
                    <a:lnTo>
                      <a:pt x="112" y="396"/>
                    </a:lnTo>
                    <a:lnTo>
                      <a:pt x="113" y="397"/>
                    </a:lnTo>
                    <a:lnTo>
                      <a:pt x="113" y="400"/>
                    </a:lnTo>
                    <a:lnTo>
                      <a:pt x="112" y="402"/>
                    </a:lnTo>
                    <a:lnTo>
                      <a:pt x="115" y="402"/>
                    </a:lnTo>
                    <a:lnTo>
                      <a:pt x="114" y="403"/>
                    </a:lnTo>
                    <a:lnTo>
                      <a:pt x="116" y="405"/>
                    </a:lnTo>
                    <a:lnTo>
                      <a:pt x="117" y="407"/>
                    </a:lnTo>
                    <a:lnTo>
                      <a:pt x="116" y="407"/>
                    </a:lnTo>
                    <a:lnTo>
                      <a:pt x="115" y="408"/>
                    </a:lnTo>
                    <a:lnTo>
                      <a:pt x="118" y="410"/>
                    </a:lnTo>
                    <a:lnTo>
                      <a:pt x="118" y="412"/>
                    </a:lnTo>
                    <a:lnTo>
                      <a:pt x="119" y="412"/>
                    </a:lnTo>
                    <a:lnTo>
                      <a:pt x="121" y="412"/>
                    </a:lnTo>
                    <a:lnTo>
                      <a:pt x="123" y="414"/>
                    </a:lnTo>
                    <a:lnTo>
                      <a:pt x="125" y="414"/>
                    </a:lnTo>
                    <a:lnTo>
                      <a:pt x="124" y="418"/>
                    </a:lnTo>
                    <a:lnTo>
                      <a:pt x="123" y="421"/>
                    </a:lnTo>
                    <a:lnTo>
                      <a:pt x="121" y="423"/>
                    </a:lnTo>
                    <a:lnTo>
                      <a:pt x="118" y="422"/>
                    </a:lnTo>
                    <a:lnTo>
                      <a:pt x="113" y="422"/>
                    </a:lnTo>
                    <a:lnTo>
                      <a:pt x="113" y="426"/>
                    </a:lnTo>
                    <a:lnTo>
                      <a:pt x="111" y="426"/>
                    </a:lnTo>
                    <a:lnTo>
                      <a:pt x="110" y="427"/>
                    </a:lnTo>
                    <a:lnTo>
                      <a:pt x="109" y="427"/>
                    </a:lnTo>
                    <a:lnTo>
                      <a:pt x="112" y="431"/>
                    </a:lnTo>
                    <a:lnTo>
                      <a:pt x="112" y="432"/>
                    </a:lnTo>
                    <a:lnTo>
                      <a:pt x="114" y="434"/>
                    </a:lnTo>
                    <a:lnTo>
                      <a:pt x="113" y="435"/>
                    </a:lnTo>
                    <a:lnTo>
                      <a:pt x="117" y="435"/>
                    </a:lnTo>
                    <a:lnTo>
                      <a:pt x="118" y="435"/>
                    </a:lnTo>
                    <a:lnTo>
                      <a:pt x="118" y="439"/>
                    </a:lnTo>
                    <a:lnTo>
                      <a:pt x="116" y="439"/>
                    </a:lnTo>
                    <a:lnTo>
                      <a:pt x="117" y="440"/>
                    </a:lnTo>
                    <a:lnTo>
                      <a:pt x="116" y="442"/>
                    </a:lnTo>
                    <a:lnTo>
                      <a:pt x="118" y="443"/>
                    </a:lnTo>
                    <a:lnTo>
                      <a:pt x="118" y="444"/>
                    </a:lnTo>
                    <a:lnTo>
                      <a:pt x="119" y="447"/>
                    </a:lnTo>
                    <a:lnTo>
                      <a:pt x="121" y="445"/>
                    </a:lnTo>
                    <a:lnTo>
                      <a:pt x="123" y="446"/>
                    </a:lnTo>
                    <a:lnTo>
                      <a:pt x="122" y="448"/>
                    </a:lnTo>
                    <a:lnTo>
                      <a:pt x="122" y="451"/>
                    </a:lnTo>
                    <a:lnTo>
                      <a:pt x="123" y="451"/>
                    </a:lnTo>
                    <a:lnTo>
                      <a:pt x="124" y="449"/>
                    </a:lnTo>
                    <a:lnTo>
                      <a:pt x="130" y="450"/>
                    </a:lnTo>
                    <a:lnTo>
                      <a:pt x="131" y="451"/>
                    </a:lnTo>
                    <a:lnTo>
                      <a:pt x="129" y="454"/>
                    </a:lnTo>
                    <a:lnTo>
                      <a:pt x="132" y="456"/>
                    </a:lnTo>
                    <a:lnTo>
                      <a:pt x="136" y="456"/>
                    </a:lnTo>
                    <a:lnTo>
                      <a:pt x="140" y="453"/>
                    </a:lnTo>
                    <a:lnTo>
                      <a:pt x="143" y="455"/>
                    </a:lnTo>
                    <a:lnTo>
                      <a:pt x="145" y="454"/>
                    </a:lnTo>
                    <a:lnTo>
                      <a:pt x="148" y="456"/>
                    </a:lnTo>
                    <a:lnTo>
                      <a:pt x="148" y="458"/>
                    </a:lnTo>
                    <a:lnTo>
                      <a:pt x="152" y="457"/>
                    </a:lnTo>
                    <a:lnTo>
                      <a:pt x="153" y="457"/>
                    </a:lnTo>
                    <a:lnTo>
                      <a:pt x="154" y="457"/>
                    </a:lnTo>
                    <a:lnTo>
                      <a:pt x="155" y="457"/>
                    </a:lnTo>
                    <a:lnTo>
                      <a:pt x="158" y="458"/>
                    </a:lnTo>
                    <a:lnTo>
                      <a:pt x="162" y="461"/>
                    </a:lnTo>
                    <a:lnTo>
                      <a:pt x="166" y="463"/>
                    </a:lnTo>
                    <a:lnTo>
                      <a:pt x="169" y="465"/>
                    </a:lnTo>
                    <a:lnTo>
                      <a:pt x="169" y="467"/>
                    </a:lnTo>
                    <a:lnTo>
                      <a:pt x="174" y="465"/>
                    </a:lnTo>
                    <a:lnTo>
                      <a:pt x="178" y="467"/>
                    </a:lnTo>
                    <a:lnTo>
                      <a:pt x="180" y="471"/>
                    </a:lnTo>
                    <a:lnTo>
                      <a:pt x="188" y="477"/>
                    </a:lnTo>
                    <a:lnTo>
                      <a:pt x="190" y="477"/>
                    </a:lnTo>
                    <a:lnTo>
                      <a:pt x="191" y="477"/>
                    </a:lnTo>
                    <a:lnTo>
                      <a:pt x="191" y="481"/>
                    </a:lnTo>
                    <a:lnTo>
                      <a:pt x="193" y="482"/>
                    </a:lnTo>
                    <a:lnTo>
                      <a:pt x="196" y="482"/>
                    </a:lnTo>
                    <a:lnTo>
                      <a:pt x="197" y="479"/>
                    </a:lnTo>
                    <a:lnTo>
                      <a:pt x="200" y="478"/>
                    </a:lnTo>
                    <a:lnTo>
                      <a:pt x="200" y="476"/>
                    </a:lnTo>
                    <a:lnTo>
                      <a:pt x="202" y="473"/>
                    </a:lnTo>
                    <a:lnTo>
                      <a:pt x="204" y="473"/>
                    </a:lnTo>
                    <a:lnTo>
                      <a:pt x="205" y="476"/>
                    </a:lnTo>
                    <a:lnTo>
                      <a:pt x="206" y="477"/>
                    </a:lnTo>
                    <a:lnTo>
                      <a:pt x="208" y="477"/>
                    </a:lnTo>
                    <a:lnTo>
                      <a:pt x="210" y="476"/>
                    </a:lnTo>
                    <a:lnTo>
                      <a:pt x="211" y="473"/>
                    </a:lnTo>
                    <a:lnTo>
                      <a:pt x="211" y="471"/>
                    </a:lnTo>
                    <a:lnTo>
                      <a:pt x="210" y="470"/>
                    </a:lnTo>
                    <a:lnTo>
                      <a:pt x="210" y="466"/>
                    </a:lnTo>
                    <a:lnTo>
                      <a:pt x="211" y="465"/>
                    </a:lnTo>
                    <a:lnTo>
                      <a:pt x="213" y="467"/>
                    </a:lnTo>
                    <a:lnTo>
                      <a:pt x="215" y="467"/>
                    </a:lnTo>
                    <a:lnTo>
                      <a:pt x="216" y="467"/>
                    </a:lnTo>
                    <a:lnTo>
                      <a:pt x="218" y="467"/>
                    </a:lnTo>
                    <a:lnTo>
                      <a:pt x="221" y="470"/>
                    </a:lnTo>
                    <a:lnTo>
                      <a:pt x="223" y="470"/>
                    </a:lnTo>
                    <a:lnTo>
                      <a:pt x="224" y="466"/>
                    </a:lnTo>
                    <a:lnTo>
                      <a:pt x="226" y="465"/>
                    </a:lnTo>
                    <a:lnTo>
                      <a:pt x="227" y="462"/>
                    </a:lnTo>
                    <a:lnTo>
                      <a:pt x="229" y="459"/>
                    </a:lnTo>
                    <a:lnTo>
                      <a:pt x="229" y="456"/>
                    </a:lnTo>
                    <a:lnTo>
                      <a:pt x="231" y="454"/>
                    </a:lnTo>
                    <a:lnTo>
                      <a:pt x="232" y="454"/>
                    </a:lnTo>
                    <a:lnTo>
                      <a:pt x="231" y="450"/>
                    </a:lnTo>
                    <a:lnTo>
                      <a:pt x="229" y="447"/>
                    </a:lnTo>
                    <a:lnTo>
                      <a:pt x="229" y="444"/>
                    </a:lnTo>
                    <a:lnTo>
                      <a:pt x="232" y="444"/>
                    </a:lnTo>
                    <a:lnTo>
                      <a:pt x="233" y="445"/>
                    </a:lnTo>
                    <a:lnTo>
                      <a:pt x="236" y="444"/>
                    </a:lnTo>
                    <a:lnTo>
                      <a:pt x="237" y="446"/>
                    </a:lnTo>
                    <a:lnTo>
                      <a:pt x="238" y="447"/>
                    </a:lnTo>
                    <a:lnTo>
                      <a:pt x="237" y="447"/>
                    </a:lnTo>
                    <a:lnTo>
                      <a:pt x="237" y="448"/>
                    </a:lnTo>
                    <a:lnTo>
                      <a:pt x="239" y="450"/>
                    </a:lnTo>
                    <a:lnTo>
                      <a:pt x="242" y="452"/>
                    </a:lnTo>
                    <a:lnTo>
                      <a:pt x="242" y="455"/>
                    </a:lnTo>
                    <a:lnTo>
                      <a:pt x="242" y="456"/>
                    </a:lnTo>
                    <a:lnTo>
                      <a:pt x="243" y="457"/>
                    </a:lnTo>
                    <a:lnTo>
                      <a:pt x="244" y="460"/>
                    </a:lnTo>
                    <a:lnTo>
                      <a:pt x="246" y="459"/>
                    </a:lnTo>
                    <a:lnTo>
                      <a:pt x="249" y="459"/>
                    </a:lnTo>
                    <a:lnTo>
                      <a:pt x="250" y="461"/>
                    </a:lnTo>
                    <a:lnTo>
                      <a:pt x="256" y="463"/>
                    </a:lnTo>
                    <a:lnTo>
                      <a:pt x="257" y="464"/>
                    </a:lnTo>
                    <a:lnTo>
                      <a:pt x="257" y="467"/>
                    </a:lnTo>
                    <a:lnTo>
                      <a:pt x="259" y="469"/>
                    </a:lnTo>
                    <a:lnTo>
                      <a:pt x="260" y="468"/>
                    </a:lnTo>
                    <a:lnTo>
                      <a:pt x="260" y="466"/>
                    </a:lnTo>
                    <a:lnTo>
                      <a:pt x="262" y="466"/>
                    </a:lnTo>
                    <a:lnTo>
                      <a:pt x="263" y="465"/>
                    </a:lnTo>
                    <a:lnTo>
                      <a:pt x="264" y="465"/>
                    </a:lnTo>
                    <a:lnTo>
                      <a:pt x="266" y="463"/>
                    </a:lnTo>
                    <a:lnTo>
                      <a:pt x="268" y="463"/>
                    </a:lnTo>
                    <a:lnTo>
                      <a:pt x="271" y="460"/>
                    </a:lnTo>
                    <a:lnTo>
                      <a:pt x="272" y="459"/>
                    </a:lnTo>
                    <a:lnTo>
                      <a:pt x="275" y="459"/>
                    </a:lnTo>
                    <a:lnTo>
                      <a:pt x="276" y="463"/>
                    </a:lnTo>
                    <a:lnTo>
                      <a:pt x="276" y="470"/>
                    </a:lnTo>
                    <a:lnTo>
                      <a:pt x="278" y="471"/>
                    </a:lnTo>
                    <a:lnTo>
                      <a:pt x="279" y="471"/>
                    </a:lnTo>
                    <a:lnTo>
                      <a:pt x="283" y="470"/>
                    </a:lnTo>
                    <a:lnTo>
                      <a:pt x="285" y="475"/>
                    </a:lnTo>
                    <a:lnTo>
                      <a:pt x="286" y="483"/>
                    </a:lnTo>
                    <a:lnTo>
                      <a:pt x="292" y="483"/>
                    </a:lnTo>
                    <a:lnTo>
                      <a:pt x="294" y="482"/>
                    </a:lnTo>
                    <a:lnTo>
                      <a:pt x="294" y="483"/>
                    </a:lnTo>
                    <a:lnTo>
                      <a:pt x="295" y="482"/>
                    </a:lnTo>
                    <a:lnTo>
                      <a:pt x="297" y="484"/>
                    </a:lnTo>
                    <a:lnTo>
                      <a:pt x="299" y="482"/>
                    </a:lnTo>
                    <a:lnTo>
                      <a:pt x="299" y="480"/>
                    </a:lnTo>
                    <a:lnTo>
                      <a:pt x="301" y="479"/>
                    </a:lnTo>
                    <a:lnTo>
                      <a:pt x="301" y="478"/>
                    </a:lnTo>
                    <a:lnTo>
                      <a:pt x="304" y="476"/>
                    </a:lnTo>
                    <a:lnTo>
                      <a:pt x="303" y="468"/>
                    </a:lnTo>
                    <a:lnTo>
                      <a:pt x="306" y="458"/>
                    </a:lnTo>
                    <a:lnTo>
                      <a:pt x="306" y="453"/>
                    </a:lnTo>
                    <a:lnTo>
                      <a:pt x="304" y="453"/>
                    </a:lnTo>
                    <a:lnTo>
                      <a:pt x="308" y="441"/>
                    </a:lnTo>
                    <a:lnTo>
                      <a:pt x="309" y="440"/>
                    </a:lnTo>
                    <a:lnTo>
                      <a:pt x="310" y="436"/>
                    </a:lnTo>
                    <a:lnTo>
                      <a:pt x="313" y="431"/>
                    </a:lnTo>
                    <a:lnTo>
                      <a:pt x="314" y="430"/>
                    </a:lnTo>
                    <a:lnTo>
                      <a:pt x="319" y="430"/>
                    </a:lnTo>
                    <a:lnTo>
                      <a:pt x="320" y="427"/>
                    </a:lnTo>
                    <a:lnTo>
                      <a:pt x="324" y="427"/>
                    </a:lnTo>
                    <a:lnTo>
                      <a:pt x="328" y="424"/>
                    </a:lnTo>
                    <a:lnTo>
                      <a:pt x="328" y="422"/>
                    </a:lnTo>
                    <a:lnTo>
                      <a:pt x="330" y="421"/>
                    </a:lnTo>
                    <a:lnTo>
                      <a:pt x="330" y="419"/>
                    </a:lnTo>
                    <a:lnTo>
                      <a:pt x="332" y="418"/>
                    </a:lnTo>
                    <a:lnTo>
                      <a:pt x="333" y="418"/>
                    </a:lnTo>
                    <a:lnTo>
                      <a:pt x="335" y="418"/>
                    </a:lnTo>
                    <a:lnTo>
                      <a:pt x="333" y="411"/>
                    </a:lnTo>
                    <a:lnTo>
                      <a:pt x="337" y="405"/>
                    </a:lnTo>
                    <a:lnTo>
                      <a:pt x="337" y="403"/>
                    </a:lnTo>
                    <a:lnTo>
                      <a:pt x="336" y="400"/>
                    </a:lnTo>
                    <a:lnTo>
                      <a:pt x="337" y="399"/>
                    </a:lnTo>
                    <a:lnTo>
                      <a:pt x="337" y="397"/>
                    </a:lnTo>
                    <a:lnTo>
                      <a:pt x="340" y="396"/>
                    </a:lnTo>
                    <a:lnTo>
                      <a:pt x="341" y="396"/>
                    </a:lnTo>
                    <a:lnTo>
                      <a:pt x="343" y="397"/>
                    </a:lnTo>
                    <a:lnTo>
                      <a:pt x="346" y="397"/>
                    </a:lnTo>
                    <a:lnTo>
                      <a:pt x="347" y="396"/>
                    </a:lnTo>
                    <a:lnTo>
                      <a:pt x="348" y="398"/>
                    </a:lnTo>
                    <a:lnTo>
                      <a:pt x="348" y="397"/>
                    </a:lnTo>
                    <a:lnTo>
                      <a:pt x="349" y="399"/>
                    </a:lnTo>
                    <a:lnTo>
                      <a:pt x="350" y="400"/>
                    </a:lnTo>
                    <a:lnTo>
                      <a:pt x="351" y="399"/>
                    </a:lnTo>
                    <a:lnTo>
                      <a:pt x="352" y="400"/>
                    </a:lnTo>
                    <a:lnTo>
                      <a:pt x="354" y="398"/>
                    </a:lnTo>
                    <a:lnTo>
                      <a:pt x="356" y="399"/>
                    </a:lnTo>
                    <a:lnTo>
                      <a:pt x="358" y="401"/>
                    </a:lnTo>
                    <a:lnTo>
                      <a:pt x="358" y="403"/>
                    </a:lnTo>
                    <a:lnTo>
                      <a:pt x="361" y="403"/>
                    </a:lnTo>
                    <a:lnTo>
                      <a:pt x="363" y="405"/>
                    </a:lnTo>
                    <a:lnTo>
                      <a:pt x="365" y="406"/>
                    </a:lnTo>
                    <a:lnTo>
                      <a:pt x="366" y="405"/>
                    </a:lnTo>
                    <a:lnTo>
                      <a:pt x="369" y="407"/>
                    </a:lnTo>
                    <a:lnTo>
                      <a:pt x="371" y="408"/>
                    </a:lnTo>
                    <a:lnTo>
                      <a:pt x="372" y="410"/>
                    </a:lnTo>
                    <a:lnTo>
                      <a:pt x="374" y="410"/>
                    </a:lnTo>
                    <a:lnTo>
                      <a:pt x="375" y="410"/>
                    </a:lnTo>
                    <a:lnTo>
                      <a:pt x="377" y="412"/>
                    </a:lnTo>
                    <a:lnTo>
                      <a:pt x="379" y="410"/>
                    </a:lnTo>
                    <a:lnTo>
                      <a:pt x="380" y="410"/>
                    </a:lnTo>
                    <a:lnTo>
                      <a:pt x="382" y="409"/>
                    </a:lnTo>
                    <a:lnTo>
                      <a:pt x="384" y="405"/>
                    </a:lnTo>
                    <a:lnTo>
                      <a:pt x="384" y="403"/>
                    </a:lnTo>
                    <a:lnTo>
                      <a:pt x="379" y="398"/>
                    </a:lnTo>
                    <a:lnTo>
                      <a:pt x="379" y="397"/>
                    </a:lnTo>
                    <a:lnTo>
                      <a:pt x="379" y="396"/>
                    </a:lnTo>
                    <a:lnTo>
                      <a:pt x="378" y="395"/>
                    </a:lnTo>
                    <a:lnTo>
                      <a:pt x="381" y="392"/>
                    </a:lnTo>
                    <a:lnTo>
                      <a:pt x="381" y="387"/>
                    </a:lnTo>
                    <a:lnTo>
                      <a:pt x="384" y="382"/>
                    </a:lnTo>
                    <a:lnTo>
                      <a:pt x="384" y="376"/>
                    </a:lnTo>
                    <a:lnTo>
                      <a:pt x="386" y="375"/>
                    </a:lnTo>
                    <a:lnTo>
                      <a:pt x="386" y="374"/>
                    </a:lnTo>
                    <a:lnTo>
                      <a:pt x="389" y="374"/>
                    </a:lnTo>
                    <a:lnTo>
                      <a:pt x="389" y="372"/>
                    </a:lnTo>
                    <a:lnTo>
                      <a:pt x="388" y="369"/>
                    </a:lnTo>
                    <a:lnTo>
                      <a:pt x="387" y="369"/>
                    </a:lnTo>
                    <a:lnTo>
                      <a:pt x="387" y="365"/>
                    </a:lnTo>
                    <a:lnTo>
                      <a:pt x="388" y="359"/>
                    </a:lnTo>
                    <a:lnTo>
                      <a:pt x="391" y="359"/>
                    </a:lnTo>
                    <a:lnTo>
                      <a:pt x="392" y="351"/>
                    </a:lnTo>
                    <a:lnTo>
                      <a:pt x="393" y="352"/>
                    </a:lnTo>
                    <a:lnTo>
                      <a:pt x="393" y="350"/>
                    </a:lnTo>
                    <a:lnTo>
                      <a:pt x="394" y="348"/>
                    </a:lnTo>
                    <a:lnTo>
                      <a:pt x="395" y="346"/>
                    </a:lnTo>
                    <a:lnTo>
                      <a:pt x="395" y="340"/>
                    </a:lnTo>
                    <a:lnTo>
                      <a:pt x="393" y="339"/>
                    </a:lnTo>
                    <a:lnTo>
                      <a:pt x="393" y="336"/>
                    </a:lnTo>
                    <a:lnTo>
                      <a:pt x="392" y="335"/>
                    </a:lnTo>
                    <a:lnTo>
                      <a:pt x="392" y="333"/>
                    </a:lnTo>
                    <a:lnTo>
                      <a:pt x="394" y="332"/>
                    </a:lnTo>
                    <a:lnTo>
                      <a:pt x="395" y="331"/>
                    </a:lnTo>
                    <a:lnTo>
                      <a:pt x="395" y="328"/>
                    </a:lnTo>
                    <a:lnTo>
                      <a:pt x="393" y="327"/>
                    </a:lnTo>
                    <a:lnTo>
                      <a:pt x="393" y="321"/>
                    </a:lnTo>
                    <a:lnTo>
                      <a:pt x="393" y="318"/>
                    </a:lnTo>
                    <a:lnTo>
                      <a:pt x="394" y="314"/>
                    </a:lnTo>
                    <a:lnTo>
                      <a:pt x="395" y="310"/>
                    </a:lnTo>
                    <a:lnTo>
                      <a:pt x="395" y="311"/>
                    </a:lnTo>
                    <a:lnTo>
                      <a:pt x="397" y="307"/>
                    </a:lnTo>
                    <a:lnTo>
                      <a:pt x="400" y="306"/>
                    </a:lnTo>
                    <a:lnTo>
                      <a:pt x="401" y="305"/>
                    </a:lnTo>
                    <a:lnTo>
                      <a:pt x="401" y="304"/>
                    </a:lnTo>
                    <a:lnTo>
                      <a:pt x="402" y="299"/>
                    </a:lnTo>
                    <a:lnTo>
                      <a:pt x="401" y="299"/>
                    </a:lnTo>
                    <a:lnTo>
                      <a:pt x="400" y="297"/>
                    </a:lnTo>
                    <a:lnTo>
                      <a:pt x="402" y="294"/>
                    </a:lnTo>
                    <a:lnTo>
                      <a:pt x="403" y="295"/>
                    </a:lnTo>
                    <a:lnTo>
                      <a:pt x="406" y="295"/>
                    </a:lnTo>
                    <a:lnTo>
                      <a:pt x="407" y="293"/>
                    </a:lnTo>
                    <a:lnTo>
                      <a:pt x="409" y="292"/>
                    </a:lnTo>
                    <a:lnTo>
                      <a:pt x="410" y="295"/>
                    </a:lnTo>
                    <a:lnTo>
                      <a:pt x="414" y="297"/>
                    </a:lnTo>
                    <a:lnTo>
                      <a:pt x="418" y="296"/>
                    </a:lnTo>
                    <a:lnTo>
                      <a:pt x="420" y="297"/>
                    </a:lnTo>
                    <a:lnTo>
                      <a:pt x="421" y="301"/>
                    </a:lnTo>
                    <a:lnTo>
                      <a:pt x="420" y="302"/>
                    </a:lnTo>
                    <a:lnTo>
                      <a:pt x="420" y="303"/>
                    </a:lnTo>
                    <a:lnTo>
                      <a:pt x="420" y="305"/>
                    </a:lnTo>
                    <a:lnTo>
                      <a:pt x="426" y="306"/>
                    </a:lnTo>
                    <a:lnTo>
                      <a:pt x="430" y="308"/>
                    </a:lnTo>
                    <a:lnTo>
                      <a:pt x="431" y="306"/>
                    </a:lnTo>
                    <a:lnTo>
                      <a:pt x="433" y="306"/>
                    </a:lnTo>
                    <a:lnTo>
                      <a:pt x="435" y="307"/>
                    </a:lnTo>
                    <a:lnTo>
                      <a:pt x="436" y="306"/>
                    </a:lnTo>
                    <a:lnTo>
                      <a:pt x="437" y="307"/>
                    </a:lnTo>
                    <a:lnTo>
                      <a:pt x="439" y="306"/>
                    </a:lnTo>
                    <a:lnTo>
                      <a:pt x="439" y="308"/>
                    </a:lnTo>
                    <a:lnTo>
                      <a:pt x="444" y="311"/>
                    </a:lnTo>
                    <a:lnTo>
                      <a:pt x="444" y="314"/>
                    </a:lnTo>
                    <a:lnTo>
                      <a:pt x="443" y="314"/>
                    </a:lnTo>
                    <a:lnTo>
                      <a:pt x="442" y="315"/>
                    </a:lnTo>
                    <a:lnTo>
                      <a:pt x="442" y="316"/>
                    </a:lnTo>
                    <a:lnTo>
                      <a:pt x="445" y="318"/>
                    </a:lnTo>
                    <a:lnTo>
                      <a:pt x="445" y="319"/>
                    </a:lnTo>
                    <a:lnTo>
                      <a:pt x="444" y="320"/>
                    </a:lnTo>
                    <a:lnTo>
                      <a:pt x="446" y="322"/>
                    </a:lnTo>
                    <a:lnTo>
                      <a:pt x="446" y="325"/>
                    </a:lnTo>
                    <a:lnTo>
                      <a:pt x="446" y="326"/>
                    </a:lnTo>
                    <a:lnTo>
                      <a:pt x="444" y="327"/>
                    </a:lnTo>
                    <a:lnTo>
                      <a:pt x="441" y="332"/>
                    </a:lnTo>
                    <a:lnTo>
                      <a:pt x="443" y="335"/>
                    </a:lnTo>
                    <a:lnTo>
                      <a:pt x="444" y="334"/>
                    </a:lnTo>
                    <a:lnTo>
                      <a:pt x="445" y="335"/>
                    </a:lnTo>
                    <a:lnTo>
                      <a:pt x="448" y="333"/>
                    </a:lnTo>
                    <a:lnTo>
                      <a:pt x="450" y="335"/>
                    </a:lnTo>
                    <a:lnTo>
                      <a:pt x="454" y="331"/>
                    </a:lnTo>
                    <a:lnTo>
                      <a:pt x="456" y="331"/>
                    </a:lnTo>
                    <a:lnTo>
                      <a:pt x="458" y="329"/>
                    </a:lnTo>
                    <a:lnTo>
                      <a:pt x="459" y="329"/>
                    </a:lnTo>
                    <a:lnTo>
                      <a:pt x="462" y="329"/>
                    </a:lnTo>
                    <a:lnTo>
                      <a:pt x="466" y="330"/>
                    </a:lnTo>
                    <a:lnTo>
                      <a:pt x="467" y="330"/>
                    </a:lnTo>
                    <a:lnTo>
                      <a:pt x="471" y="333"/>
                    </a:lnTo>
                    <a:lnTo>
                      <a:pt x="472" y="331"/>
                    </a:lnTo>
                    <a:lnTo>
                      <a:pt x="474" y="331"/>
                    </a:lnTo>
                    <a:lnTo>
                      <a:pt x="473" y="328"/>
                    </a:lnTo>
                    <a:lnTo>
                      <a:pt x="474" y="328"/>
                    </a:lnTo>
                    <a:lnTo>
                      <a:pt x="475" y="328"/>
                    </a:lnTo>
                    <a:lnTo>
                      <a:pt x="478" y="322"/>
                    </a:lnTo>
                    <a:lnTo>
                      <a:pt x="479" y="322"/>
                    </a:lnTo>
                    <a:lnTo>
                      <a:pt x="477" y="318"/>
                    </a:lnTo>
                    <a:lnTo>
                      <a:pt x="478" y="315"/>
                    </a:lnTo>
                    <a:lnTo>
                      <a:pt x="481" y="316"/>
                    </a:lnTo>
                    <a:lnTo>
                      <a:pt x="482" y="318"/>
                    </a:lnTo>
                    <a:lnTo>
                      <a:pt x="481" y="320"/>
                    </a:lnTo>
                    <a:lnTo>
                      <a:pt x="485" y="324"/>
                    </a:lnTo>
                    <a:lnTo>
                      <a:pt x="487" y="323"/>
                    </a:lnTo>
                    <a:lnTo>
                      <a:pt x="489" y="325"/>
                    </a:lnTo>
                    <a:lnTo>
                      <a:pt x="491" y="324"/>
                    </a:lnTo>
                    <a:lnTo>
                      <a:pt x="492" y="322"/>
                    </a:lnTo>
                    <a:lnTo>
                      <a:pt x="494" y="323"/>
                    </a:lnTo>
                    <a:lnTo>
                      <a:pt x="497" y="322"/>
                    </a:lnTo>
                    <a:lnTo>
                      <a:pt x="501" y="324"/>
                    </a:lnTo>
                    <a:lnTo>
                      <a:pt x="507" y="329"/>
                    </a:lnTo>
                    <a:lnTo>
                      <a:pt x="508" y="333"/>
                    </a:lnTo>
                    <a:lnTo>
                      <a:pt x="511" y="334"/>
                    </a:lnTo>
                    <a:lnTo>
                      <a:pt x="513" y="338"/>
                    </a:lnTo>
                    <a:lnTo>
                      <a:pt x="516" y="341"/>
                    </a:lnTo>
                    <a:lnTo>
                      <a:pt x="519" y="342"/>
                    </a:lnTo>
                    <a:lnTo>
                      <a:pt x="521" y="342"/>
                    </a:lnTo>
                    <a:lnTo>
                      <a:pt x="523" y="342"/>
                    </a:lnTo>
                    <a:lnTo>
                      <a:pt x="524" y="345"/>
                    </a:lnTo>
                    <a:lnTo>
                      <a:pt x="528" y="342"/>
                    </a:lnTo>
                    <a:lnTo>
                      <a:pt x="529" y="345"/>
                    </a:lnTo>
                    <a:lnTo>
                      <a:pt x="531" y="346"/>
                    </a:lnTo>
                    <a:lnTo>
                      <a:pt x="532" y="346"/>
                    </a:lnTo>
                    <a:lnTo>
                      <a:pt x="537" y="350"/>
                    </a:lnTo>
                    <a:lnTo>
                      <a:pt x="537" y="357"/>
                    </a:lnTo>
                    <a:lnTo>
                      <a:pt x="539" y="361"/>
                    </a:lnTo>
                    <a:lnTo>
                      <a:pt x="545" y="365"/>
                    </a:lnTo>
                    <a:lnTo>
                      <a:pt x="548" y="361"/>
                    </a:lnTo>
                    <a:lnTo>
                      <a:pt x="549" y="361"/>
                    </a:lnTo>
                    <a:lnTo>
                      <a:pt x="549" y="358"/>
                    </a:lnTo>
                    <a:lnTo>
                      <a:pt x="550" y="358"/>
                    </a:lnTo>
                    <a:lnTo>
                      <a:pt x="552" y="359"/>
                    </a:lnTo>
                    <a:lnTo>
                      <a:pt x="553" y="358"/>
                    </a:lnTo>
                    <a:lnTo>
                      <a:pt x="555" y="357"/>
                    </a:lnTo>
                    <a:lnTo>
                      <a:pt x="552" y="356"/>
                    </a:lnTo>
                    <a:lnTo>
                      <a:pt x="554" y="354"/>
                    </a:lnTo>
                    <a:lnTo>
                      <a:pt x="555" y="355"/>
                    </a:lnTo>
                    <a:lnTo>
                      <a:pt x="555" y="353"/>
                    </a:lnTo>
                    <a:lnTo>
                      <a:pt x="555" y="352"/>
                    </a:lnTo>
                    <a:lnTo>
                      <a:pt x="554" y="352"/>
                    </a:lnTo>
                    <a:lnTo>
                      <a:pt x="554" y="351"/>
                    </a:lnTo>
                    <a:lnTo>
                      <a:pt x="553" y="352"/>
                    </a:lnTo>
                    <a:lnTo>
                      <a:pt x="552" y="350"/>
                    </a:lnTo>
                    <a:lnTo>
                      <a:pt x="553" y="348"/>
                    </a:lnTo>
                    <a:lnTo>
                      <a:pt x="555" y="348"/>
                    </a:lnTo>
                    <a:lnTo>
                      <a:pt x="555" y="350"/>
                    </a:lnTo>
                    <a:lnTo>
                      <a:pt x="557" y="351"/>
                    </a:lnTo>
                    <a:lnTo>
                      <a:pt x="558" y="351"/>
                    </a:lnTo>
                    <a:lnTo>
                      <a:pt x="559" y="350"/>
                    </a:lnTo>
                    <a:lnTo>
                      <a:pt x="560" y="348"/>
                    </a:lnTo>
                    <a:lnTo>
                      <a:pt x="557" y="345"/>
                    </a:lnTo>
                    <a:lnTo>
                      <a:pt x="558" y="343"/>
                    </a:lnTo>
                    <a:lnTo>
                      <a:pt x="559" y="342"/>
                    </a:lnTo>
                    <a:lnTo>
                      <a:pt x="559" y="341"/>
                    </a:lnTo>
                    <a:lnTo>
                      <a:pt x="560" y="340"/>
                    </a:lnTo>
                    <a:lnTo>
                      <a:pt x="556" y="337"/>
                    </a:lnTo>
                    <a:lnTo>
                      <a:pt x="552" y="335"/>
                    </a:lnTo>
                    <a:lnTo>
                      <a:pt x="550" y="335"/>
                    </a:lnTo>
                    <a:lnTo>
                      <a:pt x="546" y="334"/>
                    </a:lnTo>
                    <a:lnTo>
                      <a:pt x="545" y="333"/>
                    </a:lnTo>
                    <a:lnTo>
                      <a:pt x="544" y="331"/>
                    </a:lnTo>
                    <a:lnTo>
                      <a:pt x="545" y="329"/>
                    </a:lnTo>
                    <a:lnTo>
                      <a:pt x="545" y="327"/>
                    </a:lnTo>
                    <a:lnTo>
                      <a:pt x="546" y="326"/>
                    </a:lnTo>
                    <a:lnTo>
                      <a:pt x="545" y="324"/>
                    </a:lnTo>
                    <a:lnTo>
                      <a:pt x="544" y="323"/>
                    </a:lnTo>
                    <a:lnTo>
                      <a:pt x="542" y="322"/>
                    </a:lnTo>
                    <a:lnTo>
                      <a:pt x="540" y="324"/>
                    </a:lnTo>
                    <a:lnTo>
                      <a:pt x="538" y="324"/>
                    </a:lnTo>
                    <a:lnTo>
                      <a:pt x="537" y="325"/>
                    </a:lnTo>
                    <a:lnTo>
                      <a:pt x="535" y="322"/>
                    </a:lnTo>
                    <a:lnTo>
                      <a:pt x="537" y="320"/>
                    </a:lnTo>
                    <a:lnTo>
                      <a:pt x="537" y="318"/>
                    </a:lnTo>
                    <a:lnTo>
                      <a:pt x="539" y="317"/>
                    </a:lnTo>
                    <a:lnTo>
                      <a:pt x="541" y="317"/>
                    </a:lnTo>
                    <a:lnTo>
                      <a:pt x="542" y="315"/>
                    </a:lnTo>
                    <a:lnTo>
                      <a:pt x="543" y="313"/>
                    </a:lnTo>
                    <a:lnTo>
                      <a:pt x="545" y="314"/>
                    </a:lnTo>
                    <a:lnTo>
                      <a:pt x="545" y="311"/>
                    </a:lnTo>
                    <a:lnTo>
                      <a:pt x="547" y="312"/>
                    </a:lnTo>
                    <a:lnTo>
                      <a:pt x="548" y="311"/>
                    </a:lnTo>
                    <a:lnTo>
                      <a:pt x="549" y="310"/>
                    </a:lnTo>
                    <a:lnTo>
                      <a:pt x="548" y="309"/>
                    </a:lnTo>
                    <a:lnTo>
                      <a:pt x="550" y="307"/>
                    </a:lnTo>
                    <a:lnTo>
                      <a:pt x="548" y="306"/>
                    </a:lnTo>
                    <a:lnTo>
                      <a:pt x="549" y="306"/>
                    </a:lnTo>
                    <a:lnTo>
                      <a:pt x="548" y="305"/>
                    </a:lnTo>
                    <a:lnTo>
                      <a:pt x="549" y="303"/>
                    </a:lnTo>
                    <a:lnTo>
                      <a:pt x="552" y="303"/>
                    </a:lnTo>
                    <a:lnTo>
                      <a:pt x="555" y="302"/>
                    </a:lnTo>
                    <a:lnTo>
                      <a:pt x="556" y="299"/>
                    </a:lnTo>
                    <a:lnTo>
                      <a:pt x="554" y="298"/>
                    </a:lnTo>
                    <a:lnTo>
                      <a:pt x="555" y="295"/>
                    </a:lnTo>
                    <a:lnTo>
                      <a:pt x="554" y="295"/>
                    </a:lnTo>
                    <a:lnTo>
                      <a:pt x="554" y="294"/>
                    </a:lnTo>
                    <a:lnTo>
                      <a:pt x="557" y="294"/>
                    </a:lnTo>
                    <a:lnTo>
                      <a:pt x="558" y="295"/>
                    </a:lnTo>
                    <a:lnTo>
                      <a:pt x="559" y="291"/>
                    </a:lnTo>
                    <a:lnTo>
                      <a:pt x="557" y="289"/>
                    </a:lnTo>
                    <a:lnTo>
                      <a:pt x="558" y="287"/>
                    </a:lnTo>
                    <a:lnTo>
                      <a:pt x="562" y="289"/>
                    </a:lnTo>
                    <a:lnTo>
                      <a:pt x="565" y="289"/>
                    </a:lnTo>
                    <a:lnTo>
                      <a:pt x="565" y="290"/>
                    </a:lnTo>
                    <a:lnTo>
                      <a:pt x="566" y="289"/>
                    </a:lnTo>
                    <a:lnTo>
                      <a:pt x="567" y="290"/>
                    </a:lnTo>
                    <a:lnTo>
                      <a:pt x="569" y="290"/>
                    </a:lnTo>
                    <a:lnTo>
                      <a:pt x="570" y="289"/>
                    </a:lnTo>
                    <a:lnTo>
                      <a:pt x="570" y="287"/>
                    </a:lnTo>
                    <a:lnTo>
                      <a:pt x="569" y="284"/>
                    </a:lnTo>
                    <a:lnTo>
                      <a:pt x="572" y="28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2" name="Freeform 73">
                <a:extLst>
                  <a:ext uri="{FF2B5EF4-FFF2-40B4-BE49-F238E27FC236}">
                    <a16:creationId xmlns:a16="http://schemas.microsoft.com/office/drawing/2014/main" id="{2D211C12-26C8-4EDE-8C41-553F654364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" y="3367"/>
                <a:ext cx="572" cy="484"/>
              </a:xfrm>
              <a:custGeom>
                <a:avLst/>
                <a:gdLst>
                  <a:gd name="T0" fmla="*/ 557 w 572"/>
                  <a:gd name="T1" fmla="*/ 259 h 484"/>
                  <a:gd name="T2" fmla="*/ 527 w 572"/>
                  <a:gd name="T3" fmla="*/ 257 h 484"/>
                  <a:gd name="T4" fmla="*/ 507 w 572"/>
                  <a:gd name="T5" fmla="*/ 242 h 484"/>
                  <a:gd name="T6" fmla="*/ 497 w 572"/>
                  <a:gd name="T7" fmla="*/ 214 h 484"/>
                  <a:gd name="T8" fmla="*/ 467 w 572"/>
                  <a:gd name="T9" fmla="*/ 200 h 484"/>
                  <a:gd name="T10" fmla="*/ 443 w 572"/>
                  <a:gd name="T11" fmla="*/ 189 h 484"/>
                  <a:gd name="T12" fmla="*/ 418 w 572"/>
                  <a:gd name="T13" fmla="*/ 168 h 484"/>
                  <a:gd name="T14" fmla="*/ 395 w 572"/>
                  <a:gd name="T15" fmla="*/ 140 h 484"/>
                  <a:gd name="T16" fmla="*/ 394 w 572"/>
                  <a:gd name="T17" fmla="*/ 113 h 484"/>
                  <a:gd name="T18" fmla="*/ 407 w 572"/>
                  <a:gd name="T19" fmla="*/ 79 h 484"/>
                  <a:gd name="T20" fmla="*/ 410 w 572"/>
                  <a:gd name="T21" fmla="*/ 54 h 484"/>
                  <a:gd name="T22" fmla="*/ 401 w 572"/>
                  <a:gd name="T23" fmla="*/ 32 h 484"/>
                  <a:gd name="T24" fmla="*/ 391 w 572"/>
                  <a:gd name="T25" fmla="*/ 24 h 484"/>
                  <a:gd name="T26" fmla="*/ 365 w 572"/>
                  <a:gd name="T27" fmla="*/ 14 h 484"/>
                  <a:gd name="T28" fmla="*/ 360 w 572"/>
                  <a:gd name="T29" fmla="*/ 29 h 484"/>
                  <a:gd name="T30" fmla="*/ 344 w 572"/>
                  <a:gd name="T31" fmla="*/ 39 h 484"/>
                  <a:gd name="T32" fmla="*/ 315 w 572"/>
                  <a:gd name="T33" fmla="*/ 39 h 484"/>
                  <a:gd name="T34" fmla="*/ 308 w 572"/>
                  <a:gd name="T35" fmla="*/ 34 h 484"/>
                  <a:gd name="T36" fmla="*/ 288 w 572"/>
                  <a:gd name="T37" fmla="*/ 31 h 484"/>
                  <a:gd name="T38" fmla="*/ 271 w 572"/>
                  <a:gd name="T39" fmla="*/ 22 h 484"/>
                  <a:gd name="T40" fmla="*/ 262 w 572"/>
                  <a:gd name="T41" fmla="*/ 26 h 484"/>
                  <a:gd name="T42" fmla="*/ 250 w 572"/>
                  <a:gd name="T43" fmla="*/ 21 h 484"/>
                  <a:gd name="T44" fmla="*/ 225 w 572"/>
                  <a:gd name="T45" fmla="*/ 6 h 484"/>
                  <a:gd name="T46" fmla="*/ 205 w 572"/>
                  <a:gd name="T47" fmla="*/ 17 h 484"/>
                  <a:gd name="T48" fmla="*/ 179 w 572"/>
                  <a:gd name="T49" fmla="*/ 16 h 484"/>
                  <a:gd name="T50" fmla="*/ 163 w 572"/>
                  <a:gd name="T51" fmla="*/ 6 h 484"/>
                  <a:gd name="T52" fmla="*/ 154 w 572"/>
                  <a:gd name="T53" fmla="*/ 16 h 484"/>
                  <a:gd name="T54" fmla="*/ 131 w 572"/>
                  <a:gd name="T55" fmla="*/ 15 h 484"/>
                  <a:gd name="T56" fmla="*/ 113 w 572"/>
                  <a:gd name="T57" fmla="*/ 10 h 484"/>
                  <a:gd name="T58" fmla="*/ 90 w 572"/>
                  <a:gd name="T59" fmla="*/ 17 h 484"/>
                  <a:gd name="T60" fmla="*/ 91 w 572"/>
                  <a:gd name="T61" fmla="*/ 32 h 484"/>
                  <a:gd name="T62" fmla="*/ 92 w 572"/>
                  <a:gd name="T63" fmla="*/ 49 h 484"/>
                  <a:gd name="T64" fmla="*/ 89 w 572"/>
                  <a:gd name="T65" fmla="*/ 74 h 484"/>
                  <a:gd name="T66" fmla="*/ 84 w 572"/>
                  <a:gd name="T67" fmla="*/ 98 h 484"/>
                  <a:gd name="T68" fmla="*/ 62 w 572"/>
                  <a:gd name="T69" fmla="*/ 116 h 484"/>
                  <a:gd name="T70" fmla="*/ 58 w 572"/>
                  <a:gd name="T71" fmla="*/ 138 h 484"/>
                  <a:gd name="T72" fmla="*/ 52 w 572"/>
                  <a:gd name="T73" fmla="*/ 168 h 484"/>
                  <a:gd name="T74" fmla="*/ 34 w 572"/>
                  <a:gd name="T75" fmla="*/ 177 h 484"/>
                  <a:gd name="T76" fmla="*/ 20 w 572"/>
                  <a:gd name="T77" fmla="*/ 196 h 484"/>
                  <a:gd name="T78" fmla="*/ 0 w 572"/>
                  <a:gd name="T79" fmla="*/ 245 h 484"/>
                  <a:gd name="T80" fmla="*/ 24 w 572"/>
                  <a:gd name="T81" fmla="*/ 282 h 484"/>
                  <a:gd name="T82" fmla="*/ 57 w 572"/>
                  <a:gd name="T83" fmla="*/ 328 h 484"/>
                  <a:gd name="T84" fmla="*/ 97 w 572"/>
                  <a:gd name="T85" fmla="*/ 386 h 484"/>
                  <a:gd name="T86" fmla="*/ 125 w 572"/>
                  <a:gd name="T87" fmla="*/ 414 h 484"/>
                  <a:gd name="T88" fmla="*/ 119 w 572"/>
                  <a:gd name="T89" fmla="*/ 447 h 484"/>
                  <a:gd name="T90" fmla="*/ 155 w 572"/>
                  <a:gd name="T91" fmla="*/ 457 h 484"/>
                  <a:gd name="T92" fmla="*/ 208 w 572"/>
                  <a:gd name="T93" fmla="*/ 477 h 484"/>
                  <a:gd name="T94" fmla="*/ 229 w 572"/>
                  <a:gd name="T95" fmla="*/ 444 h 484"/>
                  <a:gd name="T96" fmla="*/ 260 w 572"/>
                  <a:gd name="T97" fmla="*/ 468 h 484"/>
                  <a:gd name="T98" fmla="*/ 299 w 572"/>
                  <a:gd name="T99" fmla="*/ 482 h 484"/>
                  <a:gd name="T100" fmla="*/ 332 w 572"/>
                  <a:gd name="T101" fmla="*/ 418 h 484"/>
                  <a:gd name="T102" fmla="*/ 356 w 572"/>
                  <a:gd name="T103" fmla="*/ 399 h 484"/>
                  <a:gd name="T104" fmla="*/ 379 w 572"/>
                  <a:gd name="T105" fmla="*/ 397 h 484"/>
                  <a:gd name="T106" fmla="*/ 395 w 572"/>
                  <a:gd name="T107" fmla="*/ 340 h 484"/>
                  <a:gd name="T108" fmla="*/ 403 w 572"/>
                  <a:gd name="T109" fmla="*/ 295 h 484"/>
                  <a:gd name="T110" fmla="*/ 444 w 572"/>
                  <a:gd name="T111" fmla="*/ 311 h 484"/>
                  <a:gd name="T112" fmla="*/ 462 w 572"/>
                  <a:gd name="T113" fmla="*/ 329 h 484"/>
                  <a:gd name="T114" fmla="*/ 497 w 572"/>
                  <a:gd name="T115" fmla="*/ 322 h 484"/>
                  <a:gd name="T116" fmla="*/ 550 w 572"/>
                  <a:gd name="T117" fmla="*/ 358 h 484"/>
                  <a:gd name="T118" fmla="*/ 560 w 572"/>
                  <a:gd name="T119" fmla="*/ 348 h 484"/>
                  <a:gd name="T120" fmla="*/ 535 w 572"/>
                  <a:gd name="T121" fmla="*/ 322 h 484"/>
                  <a:gd name="T122" fmla="*/ 556 w 572"/>
                  <a:gd name="T123" fmla="*/ 299 h 48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2"/>
                  <a:gd name="T187" fmla="*/ 0 h 484"/>
                  <a:gd name="T188" fmla="*/ 572 w 572"/>
                  <a:gd name="T189" fmla="*/ 484 h 48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2" h="484">
                    <a:moveTo>
                      <a:pt x="572" y="284"/>
                    </a:moveTo>
                    <a:lnTo>
                      <a:pt x="567" y="277"/>
                    </a:lnTo>
                    <a:lnTo>
                      <a:pt x="568" y="276"/>
                    </a:lnTo>
                    <a:lnTo>
                      <a:pt x="570" y="276"/>
                    </a:lnTo>
                    <a:lnTo>
                      <a:pt x="570" y="274"/>
                    </a:lnTo>
                    <a:lnTo>
                      <a:pt x="567" y="273"/>
                    </a:lnTo>
                    <a:lnTo>
                      <a:pt x="565" y="274"/>
                    </a:lnTo>
                    <a:lnTo>
                      <a:pt x="566" y="274"/>
                    </a:lnTo>
                    <a:lnTo>
                      <a:pt x="565" y="275"/>
                    </a:lnTo>
                    <a:lnTo>
                      <a:pt x="562" y="271"/>
                    </a:lnTo>
                    <a:lnTo>
                      <a:pt x="561" y="269"/>
                    </a:lnTo>
                    <a:lnTo>
                      <a:pt x="562" y="268"/>
                    </a:lnTo>
                    <a:lnTo>
                      <a:pt x="565" y="268"/>
                    </a:lnTo>
                    <a:lnTo>
                      <a:pt x="565" y="269"/>
                    </a:lnTo>
                    <a:lnTo>
                      <a:pt x="565" y="267"/>
                    </a:lnTo>
                    <a:lnTo>
                      <a:pt x="565" y="263"/>
                    </a:lnTo>
                    <a:lnTo>
                      <a:pt x="562" y="261"/>
                    </a:lnTo>
                    <a:lnTo>
                      <a:pt x="561" y="264"/>
                    </a:lnTo>
                    <a:lnTo>
                      <a:pt x="562" y="261"/>
                    </a:lnTo>
                    <a:lnTo>
                      <a:pt x="559" y="259"/>
                    </a:lnTo>
                    <a:lnTo>
                      <a:pt x="558" y="259"/>
                    </a:lnTo>
                    <a:lnTo>
                      <a:pt x="557" y="259"/>
                    </a:lnTo>
                    <a:lnTo>
                      <a:pt x="556" y="261"/>
                    </a:lnTo>
                    <a:lnTo>
                      <a:pt x="557" y="263"/>
                    </a:lnTo>
                    <a:lnTo>
                      <a:pt x="556" y="264"/>
                    </a:lnTo>
                    <a:lnTo>
                      <a:pt x="554" y="264"/>
                    </a:lnTo>
                    <a:lnTo>
                      <a:pt x="554" y="263"/>
                    </a:lnTo>
                    <a:lnTo>
                      <a:pt x="553" y="261"/>
                    </a:lnTo>
                    <a:lnTo>
                      <a:pt x="550" y="260"/>
                    </a:lnTo>
                    <a:lnTo>
                      <a:pt x="549" y="261"/>
                    </a:lnTo>
                    <a:lnTo>
                      <a:pt x="546" y="265"/>
                    </a:lnTo>
                    <a:lnTo>
                      <a:pt x="544" y="264"/>
                    </a:lnTo>
                    <a:lnTo>
                      <a:pt x="542" y="264"/>
                    </a:lnTo>
                    <a:lnTo>
                      <a:pt x="537" y="262"/>
                    </a:lnTo>
                    <a:lnTo>
                      <a:pt x="537" y="264"/>
                    </a:lnTo>
                    <a:lnTo>
                      <a:pt x="536" y="263"/>
                    </a:lnTo>
                    <a:lnTo>
                      <a:pt x="535" y="264"/>
                    </a:lnTo>
                    <a:lnTo>
                      <a:pt x="535" y="262"/>
                    </a:lnTo>
                    <a:lnTo>
                      <a:pt x="534" y="262"/>
                    </a:lnTo>
                    <a:lnTo>
                      <a:pt x="532" y="257"/>
                    </a:lnTo>
                    <a:lnTo>
                      <a:pt x="531" y="256"/>
                    </a:lnTo>
                    <a:lnTo>
                      <a:pt x="529" y="256"/>
                    </a:lnTo>
                    <a:lnTo>
                      <a:pt x="528" y="257"/>
                    </a:lnTo>
                    <a:lnTo>
                      <a:pt x="527" y="257"/>
                    </a:lnTo>
                    <a:lnTo>
                      <a:pt x="526" y="261"/>
                    </a:lnTo>
                    <a:lnTo>
                      <a:pt x="524" y="263"/>
                    </a:lnTo>
                    <a:lnTo>
                      <a:pt x="524" y="262"/>
                    </a:lnTo>
                    <a:lnTo>
                      <a:pt x="524" y="259"/>
                    </a:lnTo>
                    <a:lnTo>
                      <a:pt x="521" y="257"/>
                    </a:lnTo>
                    <a:lnTo>
                      <a:pt x="520" y="255"/>
                    </a:lnTo>
                    <a:lnTo>
                      <a:pt x="518" y="254"/>
                    </a:lnTo>
                    <a:lnTo>
                      <a:pt x="517" y="254"/>
                    </a:lnTo>
                    <a:lnTo>
                      <a:pt x="516" y="254"/>
                    </a:lnTo>
                    <a:lnTo>
                      <a:pt x="513" y="251"/>
                    </a:lnTo>
                    <a:lnTo>
                      <a:pt x="514" y="250"/>
                    </a:lnTo>
                    <a:lnTo>
                      <a:pt x="513" y="247"/>
                    </a:lnTo>
                    <a:lnTo>
                      <a:pt x="512" y="245"/>
                    </a:lnTo>
                    <a:lnTo>
                      <a:pt x="511" y="246"/>
                    </a:lnTo>
                    <a:lnTo>
                      <a:pt x="509" y="244"/>
                    </a:lnTo>
                    <a:lnTo>
                      <a:pt x="510" y="242"/>
                    </a:lnTo>
                    <a:lnTo>
                      <a:pt x="509" y="242"/>
                    </a:lnTo>
                    <a:lnTo>
                      <a:pt x="508" y="242"/>
                    </a:lnTo>
                    <a:lnTo>
                      <a:pt x="508" y="244"/>
                    </a:lnTo>
                    <a:lnTo>
                      <a:pt x="507" y="244"/>
                    </a:lnTo>
                    <a:lnTo>
                      <a:pt x="507" y="242"/>
                    </a:lnTo>
                    <a:lnTo>
                      <a:pt x="506" y="239"/>
                    </a:lnTo>
                    <a:lnTo>
                      <a:pt x="506" y="237"/>
                    </a:lnTo>
                    <a:lnTo>
                      <a:pt x="504" y="237"/>
                    </a:lnTo>
                    <a:lnTo>
                      <a:pt x="503" y="237"/>
                    </a:lnTo>
                    <a:lnTo>
                      <a:pt x="505" y="234"/>
                    </a:lnTo>
                    <a:lnTo>
                      <a:pt x="505" y="231"/>
                    </a:lnTo>
                    <a:lnTo>
                      <a:pt x="507" y="229"/>
                    </a:lnTo>
                    <a:lnTo>
                      <a:pt x="507" y="227"/>
                    </a:lnTo>
                    <a:lnTo>
                      <a:pt x="509" y="225"/>
                    </a:lnTo>
                    <a:lnTo>
                      <a:pt x="508" y="224"/>
                    </a:lnTo>
                    <a:lnTo>
                      <a:pt x="508" y="223"/>
                    </a:lnTo>
                    <a:lnTo>
                      <a:pt x="508" y="221"/>
                    </a:lnTo>
                    <a:lnTo>
                      <a:pt x="508" y="217"/>
                    </a:lnTo>
                    <a:lnTo>
                      <a:pt x="508" y="214"/>
                    </a:lnTo>
                    <a:lnTo>
                      <a:pt x="507" y="213"/>
                    </a:lnTo>
                    <a:lnTo>
                      <a:pt x="504" y="212"/>
                    </a:lnTo>
                    <a:lnTo>
                      <a:pt x="503" y="212"/>
                    </a:lnTo>
                    <a:lnTo>
                      <a:pt x="502" y="212"/>
                    </a:lnTo>
                    <a:lnTo>
                      <a:pt x="501" y="211"/>
                    </a:lnTo>
                    <a:lnTo>
                      <a:pt x="499" y="211"/>
                    </a:lnTo>
                    <a:lnTo>
                      <a:pt x="499" y="213"/>
                    </a:lnTo>
                    <a:lnTo>
                      <a:pt x="497" y="214"/>
                    </a:lnTo>
                    <a:lnTo>
                      <a:pt x="494" y="211"/>
                    </a:lnTo>
                    <a:lnTo>
                      <a:pt x="491" y="211"/>
                    </a:lnTo>
                    <a:lnTo>
                      <a:pt x="490" y="213"/>
                    </a:lnTo>
                    <a:lnTo>
                      <a:pt x="488" y="214"/>
                    </a:lnTo>
                    <a:lnTo>
                      <a:pt x="487" y="212"/>
                    </a:lnTo>
                    <a:lnTo>
                      <a:pt x="486" y="212"/>
                    </a:lnTo>
                    <a:lnTo>
                      <a:pt x="484" y="213"/>
                    </a:lnTo>
                    <a:lnTo>
                      <a:pt x="484" y="214"/>
                    </a:lnTo>
                    <a:lnTo>
                      <a:pt x="482" y="215"/>
                    </a:lnTo>
                    <a:lnTo>
                      <a:pt x="483" y="212"/>
                    </a:lnTo>
                    <a:lnTo>
                      <a:pt x="484" y="210"/>
                    </a:lnTo>
                    <a:lnTo>
                      <a:pt x="480" y="206"/>
                    </a:lnTo>
                    <a:lnTo>
                      <a:pt x="480" y="207"/>
                    </a:lnTo>
                    <a:lnTo>
                      <a:pt x="478" y="206"/>
                    </a:lnTo>
                    <a:lnTo>
                      <a:pt x="477" y="206"/>
                    </a:lnTo>
                    <a:lnTo>
                      <a:pt x="474" y="203"/>
                    </a:lnTo>
                    <a:lnTo>
                      <a:pt x="471" y="203"/>
                    </a:lnTo>
                    <a:lnTo>
                      <a:pt x="470" y="204"/>
                    </a:lnTo>
                    <a:lnTo>
                      <a:pt x="469" y="199"/>
                    </a:lnTo>
                    <a:lnTo>
                      <a:pt x="467" y="199"/>
                    </a:lnTo>
                    <a:lnTo>
                      <a:pt x="467" y="200"/>
                    </a:lnTo>
                    <a:lnTo>
                      <a:pt x="462" y="205"/>
                    </a:lnTo>
                    <a:lnTo>
                      <a:pt x="459" y="206"/>
                    </a:lnTo>
                    <a:lnTo>
                      <a:pt x="458" y="206"/>
                    </a:lnTo>
                    <a:lnTo>
                      <a:pt x="455" y="204"/>
                    </a:lnTo>
                    <a:lnTo>
                      <a:pt x="452" y="203"/>
                    </a:lnTo>
                    <a:lnTo>
                      <a:pt x="453" y="202"/>
                    </a:lnTo>
                    <a:lnTo>
                      <a:pt x="452" y="198"/>
                    </a:lnTo>
                    <a:lnTo>
                      <a:pt x="453" y="197"/>
                    </a:lnTo>
                    <a:lnTo>
                      <a:pt x="452" y="196"/>
                    </a:lnTo>
                    <a:lnTo>
                      <a:pt x="451" y="193"/>
                    </a:lnTo>
                    <a:lnTo>
                      <a:pt x="450" y="193"/>
                    </a:lnTo>
                    <a:lnTo>
                      <a:pt x="449" y="191"/>
                    </a:lnTo>
                    <a:lnTo>
                      <a:pt x="448" y="190"/>
                    </a:lnTo>
                    <a:lnTo>
                      <a:pt x="444" y="190"/>
                    </a:lnTo>
                    <a:lnTo>
                      <a:pt x="442" y="193"/>
                    </a:lnTo>
                    <a:lnTo>
                      <a:pt x="440" y="190"/>
                    </a:lnTo>
                    <a:lnTo>
                      <a:pt x="438" y="190"/>
                    </a:lnTo>
                    <a:lnTo>
                      <a:pt x="436" y="187"/>
                    </a:lnTo>
                    <a:lnTo>
                      <a:pt x="437" y="187"/>
                    </a:lnTo>
                    <a:lnTo>
                      <a:pt x="438" y="187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42" y="184"/>
                    </a:lnTo>
                    <a:lnTo>
                      <a:pt x="444" y="183"/>
                    </a:lnTo>
                    <a:lnTo>
                      <a:pt x="445" y="180"/>
                    </a:lnTo>
                    <a:lnTo>
                      <a:pt x="439" y="177"/>
                    </a:lnTo>
                    <a:lnTo>
                      <a:pt x="436" y="176"/>
                    </a:lnTo>
                    <a:lnTo>
                      <a:pt x="435" y="177"/>
                    </a:lnTo>
                    <a:lnTo>
                      <a:pt x="433" y="176"/>
                    </a:lnTo>
                    <a:lnTo>
                      <a:pt x="434" y="176"/>
                    </a:lnTo>
                    <a:lnTo>
                      <a:pt x="431" y="173"/>
                    </a:lnTo>
                    <a:lnTo>
                      <a:pt x="430" y="171"/>
                    </a:lnTo>
                    <a:lnTo>
                      <a:pt x="429" y="167"/>
                    </a:lnTo>
                    <a:lnTo>
                      <a:pt x="427" y="167"/>
                    </a:lnTo>
                    <a:lnTo>
                      <a:pt x="428" y="165"/>
                    </a:lnTo>
                    <a:lnTo>
                      <a:pt x="427" y="165"/>
                    </a:lnTo>
                    <a:lnTo>
                      <a:pt x="426" y="164"/>
                    </a:lnTo>
                    <a:lnTo>
                      <a:pt x="424" y="165"/>
                    </a:lnTo>
                    <a:lnTo>
                      <a:pt x="423" y="166"/>
                    </a:lnTo>
                    <a:lnTo>
                      <a:pt x="422" y="166"/>
                    </a:lnTo>
                    <a:lnTo>
                      <a:pt x="420" y="167"/>
                    </a:lnTo>
                    <a:lnTo>
                      <a:pt x="418" y="168"/>
                    </a:lnTo>
                    <a:lnTo>
                      <a:pt x="415" y="172"/>
                    </a:lnTo>
                    <a:lnTo>
                      <a:pt x="412" y="171"/>
                    </a:lnTo>
                    <a:lnTo>
                      <a:pt x="412" y="170"/>
                    </a:lnTo>
                    <a:lnTo>
                      <a:pt x="411" y="170"/>
                    </a:lnTo>
                    <a:lnTo>
                      <a:pt x="411" y="169"/>
                    </a:lnTo>
                    <a:lnTo>
                      <a:pt x="410" y="166"/>
                    </a:lnTo>
                    <a:lnTo>
                      <a:pt x="407" y="163"/>
                    </a:lnTo>
                    <a:lnTo>
                      <a:pt x="406" y="163"/>
                    </a:lnTo>
                    <a:lnTo>
                      <a:pt x="404" y="160"/>
                    </a:lnTo>
                    <a:lnTo>
                      <a:pt x="405" y="158"/>
                    </a:lnTo>
                    <a:lnTo>
                      <a:pt x="403" y="157"/>
                    </a:lnTo>
                    <a:lnTo>
                      <a:pt x="403" y="156"/>
                    </a:lnTo>
                    <a:lnTo>
                      <a:pt x="401" y="155"/>
                    </a:lnTo>
                    <a:lnTo>
                      <a:pt x="398" y="153"/>
                    </a:lnTo>
                    <a:lnTo>
                      <a:pt x="400" y="150"/>
                    </a:lnTo>
                    <a:lnTo>
                      <a:pt x="400" y="149"/>
                    </a:lnTo>
                    <a:lnTo>
                      <a:pt x="397" y="148"/>
                    </a:lnTo>
                    <a:lnTo>
                      <a:pt x="395" y="144"/>
                    </a:lnTo>
                    <a:lnTo>
                      <a:pt x="394" y="142"/>
                    </a:lnTo>
                    <a:lnTo>
                      <a:pt x="394" y="141"/>
                    </a:lnTo>
                    <a:lnTo>
                      <a:pt x="395" y="140"/>
                    </a:lnTo>
                    <a:lnTo>
                      <a:pt x="395" y="139"/>
                    </a:lnTo>
                    <a:lnTo>
                      <a:pt x="397" y="139"/>
                    </a:lnTo>
                    <a:lnTo>
                      <a:pt x="397" y="136"/>
                    </a:lnTo>
                    <a:lnTo>
                      <a:pt x="398" y="137"/>
                    </a:lnTo>
                    <a:lnTo>
                      <a:pt x="400" y="135"/>
                    </a:lnTo>
                    <a:lnTo>
                      <a:pt x="401" y="134"/>
                    </a:lnTo>
                    <a:lnTo>
                      <a:pt x="402" y="135"/>
                    </a:lnTo>
                    <a:lnTo>
                      <a:pt x="403" y="132"/>
                    </a:lnTo>
                    <a:lnTo>
                      <a:pt x="401" y="133"/>
                    </a:lnTo>
                    <a:lnTo>
                      <a:pt x="401" y="129"/>
                    </a:lnTo>
                    <a:lnTo>
                      <a:pt x="400" y="126"/>
                    </a:lnTo>
                    <a:lnTo>
                      <a:pt x="397" y="125"/>
                    </a:lnTo>
                    <a:lnTo>
                      <a:pt x="393" y="123"/>
                    </a:lnTo>
                    <a:lnTo>
                      <a:pt x="392" y="122"/>
                    </a:lnTo>
                    <a:lnTo>
                      <a:pt x="393" y="120"/>
                    </a:lnTo>
                    <a:lnTo>
                      <a:pt x="393" y="119"/>
                    </a:lnTo>
                    <a:lnTo>
                      <a:pt x="393" y="118"/>
                    </a:lnTo>
                    <a:lnTo>
                      <a:pt x="393" y="116"/>
                    </a:lnTo>
                    <a:lnTo>
                      <a:pt x="395" y="116"/>
                    </a:lnTo>
                    <a:lnTo>
                      <a:pt x="393" y="115"/>
                    </a:lnTo>
                    <a:lnTo>
                      <a:pt x="394" y="113"/>
                    </a:lnTo>
                    <a:lnTo>
                      <a:pt x="395" y="113"/>
                    </a:lnTo>
                    <a:lnTo>
                      <a:pt x="397" y="113"/>
                    </a:lnTo>
                    <a:lnTo>
                      <a:pt x="397" y="111"/>
                    </a:lnTo>
                    <a:lnTo>
                      <a:pt x="397" y="109"/>
                    </a:lnTo>
                    <a:lnTo>
                      <a:pt x="398" y="108"/>
                    </a:lnTo>
                    <a:lnTo>
                      <a:pt x="398" y="105"/>
                    </a:lnTo>
                    <a:lnTo>
                      <a:pt x="399" y="105"/>
                    </a:lnTo>
                    <a:lnTo>
                      <a:pt x="399" y="102"/>
                    </a:lnTo>
                    <a:lnTo>
                      <a:pt x="401" y="102"/>
                    </a:lnTo>
                    <a:lnTo>
                      <a:pt x="402" y="99"/>
                    </a:lnTo>
                    <a:lnTo>
                      <a:pt x="401" y="99"/>
                    </a:lnTo>
                    <a:lnTo>
                      <a:pt x="400" y="100"/>
                    </a:lnTo>
                    <a:lnTo>
                      <a:pt x="398" y="100"/>
                    </a:lnTo>
                    <a:lnTo>
                      <a:pt x="398" y="99"/>
                    </a:lnTo>
                    <a:lnTo>
                      <a:pt x="398" y="98"/>
                    </a:lnTo>
                    <a:lnTo>
                      <a:pt x="400" y="98"/>
                    </a:lnTo>
                    <a:lnTo>
                      <a:pt x="402" y="95"/>
                    </a:lnTo>
                    <a:lnTo>
                      <a:pt x="402" y="91"/>
                    </a:lnTo>
                    <a:lnTo>
                      <a:pt x="403" y="89"/>
                    </a:lnTo>
                    <a:lnTo>
                      <a:pt x="406" y="89"/>
                    </a:lnTo>
                    <a:lnTo>
                      <a:pt x="407" y="80"/>
                    </a:lnTo>
                    <a:lnTo>
                      <a:pt x="407" y="79"/>
                    </a:lnTo>
                    <a:lnTo>
                      <a:pt x="406" y="78"/>
                    </a:lnTo>
                    <a:lnTo>
                      <a:pt x="406" y="76"/>
                    </a:lnTo>
                    <a:lnTo>
                      <a:pt x="407" y="75"/>
                    </a:lnTo>
                    <a:lnTo>
                      <a:pt x="409" y="73"/>
                    </a:lnTo>
                    <a:lnTo>
                      <a:pt x="410" y="72"/>
                    </a:lnTo>
                    <a:lnTo>
                      <a:pt x="409" y="70"/>
                    </a:lnTo>
                    <a:lnTo>
                      <a:pt x="410" y="67"/>
                    </a:lnTo>
                    <a:lnTo>
                      <a:pt x="409" y="66"/>
                    </a:lnTo>
                    <a:lnTo>
                      <a:pt x="409" y="65"/>
                    </a:lnTo>
                    <a:lnTo>
                      <a:pt x="410" y="65"/>
                    </a:lnTo>
                    <a:lnTo>
                      <a:pt x="407" y="62"/>
                    </a:lnTo>
                    <a:lnTo>
                      <a:pt x="407" y="61"/>
                    </a:lnTo>
                    <a:lnTo>
                      <a:pt x="407" y="59"/>
                    </a:lnTo>
                    <a:lnTo>
                      <a:pt x="406" y="59"/>
                    </a:lnTo>
                    <a:lnTo>
                      <a:pt x="403" y="57"/>
                    </a:lnTo>
                    <a:lnTo>
                      <a:pt x="404" y="55"/>
                    </a:lnTo>
                    <a:lnTo>
                      <a:pt x="406" y="53"/>
                    </a:lnTo>
                    <a:lnTo>
                      <a:pt x="407" y="54"/>
                    </a:lnTo>
                    <a:lnTo>
                      <a:pt x="407" y="53"/>
                    </a:lnTo>
                    <a:lnTo>
                      <a:pt x="409" y="54"/>
                    </a:lnTo>
                    <a:lnTo>
                      <a:pt x="410" y="54"/>
                    </a:lnTo>
                    <a:lnTo>
                      <a:pt x="413" y="55"/>
                    </a:lnTo>
                    <a:lnTo>
                      <a:pt x="415" y="54"/>
                    </a:lnTo>
                    <a:lnTo>
                      <a:pt x="415" y="53"/>
                    </a:lnTo>
                    <a:lnTo>
                      <a:pt x="414" y="51"/>
                    </a:lnTo>
                    <a:lnTo>
                      <a:pt x="414" y="48"/>
                    </a:lnTo>
                    <a:lnTo>
                      <a:pt x="412" y="45"/>
                    </a:lnTo>
                    <a:lnTo>
                      <a:pt x="412" y="44"/>
                    </a:lnTo>
                    <a:lnTo>
                      <a:pt x="414" y="42"/>
                    </a:lnTo>
                    <a:lnTo>
                      <a:pt x="412" y="42"/>
                    </a:lnTo>
                    <a:lnTo>
                      <a:pt x="411" y="44"/>
                    </a:lnTo>
                    <a:lnTo>
                      <a:pt x="410" y="44"/>
                    </a:lnTo>
                    <a:lnTo>
                      <a:pt x="409" y="42"/>
                    </a:lnTo>
                    <a:lnTo>
                      <a:pt x="407" y="44"/>
                    </a:lnTo>
                    <a:lnTo>
                      <a:pt x="406" y="44"/>
                    </a:lnTo>
                    <a:lnTo>
                      <a:pt x="405" y="41"/>
                    </a:lnTo>
                    <a:lnTo>
                      <a:pt x="402" y="38"/>
                    </a:lnTo>
                    <a:lnTo>
                      <a:pt x="404" y="37"/>
                    </a:lnTo>
                    <a:lnTo>
                      <a:pt x="402" y="36"/>
                    </a:lnTo>
                    <a:lnTo>
                      <a:pt x="402" y="34"/>
                    </a:lnTo>
                    <a:lnTo>
                      <a:pt x="402" y="33"/>
                    </a:lnTo>
                    <a:lnTo>
                      <a:pt x="401" y="32"/>
                    </a:lnTo>
                    <a:lnTo>
                      <a:pt x="401" y="28"/>
                    </a:lnTo>
                    <a:lnTo>
                      <a:pt x="399" y="29"/>
                    </a:lnTo>
                    <a:lnTo>
                      <a:pt x="400" y="28"/>
                    </a:lnTo>
                    <a:lnTo>
                      <a:pt x="400" y="27"/>
                    </a:lnTo>
                    <a:lnTo>
                      <a:pt x="399" y="27"/>
                    </a:lnTo>
                    <a:lnTo>
                      <a:pt x="400" y="26"/>
                    </a:lnTo>
                    <a:lnTo>
                      <a:pt x="400" y="24"/>
                    </a:lnTo>
                    <a:lnTo>
                      <a:pt x="398" y="23"/>
                    </a:lnTo>
                    <a:lnTo>
                      <a:pt x="399" y="23"/>
                    </a:lnTo>
                    <a:lnTo>
                      <a:pt x="401" y="23"/>
                    </a:lnTo>
                    <a:lnTo>
                      <a:pt x="398" y="21"/>
                    </a:lnTo>
                    <a:lnTo>
                      <a:pt x="398" y="20"/>
                    </a:lnTo>
                    <a:lnTo>
                      <a:pt x="397" y="22"/>
                    </a:lnTo>
                    <a:lnTo>
                      <a:pt x="396" y="22"/>
                    </a:lnTo>
                    <a:lnTo>
                      <a:pt x="395" y="21"/>
                    </a:lnTo>
                    <a:lnTo>
                      <a:pt x="394" y="21"/>
                    </a:lnTo>
                    <a:lnTo>
                      <a:pt x="392" y="25"/>
                    </a:lnTo>
                    <a:lnTo>
                      <a:pt x="393" y="26"/>
                    </a:lnTo>
                    <a:lnTo>
                      <a:pt x="392" y="27"/>
                    </a:lnTo>
                    <a:lnTo>
                      <a:pt x="391" y="26"/>
                    </a:lnTo>
                    <a:lnTo>
                      <a:pt x="391" y="24"/>
                    </a:lnTo>
                    <a:lnTo>
                      <a:pt x="390" y="22"/>
                    </a:lnTo>
                    <a:lnTo>
                      <a:pt x="389" y="22"/>
                    </a:lnTo>
                    <a:lnTo>
                      <a:pt x="387" y="21"/>
                    </a:lnTo>
                    <a:lnTo>
                      <a:pt x="385" y="17"/>
                    </a:lnTo>
                    <a:lnTo>
                      <a:pt x="384" y="13"/>
                    </a:lnTo>
                    <a:lnTo>
                      <a:pt x="382" y="13"/>
                    </a:lnTo>
                    <a:lnTo>
                      <a:pt x="376" y="10"/>
                    </a:lnTo>
                    <a:lnTo>
                      <a:pt x="375" y="8"/>
                    </a:lnTo>
                    <a:lnTo>
                      <a:pt x="372" y="3"/>
                    </a:lnTo>
                    <a:lnTo>
                      <a:pt x="373" y="2"/>
                    </a:lnTo>
                    <a:lnTo>
                      <a:pt x="372" y="2"/>
                    </a:lnTo>
                    <a:lnTo>
                      <a:pt x="371" y="4"/>
                    </a:lnTo>
                    <a:lnTo>
                      <a:pt x="371" y="7"/>
                    </a:lnTo>
                    <a:lnTo>
                      <a:pt x="368" y="7"/>
                    </a:lnTo>
                    <a:lnTo>
                      <a:pt x="368" y="8"/>
                    </a:lnTo>
                    <a:lnTo>
                      <a:pt x="366" y="8"/>
                    </a:lnTo>
                    <a:lnTo>
                      <a:pt x="366" y="9"/>
                    </a:lnTo>
                    <a:lnTo>
                      <a:pt x="366" y="8"/>
                    </a:lnTo>
                    <a:lnTo>
                      <a:pt x="365" y="10"/>
                    </a:lnTo>
                    <a:lnTo>
                      <a:pt x="366" y="10"/>
                    </a:lnTo>
                    <a:lnTo>
                      <a:pt x="365" y="14"/>
                    </a:lnTo>
                    <a:lnTo>
                      <a:pt x="361" y="11"/>
                    </a:lnTo>
                    <a:lnTo>
                      <a:pt x="361" y="13"/>
                    </a:lnTo>
                    <a:lnTo>
                      <a:pt x="361" y="14"/>
                    </a:lnTo>
                    <a:lnTo>
                      <a:pt x="360" y="14"/>
                    </a:lnTo>
                    <a:lnTo>
                      <a:pt x="361" y="15"/>
                    </a:lnTo>
                    <a:lnTo>
                      <a:pt x="360" y="15"/>
                    </a:lnTo>
                    <a:lnTo>
                      <a:pt x="361" y="16"/>
                    </a:lnTo>
                    <a:lnTo>
                      <a:pt x="360" y="18"/>
                    </a:lnTo>
                    <a:lnTo>
                      <a:pt x="361" y="19"/>
                    </a:lnTo>
                    <a:lnTo>
                      <a:pt x="360" y="19"/>
                    </a:lnTo>
                    <a:lnTo>
                      <a:pt x="359" y="20"/>
                    </a:lnTo>
                    <a:lnTo>
                      <a:pt x="358" y="20"/>
                    </a:lnTo>
                    <a:lnTo>
                      <a:pt x="358" y="23"/>
                    </a:lnTo>
                    <a:lnTo>
                      <a:pt x="357" y="23"/>
                    </a:lnTo>
                    <a:lnTo>
                      <a:pt x="357" y="24"/>
                    </a:lnTo>
                    <a:lnTo>
                      <a:pt x="357" y="25"/>
                    </a:lnTo>
                    <a:lnTo>
                      <a:pt x="359" y="26"/>
                    </a:lnTo>
                    <a:lnTo>
                      <a:pt x="358" y="28"/>
                    </a:lnTo>
                    <a:lnTo>
                      <a:pt x="358" y="30"/>
                    </a:lnTo>
                    <a:lnTo>
                      <a:pt x="360" y="29"/>
                    </a:lnTo>
                    <a:lnTo>
                      <a:pt x="360" y="31"/>
                    </a:lnTo>
                    <a:lnTo>
                      <a:pt x="359" y="31"/>
                    </a:lnTo>
                    <a:lnTo>
                      <a:pt x="361" y="32"/>
                    </a:lnTo>
                    <a:lnTo>
                      <a:pt x="361" y="33"/>
                    </a:lnTo>
                    <a:lnTo>
                      <a:pt x="359" y="34"/>
                    </a:lnTo>
                    <a:lnTo>
                      <a:pt x="361" y="34"/>
                    </a:lnTo>
                    <a:lnTo>
                      <a:pt x="360" y="34"/>
                    </a:lnTo>
                    <a:lnTo>
                      <a:pt x="358" y="35"/>
                    </a:lnTo>
                    <a:lnTo>
                      <a:pt x="357" y="34"/>
                    </a:lnTo>
                    <a:lnTo>
                      <a:pt x="357" y="35"/>
                    </a:lnTo>
                    <a:lnTo>
                      <a:pt x="357" y="36"/>
                    </a:lnTo>
                    <a:lnTo>
                      <a:pt x="353" y="36"/>
                    </a:lnTo>
                    <a:lnTo>
                      <a:pt x="353" y="37"/>
                    </a:lnTo>
                    <a:lnTo>
                      <a:pt x="352" y="37"/>
                    </a:lnTo>
                    <a:lnTo>
                      <a:pt x="352" y="36"/>
                    </a:lnTo>
                    <a:lnTo>
                      <a:pt x="349" y="36"/>
                    </a:lnTo>
                    <a:lnTo>
                      <a:pt x="348" y="35"/>
                    </a:lnTo>
                    <a:lnTo>
                      <a:pt x="348" y="36"/>
                    </a:lnTo>
                    <a:lnTo>
                      <a:pt x="348" y="37"/>
                    </a:lnTo>
                    <a:lnTo>
                      <a:pt x="346" y="37"/>
                    </a:lnTo>
                    <a:lnTo>
                      <a:pt x="345" y="37"/>
                    </a:lnTo>
                    <a:lnTo>
                      <a:pt x="344" y="39"/>
                    </a:lnTo>
                    <a:lnTo>
                      <a:pt x="341" y="42"/>
                    </a:lnTo>
                    <a:lnTo>
                      <a:pt x="340" y="41"/>
                    </a:lnTo>
                    <a:lnTo>
                      <a:pt x="340" y="42"/>
                    </a:lnTo>
                    <a:lnTo>
                      <a:pt x="338" y="42"/>
                    </a:lnTo>
                    <a:lnTo>
                      <a:pt x="336" y="43"/>
                    </a:lnTo>
                    <a:lnTo>
                      <a:pt x="336" y="44"/>
                    </a:lnTo>
                    <a:lnTo>
                      <a:pt x="335" y="44"/>
                    </a:lnTo>
                    <a:lnTo>
                      <a:pt x="336" y="48"/>
                    </a:lnTo>
                    <a:lnTo>
                      <a:pt x="335" y="49"/>
                    </a:lnTo>
                    <a:lnTo>
                      <a:pt x="335" y="51"/>
                    </a:lnTo>
                    <a:lnTo>
                      <a:pt x="334" y="52"/>
                    </a:lnTo>
                    <a:lnTo>
                      <a:pt x="332" y="51"/>
                    </a:lnTo>
                    <a:lnTo>
                      <a:pt x="331" y="50"/>
                    </a:lnTo>
                    <a:lnTo>
                      <a:pt x="332" y="49"/>
                    </a:lnTo>
                    <a:lnTo>
                      <a:pt x="331" y="45"/>
                    </a:lnTo>
                    <a:lnTo>
                      <a:pt x="329" y="44"/>
                    </a:lnTo>
                    <a:lnTo>
                      <a:pt x="324" y="41"/>
                    </a:lnTo>
                    <a:lnTo>
                      <a:pt x="319" y="42"/>
                    </a:lnTo>
                    <a:lnTo>
                      <a:pt x="317" y="42"/>
                    </a:lnTo>
                    <a:lnTo>
                      <a:pt x="317" y="40"/>
                    </a:lnTo>
                    <a:lnTo>
                      <a:pt x="315" y="40"/>
                    </a:lnTo>
                    <a:lnTo>
                      <a:pt x="315" y="39"/>
                    </a:lnTo>
                    <a:lnTo>
                      <a:pt x="316" y="38"/>
                    </a:lnTo>
                    <a:lnTo>
                      <a:pt x="317" y="38"/>
                    </a:lnTo>
                    <a:lnTo>
                      <a:pt x="318" y="36"/>
                    </a:lnTo>
                    <a:lnTo>
                      <a:pt x="319" y="35"/>
                    </a:lnTo>
                    <a:lnTo>
                      <a:pt x="320" y="32"/>
                    </a:lnTo>
                    <a:lnTo>
                      <a:pt x="320" y="31"/>
                    </a:lnTo>
                    <a:lnTo>
                      <a:pt x="319" y="31"/>
                    </a:lnTo>
                    <a:lnTo>
                      <a:pt x="318" y="33"/>
                    </a:lnTo>
                    <a:lnTo>
                      <a:pt x="317" y="34"/>
                    </a:lnTo>
                    <a:lnTo>
                      <a:pt x="315" y="33"/>
                    </a:lnTo>
                    <a:lnTo>
                      <a:pt x="315" y="34"/>
                    </a:lnTo>
                    <a:lnTo>
                      <a:pt x="314" y="34"/>
                    </a:lnTo>
                    <a:lnTo>
                      <a:pt x="314" y="32"/>
                    </a:lnTo>
                    <a:lnTo>
                      <a:pt x="312" y="36"/>
                    </a:lnTo>
                    <a:lnTo>
                      <a:pt x="310" y="35"/>
                    </a:lnTo>
                    <a:lnTo>
                      <a:pt x="311" y="34"/>
                    </a:lnTo>
                    <a:lnTo>
                      <a:pt x="310" y="34"/>
                    </a:lnTo>
                    <a:lnTo>
                      <a:pt x="309" y="35"/>
                    </a:lnTo>
                    <a:lnTo>
                      <a:pt x="309" y="34"/>
                    </a:lnTo>
                    <a:lnTo>
                      <a:pt x="308" y="34"/>
                    </a:lnTo>
                    <a:lnTo>
                      <a:pt x="306" y="33"/>
                    </a:lnTo>
                    <a:lnTo>
                      <a:pt x="305" y="32"/>
                    </a:lnTo>
                    <a:lnTo>
                      <a:pt x="304" y="32"/>
                    </a:lnTo>
                    <a:lnTo>
                      <a:pt x="303" y="34"/>
                    </a:lnTo>
                    <a:lnTo>
                      <a:pt x="302" y="32"/>
                    </a:lnTo>
                    <a:lnTo>
                      <a:pt x="301" y="32"/>
                    </a:lnTo>
                    <a:lnTo>
                      <a:pt x="301" y="31"/>
                    </a:lnTo>
                    <a:lnTo>
                      <a:pt x="300" y="32"/>
                    </a:lnTo>
                    <a:lnTo>
                      <a:pt x="300" y="31"/>
                    </a:lnTo>
                    <a:lnTo>
                      <a:pt x="298" y="31"/>
                    </a:lnTo>
                    <a:lnTo>
                      <a:pt x="300" y="28"/>
                    </a:lnTo>
                    <a:lnTo>
                      <a:pt x="299" y="27"/>
                    </a:lnTo>
                    <a:lnTo>
                      <a:pt x="297" y="27"/>
                    </a:lnTo>
                    <a:lnTo>
                      <a:pt x="296" y="28"/>
                    </a:lnTo>
                    <a:lnTo>
                      <a:pt x="294" y="28"/>
                    </a:lnTo>
                    <a:lnTo>
                      <a:pt x="291" y="25"/>
                    </a:lnTo>
                    <a:lnTo>
                      <a:pt x="289" y="25"/>
                    </a:lnTo>
                    <a:lnTo>
                      <a:pt x="289" y="26"/>
                    </a:lnTo>
                    <a:lnTo>
                      <a:pt x="288" y="28"/>
                    </a:lnTo>
                    <a:lnTo>
                      <a:pt x="286" y="29"/>
                    </a:lnTo>
                    <a:lnTo>
                      <a:pt x="286" y="31"/>
                    </a:lnTo>
                    <a:lnTo>
                      <a:pt x="288" y="31"/>
                    </a:lnTo>
                    <a:lnTo>
                      <a:pt x="287" y="31"/>
                    </a:lnTo>
                    <a:lnTo>
                      <a:pt x="286" y="31"/>
                    </a:lnTo>
                    <a:lnTo>
                      <a:pt x="285" y="29"/>
                    </a:lnTo>
                    <a:lnTo>
                      <a:pt x="284" y="31"/>
                    </a:lnTo>
                    <a:lnTo>
                      <a:pt x="283" y="29"/>
                    </a:lnTo>
                    <a:lnTo>
                      <a:pt x="283" y="28"/>
                    </a:lnTo>
                    <a:lnTo>
                      <a:pt x="282" y="26"/>
                    </a:lnTo>
                    <a:lnTo>
                      <a:pt x="280" y="26"/>
                    </a:lnTo>
                    <a:lnTo>
                      <a:pt x="280" y="23"/>
                    </a:lnTo>
                    <a:lnTo>
                      <a:pt x="278" y="23"/>
                    </a:lnTo>
                    <a:lnTo>
                      <a:pt x="277" y="24"/>
                    </a:lnTo>
                    <a:lnTo>
                      <a:pt x="276" y="24"/>
                    </a:lnTo>
                    <a:lnTo>
                      <a:pt x="273" y="18"/>
                    </a:lnTo>
                    <a:lnTo>
                      <a:pt x="272" y="18"/>
                    </a:lnTo>
                    <a:lnTo>
                      <a:pt x="271" y="16"/>
                    </a:lnTo>
                    <a:lnTo>
                      <a:pt x="271" y="19"/>
                    </a:lnTo>
                    <a:lnTo>
                      <a:pt x="270" y="17"/>
                    </a:lnTo>
                    <a:lnTo>
                      <a:pt x="269" y="18"/>
                    </a:lnTo>
                    <a:lnTo>
                      <a:pt x="270" y="18"/>
                    </a:lnTo>
                    <a:lnTo>
                      <a:pt x="271" y="22"/>
                    </a:lnTo>
                    <a:lnTo>
                      <a:pt x="270" y="23"/>
                    </a:lnTo>
                    <a:lnTo>
                      <a:pt x="271" y="23"/>
                    </a:lnTo>
                    <a:lnTo>
                      <a:pt x="270" y="25"/>
                    </a:lnTo>
                    <a:lnTo>
                      <a:pt x="270" y="26"/>
                    </a:lnTo>
                    <a:lnTo>
                      <a:pt x="272" y="26"/>
                    </a:lnTo>
                    <a:lnTo>
                      <a:pt x="271" y="27"/>
                    </a:lnTo>
                    <a:lnTo>
                      <a:pt x="270" y="26"/>
                    </a:lnTo>
                    <a:lnTo>
                      <a:pt x="270" y="27"/>
                    </a:lnTo>
                    <a:lnTo>
                      <a:pt x="269" y="24"/>
                    </a:lnTo>
                    <a:lnTo>
                      <a:pt x="268" y="24"/>
                    </a:lnTo>
                    <a:lnTo>
                      <a:pt x="267" y="23"/>
                    </a:lnTo>
                    <a:lnTo>
                      <a:pt x="265" y="23"/>
                    </a:lnTo>
                    <a:lnTo>
                      <a:pt x="264" y="24"/>
                    </a:lnTo>
                    <a:lnTo>
                      <a:pt x="263" y="23"/>
                    </a:lnTo>
                    <a:lnTo>
                      <a:pt x="263" y="24"/>
                    </a:lnTo>
                    <a:lnTo>
                      <a:pt x="262" y="24"/>
                    </a:lnTo>
                    <a:lnTo>
                      <a:pt x="263" y="25"/>
                    </a:lnTo>
                    <a:lnTo>
                      <a:pt x="262" y="25"/>
                    </a:lnTo>
                    <a:lnTo>
                      <a:pt x="262" y="26"/>
                    </a:lnTo>
                    <a:lnTo>
                      <a:pt x="262" y="25"/>
                    </a:lnTo>
                    <a:lnTo>
                      <a:pt x="262" y="26"/>
                    </a:lnTo>
                    <a:lnTo>
                      <a:pt x="261" y="27"/>
                    </a:lnTo>
                    <a:lnTo>
                      <a:pt x="260" y="25"/>
                    </a:lnTo>
                    <a:lnTo>
                      <a:pt x="260" y="26"/>
                    </a:lnTo>
                    <a:lnTo>
                      <a:pt x="259" y="28"/>
                    </a:lnTo>
                    <a:lnTo>
                      <a:pt x="258" y="28"/>
                    </a:lnTo>
                    <a:lnTo>
                      <a:pt x="259" y="27"/>
                    </a:lnTo>
                    <a:lnTo>
                      <a:pt x="257" y="27"/>
                    </a:lnTo>
                    <a:lnTo>
                      <a:pt x="256" y="28"/>
                    </a:lnTo>
                    <a:lnTo>
                      <a:pt x="255" y="30"/>
                    </a:lnTo>
                    <a:lnTo>
                      <a:pt x="255" y="28"/>
                    </a:lnTo>
                    <a:lnTo>
                      <a:pt x="254" y="28"/>
                    </a:lnTo>
                    <a:lnTo>
                      <a:pt x="254" y="27"/>
                    </a:lnTo>
                    <a:lnTo>
                      <a:pt x="252" y="26"/>
                    </a:lnTo>
                    <a:lnTo>
                      <a:pt x="249" y="28"/>
                    </a:lnTo>
                    <a:lnTo>
                      <a:pt x="248" y="27"/>
                    </a:lnTo>
                    <a:lnTo>
                      <a:pt x="247" y="27"/>
                    </a:lnTo>
                    <a:lnTo>
                      <a:pt x="249" y="27"/>
                    </a:lnTo>
                    <a:lnTo>
                      <a:pt x="249" y="26"/>
                    </a:lnTo>
                    <a:lnTo>
                      <a:pt x="249" y="24"/>
                    </a:lnTo>
                    <a:lnTo>
                      <a:pt x="250" y="23"/>
                    </a:lnTo>
                    <a:lnTo>
                      <a:pt x="250" y="21"/>
                    </a:lnTo>
                    <a:lnTo>
                      <a:pt x="249" y="21"/>
                    </a:lnTo>
                    <a:lnTo>
                      <a:pt x="248" y="21"/>
                    </a:lnTo>
                    <a:lnTo>
                      <a:pt x="247" y="20"/>
                    </a:lnTo>
                    <a:lnTo>
                      <a:pt x="247" y="18"/>
                    </a:lnTo>
                    <a:lnTo>
                      <a:pt x="246" y="19"/>
                    </a:lnTo>
                    <a:lnTo>
                      <a:pt x="243" y="16"/>
                    </a:lnTo>
                    <a:lnTo>
                      <a:pt x="241" y="18"/>
                    </a:lnTo>
                    <a:lnTo>
                      <a:pt x="240" y="16"/>
                    </a:lnTo>
                    <a:lnTo>
                      <a:pt x="240" y="17"/>
                    </a:lnTo>
                    <a:lnTo>
                      <a:pt x="240" y="16"/>
                    </a:lnTo>
                    <a:lnTo>
                      <a:pt x="239" y="15"/>
                    </a:lnTo>
                    <a:lnTo>
                      <a:pt x="240" y="12"/>
                    </a:lnTo>
                    <a:lnTo>
                      <a:pt x="240" y="11"/>
                    </a:lnTo>
                    <a:lnTo>
                      <a:pt x="239" y="10"/>
                    </a:lnTo>
                    <a:lnTo>
                      <a:pt x="236" y="9"/>
                    </a:lnTo>
                    <a:lnTo>
                      <a:pt x="236" y="8"/>
                    </a:lnTo>
                    <a:lnTo>
                      <a:pt x="234" y="8"/>
                    </a:lnTo>
                    <a:lnTo>
                      <a:pt x="234" y="6"/>
                    </a:lnTo>
                    <a:lnTo>
                      <a:pt x="231" y="8"/>
                    </a:lnTo>
                    <a:lnTo>
                      <a:pt x="230" y="8"/>
                    </a:lnTo>
                    <a:lnTo>
                      <a:pt x="226" y="8"/>
                    </a:lnTo>
                    <a:lnTo>
                      <a:pt x="225" y="6"/>
                    </a:lnTo>
                    <a:lnTo>
                      <a:pt x="224" y="8"/>
                    </a:lnTo>
                    <a:lnTo>
                      <a:pt x="223" y="8"/>
                    </a:lnTo>
                    <a:lnTo>
                      <a:pt x="222" y="8"/>
                    </a:lnTo>
                    <a:lnTo>
                      <a:pt x="222" y="10"/>
                    </a:lnTo>
                    <a:lnTo>
                      <a:pt x="222" y="13"/>
                    </a:lnTo>
                    <a:lnTo>
                      <a:pt x="220" y="14"/>
                    </a:lnTo>
                    <a:lnTo>
                      <a:pt x="220" y="15"/>
                    </a:lnTo>
                    <a:lnTo>
                      <a:pt x="218" y="16"/>
                    </a:lnTo>
                    <a:lnTo>
                      <a:pt x="217" y="16"/>
                    </a:lnTo>
                    <a:lnTo>
                      <a:pt x="217" y="17"/>
                    </a:lnTo>
                    <a:lnTo>
                      <a:pt x="218" y="17"/>
                    </a:lnTo>
                    <a:lnTo>
                      <a:pt x="216" y="19"/>
                    </a:lnTo>
                    <a:lnTo>
                      <a:pt x="216" y="21"/>
                    </a:lnTo>
                    <a:lnTo>
                      <a:pt x="214" y="20"/>
                    </a:lnTo>
                    <a:lnTo>
                      <a:pt x="214" y="19"/>
                    </a:lnTo>
                    <a:lnTo>
                      <a:pt x="215" y="18"/>
                    </a:lnTo>
                    <a:lnTo>
                      <a:pt x="215" y="17"/>
                    </a:lnTo>
                    <a:lnTo>
                      <a:pt x="212" y="18"/>
                    </a:lnTo>
                    <a:lnTo>
                      <a:pt x="209" y="18"/>
                    </a:lnTo>
                    <a:lnTo>
                      <a:pt x="208" y="19"/>
                    </a:lnTo>
                    <a:lnTo>
                      <a:pt x="206" y="18"/>
                    </a:lnTo>
                    <a:lnTo>
                      <a:pt x="205" y="17"/>
                    </a:lnTo>
                    <a:lnTo>
                      <a:pt x="202" y="17"/>
                    </a:lnTo>
                    <a:lnTo>
                      <a:pt x="201" y="17"/>
                    </a:lnTo>
                    <a:lnTo>
                      <a:pt x="200" y="19"/>
                    </a:lnTo>
                    <a:lnTo>
                      <a:pt x="198" y="16"/>
                    </a:lnTo>
                    <a:lnTo>
                      <a:pt x="196" y="16"/>
                    </a:lnTo>
                    <a:lnTo>
                      <a:pt x="193" y="15"/>
                    </a:lnTo>
                    <a:lnTo>
                      <a:pt x="193" y="19"/>
                    </a:lnTo>
                    <a:lnTo>
                      <a:pt x="191" y="17"/>
                    </a:lnTo>
                    <a:lnTo>
                      <a:pt x="189" y="18"/>
                    </a:lnTo>
                    <a:lnTo>
                      <a:pt x="188" y="17"/>
                    </a:lnTo>
                    <a:lnTo>
                      <a:pt x="188" y="16"/>
                    </a:lnTo>
                    <a:lnTo>
                      <a:pt x="189" y="15"/>
                    </a:lnTo>
                    <a:lnTo>
                      <a:pt x="188" y="14"/>
                    </a:lnTo>
                    <a:lnTo>
                      <a:pt x="187" y="14"/>
                    </a:lnTo>
                    <a:lnTo>
                      <a:pt x="187" y="16"/>
                    </a:lnTo>
                    <a:lnTo>
                      <a:pt x="186" y="17"/>
                    </a:lnTo>
                    <a:lnTo>
                      <a:pt x="184" y="17"/>
                    </a:lnTo>
                    <a:lnTo>
                      <a:pt x="183" y="17"/>
                    </a:lnTo>
                    <a:lnTo>
                      <a:pt x="183" y="16"/>
                    </a:lnTo>
                    <a:lnTo>
                      <a:pt x="180" y="16"/>
                    </a:lnTo>
                    <a:lnTo>
                      <a:pt x="180" y="15"/>
                    </a:lnTo>
                    <a:lnTo>
                      <a:pt x="179" y="16"/>
                    </a:lnTo>
                    <a:lnTo>
                      <a:pt x="178" y="15"/>
                    </a:lnTo>
                    <a:lnTo>
                      <a:pt x="177" y="12"/>
                    </a:lnTo>
                    <a:lnTo>
                      <a:pt x="178" y="10"/>
                    </a:lnTo>
                    <a:lnTo>
                      <a:pt x="178" y="7"/>
                    </a:lnTo>
                    <a:lnTo>
                      <a:pt x="178" y="6"/>
                    </a:lnTo>
                    <a:lnTo>
                      <a:pt x="179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3"/>
                    </a:lnTo>
                    <a:lnTo>
                      <a:pt x="177" y="0"/>
                    </a:lnTo>
                    <a:lnTo>
                      <a:pt x="177" y="1"/>
                    </a:lnTo>
                    <a:lnTo>
                      <a:pt x="173" y="1"/>
                    </a:lnTo>
                    <a:lnTo>
                      <a:pt x="172" y="0"/>
                    </a:lnTo>
                    <a:lnTo>
                      <a:pt x="170" y="3"/>
                    </a:lnTo>
                    <a:lnTo>
                      <a:pt x="170" y="2"/>
                    </a:lnTo>
                    <a:lnTo>
                      <a:pt x="167" y="4"/>
                    </a:lnTo>
                    <a:lnTo>
                      <a:pt x="166" y="4"/>
                    </a:lnTo>
                    <a:lnTo>
                      <a:pt x="164" y="3"/>
                    </a:lnTo>
                    <a:lnTo>
                      <a:pt x="163" y="6"/>
                    </a:lnTo>
                    <a:lnTo>
                      <a:pt x="164" y="8"/>
                    </a:lnTo>
                    <a:lnTo>
                      <a:pt x="163" y="10"/>
                    </a:lnTo>
                    <a:lnTo>
                      <a:pt x="163" y="8"/>
                    </a:lnTo>
                    <a:lnTo>
                      <a:pt x="162" y="11"/>
                    </a:lnTo>
                    <a:lnTo>
                      <a:pt x="162" y="13"/>
                    </a:lnTo>
                    <a:lnTo>
                      <a:pt x="161" y="13"/>
                    </a:lnTo>
                    <a:lnTo>
                      <a:pt x="161" y="14"/>
                    </a:lnTo>
                    <a:lnTo>
                      <a:pt x="160" y="12"/>
                    </a:lnTo>
                    <a:lnTo>
                      <a:pt x="159" y="12"/>
                    </a:lnTo>
                    <a:lnTo>
                      <a:pt x="159" y="14"/>
                    </a:lnTo>
                    <a:lnTo>
                      <a:pt x="160" y="16"/>
                    </a:lnTo>
                    <a:lnTo>
                      <a:pt x="159" y="16"/>
                    </a:lnTo>
                    <a:lnTo>
                      <a:pt x="159" y="17"/>
                    </a:lnTo>
                    <a:lnTo>
                      <a:pt x="158" y="17"/>
                    </a:lnTo>
                    <a:lnTo>
                      <a:pt x="158" y="15"/>
                    </a:lnTo>
                    <a:lnTo>
                      <a:pt x="156" y="15"/>
                    </a:lnTo>
                    <a:lnTo>
                      <a:pt x="156" y="13"/>
                    </a:lnTo>
                    <a:lnTo>
                      <a:pt x="154" y="15"/>
                    </a:lnTo>
                    <a:lnTo>
                      <a:pt x="154" y="16"/>
                    </a:lnTo>
                    <a:lnTo>
                      <a:pt x="153" y="17"/>
                    </a:lnTo>
                    <a:lnTo>
                      <a:pt x="153" y="19"/>
                    </a:lnTo>
                    <a:lnTo>
                      <a:pt x="153" y="20"/>
                    </a:lnTo>
                    <a:lnTo>
                      <a:pt x="149" y="19"/>
                    </a:lnTo>
                    <a:lnTo>
                      <a:pt x="146" y="18"/>
                    </a:lnTo>
                    <a:lnTo>
                      <a:pt x="146" y="16"/>
                    </a:lnTo>
                    <a:lnTo>
                      <a:pt x="145" y="15"/>
                    </a:lnTo>
                    <a:lnTo>
                      <a:pt x="141" y="18"/>
                    </a:lnTo>
                    <a:lnTo>
                      <a:pt x="141" y="21"/>
                    </a:lnTo>
                    <a:lnTo>
                      <a:pt x="139" y="23"/>
                    </a:lnTo>
                    <a:lnTo>
                      <a:pt x="139" y="21"/>
                    </a:lnTo>
                    <a:lnTo>
                      <a:pt x="135" y="22"/>
                    </a:lnTo>
                    <a:lnTo>
                      <a:pt x="134" y="21"/>
                    </a:lnTo>
                    <a:lnTo>
                      <a:pt x="133" y="21"/>
                    </a:lnTo>
                    <a:lnTo>
                      <a:pt x="133" y="19"/>
                    </a:lnTo>
                    <a:lnTo>
                      <a:pt x="131" y="17"/>
                    </a:lnTo>
                    <a:lnTo>
                      <a:pt x="131" y="19"/>
                    </a:lnTo>
                    <a:lnTo>
                      <a:pt x="128" y="19"/>
                    </a:lnTo>
                    <a:lnTo>
                      <a:pt x="130" y="17"/>
                    </a:lnTo>
                    <a:lnTo>
                      <a:pt x="130" y="16"/>
                    </a:lnTo>
                    <a:lnTo>
                      <a:pt x="131" y="15"/>
                    </a:lnTo>
                    <a:lnTo>
                      <a:pt x="128" y="15"/>
                    </a:lnTo>
                    <a:lnTo>
                      <a:pt x="128" y="16"/>
                    </a:lnTo>
                    <a:lnTo>
                      <a:pt x="126" y="15"/>
                    </a:lnTo>
                    <a:lnTo>
                      <a:pt x="126" y="13"/>
                    </a:lnTo>
                    <a:lnTo>
                      <a:pt x="126" y="10"/>
                    </a:lnTo>
                    <a:lnTo>
                      <a:pt x="123" y="8"/>
                    </a:lnTo>
                    <a:lnTo>
                      <a:pt x="121" y="9"/>
                    </a:lnTo>
                    <a:lnTo>
                      <a:pt x="121" y="10"/>
                    </a:lnTo>
                    <a:lnTo>
                      <a:pt x="122" y="10"/>
                    </a:lnTo>
                    <a:lnTo>
                      <a:pt x="120" y="11"/>
                    </a:lnTo>
                    <a:lnTo>
                      <a:pt x="118" y="14"/>
                    </a:lnTo>
                    <a:lnTo>
                      <a:pt x="117" y="14"/>
                    </a:lnTo>
                    <a:lnTo>
                      <a:pt x="115" y="15"/>
                    </a:lnTo>
                    <a:lnTo>
                      <a:pt x="115" y="14"/>
                    </a:lnTo>
                    <a:lnTo>
                      <a:pt x="115" y="13"/>
                    </a:lnTo>
                    <a:lnTo>
                      <a:pt x="114" y="14"/>
                    </a:lnTo>
                    <a:lnTo>
                      <a:pt x="113" y="14"/>
                    </a:lnTo>
                    <a:lnTo>
                      <a:pt x="113" y="10"/>
                    </a:lnTo>
                    <a:lnTo>
                      <a:pt x="112" y="10"/>
                    </a:lnTo>
                    <a:lnTo>
                      <a:pt x="112" y="6"/>
                    </a:lnTo>
                    <a:lnTo>
                      <a:pt x="110" y="6"/>
                    </a:lnTo>
                    <a:lnTo>
                      <a:pt x="111" y="7"/>
                    </a:lnTo>
                    <a:lnTo>
                      <a:pt x="109" y="7"/>
                    </a:lnTo>
                    <a:lnTo>
                      <a:pt x="109" y="10"/>
                    </a:lnTo>
                    <a:lnTo>
                      <a:pt x="107" y="10"/>
                    </a:lnTo>
                    <a:lnTo>
                      <a:pt x="107" y="11"/>
                    </a:lnTo>
                    <a:lnTo>
                      <a:pt x="104" y="9"/>
                    </a:lnTo>
                    <a:lnTo>
                      <a:pt x="102" y="8"/>
                    </a:lnTo>
                    <a:lnTo>
                      <a:pt x="100" y="12"/>
                    </a:lnTo>
                    <a:lnTo>
                      <a:pt x="99" y="12"/>
                    </a:lnTo>
                    <a:lnTo>
                      <a:pt x="95" y="11"/>
                    </a:lnTo>
                    <a:lnTo>
                      <a:pt x="95" y="10"/>
                    </a:lnTo>
                    <a:lnTo>
                      <a:pt x="93" y="10"/>
                    </a:lnTo>
                    <a:lnTo>
                      <a:pt x="93" y="11"/>
                    </a:lnTo>
                    <a:lnTo>
                      <a:pt x="91" y="12"/>
                    </a:lnTo>
                    <a:lnTo>
                      <a:pt x="90" y="14"/>
                    </a:lnTo>
                    <a:lnTo>
                      <a:pt x="92" y="15"/>
                    </a:lnTo>
                    <a:lnTo>
                      <a:pt x="92" y="16"/>
                    </a:lnTo>
                    <a:lnTo>
                      <a:pt x="92" y="17"/>
                    </a:lnTo>
                    <a:lnTo>
                      <a:pt x="90" y="17"/>
                    </a:lnTo>
                    <a:lnTo>
                      <a:pt x="90" y="18"/>
                    </a:lnTo>
                    <a:lnTo>
                      <a:pt x="88" y="18"/>
                    </a:lnTo>
                    <a:lnTo>
                      <a:pt x="89" y="19"/>
                    </a:lnTo>
                    <a:lnTo>
                      <a:pt x="88" y="20"/>
                    </a:lnTo>
                    <a:lnTo>
                      <a:pt x="88" y="23"/>
                    </a:lnTo>
                    <a:lnTo>
                      <a:pt x="90" y="23"/>
                    </a:lnTo>
                    <a:lnTo>
                      <a:pt x="91" y="23"/>
                    </a:lnTo>
                    <a:lnTo>
                      <a:pt x="91" y="24"/>
                    </a:lnTo>
                    <a:lnTo>
                      <a:pt x="91" y="23"/>
                    </a:lnTo>
                    <a:lnTo>
                      <a:pt x="93" y="24"/>
                    </a:lnTo>
                    <a:lnTo>
                      <a:pt x="93" y="25"/>
                    </a:lnTo>
                    <a:lnTo>
                      <a:pt x="91" y="24"/>
                    </a:lnTo>
                    <a:lnTo>
                      <a:pt x="92" y="25"/>
                    </a:lnTo>
                    <a:lnTo>
                      <a:pt x="91" y="27"/>
                    </a:lnTo>
                    <a:lnTo>
                      <a:pt x="92" y="25"/>
                    </a:lnTo>
                    <a:lnTo>
                      <a:pt x="92" y="27"/>
                    </a:lnTo>
                    <a:lnTo>
                      <a:pt x="91" y="28"/>
                    </a:lnTo>
                    <a:lnTo>
                      <a:pt x="92" y="28"/>
                    </a:lnTo>
                    <a:lnTo>
                      <a:pt x="92" y="29"/>
                    </a:lnTo>
                    <a:lnTo>
                      <a:pt x="92" y="32"/>
                    </a:lnTo>
                    <a:lnTo>
                      <a:pt x="91" y="32"/>
                    </a:lnTo>
                    <a:lnTo>
                      <a:pt x="90" y="34"/>
                    </a:lnTo>
                    <a:lnTo>
                      <a:pt x="92" y="35"/>
                    </a:lnTo>
                    <a:lnTo>
                      <a:pt x="91" y="36"/>
                    </a:lnTo>
                    <a:lnTo>
                      <a:pt x="91" y="37"/>
                    </a:lnTo>
                    <a:lnTo>
                      <a:pt x="90" y="38"/>
                    </a:lnTo>
                    <a:lnTo>
                      <a:pt x="91" y="39"/>
                    </a:lnTo>
                    <a:lnTo>
                      <a:pt x="92" y="41"/>
                    </a:lnTo>
                    <a:lnTo>
                      <a:pt x="92" y="42"/>
                    </a:lnTo>
                    <a:lnTo>
                      <a:pt x="93" y="43"/>
                    </a:lnTo>
                    <a:lnTo>
                      <a:pt x="93" y="44"/>
                    </a:lnTo>
                    <a:lnTo>
                      <a:pt x="94" y="44"/>
                    </a:lnTo>
                    <a:lnTo>
                      <a:pt x="94" y="45"/>
                    </a:lnTo>
                    <a:lnTo>
                      <a:pt x="93" y="45"/>
                    </a:lnTo>
                    <a:lnTo>
                      <a:pt x="93" y="46"/>
                    </a:lnTo>
                    <a:lnTo>
                      <a:pt x="97" y="47"/>
                    </a:lnTo>
                    <a:lnTo>
                      <a:pt x="97" y="48"/>
                    </a:lnTo>
                    <a:lnTo>
                      <a:pt x="95" y="48"/>
                    </a:lnTo>
                    <a:lnTo>
                      <a:pt x="93" y="47"/>
                    </a:lnTo>
                    <a:lnTo>
                      <a:pt x="92" y="49"/>
                    </a:lnTo>
                    <a:lnTo>
                      <a:pt x="90" y="52"/>
                    </a:lnTo>
                    <a:lnTo>
                      <a:pt x="88" y="52"/>
                    </a:lnTo>
                    <a:lnTo>
                      <a:pt x="89" y="53"/>
                    </a:lnTo>
                    <a:lnTo>
                      <a:pt x="88" y="55"/>
                    </a:lnTo>
                    <a:lnTo>
                      <a:pt x="88" y="57"/>
                    </a:lnTo>
                    <a:lnTo>
                      <a:pt x="88" y="58"/>
                    </a:lnTo>
                    <a:lnTo>
                      <a:pt x="87" y="61"/>
                    </a:lnTo>
                    <a:lnTo>
                      <a:pt x="86" y="61"/>
                    </a:lnTo>
                    <a:lnTo>
                      <a:pt x="86" y="62"/>
                    </a:lnTo>
                    <a:lnTo>
                      <a:pt x="87" y="62"/>
                    </a:lnTo>
                    <a:lnTo>
                      <a:pt x="86" y="62"/>
                    </a:lnTo>
                    <a:lnTo>
                      <a:pt x="87" y="62"/>
                    </a:lnTo>
                    <a:lnTo>
                      <a:pt x="86" y="63"/>
                    </a:lnTo>
                    <a:lnTo>
                      <a:pt x="87" y="66"/>
                    </a:lnTo>
                    <a:lnTo>
                      <a:pt x="87" y="68"/>
                    </a:lnTo>
                    <a:lnTo>
                      <a:pt x="88" y="70"/>
                    </a:lnTo>
                    <a:lnTo>
                      <a:pt x="89" y="72"/>
                    </a:lnTo>
                    <a:lnTo>
                      <a:pt x="88" y="72"/>
                    </a:lnTo>
                    <a:lnTo>
                      <a:pt x="89" y="73"/>
                    </a:lnTo>
                    <a:lnTo>
                      <a:pt x="88" y="73"/>
                    </a:lnTo>
                    <a:lnTo>
                      <a:pt x="88" y="74"/>
                    </a:lnTo>
                    <a:lnTo>
                      <a:pt x="89" y="74"/>
                    </a:lnTo>
                    <a:lnTo>
                      <a:pt x="90" y="75"/>
                    </a:lnTo>
                    <a:lnTo>
                      <a:pt x="92" y="75"/>
                    </a:lnTo>
                    <a:lnTo>
                      <a:pt x="91" y="76"/>
                    </a:lnTo>
                    <a:lnTo>
                      <a:pt x="92" y="77"/>
                    </a:lnTo>
                    <a:lnTo>
                      <a:pt x="92" y="79"/>
                    </a:lnTo>
                    <a:lnTo>
                      <a:pt x="92" y="81"/>
                    </a:lnTo>
                    <a:lnTo>
                      <a:pt x="91" y="80"/>
                    </a:lnTo>
                    <a:lnTo>
                      <a:pt x="91" y="82"/>
                    </a:lnTo>
                    <a:lnTo>
                      <a:pt x="90" y="82"/>
                    </a:lnTo>
                    <a:lnTo>
                      <a:pt x="88" y="83"/>
                    </a:lnTo>
                    <a:lnTo>
                      <a:pt x="89" y="84"/>
                    </a:lnTo>
                    <a:lnTo>
                      <a:pt x="90" y="82"/>
                    </a:lnTo>
                    <a:lnTo>
                      <a:pt x="90" y="85"/>
                    </a:lnTo>
                    <a:lnTo>
                      <a:pt x="91" y="86"/>
                    </a:lnTo>
                    <a:lnTo>
                      <a:pt x="88" y="86"/>
                    </a:lnTo>
                    <a:lnTo>
                      <a:pt x="86" y="89"/>
                    </a:lnTo>
                    <a:lnTo>
                      <a:pt x="85" y="92"/>
                    </a:lnTo>
                    <a:lnTo>
                      <a:pt x="85" y="93"/>
                    </a:lnTo>
                    <a:lnTo>
                      <a:pt x="84" y="93"/>
                    </a:lnTo>
                    <a:lnTo>
                      <a:pt x="85" y="96"/>
                    </a:lnTo>
                    <a:lnTo>
                      <a:pt x="84" y="98"/>
                    </a:lnTo>
                    <a:lnTo>
                      <a:pt x="80" y="97"/>
                    </a:lnTo>
                    <a:lnTo>
                      <a:pt x="79" y="98"/>
                    </a:lnTo>
                    <a:lnTo>
                      <a:pt x="78" y="100"/>
                    </a:lnTo>
                    <a:lnTo>
                      <a:pt x="77" y="100"/>
                    </a:lnTo>
                    <a:lnTo>
                      <a:pt x="75" y="100"/>
                    </a:lnTo>
                    <a:lnTo>
                      <a:pt x="74" y="105"/>
                    </a:lnTo>
                    <a:lnTo>
                      <a:pt x="71" y="102"/>
                    </a:lnTo>
                    <a:lnTo>
                      <a:pt x="71" y="107"/>
                    </a:lnTo>
                    <a:lnTo>
                      <a:pt x="70" y="108"/>
                    </a:lnTo>
                    <a:lnTo>
                      <a:pt x="69" y="108"/>
                    </a:lnTo>
                    <a:lnTo>
                      <a:pt x="71" y="111"/>
                    </a:lnTo>
                    <a:lnTo>
                      <a:pt x="72" y="111"/>
                    </a:lnTo>
                    <a:lnTo>
                      <a:pt x="73" y="112"/>
                    </a:lnTo>
                    <a:lnTo>
                      <a:pt x="72" y="114"/>
                    </a:lnTo>
                    <a:lnTo>
                      <a:pt x="71" y="115"/>
                    </a:lnTo>
                    <a:lnTo>
                      <a:pt x="71" y="118"/>
                    </a:lnTo>
                    <a:lnTo>
                      <a:pt x="69" y="118"/>
                    </a:lnTo>
                    <a:lnTo>
                      <a:pt x="68" y="118"/>
                    </a:lnTo>
                    <a:lnTo>
                      <a:pt x="67" y="116"/>
                    </a:lnTo>
                    <a:lnTo>
                      <a:pt x="65" y="116"/>
                    </a:lnTo>
                    <a:lnTo>
                      <a:pt x="63" y="116"/>
                    </a:lnTo>
                    <a:lnTo>
                      <a:pt x="62" y="116"/>
                    </a:lnTo>
                    <a:lnTo>
                      <a:pt x="63" y="118"/>
                    </a:lnTo>
                    <a:lnTo>
                      <a:pt x="63" y="122"/>
                    </a:lnTo>
                    <a:lnTo>
                      <a:pt x="63" y="126"/>
                    </a:lnTo>
                    <a:lnTo>
                      <a:pt x="64" y="126"/>
                    </a:lnTo>
                    <a:lnTo>
                      <a:pt x="65" y="126"/>
                    </a:lnTo>
                    <a:lnTo>
                      <a:pt x="69" y="127"/>
                    </a:lnTo>
                    <a:lnTo>
                      <a:pt x="70" y="126"/>
                    </a:lnTo>
                    <a:lnTo>
                      <a:pt x="71" y="128"/>
                    </a:lnTo>
                    <a:lnTo>
                      <a:pt x="69" y="128"/>
                    </a:lnTo>
                    <a:lnTo>
                      <a:pt x="66" y="130"/>
                    </a:lnTo>
                    <a:lnTo>
                      <a:pt x="66" y="131"/>
                    </a:lnTo>
                    <a:lnTo>
                      <a:pt x="68" y="134"/>
                    </a:lnTo>
                    <a:lnTo>
                      <a:pt x="67" y="134"/>
                    </a:lnTo>
                    <a:lnTo>
                      <a:pt x="64" y="133"/>
                    </a:lnTo>
                    <a:lnTo>
                      <a:pt x="64" y="132"/>
                    </a:lnTo>
                    <a:lnTo>
                      <a:pt x="63" y="131"/>
                    </a:lnTo>
                    <a:lnTo>
                      <a:pt x="62" y="133"/>
                    </a:lnTo>
                    <a:lnTo>
                      <a:pt x="63" y="134"/>
                    </a:lnTo>
                    <a:lnTo>
                      <a:pt x="63" y="136"/>
                    </a:lnTo>
                    <a:lnTo>
                      <a:pt x="60" y="135"/>
                    </a:lnTo>
                    <a:lnTo>
                      <a:pt x="58" y="137"/>
                    </a:lnTo>
                    <a:lnTo>
                      <a:pt x="58" y="138"/>
                    </a:lnTo>
                    <a:lnTo>
                      <a:pt x="58" y="139"/>
                    </a:lnTo>
                    <a:lnTo>
                      <a:pt x="57" y="139"/>
                    </a:lnTo>
                    <a:lnTo>
                      <a:pt x="56" y="139"/>
                    </a:lnTo>
                    <a:lnTo>
                      <a:pt x="56" y="141"/>
                    </a:lnTo>
                    <a:lnTo>
                      <a:pt x="58" y="141"/>
                    </a:lnTo>
                    <a:lnTo>
                      <a:pt x="57" y="141"/>
                    </a:lnTo>
                    <a:lnTo>
                      <a:pt x="57" y="143"/>
                    </a:lnTo>
                    <a:lnTo>
                      <a:pt x="58" y="142"/>
                    </a:lnTo>
                    <a:lnTo>
                      <a:pt x="58" y="146"/>
                    </a:lnTo>
                    <a:lnTo>
                      <a:pt x="61" y="148"/>
                    </a:lnTo>
                    <a:lnTo>
                      <a:pt x="61" y="149"/>
                    </a:lnTo>
                    <a:lnTo>
                      <a:pt x="62" y="149"/>
                    </a:lnTo>
                    <a:lnTo>
                      <a:pt x="62" y="153"/>
                    </a:lnTo>
                    <a:lnTo>
                      <a:pt x="63" y="156"/>
                    </a:lnTo>
                    <a:lnTo>
                      <a:pt x="61" y="157"/>
                    </a:lnTo>
                    <a:lnTo>
                      <a:pt x="59" y="156"/>
                    </a:lnTo>
                    <a:lnTo>
                      <a:pt x="58" y="156"/>
                    </a:lnTo>
                    <a:lnTo>
                      <a:pt x="55" y="159"/>
                    </a:lnTo>
                    <a:lnTo>
                      <a:pt x="54" y="167"/>
                    </a:lnTo>
                    <a:lnTo>
                      <a:pt x="52" y="168"/>
                    </a:lnTo>
                    <a:lnTo>
                      <a:pt x="53" y="169"/>
                    </a:lnTo>
                    <a:lnTo>
                      <a:pt x="55" y="169"/>
                    </a:lnTo>
                    <a:lnTo>
                      <a:pt x="53" y="170"/>
                    </a:lnTo>
                    <a:lnTo>
                      <a:pt x="53" y="172"/>
                    </a:lnTo>
                    <a:lnTo>
                      <a:pt x="53" y="170"/>
                    </a:lnTo>
                    <a:lnTo>
                      <a:pt x="52" y="170"/>
                    </a:lnTo>
                    <a:lnTo>
                      <a:pt x="51" y="169"/>
                    </a:lnTo>
                    <a:lnTo>
                      <a:pt x="50" y="170"/>
                    </a:lnTo>
                    <a:lnTo>
                      <a:pt x="49" y="169"/>
                    </a:lnTo>
                    <a:lnTo>
                      <a:pt x="47" y="170"/>
                    </a:lnTo>
                    <a:lnTo>
                      <a:pt x="44" y="170"/>
                    </a:lnTo>
                    <a:lnTo>
                      <a:pt x="44" y="172"/>
                    </a:lnTo>
                    <a:lnTo>
                      <a:pt x="43" y="172"/>
                    </a:lnTo>
                    <a:lnTo>
                      <a:pt x="43" y="174"/>
                    </a:lnTo>
                    <a:lnTo>
                      <a:pt x="41" y="174"/>
                    </a:lnTo>
                    <a:lnTo>
                      <a:pt x="40" y="174"/>
                    </a:lnTo>
                    <a:lnTo>
                      <a:pt x="39" y="176"/>
                    </a:lnTo>
                    <a:lnTo>
                      <a:pt x="35" y="179"/>
                    </a:lnTo>
                    <a:lnTo>
                      <a:pt x="34" y="177"/>
                    </a:lnTo>
                    <a:lnTo>
                      <a:pt x="33" y="176"/>
                    </a:lnTo>
                    <a:lnTo>
                      <a:pt x="32" y="176"/>
                    </a:lnTo>
                    <a:lnTo>
                      <a:pt x="28" y="174"/>
                    </a:lnTo>
                    <a:lnTo>
                      <a:pt x="30" y="174"/>
                    </a:lnTo>
                    <a:lnTo>
                      <a:pt x="30" y="173"/>
                    </a:lnTo>
                    <a:lnTo>
                      <a:pt x="25" y="172"/>
                    </a:lnTo>
                    <a:lnTo>
                      <a:pt x="24" y="172"/>
                    </a:lnTo>
                    <a:lnTo>
                      <a:pt x="24" y="173"/>
                    </a:lnTo>
                    <a:lnTo>
                      <a:pt x="27" y="174"/>
                    </a:lnTo>
                    <a:lnTo>
                      <a:pt x="27" y="176"/>
                    </a:lnTo>
                    <a:lnTo>
                      <a:pt x="25" y="177"/>
                    </a:lnTo>
                    <a:lnTo>
                      <a:pt x="24" y="180"/>
                    </a:lnTo>
                    <a:lnTo>
                      <a:pt x="24" y="182"/>
                    </a:lnTo>
                    <a:lnTo>
                      <a:pt x="23" y="183"/>
                    </a:lnTo>
                    <a:lnTo>
                      <a:pt x="24" y="184"/>
                    </a:lnTo>
                    <a:lnTo>
                      <a:pt x="24" y="190"/>
                    </a:lnTo>
                    <a:lnTo>
                      <a:pt x="24" y="191"/>
                    </a:lnTo>
                    <a:lnTo>
                      <a:pt x="19" y="191"/>
                    </a:lnTo>
                    <a:lnTo>
                      <a:pt x="19" y="192"/>
                    </a:lnTo>
                    <a:lnTo>
                      <a:pt x="20" y="196"/>
                    </a:lnTo>
                    <a:lnTo>
                      <a:pt x="22" y="199"/>
                    </a:lnTo>
                    <a:lnTo>
                      <a:pt x="23" y="200"/>
                    </a:lnTo>
                    <a:lnTo>
                      <a:pt x="22" y="203"/>
                    </a:lnTo>
                    <a:lnTo>
                      <a:pt x="24" y="208"/>
                    </a:lnTo>
                    <a:lnTo>
                      <a:pt x="24" y="211"/>
                    </a:lnTo>
                    <a:lnTo>
                      <a:pt x="24" y="212"/>
                    </a:lnTo>
                    <a:lnTo>
                      <a:pt x="22" y="216"/>
                    </a:lnTo>
                    <a:lnTo>
                      <a:pt x="17" y="220"/>
                    </a:lnTo>
                    <a:lnTo>
                      <a:pt x="15" y="218"/>
                    </a:lnTo>
                    <a:lnTo>
                      <a:pt x="14" y="217"/>
                    </a:lnTo>
                    <a:lnTo>
                      <a:pt x="14" y="216"/>
                    </a:lnTo>
                    <a:lnTo>
                      <a:pt x="13" y="216"/>
                    </a:lnTo>
                    <a:lnTo>
                      <a:pt x="13" y="217"/>
                    </a:lnTo>
                    <a:lnTo>
                      <a:pt x="9" y="222"/>
                    </a:lnTo>
                    <a:lnTo>
                      <a:pt x="7" y="227"/>
                    </a:lnTo>
                    <a:lnTo>
                      <a:pt x="4" y="231"/>
                    </a:lnTo>
                    <a:lnTo>
                      <a:pt x="4" y="232"/>
                    </a:lnTo>
                    <a:lnTo>
                      <a:pt x="4" y="234"/>
                    </a:lnTo>
                    <a:lnTo>
                      <a:pt x="4" y="237"/>
                    </a:lnTo>
                    <a:lnTo>
                      <a:pt x="1" y="240"/>
                    </a:lnTo>
                    <a:lnTo>
                      <a:pt x="1" y="242"/>
                    </a:lnTo>
                    <a:lnTo>
                      <a:pt x="0" y="245"/>
                    </a:lnTo>
                    <a:lnTo>
                      <a:pt x="1" y="248"/>
                    </a:lnTo>
                    <a:lnTo>
                      <a:pt x="4" y="249"/>
                    </a:lnTo>
                    <a:lnTo>
                      <a:pt x="3" y="251"/>
                    </a:lnTo>
                    <a:lnTo>
                      <a:pt x="3" y="254"/>
                    </a:lnTo>
                    <a:lnTo>
                      <a:pt x="5" y="255"/>
                    </a:lnTo>
                    <a:lnTo>
                      <a:pt x="6" y="254"/>
                    </a:lnTo>
                    <a:lnTo>
                      <a:pt x="9" y="256"/>
                    </a:lnTo>
                    <a:lnTo>
                      <a:pt x="10" y="255"/>
                    </a:lnTo>
                    <a:lnTo>
                      <a:pt x="11" y="254"/>
                    </a:lnTo>
                    <a:lnTo>
                      <a:pt x="14" y="259"/>
                    </a:lnTo>
                    <a:lnTo>
                      <a:pt x="12" y="262"/>
                    </a:lnTo>
                    <a:lnTo>
                      <a:pt x="14" y="265"/>
                    </a:lnTo>
                    <a:lnTo>
                      <a:pt x="17" y="271"/>
                    </a:lnTo>
                    <a:lnTo>
                      <a:pt x="17" y="268"/>
                    </a:lnTo>
                    <a:lnTo>
                      <a:pt x="19" y="268"/>
                    </a:lnTo>
                    <a:lnTo>
                      <a:pt x="20" y="266"/>
                    </a:lnTo>
                    <a:lnTo>
                      <a:pt x="23" y="267"/>
                    </a:lnTo>
                    <a:lnTo>
                      <a:pt x="24" y="267"/>
                    </a:lnTo>
                    <a:lnTo>
                      <a:pt x="21" y="269"/>
                    </a:lnTo>
                    <a:lnTo>
                      <a:pt x="20" y="271"/>
                    </a:lnTo>
                    <a:lnTo>
                      <a:pt x="24" y="277"/>
                    </a:lnTo>
                    <a:lnTo>
                      <a:pt x="24" y="282"/>
                    </a:lnTo>
                    <a:lnTo>
                      <a:pt x="25" y="283"/>
                    </a:lnTo>
                    <a:lnTo>
                      <a:pt x="27" y="293"/>
                    </a:lnTo>
                    <a:lnTo>
                      <a:pt x="28" y="294"/>
                    </a:lnTo>
                    <a:lnTo>
                      <a:pt x="30" y="295"/>
                    </a:lnTo>
                    <a:lnTo>
                      <a:pt x="30" y="297"/>
                    </a:lnTo>
                    <a:lnTo>
                      <a:pt x="30" y="300"/>
                    </a:lnTo>
                    <a:lnTo>
                      <a:pt x="32" y="301"/>
                    </a:lnTo>
                    <a:lnTo>
                      <a:pt x="34" y="301"/>
                    </a:lnTo>
                    <a:lnTo>
                      <a:pt x="35" y="302"/>
                    </a:lnTo>
                    <a:lnTo>
                      <a:pt x="38" y="301"/>
                    </a:lnTo>
                    <a:lnTo>
                      <a:pt x="43" y="303"/>
                    </a:lnTo>
                    <a:lnTo>
                      <a:pt x="45" y="302"/>
                    </a:lnTo>
                    <a:lnTo>
                      <a:pt x="47" y="300"/>
                    </a:lnTo>
                    <a:lnTo>
                      <a:pt x="49" y="301"/>
                    </a:lnTo>
                    <a:lnTo>
                      <a:pt x="49" y="305"/>
                    </a:lnTo>
                    <a:lnTo>
                      <a:pt x="52" y="311"/>
                    </a:lnTo>
                    <a:lnTo>
                      <a:pt x="50" y="313"/>
                    </a:lnTo>
                    <a:lnTo>
                      <a:pt x="53" y="324"/>
                    </a:lnTo>
                    <a:lnTo>
                      <a:pt x="53" y="325"/>
                    </a:lnTo>
                    <a:lnTo>
                      <a:pt x="55" y="328"/>
                    </a:lnTo>
                    <a:lnTo>
                      <a:pt x="57" y="328"/>
                    </a:lnTo>
                    <a:lnTo>
                      <a:pt x="61" y="329"/>
                    </a:lnTo>
                    <a:lnTo>
                      <a:pt x="59" y="332"/>
                    </a:lnTo>
                    <a:lnTo>
                      <a:pt x="61" y="335"/>
                    </a:lnTo>
                    <a:lnTo>
                      <a:pt x="61" y="337"/>
                    </a:lnTo>
                    <a:lnTo>
                      <a:pt x="64" y="345"/>
                    </a:lnTo>
                    <a:lnTo>
                      <a:pt x="62" y="351"/>
                    </a:lnTo>
                    <a:lnTo>
                      <a:pt x="61" y="353"/>
                    </a:lnTo>
                    <a:lnTo>
                      <a:pt x="63" y="356"/>
                    </a:lnTo>
                    <a:lnTo>
                      <a:pt x="68" y="359"/>
                    </a:lnTo>
                    <a:lnTo>
                      <a:pt x="71" y="358"/>
                    </a:lnTo>
                    <a:lnTo>
                      <a:pt x="72" y="360"/>
                    </a:lnTo>
                    <a:lnTo>
                      <a:pt x="74" y="359"/>
                    </a:lnTo>
                    <a:lnTo>
                      <a:pt x="79" y="362"/>
                    </a:lnTo>
                    <a:lnTo>
                      <a:pt x="82" y="366"/>
                    </a:lnTo>
                    <a:lnTo>
                      <a:pt x="85" y="368"/>
                    </a:lnTo>
                    <a:lnTo>
                      <a:pt x="88" y="375"/>
                    </a:lnTo>
                    <a:lnTo>
                      <a:pt x="90" y="377"/>
                    </a:lnTo>
                    <a:lnTo>
                      <a:pt x="90" y="379"/>
                    </a:lnTo>
                    <a:lnTo>
                      <a:pt x="92" y="379"/>
                    </a:lnTo>
                    <a:lnTo>
                      <a:pt x="92" y="381"/>
                    </a:lnTo>
                    <a:lnTo>
                      <a:pt x="95" y="386"/>
                    </a:lnTo>
                    <a:lnTo>
                      <a:pt x="97" y="386"/>
                    </a:lnTo>
                    <a:lnTo>
                      <a:pt x="98" y="388"/>
                    </a:lnTo>
                    <a:lnTo>
                      <a:pt x="99" y="391"/>
                    </a:lnTo>
                    <a:lnTo>
                      <a:pt x="103" y="392"/>
                    </a:lnTo>
                    <a:lnTo>
                      <a:pt x="105" y="394"/>
                    </a:lnTo>
                    <a:lnTo>
                      <a:pt x="107" y="394"/>
                    </a:lnTo>
                    <a:lnTo>
                      <a:pt x="112" y="396"/>
                    </a:lnTo>
                    <a:lnTo>
                      <a:pt x="113" y="397"/>
                    </a:lnTo>
                    <a:lnTo>
                      <a:pt x="113" y="400"/>
                    </a:lnTo>
                    <a:lnTo>
                      <a:pt x="112" y="402"/>
                    </a:lnTo>
                    <a:lnTo>
                      <a:pt x="115" y="402"/>
                    </a:lnTo>
                    <a:lnTo>
                      <a:pt x="114" y="403"/>
                    </a:lnTo>
                    <a:lnTo>
                      <a:pt x="116" y="405"/>
                    </a:lnTo>
                    <a:lnTo>
                      <a:pt x="117" y="407"/>
                    </a:lnTo>
                    <a:lnTo>
                      <a:pt x="116" y="407"/>
                    </a:lnTo>
                    <a:lnTo>
                      <a:pt x="115" y="408"/>
                    </a:lnTo>
                    <a:lnTo>
                      <a:pt x="118" y="410"/>
                    </a:lnTo>
                    <a:lnTo>
                      <a:pt x="118" y="412"/>
                    </a:lnTo>
                    <a:lnTo>
                      <a:pt x="119" y="412"/>
                    </a:lnTo>
                    <a:lnTo>
                      <a:pt x="121" y="412"/>
                    </a:lnTo>
                    <a:lnTo>
                      <a:pt x="123" y="414"/>
                    </a:lnTo>
                    <a:lnTo>
                      <a:pt x="125" y="414"/>
                    </a:lnTo>
                    <a:lnTo>
                      <a:pt x="124" y="418"/>
                    </a:lnTo>
                    <a:lnTo>
                      <a:pt x="123" y="421"/>
                    </a:lnTo>
                    <a:lnTo>
                      <a:pt x="121" y="423"/>
                    </a:lnTo>
                    <a:lnTo>
                      <a:pt x="118" y="422"/>
                    </a:lnTo>
                    <a:lnTo>
                      <a:pt x="113" y="422"/>
                    </a:lnTo>
                    <a:lnTo>
                      <a:pt x="113" y="426"/>
                    </a:lnTo>
                    <a:lnTo>
                      <a:pt x="111" y="426"/>
                    </a:lnTo>
                    <a:lnTo>
                      <a:pt x="110" y="427"/>
                    </a:lnTo>
                    <a:lnTo>
                      <a:pt x="109" y="427"/>
                    </a:lnTo>
                    <a:lnTo>
                      <a:pt x="112" y="431"/>
                    </a:lnTo>
                    <a:lnTo>
                      <a:pt x="112" y="432"/>
                    </a:lnTo>
                    <a:lnTo>
                      <a:pt x="114" y="434"/>
                    </a:lnTo>
                    <a:lnTo>
                      <a:pt x="113" y="435"/>
                    </a:lnTo>
                    <a:lnTo>
                      <a:pt x="117" y="435"/>
                    </a:lnTo>
                    <a:lnTo>
                      <a:pt x="118" y="435"/>
                    </a:lnTo>
                    <a:lnTo>
                      <a:pt x="118" y="439"/>
                    </a:lnTo>
                    <a:lnTo>
                      <a:pt x="116" y="439"/>
                    </a:lnTo>
                    <a:lnTo>
                      <a:pt x="117" y="440"/>
                    </a:lnTo>
                    <a:lnTo>
                      <a:pt x="116" y="442"/>
                    </a:lnTo>
                    <a:lnTo>
                      <a:pt x="118" y="443"/>
                    </a:lnTo>
                    <a:lnTo>
                      <a:pt x="118" y="444"/>
                    </a:lnTo>
                    <a:lnTo>
                      <a:pt x="119" y="447"/>
                    </a:lnTo>
                    <a:lnTo>
                      <a:pt x="121" y="445"/>
                    </a:lnTo>
                    <a:lnTo>
                      <a:pt x="123" y="446"/>
                    </a:lnTo>
                    <a:lnTo>
                      <a:pt x="122" y="448"/>
                    </a:lnTo>
                    <a:lnTo>
                      <a:pt x="122" y="451"/>
                    </a:lnTo>
                    <a:lnTo>
                      <a:pt x="123" y="451"/>
                    </a:lnTo>
                    <a:lnTo>
                      <a:pt x="124" y="449"/>
                    </a:lnTo>
                    <a:lnTo>
                      <a:pt x="130" y="450"/>
                    </a:lnTo>
                    <a:lnTo>
                      <a:pt x="131" y="451"/>
                    </a:lnTo>
                    <a:lnTo>
                      <a:pt x="129" y="454"/>
                    </a:lnTo>
                    <a:lnTo>
                      <a:pt x="132" y="456"/>
                    </a:lnTo>
                    <a:lnTo>
                      <a:pt x="136" y="456"/>
                    </a:lnTo>
                    <a:lnTo>
                      <a:pt x="140" y="453"/>
                    </a:lnTo>
                    <a:lnTo>
                      <a:pt x="143" y="455"/>
                    </a:lnTo>
                    <a:lnTo>
                      <a:pt x="145" y="454"/>
                    </a:lnTo>
                    <a:lnTo>
                      <a:pt x="148" y="456"/>
                    </a:lnTo>
                    <a:lnTo>
                      <a:pt x="148" y="458"/>
                    </a:lnTo>
                    <a:lnTo>
                      <a:pt x="152" y="457"/>
                    </a:lnTo>
                    <a:lnTo>
                      <a:pt x="153" y="457"/>
                    </a:lnTo>
                    <a:lnTo>
                      <a:pt x="154" y="457"/>
                    </a:lnTo>
                    <a:lnTo>
                      <a:pt x="155" y="457"/>
                    </a:lnTo>
                    <a:lnTo>
                      <a:pt x="158" y="458"/>
                    </a:lnTo>
                    <a:lnTo>
                      <a:pt x="162" y="461"/>
                    </a:lnTo>
                    <a:lnTo>
                      <a:pt x="166" y="463"/>
                    </a:lnTo>
                    <a:lnTo>
                      <a:pt x="169" y="465"/>
                    </a:lnTo>
                    <a:lnTo>
                      <a:pt x="169" y="467"/>
                    </a:lnTo>
                    <a:lnTo>
                      <a:pt x="174" y="465"/>
                    </a:lnTo>
                    <a:lnTo>
                      <a:pt x="178" y="467"/>
                    </a:lnTo>
                    <a:lnTo>
                      <a:pt x="180" y="471"/>
                    </a:lnTo>
                    <a:lnTo>
                      <a:pt x="188" y="477"/>
                    </a:lnTo>
                    <a:lnTo>
                      <a:pt x="190" y="477"/>
                    </a:lnTo>
                    <a:lnTo>
                      <a:pt x="191" y="477"/>
                    </a:lnTo>
                    <a:lnTo>
                      <a:pt x="191" y="481"/>
                    </a:lnTo>
                    <a:lnTo>
                      <a:pt x="193" y="482"/>
                    </a:lnTo>
                    <a:lnTo>
                      <a:pt x="196" y="482"/>
                    </a:lnTo>
                    <a:lnTo>
                      <a:pt x="197" y="479"/>
                    </a:lnTo>
                    <a:lnTo>
                      <a:pt x="200" y="478"/>
                    </a:lnTo>
                    <a:lnTo>
                      <a:pt x="200" y="476"/>
                    </a:lnTo>
                    <a:lnTo>
                      <a:pt x="202" y="473"/>
                    </a:lnTo>
                    <a:lnTo>
                      <a:pt x="204" y="473"/>
                    </a:lnTo>
                    <a:lnTo>
                      <a:pt x="205" y="476"/>
                    </a:lnTo>
                    <a:lnTo>
                      <a:pt x="206" y="477"/>
                    </a:lnTo>
                    <a:lnTo>
                      <a:pt x="208" y="477"/>
                    </a:lnTo>
                    <a:lnTo>
                      <a:pt x="210" y="476"/>
                    </a:lnTo>
                    <a:lnTo>
                      <a:pt x="211" y="473"/>
                    </a:lnTo>
                    <a:lnTo>
                      <a:pt x="211" y="471"/>
                    </a:lnTo>
                    <a:lnTo>
                      <a:pt x="210" y="470"/>
                    </a:lnTo>
                    <a:lnTo>
                      <a:pt x="210" y="466"/>
                    </a:lnTo>
                    <a:lnTo>
                      <a:pt x="211" y="465"/>
                    </a:lnTo>
                    <a:lnTo>
                      <a:pt x="213" y="467"/>
                    </a:lnTo>
                    <a:lnTo>
                      <a:pt x="215" y="467"/>
                    </a:lnTo>
                    <a:lnTo>
                      <a:pt x="216" y="467"/>
                    </a:lnTo>
                    <a:lnTo>
                      <a:pt x="218" y="467"/>
                    </a:lnTo>
                    <a:lnTo>
                      <a:pt x="221" y="470"/>
                    </a:lnTo>
                    <a:lnTo>
                      <a:pt x="223" y="470"/>
                    </a:lnTo>
                    <a:lnTo>
                      <a:pt x="224" y="466"/>
                    </a:lnTo>
                    <a:lnTo>
                      <a:pt x="226" y="465"/>
                    </a:lnTo>
                    <a:lnTo>
                      <a:pt x="227" y="462"/>
                    </a:lnTo>
                    <a:lnTo>
                      <a:pt x="229" y="459"/>
                    </a:lnTo>
                    <a:lnTo>
                      <a:pt x="229" y="456"/>
                    </a:lnTo>
                    <a:lnTo>
                      <a:pt x="231" y="454"/>
                    </a:lnTo>
                    <a:lnTo>
                      <a:pt x="232" y="454"/>
                    </a:lnTo>
                    <a:lnTo>
                      <a:pt x="231" y="450"/>
                    </a:lnTo>
                    <a:lnTo>
                      <a:pt x="229" y="447"/>
                    </a:lnTo>
                    <a:lnTo>
                      <a:pt x="229" y="444"/>
                    </a:lnTo>
                    <a:lnTo>
                      <a:pt x="232" y="444"/>
                    </a:lnTo>
                    <a:lnTo>
                      <a:pt x="233" y="445"/>
                    </a:lnTo>
                    <a:lnTo>
                      <a:pt x="236" y="444"/>
                    </a:lnTo>
                    <a:lnTo>
                      <a:pt x="237" y="446"/>
                    </a:lnTo>
                    <a:lnTo>
                      <a:pt x="238" y="447"/>
                    </a:lnTo>
                    <a:lnTo>
                      <a:pt x="237" y="447"/>
                    </a:lnTo>
                    <a:lnTo>
                      <a:pt x="237" y="448"/>
                    </a:lnTo>
                    <a:lnTo>
                      <a:pt x="239" y="450"/>
                    </a:lnTo>
                    <a:lnTo>
                      <a:pt x="242" y="452"/>
                    </a:lnTo>
                    <a:lnTo>
                      <a:pt x="242" y="455"/>
                    </a:lnTo>
                    <a:lnTo>
                      <a:pt x="242" y="456"/>
                    </a:lnTo>
                    <a:lnTo>
                      <a:pt x="243" y="457"/>
                    </a:lnTo>
                    <a:lnTo>
                      <a:pt x="244" y="460"/>
                    </a:lnTo>
                    <a:lnTo>
                      <a:pt x="246" y="459"/>
                    </a:lnTo>
                    <a:lnTo>
                      <a:pt x="249" y="459"/>
                    </a:lnTo>
                    <a:lnTo>
                      <a:pt x="250" y="461"/>
                    </a:lnTo>
                    <a:lnTo>
                      <a:pt x="256" y="463"/>
                    </a:lnTo>
                    <a:lnTo>
                      <a:pt x="257" y="464"/>
                    </a:lnTo>
                    <a:lnTo>
                      <a:pt x="257" y="467"/>
                    </a:lnTo>
                    <a:lnTo>
                      <a:pt x="259" y="469"/>
                    </a:lnTo>
                    <a:lnTo>
                      <a:pt x="260" y="468"/>
                    </a:lnTo>
                    <a:lnTo>
                      <a:pt x="260" y="466"/>
                    </a:lnTo>
                    <a:lnTo>
                      <a:pt x="262" y="466"/>
                    </a:lnTo>
                    <a:lnTo>
                      <a:pt x="263" y="465"/>
                    </a:lnTo>
                    <a:lnTo>
                      <a:pt x="264" y="465"/>
                    </a:lnTo>
                    <a:lnTo>
                      <a:pt x="266" y="463"/>
                    </a:lnTo>
                    <a:lnTo>
                      <a:pt x="268" y="463"/>
                    </a:lnTo>
                    <a:lnTo>
                      <a:pt x="271" y="460"/>
                    </a:lnTo>
                    <a:lnTo>
                      <a:pt x="272" y="459"/>
                    </a:lnTo>
                    <a:lnTo>
                      <a:pt x="275" y="459"/>
                    </a:lnTo>
                    <a:lnTo>
                      <a:pt x="276" y="463"/>
                    </a:lnTo>
                    <a:lnTo>
                      <a:pt x="276" y="470"/>
                    </a:lnTo>
                    <a:lnTo>
                      <a:pt x="278" y="471"/>
                    </a:lnTo>
                    <a:lnTo>
                      <a:pt x="279" y="471"/>
                    </a:lnTo>
                    <a:lnTo>
                      <a:pt x="283" y="470"/>
                    </a:lnTo>
                    <a:lnTo>
                      <a:pt x="285" y="475"/>
                    </a:lnTo>
                    <a:lnTo>
                      <a:pt x="286" y="483"/>
                    </a:lnTo>
                    <a:lnTo>
                      <a:pt x="292" y="483"/>
                    </a:lnTo>
                    <a:lnTo>
                      <a:pt x="294" y="482"/>
                    </a:lnTo>
                    <a:lnTo>
                      <a:pt x="294" y="483"/>
                    </a:lnTo>
                    <a:lnTo>
                      <a:pt x="295" y="482"/>
                    </a:lnTo>
                    <a:lnTo>
                      <a:pt x="297" y="484"/>
                    </a:lnTo>
                    <a:lnTo>
                      <a:pt x="299" y="482"/>
                    </a:lnTo>
                    <a:lnTo>
                      <a:pt x="299" y="480"/>
                    </a:lnTo>
                    <a:lnTo>
                      <a:pt x="301" y="479"/>
                    </a:lnTo>
                    <a:lnTo>
                      <a:pt x="301" y="478"/>
                    </a:lnTo>
                    <a:lnTo>
                      <a:pt x="304" y="476"/>
                    </a:lnTo>
                    <a:lnTo>
                      <a:pt x="303" y="468"/>
                    </a:lnTo>
                    <a:lnTo>
                      <a:pt x="306" y="458"/>
                    </a:lnTo>
                    <a:lnTo>
                      <a:pt x="306" y="453"/>
                    </a:lnTo>
                    <a:lnTo>
                      <a:pt x="304" y="453"/>
                    </a:lnTo>
                    <a:lnTo>
                      <a:pt x="308" y="441"/>
                    </a:lnTo>
                    <a:lnTo>
                      <a:pt x="309" y="440"/>
                    </a:lnTo>
                    <a:lnTo>
                      <a:pt x="310" y="436"/>
                    </a:lnTo>
                    <a:lnTo>
                      <a:pt x="313" y="431"/>
                    </a:lnTo>
                    <a:lnTo>
                      <a:pt x="314" y="430"/>
                    </a:lnTo>
                    <a:lnTo>
                      <a:pt x="319" y="430"/>
                    </a:lnTo>
                    <a:lnTo>
                      <a:pt x="320" y="427"/>
                    </a:lnTo>
                    <a:lnTo>
                      <a:pt x="324" y="427"/>
                    </a:lnTo>
                    <a:lnTo>
                      <a:pt x="328" y="424"/>
                    </a:lnTo>
                    <a:lnTo>
                      <a:pt x="328" y="422"/>
                    </a:lnTo>
                    <a:lnTo>
                      <a:pt x="330" y="421"/>
                    </a:lnTo>
                    <a:lnTo>
                      <a:pt x="330" y="419"/>
                    </a:lnTo>
                    <a:lnTo>
                      <a:pt x="332" y="418"/>
                    </a:lnTo>
                    <a:lnTo>
                      <a:pt x="333" y="418"/>
                    </a:lnTo>
                    <a:lnTo>
                      <a:pt x="335" y="418"/>
                    </a:lnTo>
                    <a:lnTo>
                      <a:pt x="333" y="411"/>
                    </a:lnTo>
                    <a:lnTo>
                      <a:pt x="337" y="405"/>
                    </a:lnTo>
                    <a:lnTo>
                      <a:pt x="337" y="403"/>
                    </a:lnTo>
                    <a:lnTo>
                      <a:pt x="336" y="400"/>
                    </a:lnTo>
                    <a:lnTo>
                      <a:pt x="337" y="399"/>
                    </a:lnTo>
                    <a:lnTo>
                      <a:pt x="337" y="397"/>
                    </a:lnTo>
                    <a:lnTo>
                      <a:pt x="340" y="396"/>
                    </a:lnTo>
                    <a:lnTo>
                      <a:pt x="341" y="396"/>
                    </a:lnTo>
                    <a:lnTo>
                      <a:pt x="343" y="397"/>
                    </a:lnTo>
                    <a:lnTo>
                      <a:pt x="346" y="397"/>
                    </a:lnTo>
                    <a:lnTo>
                      <a:pt x="347" y="396"/>
                    </a:lnTo>
                    <a:lnTo>
                      <a:pt x="348" y="398"/>
                    </a:lnTo>
                    <a:lnTo>
                      <a:pt x="348" y="397"/>
                    </a:lnTo>
                    <a:lnTo>
                      <a:pt x="349" y="399"/>
                    </a:lnTo>
                    <a:lnTo>
                      <a:pt x="350" y="400"/>
                    </a:lnTo>
                    <a:lnTo>
                      <a:pt x="351" y="399"/>
                    </a:lnTo>
                    <a:lnTo>
                      <a:pt x="352" y="400"/>
                    </a:lnTo>
                    <a:lnTo>
                      <a:pt x="354" y="398"/>
                    </a:lnTo>
                    <a:lnTo>
                      <a:pt x="356" y="399"/>
                    </a:lnTo>
                    <a:lnTo>
                      <a:pt x="358" y="401"/>
                    </a:lnTo>
                    <a:lnTo>
                      <a:pt x="358" y="403"/>
                    </a:lnTo>
                    <a:lnTo>
                      <a:pt x="361" y="403"/>
                    </a:lnTo>
                    <a:lnTo>
                      <a:pt x="363" y="405"/>
                    </a:lnTo>
                    <a:lnTo>
                      <a:pt x="365" y="406"/>
                    </a:lnTo>
                    <a:lnTo>
                      <a:pt x="366" y="405"/>
                    </a:lnTo>
                    <a:lnTo>
                      <a:pt x="369" y="407"/>
                    </a:lnTo>
                    <a:lnTo>
                      <a:pt x="371" y="408"/>
                    </a:lnTo>
                    <a:lnTo>
                      <a:pt x="372" y="410"/>
                    </a:lnTo>
                    <a:lnTo>
                      <a:pt x="374" y="410"/>
                    </a:lnTo>
                    <a:lnTo>
                      <a:pt x="375" y="410"/>
                    </a:lnTo>
                    <a:lnTo>
                      <a:pt x="377" y="412"/>
                    </a:lnTo>
                    <a:lnTo>
                      <a:pt x="379" y="410"/>
                    </a:lnTo>
                    <a:lnTo>
                      <a:pt x="380" y="410"/>
                    </a:lnTo>
                    <a:lnTo>
                      <a:pt x="382" y="409"/>
                    </a:lnTo>
                    <a:lnTo>
                      <a:pt x="384" y="405"/>
                    </a:lnTo>
                    <a:lnTo>
                      <a:pt x="384" y="403"/>
                    </a:lnTo>
                    <a:lnTo>
                      <a:pt x="379" y="398"/>
                    </a:lnTo>
                    <a:lnTo>
                      <a:pt x="379" y="397"/>
                    </a:lnTo>
                    <a:lnTo>
                      <a:pt x="379" y="396"/>
                    </a:lnTo>
                    <a:lnTo>
                      <a:pt x="378" y="395"/>
                    </a:lnTo>
                    <a:lnTo>
                      <a:pt x="381" y="392"/>
                    </a:lnTo>
                    <a:lnTo>
                      <a:pt x="381" y="387"/>
                    </a:lnTo>
                    <a:lnTo>
                      <a:pt x="384" y="382"/>
                    </a:lnTo>
                    <a:lnTo>
                      <a:pt x="384" y="376"/>
                    </a:lnTo>
                    <a:lnTo>
                      <a:pt x="386" y="375"/>
                    </a:lnTo>
                    <a:lnTo>
                      <a:pt x="386" y="374"/>
                    </a:lnTo>
                    <a:lnTo>
                      <a:pt x="389" y="374"/>
                    </a:lnTo>
                    <a:lnTo>
                      <a:pt x="389" y="372"/>
                    </a:lnTo>
                    <a:lnTo>
                      <a:pt x="388" y="369"/>
                    </a:lnTo>
                    <a:lnTo>
                      <a:pt x="387" y="369"/>
                    </a:lnTo>
                    <a:lnTo>
                      <a:pt x="387" y="365"/>
                    </a:lnTo>
                    <a:lnTo>
                      <a:pt x="388" y="359"/>
                    </a:lnTo>
                    <a:lnTo>
                      <a:pt x="391" y="359"/>
                    </a:lnTo>
                    <a:lnTo>
                      <a:pt x="392" y="351"/>
                    </a:lnTo>
                    <a:lnTo>
                      <a:pt x="393" y="352"/>
                    </a:lnTo>
                    <a:lnTo>
                      <a:pt x="393" y="350"/>
                    </a:lnTo>
                    <a:lnTo>
                      <a:pt x="394" y="348"/>
                    </a:lnTo>
                    <a:lnTo>
                      <a:pt x="395" y="346"/>
                    </a:lnTo>
                    <a:lnTo>
                      <a:pt x="395" y="340"/>
                    </a:lnTo>
                    <a:lnTo>
                      <a:pt x="393" y="339"/>
                    </a:lnTo>
                    <a:lnTo>
                      <a:pt x="393" y="336"/>
                    </a:lnTo>
                    <a:lnTo>
                      <a:pt x="392" y="335"/>
                    </a:lnTo>
                    <a:lnTo>
                      <a:pt x="392" y="333"/>
                    </a:lnTo>
                    <a:lnTo>
                      <a:pt x="394" y="332"/>
                    </a:lnTo>
                    <a:lnTo>
                      <a:pt x="395" y="331"/>
                    </a:lnTo>
                    <a:lnTo>
                      <a:pt x="395" y="328"/>
                    </a:lnTo>
                    <a:lnTo>
                      <a:pt x="393" y="327"/>
                    </a:lnTo>
                    <a:lnTo>
                      <a:pt x="393" y="321"/>
                    </a:lnTo>
                    <a:lnTo>
                      <a:pt x="393" y="318"/>
                    </a:lnTo>
                    <a:lnTo>
                      <a:pt x="394" y="314"/>
                    </a:lnTo>
                    <a:lnTo>
                      <a:pt x="395" y="310"/>
                    </a:lnTo>
                    <a:lnTo>
                      <a:pt x="395" y="311"/>
                    </a:lnTo>
                    <a:lnTo>
                      <a:pt x="397" y="307"/>
                    </a:lnTo>
                    <a:lnTo>
                      <a:pt x="400" y="306"/>
                    </a:lnTo>
                    <a:lnTo>
                      <a:pt x="401" y="305"/>
                    </a:lnTo>
                    <a:lnTo>
                      <a:pt x="401" y="304"/>
                    </a:lnTo>
                    <a:lnTo>
                      <a:pt x="402" y="299"/>
                    </a:lnTo>
                    <a:lnTo>
                      <a:pt x="401" y="299"/>
                    </a:lnTo>
                    <a:lnTo>
                      <a:pt x="400" y="297"/>
                    </a:lnTo>
                    <a:lnTo>
                      <a:pt x="402" y="294"/>
                    </a:lnTo>
                    <a:lnTo>
                      <a:pt x="403" y="295"/>
                    </a:lnTo>
                    <a:lnTo>
                      <a:pt x="406" y="295"/>
                    </a:lnTo>
                    <a:lnTo>
                      <a:pt x="407" y="293"/>
                    </a:lnTo>
                    <a:lnTo>
                      <a:pt x="409" y="292"/>
                    </a:lnTo>
                    <a:lnTo>
                      <a:pt x="410" y="295"/>
                    </a:lnTo>
                    <a:lnTo>
                      <a:pt x="414" y="297"/>
                    </a:lnTo>
                    <a:lnTo>
                      <a:pt x="418" y="296"/>
                    </a:lnTo>
                    <a:lnTo>
                      <a:pt x="420" y="297"/>
                    </a:lnTo>
                    <a:lnTo>
                      <a:pt x="421" y="301"/>
                    </a:lnTo>
                    <a:lnTo>
                      <a:pt x="420" y="302"/>
                    </a:lnTo>
                    <a:lnTo>
                      <a:pt x="420" y="303"/>
                    </a:lnTo>
                    <a:lnTo>
                      <a:pt x="420" y="305"/>
                    </a:lnTo>
                    <a:lnTo>
                      <a:pt x="426" y="306"/>
                    </a:lnTo>
                    <a:lnTo>
                      <a:pt x="430" y="308"/>
                    </a:lnTo>
                    <a:lnTo>
                      <a:pt x="431" y="306"/>
                    </a:lnTo>
                    <a:lnTo>
                      <a:pt x="433" y="306"/>
                    </a:lnTo>
                    <a:lnTo>
                      <a:pt x="435" y="307"/>
                    </a:lnTo>
                    <a:lnTo>
                      <a:pt x="436" y="306"/>
                    </a:lnTo>
                    <a:lnTo>
                      <a:pt x="437" y="307"/>
                    </a:lnTo>
                    <a:lnTo>
                      <a:pt x="439" y="306"/>
                    </a:lnTo>
                    <a:lnTo>
                      <a:pt x="439" y="308"/>
                    </a:lnTo>
                    <a:lnTo>
                      <a:pt x="444" y="311"/>
                    </a:lnTo>
                    <a:lnTo>
                      <a:pt x="444" y="314"/>
                    </a:lnTo>
                    <a:lnTo>
                      <a:pt x="443" y="314"/>
                    </a:lnTo>
                    <a:lnTo>
                      <a:pt x="442" y="315"/>
                    </a:lnTo>
                    <a:lnTo>
                      <a:pt x="442" y="316"/>
                    </a:lnTo>
                    <a:lnTo>
                      <a:pt x="445" y="318"/>
                    </a:lnTo>
                    <a:lnTo>
                      <a:pt x="445" y="319"/>
                    </a:lnTo>
                    <a:lnTo>
                      <a:pt x="444" y="320"/>
                    </a:lnTo>
                    <a:lnTo>
                      <a:pt x="446" y="322"/>
                    </a:lnTo>
                    <a:lnTo>
                      <a:pt x="446" y="325"/>
                    </a:lnTo>
                    <a:lnTo>
                      <a:pt x="446" y="326"/>
                    </a:lnTo>
                    <a:lnTo>
                      <a:pt x="444" y="327"/>
                    </a:lnTo>
                    <a:lnTo>
                      <a:pt x="441" y="332"/>
                    </a:lnTo>
                    <a:lnTo>
                      <a:pt x="443" y="335"/>
                    </a:lnTo>
                    <a:lnTo>
                      <a:pt x="444" y="334"/>
                    </a:lnTo>
                    <a:lnTo>
                      <a:pt x="445" y="335"/>
                    </a:lnTo>
                    <a:lnTo>
                      <a:pt x="448" y="333"/>
                    </a:lnTo>
                    <a:lnTo>
                      <a:pt x="450" y="335"/>
                    </a:lnTo>
                    <a:lnTo>
                      <a:pt x="454" y="331"/>
                    </a:lnTo>
                    <a:lnTo>
                      <a:pt x="456" y="331"/>
                    </a:lnTo>
                    <a:lnTo>
                      <a:pt x="458" y="329"/>
                    </a:lnTo>
                    <a:lnTo>
                      <a:pt x="459" y="329"/>
                    </a:lnTo>
                    <a:lnTo>
                      <a:pt x="462" y="329"/>
                    </a:lnTo>
                    <a:lnTo>
                      <a:pt x="466" y="330"/>
                    </a:lnTo>
                    <a:lnTo>
                      <a:pt x="467" y="330"/>
                    </a:lnTo>
                    <a:lnTo>
                      <a:pt x="471" y="333"/>
                    </a:lnTo>
                    <a:lnTo>
                      <a:pt x="472" y="331"/>
                    </a:lnTo>
                    <a:lnTo>
                      <a:pt x="474" y="331"/>
                    </a:lnTo>
                    <a:lnTo>
                      <a:pt x="473" y="328"/>
                    </a:lnTo>
                    <a:lnTo>
                      <a:pt x="474" y="328"/>
                    </a:lnTo>
                    <a:lnTo>
                      <a:pt x="475" y="328"/>
                    </a:lnTo>
                    <a:lnTo>
                      <a:pt x="478" y="322"/>
                    </a:lnTo>
                    <a:lnTo>
                      <a:pt x="479" y="322"/>
                    </a:lnTo>
                    <a:lnTo>
                      <a:pt x="477" y="318"/>
                    </a:lnTo>
                    <a:lnTo>
                      <a:pt x="478" y="315"/>
                    </a:lnTo>
                    <a:lnTo>
                      <a:pt x="481" y="316"/>
                    </a:lnTo>
                    <a:lnTo>
                      <a:pt x="482" y="318"/>
                    </a:lnTo>
                    <a:lnTo>
                      <a:pt x="481" y="320"/>
                    </a:lnTo>
                    <a:lnTo>
                      <a:pt x="485" y="324"/>
                    </a:lnTo>
                    <a:lnTo>
                      <a:pt x="487" y="323"/>
                    </a:lnTo>
                    <a:lnTo>
                      <a:pt x="489" y="325"/>
                    </a:lnTo>
                    <a:lnTo>
                      <a:pt x="491" y="324"/>
                    </a:lnTo>
                    <a:lnTo>
                      <a:pt x="492" y="322"/>
                    </a:lnTo>
                    <a:lnTo>
                      <a:pt x="494" y="323"/>
                    </a:lnTo>
                    <a:lnTo>
                      <a:pt x="497" y="322"/>
                    </a:lnTo>
                    <a:lnTo>
                      <a:pt x="501" y="324"/>
                    </a:lnTo>
                    <a:lnTo>
                      <a:pt x="507" y="329"/>
                    </a:lnTo>
                    <a:lnTo>
                      <a:pt x="508" y="333"/>
                    </a:lnTo>
                    <a:lnTo>
                      <a:pt x="511" y="334"/>
                    </a:lnTo>
                    <a:lnTo>
                      <a:pt x="513" y="338"/>
                    </a:lnTo>
                    <a:lnTo>
                      <a:pt x="516" y="341"/>
                    </a:lnTo>
                    <a:lnTo>
                      <a:pt x="519" y="342"/>
                    </a:lnTo>
                    <a:lnTo>
                      <a:pt x="521" y="342"/>
                    </a:lnTo>
                    <a:lnTo>
                      <a:pt x="523" y="342"/>
                    </a:lnTo>
                    <a:lnTo>
                      <a:pt x="524" y="345"/>
                    </a:lnTo>
                    <a:lnTo>
                      <a:pt x="528" y="342"/>
                    </a:lnTo>
                    <a:lnTo>
                      <a:pt x="529" y="345"/>
                    </a:lnTo>
                    <a:lnTo>
                      <a:pt x="531" y="346"/>
                    </a:lnTo>
                    <a:lnTo>
                      <a:pt x="532" y="346"/>
                    </a:lnTo>
                    <a:lnTo>
                      <a:pt x="537" y="350"/>
                    </a:lnTo>
                    <a:lnTo>
                      <a:pt x="537" y="357"/>
                    </a:lnTo>
                    <a:lnTo>
                      <a:pt x="539" y="361"/>
                    </a:lnTo>
                    <a:lnTo>
                      <a:pt x="545" y="365"/>
                    </a:lnTo>
                    <a:lnTo>
                      <a:pt x="548" y="361"/>
                    </a:lnTo>
                    <a:lnTo>
                      <a:pt x="549" y="361"/>
                    </a:lnTo>
                    <a:lnTo>
                      <a:pt x="549" y="358"/>
                    </a:lnTo>
                    <a:lnTo>
                      <a:pt x="550" y="358"/>
                    </a:lnTo>
                    <a:lnTo>
                      <a:pt x="552" y="359"/>
                    </a:lnTo>
                    <a:lnTo>
                      <a:pt x="553" y="358"/>
                    </a:lnTo>
                    <a:lnTo>
                      <a:pt x="555" y="357"/>
                    </a:lnTo>
                    <a:lnTo>
                      <a:pt x="552" y="356"/>
                    </a:lnTo>
                    <a:lnTo>
                      <a:pt x="554" y="354"/>
                    </a:lnTo>
                    <a:lnTo>
                      <a:pt x="555" y="355"/>
                    </a:lnTo>
                    <a:lnTo>
                      <a:pt x="555" y="353"/>
                    </a:lnTo>
                    <a:lnTo>
                      <a:pt x="555" y="352"/>
                    </a:lnTo>
                    <a:lnTo>
                      <a:pt x="554" y="352"/>
                    </a:lnTo>
                    <a:lnTo>
                      <a:pt x="554" y="351"/>
                    </a:lnTo>
                    <a:lnTo>
                      <a:pt x="553" y="352"/>
                    </a:lnTo>
                    <a:lnTo>
                      <a:pt x="552" y="350"/>
                    </a:lnTo>
                    <a:lnTo>
                      <a:pt x="553" y="348"/>
                    </a:lnTo>
                    <a:lnTo>
                      <a:pt x="555" y="348"/>
                    </a:lnTo>
                    <a:lnTo>
                      <a:pt x="555" y="350"/>
                    </a:lnTo>
                    <a:lnTo>
                      <a:pt x="557" y="351"/>
                    </a:lnTo>
                    <a:lnTo>
                      <a:pt x="558" y="351"/>
                    </a:lnTo>
                    <a:lnTo>
                      <a:pt x="559" y="350"/>
                    </a:lnTo>
                    <a:lnTo>
                      <a:pt x="560" y="348"/>
                    </a:lnTo>
                    <a:lnTo>
                      <a:pt x="557" y="345"/>
                    </a:lnTo>
                    <a:lnTo>
                      <a:pt x="558" y="343"/>
                    </a:lnTo>
                    <a:lnTo>
                      <a:pt x="559" y="342"/>
                    </a:lnTo>
                    <a:lnTo>
                      <a:pt x="559" y="341"/>
                    </a:lnTo>
                    <a:lnTo>
                      <a:pt x="560" y="340"/>
                    </a:lnTo>
                    <a:lnTo>
                      <a:pt x="556" y="337"/>
                    </a:lnTo>
                    <a:lnTo>
                      <a:pt x="552" y="335"/>
                    </a:lnTo>
                    <a:lnTo>
                      <a:pt x="550" y="335"/>
                    </a:lnTo>
                    <a:lnTo>
                      <a:pt x="546" y="334"/>
                    </a:lnTo>
                    <a:lnTo>
                      <a:pt x="545" y="333"/>
                    </a:lnTo>
                    <a:lnTo>
                      <a:pt x="544" y="331"/>
                    </a:lnTo>
                    <a:lnTo>
                      <a:pt x="545" y="329"/>
                    </a:lnTo>
                    <a:lnTo>
                      <a:pt x="545" y="327"/>
                    </a:lnTo>
                    <a:lnTo>
                      <a:pt x="546" y="326"/>
                    </a:lnTo>
                    <a:lnTo>
                      <a:pt x="545" y="324"/>
                    </a:lnTo>
                    <a:lnTo>
                      <a:pt x="544" y="323"/>
                    </a:lnTo>
                    <a:lnTo>
                      <a:pt x="542" y="322"/>
                    </a:lnTo>
                    <a:lnTo>
                      <a:pt x="540" y="324"/>
                    </a:lnTo>
                    <a:lnTo>
                      <a:pt x="538" y="324"/>
                    </a:lnTo>
                    <a:lnTo>
                      <a:pt x="537" y="325"/>
                    </a:lnTo>
                    <a:lnTo>
                      <a:pt x="535" y="322"/>
                    </a:lnTo>
                    <a:lnTo>
                      <a:pt x="537" y="320"/>
                    </a:lnTo>
                    <a:lnTo>
                      <a:pt x="537" y="318"/>
                    </a:lnTo>
                    <a:lnTo>
                      <a:pt x="539" y="317"/>
                    </a:lnTo>
                    <a:lnTo>
                      <a:pt x="541" y="317"/>
                    </a:lnTo>
                    <a:lnTo>
                      <a:pt x="542" y="315"/>
                    </a:lnTo>
                    <a:lnTo>
                      <a:pt x="543" y="313"/>
                    </a:lnTo>
                    <a:lnTo>
                      <a:pt x="545" y="314"/>
                    </a:lnTo>
                    <a:lnTo>
                      <a:pt x="545" y="311"/>
                    </a:lnTo>
                    <a:lnTo>
                      <a:pt x="547" y="312"/>
                    </a:lnTo>
                    <a:lnTo>
                      <a:pt x="548" y="311"/>
                    </a:lnTo>
                    <a:lnTo>
                      <a:pt x="549" y="310"/>
                    </a:lnTo>
                    <a:lnTo>
                      <a:pt x="548" y="309"/>
                    </a:lnTo>
                    <a:lnTo>
                      <a:pt x="550" y="307"/>
                    </a:lnTo>
                    <a:lnTo>
                      <a:pt x="548" y="306"/>
                    </a:lnTo>
                    <a:lnTo>
                      <a:pt x="549" y="306"/>
                    </a:lnTo>
                    <a:lnTo>
                      <a:pt x="548" y="305"/>
                    </a:lnTo>
                    <a:lnTo>
                      <a:pt x="549" y="303"/>
                    </a:lnTo>
                    <a:lnTo>
                      <a:pt x="552" y="303"/>
                    </a:lnTo>
                    <a:lnTo>
                      <a:pt x="555" y="302"/>
                    </a:lnTo>
                    <a:lnTo>
                      <a:pt x="556" y="299"/>
                    </a:lnTo>
                    <a:lnTo>
                      <a:pt x="554" y="298"/>
                    </a:lnTo>
                    <a:lnTo>
                      <a:pt x="555" y="295"/>
                    </a:lnTo>
                    <a:lnTo>
                      <a:pt x="554" y="295"/>
                    </a:lnTo>
                    <a:lnTo>
                      <a:pt x="554" y="294"/>
                    </a:lnTo>
                    <a:lnTo>
                      <a:pt x="557" y="294"/>
                    </a:lnTo>
                    <a:lnTo>
                      <a:pt x="558" y="295"/>
                    </a:lnTo>
                    <a:lnTo>
                      <a:pt x="559" y="291"/>
                    </a:lnTo>
                    <a:lnTo>
                      <a:pt x="557" y="289"/>
                    </a:lnTo>
                    <a:lnTo>
                      <a:pt x="558" y="287"/>
                    </a:lnTo>
                    <a:lnTo>
                      <a:pt x="562" y="289"/>
                    </a:lnTo>
                    <a:lnTo>
                      <a:pt x="565" y="289"/>
                    </a:lnTo>
                    <a:lnTo>
                      <a:pt x="565" y="290"/>
                    </a:lnTo>
                    <a:lnTo>
                      <a:pt x="566" y="289"/>
                    </a:lnTo>
                    <a:lnTo>
                      <a:pt x="567" y="290"/>
                    </a:lnTo>
                    <a:lnTo>
                      <a:pt x="569" y="290"/>
                    </a:lnTo>
                    <a:lnTo>
                      <a:pt x="570" y="289"/>
                    </a:lnTo>
                    <a:lnTo>
                      <a:pt x="570" y="287"/>
                    </a:lnTo>
                    <a:lnTo>
                      <a:pt x="569" y="284"/>
                    </a:lnTo>
                    <a:lnTo>
                      <a:pt x="572" y="284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70" name="Group 77">
              <a:extLst>
                <a:ext uri="{FF2B5EF4-FFF2-40B4-BE49-F238E27FC236}">
                  <a16:creationId xmlns:a16="http://schemas.microsoft.com/office/drawing/2014/main" id="{AAD6F243-F3F8-440D-B538-09BE1C34F9E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08" y="3431"/>
              <a:ext cx="579" cy="487"/>
              <a:chOff x="1308" y="3431"/>
              <a:chExt cx="579" cy="487"/>
            </a:xfrm>
          </p:grpSpPr>
          <p:sp>
            <p:nvSpPr>
              <p:cNvPr id="519" name="Freeform 75">
                <a:extLst>
                  <a:ext uri="{FF2B5EF4-FFF2-40B4-BE49-F238E27FC236}">
                    <a16:creationId xmlns:a16="http://schemas.microsoft.com/office/drawing/2014/main" id="{75AA9587-6047-4C34-98A6-7B9CECA0C2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8" y="3431"/>
                <a:ext cx="579" cy="487"/>
              </a:xfrm>
              <a:custGeom>
                <a:avLst/>
                <a:gdLst>
                  <a:gd name="T0" fmla="*/ 545 w 579"/>
                  <a:gd name="T1" fmla="*/ 345 h 487"/>
                  <a:gd name="T2" fmla="*/ 506 w 579"/>
                  <a:gd name="T3" fmla="*/ 331 h 487"/>
                  <a:gd name="T4" fmla="*/ 490 w 579"/>
                  <a:gd name="T5" fmla="*/ 310 h 487"/>
                  <a:gd name="T6" fmla="*/ 473 w 579"/>
                  <a:gd name="T7" fmla="*/ 285 h 487"/>
                  <a:gd name="T8" fmla="*/ 442 w 579"/>
                  <a:gd name="T9" fmla="*/ 263 h 487"/>
                  <a:gd name="T10" fmla="*/ 468 w 579"/>
                  <a:gd name="T11" fmla="*/ 236 h 487"/>
                  <a:gd name="T12" fmla="*/ 453 w 579"/>
                  <a:gd name="T13" fmla="*/ 212 h 487"/>
                  <a:gd name="T14" fmla="*/ 460 w 579"/>
                  <a:gd name="T15" fmla="*/ 176 h 487"/>
                  <a:gd name="T16" fmla="*/ 438 w 579"/>
                  <a:gd name="T17" fmla="*/ 146 h 487"/>
                  <a:gd name="T18" fmla="*/ 435 w 579"/>
                  <a:gd name="T19" fmla="*/ 123 h 487"/>
                  <a:gd name="T20" fmla="*/ 428 w 579"/>
                  <a:gd name="T21" fmla="*/ 117 h 487"/>
                  <a:gd name="T22" fmla="*/ 420 w 579"/>
                  <a:gd name="T23" fmla="*/ 91 h 487"/>
                  <a:gd name="T24" fmla="*/ 393 w 579"/>
                  <a:gd name="T25" fmla="*/ 76 h 487"/>
                  <a:gd name="T26" fmla="*/ 398 w 579"/>
                  <a:gd name="T27" fmla="*/ 91 h 487"/>
                  <a:gd name="T28" fmla="*/ 391 w 579"/>
                  <a:gd name="T29" fmla="*/ 118 h 487"/>
                  <a:gd name="T30" fmla="*/ 378 w 579"/>
                  <a:gd name="T31" fmla="*/ 99 h 487"/>
                  <a:gd name="T32" fmla="*/ 373 w 579"/>
                  <a:gd name="T33" fmla="*/ 62 h 487"/>
                  <a:gd name="T34" fmla="*/ 371 w 579"/>
                  <a:gd name="T35" fmla="*/ 49 h 487"/>
                  <a:gd name="T36" fmla="*/ 362 w 579"/>
                  <a:gd name="T37" fmla="*/ 25 h 487"/>
                  <a:gd name="T38" fmla="*/ 373 w 579"/>
                  <a:gd name="T39" fmla="*/ 23 h 487"/>
                  <a:gd name="T40" fmla="*/ 330 w 579"/>
                  <a:gd name="T41" fmla="*/ 0 h 487"/>
                  <a:gd name="T42" fmla="*/ 307 w 579"/>
                  <a:gd name="T43" fmla="*/ 13 h 487"/>
                  <a:gd name="T44" fmla="*/ 280 w 579"/>
                  <a:gd name="T45" fmla="*/ 10 h 487"/>
                  <a:gd name="T46" fmla="*/ 261 w 579"/>
                  <a:gd name="T47" fmla="*/ 33 h 487"/>
                  <a:gd name="T48" fmla="*/ 254 w 579"/>
                  <a:gd name="T49" fmla="*/ 57 h 487"/>
                  <a:gd name="T50" fmla="*/ 252 w 579"/>
                  <a:gd name="T51" fmla="*/ 92 h 487"/>
                  <a:gd name="T52" fmla="*/ 251 w 579"/>
                  <a:gd name="T53" fmla="*/ 123 h 487"/>
                  <a:gd name="T54" fmla="*/ 226 w 579"/>
                  <a:gd name="T55" fmla="*/ 142 h 487"/>
                  <a:gd name="T56" fmla="*/ 219 w 579"/>
                  <a:gd name="T57" fmla="*/ 166 h 487"/>
                  <a:gd name="T58" fmla="*/ 214 w 579"/>
                  <a:gd name="T59" fmla="*/ 198 h 487"/>
                  <a:gd name="T60" fmla="*/ 206 w 579"/>
                  <a:gd name="T61" fmla="*/ 219 h 487"/>
                  <a:gd name="T62" fmla="*/ 198 w 579"/>
                  <a:gd name="T63" fmla="*/ 242 h 487"/>
                  <a:gd name="T64" fmla="*/ 170 w 579"/>
                  <a:gd name="T65" fmla="*/ 260 h 487"/>
                  <a:gd name="T66" fmla="*/ 148 w 579"/>
                  <a:gd name="T67" fmla="*/ 257 h 487"/>
                  <a:gd name="T68" fmla="*/ 127 w 579"/>
                  <a:gd name="T69" fmla="*/ 257 h 487"/>
                  <a:gd name="T70" fmla="*/ 106 w 579"/>
                  <a:gd name="T71" fmla="*/ 257 h 487"/>
                  <a:gd name="T72" fmla="*/ 90 w 579"/>
                  <a:gd name="T73" fmla="*/ 264 h 487"/>
                  <a:gd name="T74" fmla="*/ 59 w 579"/>
                  <a:gd name="T75" fmla="*/ 283 h 487"/>
                  <a:gd name="T76" fmla="*/ 38 w 579"/>
                  <a:gd name="T77" fmla="*/ 284 h 487"/>
                  <a:gd name="T78" fmla="*/ 15 w 579"/>
                  <a:gd name="T79" fmla="*/ 281 h 487"/>
                  <a:gd name="T80" fmla="*/ 7 w 579"/>
                  <a:gd name="T81" fmla="*/ 292 h 487"/>
                  <a:gd name="T82" fmla="*/ 39 w 579"/>
                  <a:gd name="T83" fmla="*/ 331 h 487"/>
                  <a:gd name="T84" fmla="*/ 85 w 579"/>
                  <a:gd name="T85" fmla="*/ 337 h 487"/>
                  <a:gd name="T86" fmla="*/ 102 w 579"/>
                  <a:gd name="T87" fmla="*/ 349 h 487"/>
                  <a:gd name="T88" fmla="*/ 146 w 579"/>
                  <a:gd name="T89" fmla="*/ 397 h 487"/>
                  <a:gd name="T90" fmla="*/ 212 w 579"/>
                  <a:gd name="T91" fmla="*/ 410 h 487"/>
                  <a:gd name="T92" fmla="*/ 231 w 579"/>
                  <a:gd name="T93" fmla="*/ 410 h 487"/>
                  <a:gd name="T94" fmla="*/ 265 w 579"/>
                  <a:gd name="T95" fmla="*/ 387 h 487"/>
                  <a:gd name="T96" fmla="*/ 308 w 579"/>
                  <a:gd name="T97" fmla="*/ 415 h 487"/>
                  <a:gd name="T98" fmla="*/ 328 w 579"/>
                  <a:gd name="T99" fmla="*/ 433 h 487"/>
                  <a:gd name="T100" fmla="*/ 369 w 579"/>
                  <a:gd name="T101" fmla="*/ 443 h 487"/>
                  <a:gd name="T102" fmla="*/ 369 w 579"/>
                  <a:gd name="T103" fmla="*/ 471 h 487"/>
                  <a:gd name="T104" fmla="*/ 381 w 579"/>
                  <a:gd name="T105" fmla="*/ 483 h 487"/>
                  <a:gd name="T106" fmla="*/ 388 w 579"/>
                  <a:gd name="T107" fmla="*/ 454 h 487"/>
                  <a:gd name="T108" fmla="*/ 396 w 579"/>
                  <a:gd name="T109" fmla="*/ 444 h 487"/>
                  <a:gd name="T110" fmla="*/ 409 w 579"/>
                  <a:gd name="T111" fmla="*/ 422 h 487"/>
                  <a:gd name="T112" fmla="*/ 421 w 579"/>
                  <a:gd name="T113" fmla="*/ 413 h 487"/>
                  <a:gd name="T114" fmla="*/ 440 w 579"/>
                  <a:gd name="T115" fmla="*/ 389 h 487"/>
                  <a:gd name="T116" fmla="*/ 450 w 579"/>
                  <a:gd name="T117" fmla="*/ 376 h 487"/>
                  <a:gd name="T118" fmla="*/ 484 w 579"/>
                  <a:gd name="T119" fmla="*/ 391 h 487"/>
                  <a:gd name="T120" fmla="*/ 525 w 579"/>
                  <a:gd name="T121" fmla="*/ 394 h 487"/>
                  <a:gd name="T122" fmla="*/ 579 w 579"/>
                  <a:gd name="T123" fmla="*/ 397 h 487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9"/>
                  <a:gd name="T187" fmla="*/ 0 h 487"/>
                  <a:gd name="T188" fmla="*/ 579 w 579"/>
                  <a:gd name="T189" fmla="*/ 487 h 487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9" h="487">
                    <a:moveTo>
                      <a:pt x="577" y="389"/>
                    </a:moveTo>
                    <a:lnTo>
                      <a:pt x="577" y="387"/>
                    </a:lnTo>
                    <a:lnTo>
                      <a:pt x="577" y="386"/>
                    </a:lnTo>
                    <a:lnTo>
                      <a:pt x="578" y="385"/>
                    </a:lnTo>
                    <a:lnTo>
                      <a:pt x="575" y="386"/>
                    </a:lnTo>
                    <a:lnTo>
                      <a:pt x="574" y="384"/>
                    </a:lnTo>
                    <a:lnTo>
                      <a:pt x="574" y="382"/>
                    </a:lnTo>
                    <a:lnTo>
                      <a:pt x="572" y="378"/>
                    </a:lnTo>
                    <a:lnTo>
                      <a:pt x="569" y="369"/>
                    </a:lnTo>
                    <a:lnTo>
                      <a:pt x="564" y="369"/>
                    </a:lnTo>
                    <a:lnTo>
                      <a:pt x="559" y="362"/>
                    </a:lnTo>
                    <a:lnTo>
                      <a:pt x="557" y="362"/>
                    </a:lnTo>
                    <a:lnTo>
                      <a:pt x="555" y="364"/>
                    </a:lnTo>
                    <a:lnTo>
                      <a:pt x="552" y="361"/>
                    </a:lnTo>
                    <a:lnTo>
                      <a:pt x="556" y="355"/>
                    </a:lnTo>
                    <a:lnTo>
                      <a:pt x="556" y="353"/>
                    </a:lnTo>
                    <a:lnTo>
                      <a:pt x="557" y="352"/>
                    </a:lnTo>
                    <a:lnTo>
                      <a:pt x="554" y="349"/>
                    </a:lnTo>
                    <a:lnTo>
                      <a:pt x="549" y="345"/>
                    </a:lnTo>
                    <a:lnTo>
                      <a:pt x="545" y="346"/>
                    </a:lnTo>
                    <a:lnTo>
                      <a:pt x="545" y="345"/>
                    </a:lnTo>
                    <a:lnTo>
                      <a:pt x="543" y="339"/>
                    </a:lnTo>
                    <a:lnTo>
                      <a:pt x="543" y="342"/>
                    </a:lnTo>
                    <a:lnTo>
                      <a:pt x="537" y="344"/>
                    </a:lnTo>
                    <a:lnTo>
                      <a:pt x="535" y="341"/>
                    </a:lnTo>
                    <a:lnTo>
                      <a:pt x="534" y="341"/>
                    </a:lnTo>
                    <a:lnTo>
                      <a:pt x="531" y="342"/>
                    </a:lnTo>
                    <a:lnTo>
                      <a:pt x="531" y="341"/>
                    </a:lnTo>
                    <a:lnTo>
                      <a:pt x="530" y="342"/>
                    </a:lnTo>
                    <a:lnTo>
                      <a:pt x="529" y="342"/>
                    </a:lnTo>
                    <a:lnTo>
                      <a:pt x="524" y="345"/>
                    </a:lnTo>
                    <a:lnTo>
                      <a:pt x="521" y="341"/>
                    </a:lnTo>
                    <a:lnTo>
                      <a:pt x="520" y="341"/>
                    </a:lnTo>
                    <a:lnTo>
                      <a:pt x="517" y="336"/>
                    </a:lnTo>
                    <a:lnTo>
                      <a:pt x="515" y="334"/>
                    </a:lnTo>
                    <a:lnTo>
                      <a:pt x="515" y="329"/>
                    </a:lnTo>
                    <a:lnTo>
                      <a:pt x="510" y="330"/>
                    </a:lnTo>
                    <a:lnTo>
                      <a:pt x="509" y="332"/>
                    </a:lnTo>
                    <a:lnTo>
                      <a:pt x="509" y="331"/>
                    </a:lnTo>
                    <a:lnTo>
                      <a:pt x="508" y="331"/>
                    </a:lnTo>
                    <a:lnTo>
                      <a:pt x="507" y="331"/>
                    </a:lnTo>
                    <a:lnTo>
                      <a:pt x="506" y="331"/>
                    </a:lnTo>
                    <a:lnTo>
                      <a:pt x="504" y="330"/>
                    </a:lnTo>
                    <a:lnTo>
                      <a:pt x="503" y="329"/>
                    </a:lnTo>
                    <a:lnTo>
                      <a:pt x="504" y="328"/>
                    </a:lnTo>
                    <a:lnTo>
                      <a:pt x="503" y="327"/>
                    </a:lnTo>
                    <a:lnTo>
                      <a:pt x="505" y="325"/>
                    </a:lnTo>
                    <a:lnTo>
                      <a:pt x="505" y="324"/>
                    </a:lnTo>
                    <a:lnTo>
                      <a:pt x="506" y="322"/>
                    </a:lnTo>
                    <a:lnTo>
                      <a:pt x="505" y="321"/>
                    </a:lnTo>
                    <a:lnTo>
                      <a:pt x="506" y="318"/>
                    </a:lnTo>
                    <a:lnTo>
                      <a:pt x="504" y="315"/>
                    </a:lnTo>
                    <a:lnTo>
                      <a:pt x="504" y="317"/>
                    </a:lnTo>
                    <a:lnTo>
                      <a:pt x="501" y="315"/>
                    </a:lnTo>
                    <a:lnTo>
                      <a:pt x="502" y="314"/>
                    </a:lnTo>
                    <a:lnTo>
                      <a:pt x="500" y="312"/>
                    </a:lnTo>
                    <a:lnTo>
                      <a:pt x="497" y="313"/>
                    </a:lnTo>
                    <a:lnTo>
                      <a:pt x="496" y="312"/>
                    </a:lnTo>
                    <a:lnTo>
                      <a:pt x="493" y="312"/>
                    </a:lnTo>
                    <a:lnTo>
                      <a:pt x="492" y="310"/>
                    </a:lnTo>
                    <a:lnTo>
                      <a:pt x="491" y="310"/>
                    </a:lnTo>
                    <a:lnTo>
                      <a:pt x="490" y="310"/>
                    </a:lnTo>
                    <a:lnTo>
                      <a:pt x="488" y="310"/>
                    </a:lnTo>
                    <a:lnTo>
                      <a:pt x="486" y="309"/>
                    </a:lnTo>
                    <a:lnTo>
                      <a:pt x="485" y="310"/>
                    </a:lnTo>
                    <a:lnTo>
                      <a:pt x="483" y="310"/>
                    </a:lnTo>
                    <a:lnTo>
                      <a:pt x="484" y="305"/>
                    </a:lnTo>
                    <a:lnTo>
                      <a:pt x="482" y="304"/>
                    </a:lnTo>
                    <a:lnTo>
                      <a:pt x="482" y="301"/>
                    </a:lnTo>
                    <a:lnTo>
                      <a:pt x="480" y="301"/>
                    </a:lnTo>
                    <a:lnTo>
                      <a:pt x="478" y="302"/>
                    </a:lnTo>
                    <a:lnTo>
                      <a:pt x="478" y="298"/>
                    </a:lnTo>
                    <a:lnTo>
                      <a:pt x="471" y="297"/>
                    </a:lnTo>
                    <a:lnTo>
                      <a:pt x="470" y="299"/>
                    </a:lnTo>
                    <a:lnTo>
                      <a:pt x="469" y="300"/>
                    </a:lnTo>
                    <a:lnTo>
                      <a:pt x="468" y="299"/>
                    </a:lnTo>
                    <a:lnTo>
                      <a:pt x="469" y="297"/>
                    </a:lnTo>
                    <a:lnTo>
                      <a:pt x="470" y="295"/>
                    </a:lnTo>
                    <a:lnTo>
                      <a:pt x="470" y="294"/>
                    </a:lnTo>
                    <a:lnTo>
                      <a:pt x="472" y="291"/>
                    </a:lnTo>
                    <a:lnTo>
                      <a:pt x="473" y="289"/>
                    </a:lnTo>
                    <a:lnTo>
                      <a:pt x="473" y="285"/>
                    </a:lnTo>
                    <a:lnTo>
                      <a:pt x="473" y="284"/>
                    </a:lnTo>
                    <a:lnTo>
                      <a:pt x="473" y="282"/>
                    </a:lnTo>
                    <a:lnTo>
                      <a:pt x="472" y="280"/>
                    </a:lnTo>
                    <a:lnTo>
                      <a:pt x="470" y="280"/>
                    </a:lnTo>
                    <a:lnTo>
                      <a:pt x="470" y="273"/>
                    </a:lnTo>
                    <a:lnTo>
                      <a:pt x="469" y="272"/>
                    </a:lnTo>
                    <a:lnTo>
                      <a:pt x="466" y="272"/>
                    </a:lnTo>
                    <a:lnTo>
                      <a:pt x="461" y="274"/>
                    </a:lnTo>
                    <a:lnTo>
                      <a:pt x="457" y="275"/>
                    </a:lnTo>
                    <a:lnTo>
                      <a:pt x="455" y="276"/>
                    </a:lnTo>
                    <a:lnTo>
                      <a:pt x="454" y="275"/>
                    </a:lnTo>
                    <a:lnTo>
                      <a:pt x="453" y="276"/>
                    </a:lnTo>
                    <a:lnTo>
                      <a:pt x="452" y="276"/>
                    </a:lnTo>
                    <a:lnTo>
                      <a:pt x="450" y="278"/>
                    </a:lnTo>
                    <a:lnTo>
                      <a:pt x="449" y="277"/>
                    </a:lnTo>
                    <a:lnTo>
                      <a:pt x="447" y="278"/>
                    </a:lnTo>
                    <a:lnTo>
                      <a:pt x="441" y="276"/>
                    </a:lnTo>
                    <a:lnTo>
                      <a:pt x="443" y="274"/>
                    </a:lnTo>
                    <a:lnTo>
                      <a:pt x="444" y="272"/>
                    </a:lnTo>
                    <a:lnTo>
                      <a:pt x="443" y="270"/>
                    </a:lnTo>
                    <a:lnTo>
                      <a:pt x="442" y="271"/>
                    </a:lnTo>
                    <a:lnTo>
                      <a:pt x="442" y="263"/>
                    </a:lnTo>
                    <a:lnTo>
                      <a:pt x="447" y="264"/>
                    </a:lnTo>
                    <a:lnTo>
                      <a:pt x="448" y="265"/>
                    </a:lnTo>
                    <a:lnTo>
                      <a:pt x="450" y="264"/>
                    </a:lnTo>
                    <a:lnTo>
                      <a:pt x="450" y="261"/>
                    </a:lnTo>
                    <a:lnTo>
                      <a:pt x="452" y="255"/>
                    </a:lnTo>
                    <a:lnTo>
                      <a:pt x="453" y="251"/>
                    </a:lnTo>
                    <a:lnTo>
                      <a:pt x="455" y="250"/>
                    </a:lnTo>
                    <a:lnTo>
                      <a:pt x="457" y="251"/>
                    </a:lnTo>
                    <a:lnTo>
                      <a:pt x="458" y="251"/>
                    </a:lnTo>
                    <a:lnTo>
                      <a:pt x="459" y="251"/>
                    </a:lnTo>
                    <a:lnTo>
                      <a:pt x="460" y="250"/>
                    </a:lnTo>
                    <a:lnTo>
                      <a:pt x="460" y="249"/>
                    </a:lnTo>
                    <a:lnTo>
                      <a:pt x="461" y="250"/>
                    </a:lnTo>
                    <a:lnTo>
                      <a:pt x="462" y="249"/>
                    </a:lnTo>
                    <a:lnTo>
                      <a:pt x="464" y="250"/>
                    </a:lnTo>
                    <a:lnTo>
                      <a:pt x="466" y="240"/>
                    </a:lnTo>
                    <a:lnTo>
                      <a:pt x="468" y="240"/>
                    </a:lnTo>
                    <a:lnTo>
                      <a:pt x="468" y="238"/>
                    </a:lnTo>
                    <a:lnTo>
                      <a:pt x="468" y="237"/>
                    </a:lnTo>
                    <a:lnTo>
                      <a:pt x="468" y="236"/>
                    </a:lnTo>
                    <a:lnTo>
                      <a:pt x="470" y="231"/>
                    </a:lnTo>
                    <a:lnTo>
                      <a:pt x="469" y="229"/>
                    </a:lnTo>
                    <a:lnTo>
                      <a:pt x="468" y="229"/>
                    </a:lnTo>
                    <a:lnTo>
                      <a:pt x="466" y="233"/>
                    </a:lnTo>
                    <a:lnTo>
                      <a:pt x="464" y="233"/>
                    </a:lnTo>
                    <a:lnTo>
                      <a:pt x="463" y="232"/>
                    </a:lnTo>
                    <a:lnTo>
                      <a:pt x="461" y="232"/>
                    </a:lnTo>
                    <a:lnTo>
                      <a:pt x="461" y="231"/>
                    </a:lnTo>
                    <a:lnTo>
                      <a:pt x="457" y="231"/>
                    </a:lnTo>
                    <a:lnTo>
                      <a:pt x="457" y="233"/>
                    </a:lnTo>
                    <a:lnTo>
                      <a:pt x="455" y="231"/>
                    </a:lnTo>
                    <a:lnTo>
                      <a:pt x="457" y="230"/>
                    </a:lnTo>
                    <a:lnTo>
                      <a:pt x="457" y="227"/>
                    </a:lnTo>
                    <a:lnTo>
                      <a:pt x="458" y="227"/>
                    </a:lnTo>
                    <a:lnTo>
                      <a:pt x="460" y="225"/>
                    </a:lnTo>
                    <a:lnTo>
                      <a:pt x="460" y="223"/>
                    </a:lnTo>
                    <a:lnTo>
                      <a:pt x="459" y="223"/>
                    </a:lnTo>
                    <a:lnTo>
                      <a:pt x="458" y="223"/>
                    </a:lnTo>
                    <a:lnTo>
                      <a:pt x="457" y="222"/>
                    </a:lnTo>
                    <a:lnTo>
                      <a:pt x="457" y="217"/>
                    </a:lnTo>
                    <a:lnTo>
                      <a:pt x="455" y="214"/>
                    </a:lnTo>
                    <a:lnTo>
                      <a:pt x="453" y="212"/>
                    </a:lnTo>
                    <a:lnTo>
                      <a:pt x="457" y="207"/>
                    </a:lnTo>
                    <a:lnTo>
                      <a:pt x="457" y="204"/>
                    </a:lnTo>
                    <a:lnTo>
                      <a:pt x="455" y="202"/>
                    </a:lnTo>
                    <a:lnTo>
                      <a:pt x="455" y="200"/>
                    </a:lnTo>
                    <a:lnTo>
                      <a:pt x="453" y="199"/>
                    </a:lnTo>
                    <a:lnTo>
                      <a:pt x="453" y="196"/>
                    </a:lnTo>
                    <a:lnTo>
                      <a:pt x="456" y="195"/>
                    </a:lnTo>
                    <a:lnTo>
                      <a:pt x="457" y="193"/>
                    </a:lnTo>
                    <a:lnTo>
                      <a:pt x="459" y="192"/>
                    </a:lnTo>
                    <a:lnTo>
                      <a:pt x="460" y="188"/>
                    </a:lnTo>
                    <a:lnTo>
                      <a:pt x="460" y="187"/>
                    </a:lnTo>
                    <a:lnTo>
                      <a:pt x="462" y="185"/>
                    </a:lnTo>
                    <a:lnTo>
                      <a:pt x="463" y="185"/>
                    </a:lnTo>
                    <a:lnTo>
                      <a:pt x="463" y="183"/>
                    </a:lnTo>
                    <a:lnTo>
                      <a:pt x="461" y="183"/>
                    </a:lnTo>
                    <a:lnTo>
                      <a:pt x="462" y="182"/>
                    </a:lnTo>
                    <a:lnTo>
                      <a:pt x="461" y="182"/>
                    </a:lnTo>
                    <a:lnTo>
                      <a:pt x="461" y="178"/>
                    </a:lnTo>
                    <a:lnTo>
                      <a:pt x="461" y="176"/>
                    </a:lnTo>
                    <a:lnTo>
                      <a:pt x="460" y="175"/>
                    </a:lnTo>
                    <a:lnTo>
                      <a:pt x="460" y="176"/>
                    </a:lnTo>
                    <a:lnTo>
                      <a:pt x="459" y="174"/>
                    </a:lnTo>
                    <a:lnTo>
                      <a:pt x="459" y="171"/>
                    </a:lnTo>
                    <a:lnTo>
                      <a:pt x="458" y="168"/>
                    </a:lnTo>
                    <a:lnTo>
                      <a:pt x="457" y="165"/>
                    </a:lnTo>
                    <a:lnTo>
                      <a:pt x="458" y="165"/>
                    </a:lnTo>
                    <a:lnTo>
                      <a:pt x="458" y="164"/>
                    </a:lnTo>
                    <a:lnTo>
                      <a:pt x="459" y="163"/>
                    </a:lnTo>
                    <a:lnTo>
                      <a:pt x="459" y="160"/>
                    </a:lnTo>
                    <a:lnTo>
                      <a:pt x="456" y="161"/>
                    </a:lnTo>
                    <a:lnTo>
                      <a:pt x="454" y="157"/>
                    </a:lnTo>
                    <a:lnTo>
                      <a:pt x="453" y="155"/>
                    </a:lnTo>
                    <a:lnTo>
                      <a:pt x="453" y="154"/>
                    </a:lnTo>
                    <a:lnTo>
                      <a:pt x="452" y="153"/>
                    </a:lnTo>
                    <a:lnTo>
                      <a:pt x="449" y="152"/>
                    </a:lnTo>
                    <a:lnTo>
                      <a:pt x="447" y="152"/>
                    </a:lnTo>
                    <a:lnTo>
                      <a:pt x="444" y="149"/>
                    </a:lnTo>
                    <a:lnTo>
                      <a:pt x="442" y="149"/>
                    </a:lnTo>
                    <a:lnTo>
                      <a:pt x="439" y="148"/>
                    </a:lnTo>
                    <a:lnTo>
                      <a:pt x="438" y="146"/>
                    </a:lnTo>
                    <a:lnTo>
                      <a:pt x="439" y="146"/>
                    </a:lnTo>
                    <a:lnTo>
                      <a:pt x="436" y="143"/>
                    </a:lnTo>
                    <a:lnTo>
                      <a:pt x="435" y="144"/>
                    </a:lnTo>
                    <a:lnTo>
                      <a:pt x="434" y="142"/>
                    </a:lnTo>
                    <a:lnTo>
                      <a:pt x="436" y="141"/>
                    </a:lnTo>
                    <a:lnTo>
                      <a:pt x="436" y="139"/>
                    </a:lnTo>
                    <a:lnTo>
                      <a:pt x="436" y="138"/>
                    </a:lnTo>
                    <a:lnTo>
                      <a:pt x="435" y="137"/>
                    </a:lnTo>
                    <a:lnTo>
                      <a:pt x="437" y="134"/>
                    </a:lnTo>
                    <a:lnTo>
                      <a:pt x="438" y="133"/>
                    </a:lnTo>
                    <a:lnTo>
                      <a:pt x="438" y="131"/>
                    </a:lnTo>
                    <a:lnTo>
                      <a:pt x="438" y="129"/>
                    </a:lnTo>
                    <a:lnTo>
                      <a:pt x="441" y="127"/>
                    </a:lnTo>
                    <a:lnTo>
                      <a:pt x="441" y="125"/>
                    </a:lnTo>
                    <a:lnTo>
                      <a:pt x="439" y="123"/>
                    </a:lnTo>
                    <a:lnTo>
                      <a:pt x="438" y="120"/>
                    </a:lnTo>
                    <a:lnTo>
                      <a:pt x="438" y="118"/>
                    </a:lnTo>
                    <a:lnTo>
                      <a:pt x="437" y="118"/>
                    </a:lnTo>
                    <a:lnTo>
                      <a:pt x="438" y="120"/>
                    </a:lnTo>
                    <a:lnTo>
                      <a:pt x="437" y="122"/>
                    </a:lnTo>
                    <a:lnTo>
                      <a:pt x="437" y="123"/>
                    </a:lnTo>
                    <a:lnTo>
                      <a:pt x="435" y="123"/>
                    </a:lnTo>
                    <a:lnTo>
                      <a:pt x="436" y="123"/>
                    </a:lnTo>
                    <a:lnTo>
                      <a:pt x="436" y="125"/>
                    </a:lnTo>
                    <a:lnTo>
                      <a:pt x="436" y="126"/>
                    </a:lnTo>
                    <a:lnTo>
                      <a:pt x="437" y="126"/>
                    </a:lnTo>
                    <a:lnTo>
                      <a:pt x="436" y="127"/>
                    </a:lnTo>
                    <a:lnTo>
                      <a:pt x="436" y="128"/>
                    </a:lnTo>
                    <a:lnTo>
                      <a:pt x="434" y="127"/>
                    </a:lnTo>
                    <a:lnTo>
                      <a:pt x="433" y="127"/>
                    </a:lnTo>
                    <a:lnTo>
                      <a:pt x="433" y="128"/>
                    </a:lnTo>
                    <a:lnTo>
                      <a:pt x="432" y="128"/>
                    </a:lnTo>
                    <a:lnTo>
                      <a:pt x="432" y="126"/>
                    </a:lnTo>
                    <a:lnTo>
                      <a:pt x="432" y="125"/>
                    </a:lnTo>
                    <a:lnTo>
                      <a:pt x="431" y="125"/>
                    </a:lnTo>
                    <a:lnTo>
                      <a:pt x="430" y="122"/>
                    </a:lnTo>
                    <a:lnTo>
                      <a:pt x="431" y="120"/>
                    </a:lnTo>
                    <a:lnTo>
                      <a:pt x="427" y="120"/>
                    </a:lnTo>
                    <a:lnTo>
                      <a:pt x="427" y="118"/>
                    </a:lnTo>
                    <a:lnTo>
                      <a:pt x="429" y="119"/>
                    </a:lnTo>
                    <a:lnTo>
                      <a:pt x="429" y="117"/>
                    </a:lnTo>
                    <a:lnTo>
                      <a:pt x="428" y="117"/>
                    </a:lnTo>
                    <a:lnTo>
                      <a:pt x="429" y="114"/>
                    </a:lnTo>
                    <a:lnTo>
                      <a:pt x="429" y="113"/>
                    </a:lnTo>
                    <a:lnTo>
                      <a:pt x="427" y="113"/>
                    </a:lnTo>
                    <a:lnTo>
                      <a:pt x="427" y="112"/>
                    </a:lnTo>
                    <a:lnTo>
                      <a:pt x="425" y="112"/>
                    </a:lnTo>
                    <a:lnTo>
                      <a:pt x="424" y="112"/>
                    </a:lnTo>
                    <a:lnTo>
                      <a:pt x="421" y="109"/>
                    </a:lnTo>
                    <a:lnTo>
                      <a:pt x="422" y="108"/>
                    </a:lnTo>
                    <a:lnTo>
                      <a:pt x="423" y="106"/>
                    </a:lnTo>
                    <a:lnTo>
                      <a:pt x="423" y="104"/>
                    </a:lnTo>
                    <a:lnTo>
                      <a:pt x="422" y="99"/>
                    </a:lnTo>
                    <a:lnTo>
                      <a:pt x="422" y="95"/>
                    </a:lnTo>
                    <a:lnTo>
                      <a:pt x="421" y="93"/>
                    </a:lnTo>
                    <a:lnTo>
                      <a:pt x="420" y="94"/>
                    </a:lnTo>
                    <a:lnTo>
                      <a:pt x="419" y="92"/>
                    </a:lnTo>
                    <a:lnTo>
                      <a:pt x="418" y="92"/>
                    </a:lnTo>
                    <a:lnTo>
                      <a:pt x="418" y="91"/>
                    </a:lnTo>
                    <a:lnTo>
                      <a:pt x="420" y="91"/>
                    </a:lnTo>
                    <a:lnTo>
                      <a:pt x="421" y="91"/>
                    </a:lnTo>
                    <a:lnTo>
                      <a:pt x="420" y="89"/>
                    </a:lnTo>
                    <a:lnTo>
                      <a:pt x="416" y="88"/>
                    </a:lnTo>
                    <a:lnTo>
                      <a:pt x="416" y="86"/>
                    </a:lnTo>
                    <a:lnTo>
                      <a:pt x="414" y="86"/>
                    </a:lnTo>
                    <a:lnTo>
                      <a:pt x="414" y="85"/>
                    </a:lnTo>
                    <a:lnTo>
                      <a:pt x="416" y="85"/>
                    </a:lnTo>
                    <a:lnTo>
                      <a:pt x="416" y="81"/>
                    </a:lnTo>
                    <a:lnTo>
                      <a:pt x="414" y="79"/>
                    </a:lnTo>
                    <a:lnTo>
                      <a:pt x="413" y="78"/>
                    </a:lnTo>
                    <a:lnTo>
                      <a:pt x="414" y="77"/>
                    </a:lnTo>
                    <a:lnTo>
                      <a:pt x="413" y="76"/>
                    </a:lnTo>
                    <a:lnTo>
                      <a:pt x="411" y="75"/>
                    </a:lnTo>
                    <a:lnTo>
                      <a:pt x="409" y="78"/>
                    </a:lnTo>
                    <a:lnTo>
                      <a:pt x="406" y="72"/>
                    </a:lnTo>
                    <a:lnTo>
                      <a:pt x="405" y="72"/>
                    </a:lnTo>
                    <a:lnTo>
                      <a:pt x="404" y="73"/>
                    </a:lnTo>
                    <a:lnTo>
                      <a:pt x="403" y="72"/>
                    </a:lnTo>
                    <a:lnTo>
                      <a:pt x="397" y="76"/>
                    </a:lnTo>
                    <a:lnTo>
                      <a:pt x="395" y="76"/>
                    </a:lnTo>
                    <a:lnTo>
                      <a:pt x="393" y="76"/>
                    </a:lnTo>
                    <a:lnTo>
                      <a:pt x="394" y="77"/>
                    </a:lnTo>
                    <a:lnTo>
                      <a:pt x="395" y="77"/>
                    </a:lnTo>
                    <a:lnTo>
                      <a:pt x="395" y="78"/>
                    </a:lnTo>
                    <a:lnTo>
                      <a:pt x="394" y="78"/>
                    </a:lnTo>
                    <a:lnTo>
                      <a:pt x="393" y="79"/>
                    </a:lnTo>
                    <a:lnTo>
                      <a:pt x="392" y="80"/>
                    </a:lnTo>
                    <a:lnTo>
                      <a:pt x="390" y="79"/>
                    </a:lnTo>
                    <a:lnTo>
                      <a:pt x="389" y="80"/>
                    </a:lnTo>
                    <a:lnTo>
                      <a:pt x="391" y="80"/>
                    </a:lnTo>
                    <a:lnTo>
                      <a:pt x="392" y="82"/>
                    </a:lnTo>
                    <a:lnTo>
                      <a:pt x="391" y="85"/>
                    </a:lnTo>
                    <a:lnTo>
                      <a:pt x="392" y="85"/>
                    </a:lnTo>
                    <a:lnTo>
                      <a:pt x="393" y="85"/>
                    </a:lnTo>
                    <a:lnTo>
                      <a:pt x="394" y="85"/>
                    </a:lnTo>
                    <a:lnTo>
                      <a:pt x="395" y="86"/>
                    </a:lnTo>
                    <a:lnTo>
                      <a:pt x="395" y="89"/>
                    </a:lnTo>
                    <a:lnTo>
                      <a:pt x="396" y="89"/>
                    </a:lnTo>
                    <a:lnTo>
                      <a:pt x="396" y="91"/>
                    </a:lnTo>
                    <a:lnTo>
                      <a:pt x="397" y="90"/>
                    </a:lnTo>
                    <a:lnTo>
                      <a:pt x="398" y="90"/>
                    </a:lnTo>
                    <a:lnTo>
                      <a:pt x="398" y="91"/>
                    </a:lnTo>
                    <a:lnTo>
                      <a:pt x="400" y="92"/>
                    </a:lnTo>
                    <a:lnTo>
                      <a:pt x="399" y="93"/>
                    </a:lnTo>
                    <a:lnTo>
                      <a:pt x="399" y="94"/>
                    </a:lnTo>
                    <a:lnTo>
                      <a:pt x="397" y="95"/>
                    </a:lnTo>
                    <a:lnTo>
                      <a:pt x="397" y="96"/>
                    </a:lnTo>
                    <a:lnTo>
                      <a:pt x="397" y="97"/>
                    </a:lnTo>
                    <a:lnTo>
                      <a:pt x="400" y="99"/>
                    </a:lnTo>
                    <a:lnTo>
                      <a:pt x="401" y="99"/>
                    </a:lnTo>
                    <a:lnTo>
                      <a:pt x="400" y="102"/>
                    </a:lnTo>
                    <a:lnTo>
                      <a:pt x="403" y="105"/>
                    </a:lnTo>
                    <a:lnTo>
                      <a:pt x="400" y="107"/>
                    </a:lnTo>
                    <a:lnTo>
                      <a:pt x="399" y="108"/>
                    </a:lnTo>
                    <a:lnTo>
                      <a:pt x="398" y="105"/>
                    </a:lnTo>
                    <a:lnTo>
                      <a:pt x="396" y="110"/>
                    </a:lnTo>
                    <a:lnTo>
                      <a:pt x="395" y="110"/>
                    </a:lnTo>
                    <a:lnTo>
                      <a:pt x="395" y="112"/>
                    </a:lnTo>
                    <a:lnTo>
                      <a:pt x="395" y="113"/>
                    </a:lnTo>
                    <a:lnTo>
                      <a:pt x="395" y="115"/>
                    </a:lnTo>
                    <a:lnTo>
                      <a:pt x="396" y="118"/>
                    </a:lnTo>
                    <a:lnTo>
                      <a:pt x="395" y="117"/>
                    </a:lnTo>
                    <a:lnTo>
                      <a:pt x="393" y="118"/>
                    </a:lnTo>
                    <a:lnTo>
                      <a:pt x="391" y="118"/>
                    </a:lnTo>
                    <a:lnTo>
                      <a:pt x="389" y="119"/>
                    </a:lnTo>
                    <a:lnTo>
                      <a:pt x="386" y="123"/>
                    </a:lnTo>
                    <a:lnTo>
                      <a:pt x="386" y="125"/>
                    </a:lnTo>
                    <a:lnTo>
                      <a:pt x="384" y="125"/>
                    </a:lnTo>
                    <a:lnTo>
                      <a:pt x="383" y="123"/>
                    </a:lnTo>
                    <a:lnTo>
                      <a:pt x="380" y="121"/>
                    </a:lnTo>
                    <a:lnTo>
                      <a:pt x="377" y="117"/>
                    </a:lnTo>
                    <a:lnTo>
                      <a:pt x="371" y="112"/>
                    </a:lnTo>
                    <a:lnTo>
                      <a:pt x="372" y="109"/>
                    </a:lnTo>
                    <a:lnTo>
                      <a:pt x="370" y="109"/>
                    </a:lnTo>
                    <a:lnTo>
                      <a:pt x="370" y="110"/>
                    </a:lnTo>
                    <a:lnTo>
                      <a:pt x="368" y="109"/>
                    </a:lnTo>
                    <a:lnTo>
                      <a:pt x="368" y="107"/>
                    </a:lnTo>
                    <a:lnTo>
                      <a:pt x="370" y="105"/>
                    </a:lnTo>
                    <a:lnTo>
                      <a:pt x="370" y="103"/>
                    </a:lnTo>
                    <a:lnTo>
                      <a:pt x="371" y="101"/>
                    </a:lnTo>
                    <a:lnTo>
                      <a:pt x="373" y="102"/>
                    </a:lnTo>
                    <a:lnTo>
                      <a:pt x="374" y="101"/>
                    </a:lnTo>
                    <a:lnTo>
                      <a:pt x="376" y="101"/>
                    </a:lnTo>
                    <a:lnTo>
                      <a:pt x="377" y="101"/>
                    </a:lnTo>
                    <a:lnTo>
                      <a:pt x="378" y="101"/>
                    </a:lnTo>
                    <a:lnTo>
                      <a:pt x="378" y="99"/>
                    </a:lnTo>
                    <a:lnTo>
                      <a:pt x="378" y="98"/>
                    </a:lnTo>
                    <a:lnTo>
                      <a:pt x="376" y="97"/>
                    </a:lnTo>
                    <a:lnTo>
                      <a:pt x="377" y="96"/>
                    </a:lnTo>
                    <a:lnTo>
                      <a:pt x="376" y="95"/>
                    </a:lnTo>
                    <a:lnTo>
                      <a:pt x="375" y="95"/>
                    </a:lnTo>
                    <a:lnTo>
                      <a:pt x="376" y="91"/>
                    </a:lnTo>
                    <a:lnTo>
                      <a:pt x="373" y="91"/>
                    </a:lnTo>
                    <a:lnTo>
                      <a:pt x="373" y="89"/>
                    </a:lnTo>
                    <a:lnTo>
                      <a:pt x="371" y="89"/>
                    </a:lnTo>
                    <a:lnTo>
                      <a:pt x="372" y="82"/>
                    </a:lnTo>
                    <a:lnTo>
                      <a:pt x="371" y="81"/>
                    </a:lnTo>
                    <a:lnTo>
                      <a:pt x="372" y="81"/>
                    </a:lnTo>
                    <a:lnTo>
                      <a:pt x="372" y="80"/>
                    </a:lnTo>
                    <a:lnTo>
                      <a:pt x="371" y="78"/>
                    </a:lnTo>
                    <a:lnTo>
                      <a:pt x="371" y="76"/>
                    </a:lnTo>
                    <a:lnTo>
                      <a:pt x="370" y="74"/>
                    </a:lnTo>
                    <a:lnTo>
                      <a:pt x="370" y="72"/>
                    </a:lnTo>
                    <a:lnTo>
                      <a:pt x="369" y="70"/>
                    </a:lnTo>
                    <a:lnTo>
                      <a:pt x="371" y="65"/>
                    </a:lnTo>
                    <a:lnTo>
                      <a:pt x="370" y="64"/>
                    </a:lnTo>
                    <a:lnTo>
                      <a:pt x="373" y="62"/>
                    </a:lnTo>
                    <a:lnTo>
                      <a:pt x="374" y="62"/>
                    </a:lnTo>
                    <a:lnTo>
                      <a:pt x="375" y="62"/>
                    </a:lnTo>
                    <a:lnTo>
                      <a:pt x="376" y="61"/>
                    </a:lnTo>
                    <a:lnTo>
                      <a:pt x="376" y="58"/>
                    </a:lnTo>
                    <a:lnTo>
                      <a:pt x="375" y="57"/>
                    </a:lnTo>
                    <a:lnTo>
                      <a:pt x="377" y="54"/>
                    </a:lnTo>
                    <a:lnTo>
                      <a:pt x="379" y="54"/>
                    </a:lnTo>
                    <a:lnTo>
                      <a:pt x="381" y="55"/>
                    </a:lnTo>
                    <a:lnTo>
                      <a:pt x="383" y="55"/>
                    </a:lnTo>
                    <a:lnTo>
                      <a:pt x="384" y="54"/>
                    </a:lnTo>
                    <a:lnTo>
                      <a:pt x="383" y="54"/>
                    </a:lnTo>
                    <a:lnTo>
                      <a:pt x="382" y="54"/>
                    </a:lnTo>
                    <a:lnTo>
                      <a:pt x="380" y="53"/>
                    </a:lnTo>
                    <a:lnTo>
                      <a:pt x="379" y="52"/>
                    </a:lnTo>
                    <a:lnTo>
                      <a:pt x="378" y="54"/>
                    </a:lnTo>
                    <a:lnTo>
                      <a:pt x="378" y="52"/>
                    </a:lnTo>
                    <a:lnTo>
                      <a:pt x="379" y="51"/>
                    </a:lnTo>
                    <a:lnTo>
                      <a:pt x="377" y="53"/>
                    </a:lnTo>
                    <a:lnTo>
                      <a:pt x="374" y="52"/>
                    </a:lnTo>
                    <a:lnTo>
                      <a:pt x="371" y="49"/>
                    </a:lnTo>
                    <a:lnTo>
                      <a:pt x="370" y="48"/>
                    </a:lnTo>
                    <a:lnTo>
                      <a:pt x="368" y="47"/>
                    </a:lnTo>
                    <a:lnTo>
                      <a:pt x="367" y="48"/>
                    </a:lnTo>
                    <a:lnTo>
                      <a:pt x="365" y="47"/>
                    </a:lnTo>
                    <a:lnTo>
                      <a:pt x="364" y="46"/>
                    </a:lnTo>
                    <a:lnTo>
                      <a:pt x="361" y="47"/>
                    </a:lnTo>
                    <a:lnTo>
                      <a:pt x="359" y="46"/>
                    </a:lnTo>
                    <a:lnTo>
                      <a:pt x="360" y="44"/>
                    </a:lnTo>
                    <a:lnTo>
                      <a:pt x="361" y="43"/>
                    </a:lnTo>
                    <a:lnTo>
                      <a:pt x="362" y="40"/>
                    </a:lnTo>
                    <a:lnTo>
                      <a:pt x="364" y="38"/>
                    </a:lnTo>
                    <a:lnTo>
                      <a:pt x="364" y="37"/>
                    </a:lnTo>
                    <a:lnTo>
                      <a:pt x="362" y="37"/>
                    </a:lnTo>
                    <a:lnTo>
                      <a:pt x="362" y="36"/>
                    </a:lnTo>
                    <a:lnTo>
                      <a:pt x="362" y="34"/>
                    </a:lnTo>
                    <a:lnTo>
                      <a:pt x="362" y="31"/>
                    </a:lnTo>
                    <a:lnTo>
                      <a:pt x="363" y="30"/>
                    </a:lnTo>
                    <a:lnTo>
                      <a:pt x="362" y="28"/>
                    </a:lnTo>
                    <a:lnTo>
                      <a:pt x="364" y="28"/>
                    </a:lnTo>
                    <a:lnTo>
                      <a:pt x="362" y="25"/>
                    </a:lnTo>
                    <a:lnTo>
                      <a:pt x="364" y="28"/>
                    </a:lnTo>
                    <a:lnTo>
                      <a:pt x="367" y="29"/>
                    </a:lnTo>
                    <a:lnTo>
                      <a:pt x="367" y="31"/>
                    </a:lnTo>
                    <a:lnTo>
                      <a:pt x="368" y="28"/>
                    </a:lnTo>
                    <a:lnTo>
                      <a:pt x="368" y="31"/>
                    </a:lnTo>
                    <a:lnTo>
                      <a:pt x="370" y="30"/>
                    </a:lnTo>
                    <a:lnTo>
                      <a:pt x="371" y="31"/>
                    </a:lnTo>
                    <a:lnTo>
                      <a:pt x="372" y="33"/>
                    </a:lnTo>
                    <a:lnTo>
                      <a:pt x="372" y="34"/>
                    </a:lnTo>
                    <a:lnTo>
                      <a:pt x="375" y="33"/>
                    </a:lnTo>
                    <a:lnTo>
                      <a:pt x="377" y="32"/>
                    </a:lnTo>
                    <a:lnTo>
                      <a:pt x="378" y="31"/>
                    </a:lnTo>
                    <a:lnTo>
                      <a:pt x="376" y="31"/>
                    </a:lnTo>
                    <a:lnTo>
                      <a:pt x="376" y="28"/>
                    </a:lnTo>
                    <a:lnTo>
                      <a:pt x="374" y="27"/>
                    </a:lnTo>
                    <a:lnTo>
                      <a:pt x="375" y="25"/>
                    </a:lnTo>
                    <a:lnTo>
                      <a:pt x="377" y="25"/>
                    </a:lnTo>
                    <a:lnTo>
                      <a:pt x="377" y="23"/>
                    </a:lnTo>
                    <a:lnTo>
                      <a:pt x="380" y="23"/>
                    </a:lnTo>
                    <a:lnTo>
                      <a:pt x="379" y="22"/>
                    </a:lnTo>
                    <a:lnTo>
                      <a:pt x="373" y="23"/>
                    </a:lnTo>
                    <a:lnTo>
                      <a:pt x="371" y="21"/>
                    </a:lnTo>
                    <a:lnTo>
                      <a:pt x="367" y="17"/>
                    </a:lnTo>
                    <a:lnTo>
                      <a:pt x="365" y="17"/>
                    </a:lnTo>
                    <a:lnTo>
                      <a:pt x="359" y="12"/>
                    </a:lnTo>
                    <a:lnTo>
                      <a:pt x="358" y="12"/>
                    </a:lnTo>
                    <a:lnTo>
                      <a:pt x="357" y="11"/>
                    </a:lnTo>
                    <a:lnTo>
                      <a:pt x="356" y="9"/>
                    </a:lnTo>
                    <a:lnTo>
                      <a:pt x="351" y="7"/>
                    </a:lnTo>
                    <a:lnTo>
                      <a:pt x="352" y="6"/>
                    </a:lnTo>
                    <a:lnTo>
                      <a:pt x="349" y="7"/>
                    </a:lnTo>
                    <a:lnTo>
                      <a:pt x="348" y="6"/>
                    </a:lnTo>
                    <a:lnTo>
                      <a:pt x="348" y="7"/>
                    </a:lnTo>
                    <a:lnTo>
                      <a:pt x="346" y="6"/>
                    </a:lnTo>
                    <a:lnTo>
                      <a:pt x="343" y="4"/>
                    </a:lnTo>
                    <a:lnTo>
                      <a:pt x="344" y="5"/>
                    </a:lnTo>
                    <a:lnTo>
                      <a:pt x="344" y="6"/>
                    </a:lnTo>
                    <a:lnTo>
                      <a:pt x="341" y="5"/>
                    </a:lnTo>
                    <a:lnTo>
                      <a:pt x="339" y="8"/>
                    </a:lnTo>
                    <a:lnTo>
                      <a:pt x="335" y="2"/>
                    </a:lnTo>
                    <a:lnTo>
                      <a:pt x="331" y="0"/>
                    </a:lnTo>
                    <a:lnTo>
                      <a:pt x="330" y="0"/>
                    </a:lnTo>
                    <a:lnTo>
                      <a:pt x="329" y="2"/>
                    </a:lnTo>
                    <a:lnTo>
                      <a:pt x="330" y="4"/>
                    </a:lnTo>
                    <a:lnTo>
                      <a:pt x="329" y="4"/>
                    </a:lnTo>
                    <a:lnTo>
                      <a:pt x="326" y="4"/>
                    </a:lnTo>
                    <a:lnTo>
                      <a:pt x="324" y="4"/>
                    </a:lnTo>
                    <a:lnTo>
                      <a:pt x="323" y="2"/>
                    </a:lnTo>
                    <a:lnTo>
                      <a:pt x="321" y="4"/>
                    </a:lnTo>
                    <a:lnTo>
                      <a:pt x="318" y="2"/>
                    </a:lnTo>
                    <a:lnTo>
                      <a:pt x="318" y="0"/>
                    </a:lnTo>
                    <a:lnTo>
                      <a:pt x="316" y="1"/>
                    </a:lnTo>
                    <a:lnTo>
                      <a:pt x="315" y="0"/>
                    </a:lnTo>
                    <a:lnTo>
                      <a:pt x="313" y="0"/>
                    </a:lnTo>
                    <a:lnTo>
                      <a:pt x="311" y="0"/>
                    </a:lnTo>
                    <a:lnTo>
                      <a:pt x="311" y="2"/>
                    </a:lnTo>
                    <a:lnTo>
                      <a:pt x="310" y="4"/>
                    </a:lnTo>
                    <a:lnTo>
                      <a:pt x="310" y="7"/>
                    </a:lnTo>
                    <a:lnTo>
                      <a:pt x="310" y="9"/>
                    </a:lnTo>
                    <a:lnTo>
                      <a:pt x="309" y="10"/>
                    </a:lnTo>
                    <a:lnTo>
                      <a:pt x="307" y="13"/>
                    </a:lnTo>
                    <a:lnTo>
                      <a:pt x="308" y="15"/>
                    </a:lnTo>
                    <a:lnTo>
                      <a:pt x="308" y="17"/>
                    </a:lnTo>
                    <a:lnTo>
                      <a:pt x="307" y="17"/>
                    </a:lnTo>
                    <a:lnTo>
                      <a:pt x="307" y="16"/>
                    </a:lnTo>
                    <a:lnTo>
                      <a:pt x="305" y="17"/>
                    </a:lnTo>
                    <a:lnTo>
                      <a:pt x="300" y="15"/>
                    </a:lnTo>
                    <a:lnTo>
                      <a:pt x="300" y="17"/>
                    </a:lnTo>
                    <a:lnTo>
                      <a:pt x="299" y="16"/>
                    </a:lnTo>
                    <a:lnTo>
                      <a:pt x="299" y="15"/>
                    </a:lnTo>
                    <a:lnTo>
                      <a:pt x="297" y="16"/>
                    </a:lnTo>
                    <a:lnTo>
                      <a:pt x="297" y="15"/>
                    </a:lnTo>
                    <a:lnTo>
                      <a:pt x="294" y="11"/>
                    </a:lnTo>
                    <a:lnTo>
                      <a:pt x="293" y="11"/>
                    </a:lnTo>
                    <a:lnTo>
                      <a:pt x="289" y="15"/>
                    </a:lnTo>
                    <a:lnTo>
                      <a:pt x="286" y="14"/>
                    </a:lnTo>
                    <a:lnTo>
                      <a:pt x="285" y="15"/>
                    </a:lnTo>
                    <a:lnTo>
                      <a:pt x="284" y="15"/>
                    </a:lnTo>
                    <a:lnTo>
                      <a:pt x="283" y="15"/>
                    </a:lnTo>
                    <a:lnTo>
                      <a:pt x="281" y="15"/>
                    </a:lnTo>
                    <a:lnTo>
                      <a:pt x="283" y="11"/>
                    </a:lnTo>
                    <a:lnTo>
                      <a:pt x="281" y="10"/>
                    </a:lnTo>
                    <a:lnTo>
                      <a:pt x="280" y="10"/>
                    </a:lnTo>
                    <a:lnTo>
                      <a:pt x="279" y="10"/>
                    </a:lnTo>
                    <a:lnTo>
                      <a:pt x="278" y="11"/>
                    </a:lnTo>
                    <a:lnTo>
                      <a:pt x="276" y="12"/>
                    </a:lnTo>
                    <a:lnTo>
                      <a:pt x="274" y="11"/>
                    </a:lnTo>
                    <a:lnTo>
                      <a:pt x="273" y="13"/>
                    </a:lnTo>
                    <a:lnTo>
                      <a:pt x="274" y="16"/>
                    </a:lnTo>
                    <a:lnTo>
                      <a:pt x="270" y="19"/>
                    </a:lnTo>
                    <a:lnTo>
                      <a:pt x="270" y="21"/>
                    </a:lnTo>
                    <a:lnTo>
                      <a:pt x="268" y="20"/>
                    </a:lnTo>
                    <a:lnTo>
                      <a:pt x="267" y="17"/>
                    </a:lnTo>
                    <a:lnTo>
                      <a:pt x="266" y="17"/>
                    </a:lnTo>
                    <a:lnTo>
                      <a:pt x="266" y="18"/>
                    </a:lnTo>
                    <a:lnTo>
                      <a:pt x="266" y="22"/>
                    </a:lnTo>
                    <a:lnTo>
                      <a:pt x="266" y="23"/>
                    </a:lnTo>
                    <a:lnTo>
                      <a:pt x="265" y="23"/>
                    </a:lnTo>
                    <a:lnTo>
                      <a:pt x="265" y="25"/>
                    </a:lnTo>
                    <a:lnTo>
                      <a:pt x="263" y="28"/>
                    </a:lnTo>
                    <a:lnTo>
                      <a:pt x="262" y="29"/>
                    </a:lnTo>
                    <a:lnTo>
                      <a:pt x="260" y="29"/>
                    </a:lnTo>
                    <a:lnTo>
                      <a:pt x="259" y="31"/>
                    </a:lnTo>
                    <a:lnTo>
                      <a:pt x="261" y="31"/>
                    </a:lnTo>
                    <a:lnTo>
                      <a:pt x="261" y="33"/>
                    </a:lnTo>
                    <a:lnTo>
                      <a:pt x="262" y="34"/>
                    </a:lnTo>
                    <a:lnTo>
                      <a:pt x="263" y="36"/>
                    </a:lnTo>
                    <a:lnTo>
                      <a:pt x="265" y="36"/>
                    </a:lnTo>
                    <a:lnTo>
                      <a:pt x="269" y="38"/>
                    </a:lnTo>
                    <a:lnTo>
                      <a:pt x="270" y="41"/>
                    </a:lnTo>
                    <a:lnTo>
                      <a:pt x="270" y="44"/>
                    </a:lnTo>
                    <a:lnTo>
                      <a:pt x="267" y="51"/>
                    </a:lnTo>
                    <a:lnTo>
                      <a:pt x="266" y="51"/>
                    </a:lnTo>
                    <a:lnTo>
                      <a:pt x="264" y="54"/>
                    </a:lnTo>
                    <a:lnTo>
                      <a:pt x="261" y="55"/>
                    </a:lnTo>
                    <a:lnTo>
                      <a:pt x="261" y="57"/>
                    </a:lnTo>
                    <a:lnTo>
                      <a:pt x="260" y="58"/>
                    </a:lnTo>
                    <a:lnTo>
                      <a:pt x="257" y="59"/>
                    </a:lnTo>
                    <a:lnTo>
                      <a:pt x="256" y="55"/>
                    </a:lnTo>
                    <a:lnTo>
                      <a:pt x="255" y="54"/>
                    </a:lnTo>
                    <a:lnTo>
                      <a:pt x="253" y="54"/>
                    </a:lnTo>
                    <a:lnTo>
                      <a:pt x="252" y="54"/>
                    </a:lnTo>
                    <a:lnTo>
                      <a:pt x="254" y="56"/>
                    </a:lnTo>
                    <a:lnTo>
                      <a:pt x="254" y="57"/>
                    </a:lnTo>
                    <a:lnTo>
                      <a:pt x="253" y="58"/>
                    </a:lnTo>
                    <a:lnTo>
                      <a:pt x="254" y="60"/>
                    </a:lnTo>
                    <a:lnTo>
                      <a:pt x="256" y="62"/>
                    </a:lnTo>
                    <a:lnTo>
                      <a:pt x="257" y="62"/>
                    </a:lnTo>
                    <a:lnTo>
                      <a:pt x="258" y="61"/>
                    </a:lnTo>
                    <a:lnTo>
                      <a:pt x="259" y="62"/>
                    </a:lnTo>
                    <a:lnTo>
                      <a:pt x="258" y="63"/>
                    </a:lnTo>
                    <a:lnTo>
                      <a:pt x="258" y="64"/>
                    </a:lnTo>
                    <a:lnTo>
                      <a:pt x="258" y="66"/>
                    </a:lnTo>
                    <a:lnTo>
                      <a:pt x="261" y="66"/>
                    </a:lnTo>
                    <a:lnTo>
                      <a:pt x="260" y="69"/>
                    </a:lnTo>
                    <a:lnTo>
                      <a:pt x="256" y="71"/>
                    </a:lnTo>
                    <a:lnTo>
                      <a:pt x="258" y="74"/>
                    </a:lnTo>
                    <a:lnTo>
                      <a:pt x="256" y="77"/>
                    </a:lnTo>
                    <a:lnTo>
                      <a:pt x="254" y="78"/>
                    </a:lnTo>
                    <a:lnTo>
                      <a:pt x="253" y="80"/>
                    </a:lnTo>
                    <a:lnTo>
                      <a:pt x="252" y="83"/>
                    </a:lnTo>
                    <a:lnTo>
                      <a:pt x="254" y="88"/>
                    </a:lnTo>
                    <a:lnTo>
                      <a:pt x="253" y="89"/>
                    </a:lnTo>
                    <a:lnTo>
                      <a:pt x="253" y="90"/>
                    </a:lnTo>
                    <a:lnTo>
                      <a:pt x="254" y="91"/>
                    </a:lnTo>
                    <a:lnTo>
                      <a:pt x="252" y="92"/>
                    </a:lnTo>
                    <a:lnTo>
                      <a:pt x="253" y="95"/>
                    </a:lnTo>
                    <a:lnTo>
                      <a:pt x="254" y="95"/>
                    </a:lnTo>
                    <a:lnTo>
                      <a:pt x="256" y="94"/>
                    </a:lnTo>
                    <a:lnTo>
                      <a:pt x="256" y="96"/>
                    </a:lnTo>
                    <a:lnTo>
                      <a:pt x="255" y="98"/>
                    </a:lnTo>
                    <a:lnTo>
                      <a:pt x="254" y="99"/>
                    </a:lnTo>
                    <a:lnTo>
                      <a:pt x="254" y="102"/>
                    </a:lnTo>
                    <a:lnTo>
                      <a:pt x="253" y="105"/>
                    </a:lnTo>
                    <a:lnTo>
                      <a:pt x="253" y="107"/>
                    </a:lnTo>
                    <a:lnTo>
                      <a:pt x="252" y="106"/>
                    </a:lnTo>
                    <a:lnTo>
                      <a:pt x="252" y="107"/>
                    </a:lnTo>
                    <a:lnTo>
                      <a:pt x="253" y="112"/>
                    </a:lnTo>
                    <a:lnTo>
                      <a:pt x="254" y="112"/>
                    </a:lnTo>
                    <a:lnTo>
                      <a:pt x="251" y="114"/>
                    </a:lnTo>
                    <a:lnTo>
                      <a:pt x="253" y="118"/>
                    </a:lnTo>
                    <a:lnTo>
                      <a:pt x="254" y="120"/>
                    </a:lnTo>
                    <a:lnTo>
                      <a:pt x="253" y="119"/>
                    </a:lnTo>
                    <a:lnTo>
                      <a:pt x="254" y="120"/>
                    </a:lnTo>
                    <a:lnTo>
                      <a:pt x="254" y="122"/>
                    </a:lnTo>
                    <a:lnTo>
                      <a:pt x="251" y="122"/>
                    </a:lnTo>
                    <a:lnTo>
                      <a:pt x="251" y="123"/>
                    </a:lnTo>
                    <a:lnTo>
                      <a:pt x="248" y="125"/>
                    </a:lnTo>
                    <a:lnTo>
                      <a:pt x="246" y="125"/>
                    </a:lnTo>
                    <a:lnTo>
                      <a:pt x="246" y="126"/>
                    </a:lnTo>
                    <a:lnTo>
                      <a:pt x="244" y="128"/>
                    </a:lnTo>
                    <a:lnTo>
                      <a:pt x="244" y="129"/>
                    </a:lnTo>
                    <a:lnTo>
                      <a:pt x="243" y="128"/>
                    </a:lnTo>
                    <a:lnTo>
                      <a:pt x="243" y="125"/>
                    </a:lnTo>
                    <a:lnTo>
                      <a:pt x="240" y="125"/>
                    </a:lnTo>
                    <a:lnTo>
                      <a:pt x="240" y="126"/>
                    </a:lnTo>
                    <a:lnTo>
                      <a:pt x="240" y="128"/>
                    </a:lnTo>
                    <a:lnTo>
                      <a:pt x="238" y="129"/>
                    </a:lnTo>
                    <a:lnTo>
                      <a:pt x="234" y="133"/>
                    </a:lnTo>
                    <a:lnTo>
                      <a:pt x="232" y="132"/>
                    </a:lnTo>
                    <a:lnTo>
                      <a:pt x="230" y="133"/>
                    </a:lnTo>
                    <a:lnTo>
                      <a:pt x="227" y="133"/>
                    </a:lnTo>
                    <a:lnTo>
                      <a:pt x="227" y="135"/>
                    </a:lnTo>
                    <a:lnTo>
                      <a:pt x="227" y="136"/>
                    </a:lnTo>
                    <a:lnTo>
                      <a:pt x="226" y="136"/>
                    </a:lnTo>
                    <a:lnTo>
                      <a:pt x="227" y="139"/>
                    </a:lnTo>
                    <a:lnTo>
                      <a:pt x="226" y="140"/>
                    </a:lnTo>
                    <a:lnTo>
                      <a:pt x="226" y="142"/>
                    </a:lnTo>
                    <a:lnTo>
                      <a:pt x="225" y="143"/>
                    </a:lnTo>
                    <a:lnTo>
                      <a:pt x="223" y="143"/>
                    </a:lnTo>
                    <a:lnTo>
                      <a:pt x="222" y="144"/>
                    </a:lnTo>
                    <a:lnTo>
                      <a:pt x="223" y="146"/>
                    </a:lnTo>
                    <a:lnTo>
                      <a:pt x="221" y="146"/>
                    </a:lnTo>
                    <a:lnTo>
                      <a:pt x="221" y="147"/>
                    </a:lnTo>
                    <a:lnTo>
                      <a:pt x="218" y="148"/>
                    </a:lnTo>
                    <a:lnTo>
                      <a:pt x="218" y="147"/>
                    </a:lnTo>
                    <a:lnTo>
                      <a:pt x="217" y="148"/>
                    </a:lnTo>
                    <a:lnTo>
                      <a:pt x="215" y="151"/>
                    </a:lnTo>
                    <a:lnTo>
                      <a:pt x="215" y="154"/>
                    </a:lnTo>
                    <a:lnTo>
                      <a:pt x="216" y="156"/>
                    </a:lnTo>
                    <a:lnTo>
                      <a:pt x="220" y="156"/>
                    </a:lnTo>
                    <a:lnTo>
                      <a:pt x="220" y="157"/>
                    </a:lnTo>
                    <a:lnTo>
                      <a:pt x="221" y="157"/>
                    </a:lnTo>
                    <a:lnTo>
                      <a:pt x="221" y="159"/>
                    </a:lnTo>
                    <a:lnTo>
                      <a:pt x="223" y="161"/>
                    </a:lnTo>
                    <a:lnTo>
                      <a:pt x="223" y="165"/>
                    </a:lnTo>
                    <a:lnTo>
                      <a:pt x="222" y="165"/>
                    </a:lnTo>
                    <a:lnTo>
                      <a:pt x="221" y="165"/>
                    </a:lnTo>
                    <a:lnTo>
                      <a:pt x="219" y="166"/>
                    </a:lnTo>
                    <a:lnTo>
                      <a:pt x="218" y="166"/>
                    </a:lnTo>
                    <a:lnTo>
                      <a:pt x="217" y="165"/>
                    </a:lnTo>
                    <a:lnTo>
                      <a:pt x="214" y="165"/>
                    </a:lnTo>
                    <a:lnTo>
                      <a:pt x="212" y="166"/>
                    </a:lnTo>
                    <a:lnTo>
                      <a:pt x="212" y="169"/>
                    </a:lnTo>
                    <a:lnTo>
                      <a:pt x="210" y="170"/>
                    </a:lnTo>
                    <a:lnTo>
                      <a:pt x="208" y="176"/>
                    </a:lnTo>
                    <a:lnTo>
                      <a:pt x="207" y="178"/>
                    </a:lnTo>
                    <a:lnTo>
                      <a:pt x="207" y="180"/>
                    </a:lnTo>
                    <a:lnTo>
                      <a:pt x="206" y="183"/>
                    </a:lnTo>
                    <a:lnTo>
                      <a:pt x="207" y="185"/>
                    </a:lnTo>
                    <a:lnTo>
                      <a:pt x="209" y="185"/>
                    </a:lnTo>
                    <a:lnTo>
                      <a:pt x="211" y="186"/>
                    </a:lnTo>
                    <a:lnTo>
                      <a:pt x="213" y="186"/>
                    </a:lnTo>
                    <a:lnTo>
                      <a:pt x="214" y="188"/>
                    </a:lnTo>
                    <a:lnTo>
                      <a:pt x="216" y="191"/>
                    </a:lnTo>
                    <a:lnTo>
                      <a:pt x="215" y="193"/>
                    </a:lnTo>
                    <a:lnTo>
                      <a:pt x="215" y="192"/>
                    </a:lnTo>
                    <a:lnTo>
                      <a:pt x="214" y="193"/>
                    </a:lnTo>
                    <a:lnTo>
                      <a:pt x="214" y="198"/>
                    </a:lnTo>
                    <a:lnTo>
                      <a:pt x="216" y="199"/>
                    </a:lnTo>
                    <a:lnTo>
                      <a:pt x="214" y="202"/>
                    </a:lnTo>
                    <a:lnTo>
                      <a:pt x="212" y="200"/>
                    </a:lnTo>
                    <a:lnTo>
                      <a:pt x="212" y="201"/>
                    </a:lnTo>
                    <a:lnTo>
                      <a:pt x="210" y="203"/>
                    </a:lnTo>
                    <a:lnTo>
                      <a:pt x="207" y="201"/>
                    </a:lnTo>
                    <a:lnTo>
                      <a:pt x="204" y="201"/>
                    </a:lnTo>
                    <a:lnTo>
                      <a:pt x="202" y="205"/>
                    </a:lnTo>
                    <a:lnTo>
                      <a:pt x="201" y="206"/>
                    </a:lnTo>
                    <a:lnTo>
                      <a:pt x="203" y="207"/>
                    </a:lnTo>
                    <a:lnTo>
                      <a:pt x="202" y="209"/>
                    </a:lnTo>
                    <a:lnTo>
                      <a:pt x="204" y="208"/>
                    </a:lnTo>
                    <a:lnTo>
                      <a:pt x="204" y="210"/>
                    </a:lnTo>
                    <a:lnTo>
                      <a:pt x="204" y="212"/>
                    </a:lnTo>
                    <a:lnTo>
                      <a:pt x="206" y="215"/>
                    </a:lnTo>
                    <a:lnTo>
                      <a:pt x="205" y="216"/>
                    </a:lnTo>
                    <a:lnTo>
                      <a:pt x="204" y="216"/>
                    </a:lnTo>
                    <a:lnTo>
                      <a:pt x="204" y="217"/>
                    </a:lnTo>
                    <a:lnTo>
                      <a:pt x="202" y="220"/>
                    </a:lnTo>
                    <a:lnTo>
                      <a:pt x="203" y="220"/>
                    </a:lnTo>
                    <a:lnTo>
                      <a:pt x="204" y="218"/>
                    </a:lnTo>
                    <a:lnTo>
                      <a:pt x="206" y="219"/>
                    </a:lnTo>
                    <a:lnTo>
                      <a:pt x="209" y="217"/>
                    </a:lnTo>
                    <a:lnTo>
                      <a:pt x="209" y="215"/>
                    </a:lnTo>
                    <a:lnTo>
                      <a:pt x="210" y="216"/>
                    </a:lnTo>
                    <a:lnTo>
                      <a:pt x="210" y="217"/>
                    </a:lnTo>
                    <a:lnTo>
                      <a:pt x="208" y="221"/>
                    </a:lnTo>
                    <a:lnTo>
                      <a:pt x="211" y="221"/>
                    </a:lnTo>
                    <a:lnTo>
                      <a:pt x="211" y="223"/>
                    </a:lnTo>
                    <a:lnTo>
                      <a:pt x="212" y="223"/>
                    </a:lnTo>
                    <a:lnTo>
                      <a:pt x="210" y="230"/>
                    </a:lnTo>
                    <a:lnTo>
                      <a:pt x="210" y="231"/>
                    </a:lnTo>
                    <a:lnTo>
                      <a:pt x="210" y="230"/>
                    </a:lnTo>
                    <a:lnTo>
                      <a:pt x="209" y="232"/>
                    </a:lnTo>
                    <a:lnTo>
                      <a:pt x="207" y="233"/>
                    </a:lnTo>
                    <a:lnTo>
                      <a:pt x="207" y="234"/>
                    </a:lnTo>
                    <a:lnTo>
                      <a:pt x="205" y="235"/>
                    </a:lnTo>
                    <a:lnTo>
                      <a:pt x="204" y="237"/>
                    </a:lnTo>
                    <a:lnTo>
                      <a:pt x="203" y="237"/>
                    </a:lnTo>
                    <a:lnTo>
                      <a:pt x="201" y="237"/>
                    </a:lnTo>
                    <a:lnTo>
                      <a:pt x="199" y="237"/>
                    </a:lnTo>
                    <a:lnTo>
                      <a:pt x="197" y="237"/>
                    </a:lnTo>
                    <a:lnTo>
                      <a:pt x="196" y="238"/>
                    </a:lnTo>
                    <a:lnTo>
                      <a:pt x="198" y="242"/>
                    </a:lnTo>
                    <a:lnTo>
                      <a:pt x="198" y="244"/>
                    </a:lnTo>
                    <a:lnTo>
                      <a:pt x="196" y="244"/>
                    </a:lnTo>
                    <a:lnTo>
                      <a:pt x="194" y="246"/>
                    </a:lnTo>
                    <a:lnTo>
                      <a:pt x="194" y="247"/>
                    </a:lnTo>
                    <a:lnTo>
                      <a:pt x="193" y="249"/>
                    </a:lnTo>
                    <a:lnTo>
                      <a:pt x="190" y="247"/>
                    </a:lnTo>
                    <a:lnTo>
                      <a:pt x="187" y="248"/>
                    </a:lnTo>
                    <a:lnTo>
                      <a:pt x="185" y="247"/>
                    </a:lnTo>
                    <a:lnTo>
                      <a:pt x="184" y="248"/>
                    </a:lnTo>
                    <a:lnTo>
                      <a:pt x="181" y="246"/>
                    </a:lnTo>
                    <a:lnTo>
                      <a:pt x="180" y="246"/>
                    </a:lnTo>
                    <a:lnTo>
                      <a:pt x="178" y="248"/>
                    </a:lnTo>
                    <a:lnTo>
                      <a:pt x="177" y="248"/>
                    </a:lnTo>
                    <a:lnTo>
                      <a:pt x="172" y="250"/>
                    </a:lnTo>
                    <a:lnTo>
                      <a:pt x="172" y="249"/>
                    </a:lnTo>
                    <a:lnTo>
                      <a:pt x="172" y="250"/>
                    </a:lnTo>
                    <a:lnTo>
                      <a:pt x="170" y="252"/>
                    </a:lnTo>
                    <a:lnTo>
                      <a:pt x="173" y="254"/>
                    </a:lnTo>
                    <a:lnTo>
                      <a:pt x="173" y="256"/>
                    </a:lnTo>
                    <a:lnTo>
                      <a:pt x="174" y="257"/>
                    </a:lnTo>
                    <a:lnTo>
                      <a:pt x="174" y="258"/>
                    </a:lnTo>
                    <a:lnTo>
                      <a:pt x="170" y="260"/>
                    </a:lnTo>
                    <a:lnTo>
                      <a:pt x="170" y="257"/>
                    </a:lnTo>
                    <a:lnTo>
                      <a:pt x="168" y="257"/>
                    </a:lnTo>
                    <a:lnTo>
                      <a:pt x="168" y="260"/>
                    </a:lnTo>
                    <a:lnTo>
                      <a:pt x="166" y="260"/>
                    </a:lnTo>
                    <a:lnTo>
                      <a:pt x="168" y="261"/>
                    </a:lnTo>
                    <a:lnTo>
                      <a:pt x="166" y="261"/>
                    </a:lnTo>
                    <a:lnTo>
                      <a:pt x="166" y="262"/>
                    </a:lnTo>
                    <a:lnTo>
                      <a:pt x="162" y="260"/>
                    </a:lnTo>
                    <a:lnTo>
                      <a:pt x="161" y="260"/>
                    </a:lnTo>
                    <a:lnTo>
                      <a:pt x="161" y="261"/>
                    </a:lnTo>
                    <a:lnTo>
                      <a:pt x="159" y="260"/>
                    </a:lnTo>
                    <a:lnTo>
                      <a:pt x="157" y="260"/>
                    </a:lnTo>
                    <a:lnTo>
                      <a:pt x="157" y="261"/>
                    </a:lnTo>
                    <a:lnTo>
                      <a:pt x="157" y="263"/>
                    </a:lnTo>
                    <a:lnTo>
                      <a:pt x="157" y="264"/>
                    </a:lnTo>
                    <a:lnTo>
                      <a:pt x="156" y="263"/>
                    </a:lnTo>
                    <a:lnTo>
                      <a:pt x="155" y="260"/>
                    </a:lnTo>
                    <a:lnTo>
                      <a:pt x="153" y="260"/>
                    </a:lnTo>
                    <a:lnTo>
                      <a:pt x="152" y="261"/>
                    </a:lnTo>
                    <a:lnTo>
                      <a:pt x="151" y="260"/>
                    </a:lnTo>
                    <a:lnTo>
                      <a:pt x="149" y="257"/>
                    </a:lnTo>
                    <a:lnTo>
                      <a:pt x="148" y="257"/>
                    </a:lnTo>
                    <a:lnTo>
                      <a:pt x="146" y="257"/>
                    </a:lnTo>
                    <a:lnTo>
                      <a:pt x="144" y="257"/>
                    </a:lnTo>
                    <a:lnTo>
                      <a:pt x="144" y="255"/>
                    </a:lnTo>
                    <a:lnTo>
                      <a:pt x="144" y="254"/>
                    </a:lnTo>
                    <a:lnTo>
                      <a:pt x="142" y="254"/>
                    </a:lnTo>
                    <a:lnTo>
                      <a:pt x="142" y="255"/>
                    </a:lnTo>
                    <a:lnTo>
                      <a:pt x="143" y="257"/>
                    </a:lnTo>
                    <a:lnTo>
                      <a:pt x="142" y="260"/>
                    </a:lnTo>
                    <a:lnTo>
                      <a:pt x="141" y="260"/>
                    </a:lnTo>
                    <a:lnTo>
                      <a:pt x="139" y="262"/>
                    </a:lnTo>
                    <a:lnTo>
                      <a:pt x="137" y="262"/>
                    </a:lnTo>
                    <a:lnTo>
                      <a:pt x="136" y="263"/>
                    </a:lnTo>
                    <a:lnTo>
                      <a:pt x="133" y="262"/>
                    </a:lnTo>
                    <a:lnTo>
                      <a:pt x="131" y="261"/>
                    </a:lnTo>
                    <a:lnTo>
                      <a:pt x="128" y="259"/>
                    </a:lnTo>
                    <a:lnTo>
                      <a:pt x="128" y="257"/>
                    </a:lnTo>
                    <a:lnTo>
                      <a:pt x="129" y="257"/>
                    </a:lnTo>
                    <a:lnTo>
                      <a:pt x="128" y="256"/>
                    </a:lnTo>
                    <a:lnTo>
                      <a:pt x="128" y="255"/>
                    </a:lnTo>
                    <a:lnTo>
                      <a:pt x="128" y="257"/>
                    </a:lnTo>
                    <a:lnTo>
                      <a:pt x="127" y="257"/>
                    </a:lnTo>
                    <a:lnTo>
                      <a:pt x="126" y="256"/>
                    </a:lnTo>
                    <a:lnTo>
                      <a:pt x="125" y="256"/>
                    </a:lnTo>
                    <a:lnTo>
                      <a:pt x="125" y="255"/>
                    </a:lnTo>
                    <a:lnTo>
                      <a:pt x="126" y="255"/>
                    </a:lnTo>
                    <a:lnTo>
                      <a:pt x="125" y="254"/>
                    </a:lnTo>
                    <a:lnTo>
                      <a:pt x="126" y="254"/>
                    </a:lnTo>
                    <a:lnTo>
                      <a:pt x="126" y="252"/>
                    </a:lnTo>
                    <a:lnTo>
                      <a:pt x="125" y="251"/>
                    </a:lnTo>
                    <a:lnTo>
                      <a:pt x="125" y="250"/>
                    </a:lnTo>
                    <a:lnTo>
                      <a:pt x="125" y="248"/>
                    </a:lnTo>
                    <a:lnTo>
                      <a:pt x="124" y="247"/>
                    </a:lnTo>
                    <a:lnTo>
                      <a:pt x="121" y="249"/>
                    </a:lnTo>
                    <a:lnTo>
                      <a:pt x="119" y="251"/>
                    </a:lnTo>
                    <a:lnTo>
                      <a:pt x="115" y="248"/>
                    </a:lnTo>
                    <a:lnTo>
                      <a:pt x="114" y="254"/>
                    </a:lnTo>
                    <a:lnTo>
                      <a:pt x="116" y="254"/>
                    </a:lnTo>
                    <a:lnTo>
                      <a:pt x="112" y="256"/>
                    </a:lnTo>
                    <a:lnTo>
                      <a:pt x="110" y="259"/>
                    </a:lnTo>
                    <a:lnTo>
                      <a:pt x="109" y="257"/>
                    </a:lnTo>
                    <a:lnTo>
                      <a:pt x="108" y="258"/>
                    </a:lnTo>
                    <a:lnTo>
                      <a:pt x="106" y="257"/>
                    </a:lnTo>
                    <a:lnTo>
                      <a:pt x="108" y="257"/>
                    </a:lnTo>
                    <a:lnTo>
                      <a:pt x="108" y="256"/>
                    </a:lnTo>
                    <a:lnTo>
                      <a:pt x="104" y="253"/>
                    </a:lnTo>
                    <a:lnTo>
                      <a:pt x="103" y="253"/>
                    </a:lnTo>
                    <a:lnTo>
                      <a:pt x="101" y="252"/>
                    </a:lnTo>
                    <a:lnTo>
                      <a:pt x="102" y="255"/>
                    </a:lnTo>
                    <a:lnTo>
                      <a:pt x="101" y="256"/>
                    </a:lnTo>
                    <a:lnTo>
                      <a:pt x="101" y="258"/>
                    </a:lnTo>
                    <a:lnTo>
                      <a:pt x="99" y="261"/>
                    </a:lnTo>
                    <a:lnTo>
                      <a:pt x="100" y="261"/>
                    </a:lnTo>
                    <a:lnTo>
                      <a:pt x="100" y="262"/>
                    </a:lnTo>
                    <a:lnTo>
                      <a:pt x="99" y="262"/>
                    </a:lnTo>
                    <a:lnTo>
                      <a:pt x="100" y="264"/>
                    </a:lnTo>
                    <a:lnTo>
                      <a:pt x="99" y="264"/>
                    </a:lnTo>
                    <a:lnTo>
                      <a:pt x="98" y="264"/>
                    </a:lnTo>
                    <a:lnTo>
                      <a:pt x="96" y="265"/>
                    </a:lnTo>
                    <a:lnTo>
                      <a:pt x="98" y="267"/>
                    </a:lnTo>
                    <a:lnTo>
                      <a:pt x="95" y="267"/>
                    </a:lnTo>
                    <a:lnTo>
                      <a:pt x="95" y="264"/>
                    </a:lnTo>
                    <a:lnTo>
                      <a:pt x="94" y="264"/>
                    </a:lnTo>
                    <a:lnTo>
                      <a:pt x="91" y="263"/>
                    </a:lnTo>
                    <a:lnTo>
                      <a:pt x="90" y="264"/>
                    </a:lnTo>
                    <a:lnTo>
                      <a:pt x="87" y="263"/>
                    </a:lnTo>
                    <a:lnTo>
                      <a:pt x="85" y="265"/>
                    </a:lnTo>
                    <a:lnTo>
                      <a:pt x="82" y="263"/>
                    </a:lnTo>
                    <a:lnTo>
                      <a:pt x="81" y="265"/>
                    </a:lnTo>
                    <a:lnTo>
                      <a:pt x="78" y="267"/>
                    </a:lnTo>
                    <a:lnTo>
                      <a:pt x="77" y="267"/>
                    </a:lnTo>
                    <a:lnTo>
                      <a:pt x="76" y="269"/>
                    </a:lnTo>
                    <a:lnTo>
                      <a:pt x="78" y="270"/>
                    </a:lnTo>
                    <a:lnTo>
                      <a:pt x="78" y="271"/>
                    </a:lnTo>
                    <a:lnTo>
                      <a:pt x="77" y="271"/>
                    </a:lnTo>
                    <a:lnTo>
                      <a:pt x="77" y="272"/>
                    </a:lnTo>
                    <a:lnTo>
                      <a:pt x="75" y="272"/>
                    </a:lnTo>
                    <a:lnTo>
                      <a:pt x="74" y="275"/>
                    </a:lnTo>
                    <a:lnTo>
                      <a:pt x="71" y="277"/>
                    </a:lnTo>
                    <a:lnTo>
                      <a:pt x="66" y="276"/>
                    </a:lnTo>
                    <a:lnTo>
                      <a:pt x="64" y="275"/>
                    </a:lnTo>
                    <a:lnTo>
                      <a:pt x="64" y="276"/>
                    </a:lnTo>
                    <a:lnTo>
                      <a:pt x="64" y="280"/>
                    </a:lnTo>
                    <a:lnTo>
                      <a:pt x="63" y="282"/>
                    </a:lnTo>
                    <a:lnTo>
                      <a:pt x="60" y="280"/>
                    </a:lnTo>
                    <a:lnTo>
                      <a:pt x="59" y="283"/>
                    </a:lnTo>
                    <a:lnTo>
                      <a:pt x="58" y="282"/>
                    </a:lnTo>
                    <a:lnTo>
                      <a:pt x="58" y="283"/>
                    </a:lnTo>
                    <a:lnTo>
                      <a:pt x="58" y="284"/>
                    </a:lnTo>
                    <a:lnTo>
                      <a:pt x="59" y="284"/>
                    </a:lnTo>
                    <a:lnTo>
                      <a:pt x="58" y="286"/>
                    </a:lnTo>
                    <a:lnTo>
                      <a:pt x="58" y="288"/>
                    </a:lnTo>
                    <a:lnTo>
                      <a:pt x="56" y="288"/>
                    </a:lnTo>
                    <a:lnTo>
                      <a:pt x="55" y="289"/>
                    </a:lnTo>
                    <a:lnTo>
                      <a:pt x="54" y="287"/>
                    </a:lnTo>
                    <a:lnTo>
                      <a:pt x="52" y="285"/>
                    </a:lnTo>
                    <a:lnTo>
                      <a:pt x="52" y="283"/>
                    </a:lnTo>
                    <a:lnTo>
                      <a:pt x="49" y="280"/>
                    </a:lnTo>
                    <a:lnTo>
                      <a:pt x="49" y="279"/>
                    </a:lnTo>
                    <a:lnTo>
                      <a:pt x="46" y="279"/>
                    </a:lnTo>
                    <a:lnTo>
                      <a:pt x="43" y="281"/>
                    </a:lnTo>
                    <a:lnTo>
                      <a:pt x="42" y="282"/>
                    </a:lnTo>
                    <a:lnTo>
                      <a:pt x="42" y="280"/>
                    </a:lnTo>
                    <a:lnTo>
                      <a:pt x="40" y="280"/>
                    </a:lnTo>
                    <a:lnTo>
                      <a:pt x="39" y="279"/>
                    </a:lnTo>
                    <a:lnTo>
                      <a:pt x="38" y="279"/>
                    </a:lnTo>
                    <a:lnTo>
                      <a:pt x="36" y="280"/>
                    </a:lnTo>
                    <a:lnTo>
                      <a:pt x="38" y="284"/>
                    </a:lnTo>
                    <a:lnTo>
                      <a:pt x="37" y="284"/>
                    </a:lnTo>
                    <a:lnTo>
                      <a:pt x="35" y="285"/>
                    </a:lnTo>
                    <a:lnTo>
                      <a:pt x="35" y="287"/>
                    </a:lnTo>
                    <a:lnTo>
                      <a:pt x="33" y="287"/>
                    </a:lnTo>
                    <a:lnTo>
                      <a:pt x="33" y="288"/>
                    </a:lnTo>
                    <a:lnTo>
                      <a:pt x="33" y="289"/>
                    </a:lnTo>
                    <a:lnTo>
                      <a:pt x="31" y="291"/>
                    </a:lnTo>
                    <a:lnTo>
                      <a:pt x="30" y="291"/>
                    </a:lnTo>
                    <a:lnTo>
                      <a:pt x="30" y="288"/>
                    </a:lnTo>
                    <a:lnTo>
                      <a:pt x="28" y="289"/>
                    </a:lnTo>
                    <a:lnTo>
                      <a:pt x="27" y="289"/>
                    </a:lnTo>
                    <a:lnTo>
                      <a:pt x="25" y="287"/>
                    </a:lnTo>
                    <a:lnTo>
                      <a:pt x="25" y="286"/>
                    </a:lnTo>
                    <a:lnTo>
                      <a:pt x="26" y="284"/>
                    </a:lnTo>
                    <a:lnTo>
                      <a:pt x="25" y="283"/>
                    </a:lnTo>
                    <a:lnTo>
                      <a:pt x="24" y="281"/>
                    </a:lnTo>
                    <a:lnTo>
                      <a:pt x="23" y="280"/>
                    </a:lnTo>
                    <a:lnTo>
                      <a:pt x="20" y="280"/>
                    </a:lnTo>
                    <a:lnTo>
                      <a:pt x="21" y="284"/>
                    </a:lnTo>
                    <a:lnTo>
                      <a:pt x="17" y="280"/>
                    </a:lnTo>
                    <a:lnTo>
                      <a:pt x="14" y="280"/>
                    </a:lnTo>
                    <a:lnTo>
                      <a:pt x="15" y="281"/>
                    </a:lnTo>
                    <a:lnTo>
                      <a:pt x="17" y="281"/>
                    </a:lnTo>
                    <a:lnTo>
                      <a:pt x="17" y="282"/>
                    </a:lnTo>
                    <a:lnTo>
                      <a:pt x="18" y="282"/>
                    </a:lnTo>
                    <a:lnTo>
                      <a:pt x="15" y="284"/>
                    </a:lnTo>
                    <a:lnTo>
                      <a:pt x="14" y="285"/>
                    </a:lnTo>
                    <a:lnTo>
                      <a:pt x="14" y="286"/>
                    </a:lnTo>
                    <a:lnTo>
                      <a:pt x="13" y="287"/>
                    </a:lnTo>
                    <a:lnTo>
                      <a:pt x="12" y="287"/>
                    </a:lnTo>
                    <a:lnTo>
                      <a:pt x="10" y="286"/>
                    </a:lnTo>
                    <a:lnTo>
                      <a:pt x="10" y="284"/>
                    </a:lnTo>
                    <a:lnTo>
                      <a:pt x="8" y="284"/>
                    </a:lnTo>
                    <a:lnTo>
                      <a:pt x="7" y="286"/>
                    </a:lnTo>
                    <a:lnTo>
                      <a:pt x="8" y="287"/>
                    </a:lnTo>
                    <a:lnTo>
                      <a:pt x="9" y="287"/>
                    </a:lnTo>
                    <a:lnTo>
                      <a:pt x="10" y="288"/>
                    </a:lnTo>
                    <a:lnTo>
                      <a:pt x="11" y="289"/>
                    </a:lnTo>
                    <a:lnTo>
                      <a:pt x="10" y="291"/>
                    </a:lnTo>
                    <a:lnTo>
                      <a:pt x="9" y="290"/>
                    </a:lnTo>
                    <a:lnTo>
                      <a:pt x="7" y="291"/>
                    </a:lnTo>
                    <a:lnTo>
                      <a:pt x="7" y="292"/>
                    </a:lnTo>
                    <a:lnTo>
                      <a:pt x="10" y="293"/>
                    </a:lnTo>
                    <a:lnTo>
                      <a:pt x="8" y="294"/>
                    </a:lnTo>
                    <a:lnTo>
                      <a:pt x="7" y="295"/>
                    </a:lnTo>
                    <a:lnTo>
                      <a:pt x="5" y="294"/>
                    </a:lnTo>
                    <a:lnTo>
                      <a:pt x="4" y="294"/>
                    </a:lnTo>
                    <a:lnTo>
                      <a:pt x="4" y="297"/>
                    </a:lnTo>
                    <a:lnTo>
                      <a:pt x="0" y="301"/>
                    </a:lnTo>
                    <a:lnTo>
                      <a:pt x="5" y="303"/>
                    </a:lnTo>
                    <a:lnTo>
                      <a:pt x="11" y="308"/>
                    </a:lnTo>
                    <a:lnTo>
                      <a:pt x="17" y="308"/>
                    </a:lnTo>
                    <a:lnTo>
                      <a:pt x="19" y="309"/>
                    </a:lnTo>
                    <a:lnTo>
                      <a:pt x="20" y="308"/>
                    </a:lnTo>
                    <a:lnTo>
                      <a:pt x="22" y="310"/>
                    </a:lnTo>
                    <a:lnTo>
                      <a:pt x="25" y="315"/>
                    </a:lnTo>
                    <a:lnTo>
                      <a:pt x="27" y="315"/>
                    </a:lnTo>
                    <a:lnTo>
                      <a:pt x="26" y="314"/>
                    </a:lnTo>
                    <a:lnTo>
                      <a:pt x="31" y="318"/>
                    </a:lnTo>
                    <a:lnTo>
                      <a:pt x="34" y="322"/>
                    </a:lnTo>
                    <a:lnTo>
                      <a:pt x="35" y="325"/>
                    </a:lnTo>
                    <a:lnTo>
                      <a:pt x="38" y="328"/>
                    </a:lnTo>
                    <a:lnTo>
                      <a:pt x="39" y="331"/>
                    </a:lnTo>
                    <a:lnTo>
                      <a:pt x="40" y="331"/>
                    </a:lnTo>
                    <a:lnTo>
                      <a:pt x="42" y="330"/>
                    </a:lnTo>
                    <a:lnTo>
                      <a:pt x="45" y="330"/>
                    </a:lnTo>
                    <a:lnTo>
                      <a:pt x="46" y="330"/>
                    </a:lnTo>
                    <a:lnTo>
                      <a:pt x="46" y="331"/>
                    </a:lnTo>
                    <a:lnTo>
                      <a:pt x="53" y="333"/>
                    </a:lnTo>
                    <a:lnTo>
                      <a:pt x="57" y="335"/>
                    </a:lnTo>
                    <a:lnTo>
                      <a:pt x="62" y="331"/>
                    </a:lnTo>
                    <a:lnTo>
                      <a:pt x="64" y="328"/>
                    </a:lnTo>
                    <a:lnTo>
                      <a:pt x="65" y="325"/>
                    </a:lnTo>
                    <a:lnTo>
                      <a:pt x="69" y="326"/>
                    </a:lnTo>
                    <a:lnTo>
                      <a:pt x="72" y="328"/>
                    </a:lnTo>
                    <a:lnTo>
                      <a:pt x="77" y="328"/>
                    </a:lnTo>
                    <a:lnTo>
                      <a:pt x="78" y="329"/>
                    </a:lnTo>
                    <a:lnTo>
                      <a:pt x="79" y="329"/>
                    </a:lnTo>
                    <a:lnTo>
                      <a:pt x="82" y="326"/>
                    </a:lnTo>
                    <a:lnTo>
                      <a:pt x="82" y="328"/>
                    </a:lnTo>
                    <a:lnTo>
                      <a:pt x="84" y="331"/>
                    </a:lnTo>
                    <a:lnTo>
                      <a:pt x="84" y="332"/>
                    </a:lnTo>
                    <a:lnTo>
                      <a:pt x="82" y="333"/>
                    </a:lnTo>
                    <a:lnTo>
                      <a:pt x="82" y="335"/>
                    </a:lnTo>
                    <a:lnTo>
                      <a:pt x="85" y="337"/>
                    </a:lnTo>
                    <a:lnTo>
                      <a:pt x="87" y="339"/>
                    </a:lnTo>
                    <a:lnTo>
                      <a:pt x="90" y="338"/>
                    </a:lnTo>
                    <a:lnTo>
                      <a:pt x="90" y="337"/>
                    </a:lnTo>
                    <a:lnTo>
                      <a:pt x="90" y="336"/>
                    </a:lnTo>
                    <a:lnTo>
                      <a:pt x="91" y="336"/>
                    </a:lnTo>
                    <a:lnTo>
                      <a:pt x="92" y="337"/>
                    </a:lnTo>
                    <a:lnTo>
                      <a:pt x="92" y="338"/>
                    </a:lnTo>
                    <a:lnTo>
                      <a:pt x="91" y="342"/>
                    </a:lnTo>
                    <a:lnTo>
                      <a:pt x="92" y="345"/>
                    </a:lnTo>
                    <a:lnTo>
                      <a:pt x="93" y="345"/>
                    </a:lnTo>
                    <a:lnTo>
                      <a:pt x="96" y="342"/>
                    </a:lnTo>
                    <a:lnTo>
                      <a:pt x="97" y="345"/>
                    </a:lnTo>
                    <a:lnTo>
                      <a:pt x="97" y="347"/>
                    </a:lnTo>
                    <a:lnTo>
                      <a:pt x="96" y="347"/>
                    </a:lnTo>
                    <a:lnTo>
                      <a:pt x="95" y="346"/>
                    </a:lnTo>
                    <a:lnTo>
                      <a:pt x="95" y="344"/>
                    </a:lnTo>
                    <a:lnTo>
                      <a:pt x="95" y="345"/>
                    </a:lnTo>
                    <a:lnTo>
                      <a:pt x="94" y="346"/>
                    </a:lnTo>
                    <a:lnTo>
                      <a:pt x="95" y="348"/>
                    </a:lnTo>
                    <a:lnTo>
                      <a:pt x="98" y="348"/>
                    </a:lnTo>
                    <a:lnTo>
                      <a:pt x="101" y="347"/>
                    </a:lnTo>
                    <a:lnTo>
                      <a:pt x="102" y="349"/>
                    </a:lnTo>
                    <a:lnTo>
                      <a:pt x="104" y="349"/>
                    </a:lnTo>
                    <a:lnTo>
                      <a:pt x="102" y="354"/>
                    </a:lnTo>
                    <a:lnTo>
                      <a:pt x="103" y="355"/>
                    </a:lnTo>
                    <a:lnTo>
                      <a:pt x="104" y="358"/>
                    </a:lnTo>
                    <a:lnTo>
                      <a:pt x="106" y="358"/>
                    </a:lnTo>
                    <a:lnTo>
                      <a:pt x="107" y="357"/>
                    </a:lnTo>
                    <a:lnTo>
                      <a:pt x="107" y="354"/>
                    </a:lnTo>
                    <a:lnTo>
                      <a:pt x="108" y="354"/>
                    </a:lnTo>
                    <a:lnTo>
                      <a:pt x="109" y="354"/>
                    </a:lnTo>
                    <a:lnTo>
                      <a:pt x="108" y="356"/>
                    </a:lnTo>
                    <a:lnTo>
                      <a:pt x="112" y="356"/>
                    </a:lnTo>
                    <a:lnTo>
                      <a:pt x="112" y="358"/>
                    </a:lnTo>
                    <a:lnTo>
                      <a:pt x="109" y="360"/>
                    </a:lnTo>
                    <a:lnTo>
                      <a:pt x="108" y="365"/>
                    </a:lnTo>
                    <a:lnTo>
                      <a:pt x="112" y="368"/>
                    </a:lnTo>
                    <a:lnTo>
                      <a:pt x="118" y="375"/>
                    </a:lnTo>
                    <a:lnTo>
                      <a:pt x="120" y="378"/>
                    </a:lnTo>
                    <a:lnTo>
                      <a:pt x="134" y="388"/>
                    </a:lnTo>
                    <a:lnTo>
                      <a:pt x="138" y="392"/>
                    </a:lnTo>
                    <a:lnTo>
                      <a:pt x="142" y="395"/>
                    </a:lnTo>
                    <a:lnTo>
                      <a:pt x="146" y="397"/>
                    </a:lnTo>
                    <a:lnTo>
                      <a:pt x="149" y="398"/>
                    </a:lnTo>
                    <a:lnTo>
                      <a:pt x="150" y="398"/>
                    </a:lnTo>
                    <a:lnTo>
                      <a:pt x="150" y="397"/>
                    </a:lnTo>
                    <a:lnTo>
                      <a:pt x="152" y="397"/>
                    </a:lnTo>
                    <a:lnTo>
                      <a:pt x="152" y="398"/>
                    </a:lnTo>
                    <a:lnTo>
                      <a:pt x="157" y="400"/>
                    </a:lnTo>
                    <a:lnTo>
                      <a:pt x="158" y="399"/>
                    </a:lnTo>
                    <a:lnTo>
                      <a:pt x="160" y="399"/>
                    </a:lnTo>
                    <a:lnTo>
                      <a:pt x="160" y="400"/>
                    </a:lnTo>
                    <a:lnTo>
                      <a:pt x="161" y="399"/>
                    </a:lnTo>
                    <a:lnTo>
                      <a:pt x="161" y="398"/>
                    </a:lnTo>
                    <a:lnTo>
                      <a:pt x="173" y="402"/>
                    </a:lnTo>
                    <a:lnTo>
                      <a:pt x="187" y="405"/>
                    </a:lnTo>
                    <a:lnTo>
                      <a:pt x="191" y="407"/>
                    </a:lnTo>
                    <a:lnTo>
                      <a:pt x="193" y="406"/>
                    </a:lnTo>
                    <a:lnTo>
                      <a:pt x="196" y="406"/>
                    </a:lnTo>
                    <a:lnTo>
                      <a:pt x="201" y="408"/>
                    </a:lnTo>
                    <a:lnTo>
                      <a:pt x="202" y="407"/>
                    </a:lnTo>
                    <a:lnTo>
                      <a:pt x="205" y="410"/>
                    </a:lnTo>
                    <a:lnTo>
                      <a:pt x="210" y="412"/>
                    </a:lnTo>
                    <a:lnTo>
                      <a:pt x="212" y="410"/>
                    </a:lnTo>
                    <a:lnTo>
                      <a:pt x="213" y="408"/>
                    </a:lnTo>
                    <a:lnTo>
                      <a:pt x="214" y="407"/>
                    </a:lnTo>
                    <a:lnTo>
                      <a:pt x="214" y="406"/>
                    </a:lnTo>
                    <a:lnTo>
                      <a:pt x="214" y="409"/>
                    </a:lnTo>
                    <a:lnTo>
                      <a:pt x="216" y="408"/>
                    </a:lnTo>
                    <a:lnTo>
                      <a:pt x="217" y="409"/>
                    </a:lnTo>
                    <a:lnTo>
                      <a:pt x="218" y="410"/>
                    </a:lnTo>
                    <a:lnTo>
                      <a:pt x="216" y="412"/>
                    </a:lnTo>
                    <a:lnTo>
                      <a:pt x="218" y="414"/>
                    </a:lnTo>
                    <a:lnTo>
                      <a:pt x="218" y="413"/>
                    </a:lnTo>
                    <a:lnTo>
                      <a:pt x="218" y="414"/>
                    </a:lnTo>
                    <a:lnTo>
                      <a:pt x="222" y="414"/>
                    </a:lnTo>
                    <a:lnTo>
                      <a:pt x="222" y="415"/>
                    </a:lnTo>
                    <a:lnTo>
                      <a:pt x="224" y="415"/>
                    </a:lnTo>
                    <a:lnTo>
                      <a:pt x="225" y="414"/>
                    </a:lnTo>
                    <a:lnTo>
                      <a:pt x="226" y="412"/>
                    </a:lnTo>
                    <a:lnTo>
                      <a:pt x="227" y="410"/>
                    </a:lnTo>
                    <a:lnTo>
                      <a:pt x="228" y="412"/>
                    </a:lnTo>
                    <a:lnTo>
                      <a:pt x="230" y="410"/>
                    </a:lnTo>
                    <a:lnTo>
                      <a:pt x="231" y="410"/>
                    </a:lnTo>
                    <a:lnTo>
                      <a:pt x="232" y="410"/>
                    </a:lnTo>
                    <a:lnTo>
                      <a:pt x="234" y="406"/>
                    </a:lnTo>
                    <a:lnTo>
                      <a:pt x="235" y="404"/>
                    </a:lnTo>
                    <a:lnTo>
                      <a:pt x="237" y="401"/>
                    </a:lnTo>
                    <a:lnTo>
                      <a:pt x="240" y="401"/>
                    </a:lnTo>
                    <a:lnTo>
                      <a:pt x="242" y="399"/>
                    </a:lnTo>
                    <a:lnTo>
                      <a:pt x="242" y="396"/>
                    </a:lnTo>
                    <a:lnTo>
                      <a:pt x="242" y="395"/>
                    </a:lnTo>
                    <a:lnTo>
                      <a:pt x="243" y="392"/>
                    </a:lnTo>
                    <a:lnTo>
                      <a:pt x="245" y="388"/>
                    </a:lnTo>
                    <a:lnTo>
                      <a:pt x="245" y="386"/>
                    </a:lnTo>
                    <a:lnTo>
                      <a:pt x="246" y="384"/>
                    </a:lnTo>
                    <a:lnTo>
                      <a:pt x="250" y="382"/>
                    </a:lnTo>
                    <a:lnTo>
                      <a:pt x="250" y="381"/>
                    </a:lnTo>
                    <a:lnTo>
                      <a:pt x="249" y="380"/>
                    </a:lnTo>
                    <a:lnTo>
                      <a:pt x="250" y="380"/>
                    </a:lnTo>
                    <a:lnTo>
                      <a:pt x="254" y="384"/>
                    </a:lnTo>
                    <a:lnTo>
                      <a:pt x="260" y="386"/>
                    </a:lnTo>
                    <a:lnTo>
                      <a:pt x="264" y="385"/>
                    </a:lnTo>
                    <a:lnTo>
                      <a:pt x="265" y="387"/>
                    </a:lnTo>
                    <a:lnTo>
                      <a:pt x="267" y="386"/>
                    </a:lnTo>
                    <a:lnTo>
                      <a:pt x="269" y="383"/>
                    </a:lnTo>
                    <a:lnTo>
                      <a:pt x="271" y="381"/>
                    </a:lnTo>
                    <a:lnTo>
                      <a:pt x="275" y="386"/>
                    </a:lnTo>
                    <a:lnTo>
                      <a:pt x="275" y="387"/>
                    </a:lnTo>
                    <a:lnTo>
                      <a:pt x="278" y="391"/>
                    </a:lnTo>
                    <a:lnTo>
                      <a:pt x="283" y="392"/>
                    </a:lnTo>
                    <a:lnTo>
                      <a:pt x="286" y="395"/>
                    </a:lnTo>
                    <a:lnTo>
                      <a:pt x="285" y="397"/>
                    </a:lnTo>
                    <a:lnTo>
                      <a:pt x="289" y="399"/>
                    </a:lnTo>
                    <a:lnTo>
                      <a:pt x="291" y="399"/>
                    </a:lnTo>
                    <a:lnTo>
                      <a:pt x="295" y="399"/>
                    </a:lnTo>
                    <a:lnTo>
                      <a:pt x="296" y="397"/>
                    </a:lnTo>
                    <a:lnTo>
                      <a:pt x="299" y="397"/>
                    </a:lnTo>
                    <a:lnTo>
                      <a:pt x="302" y="399"/>
                    </a:lnTo>
                    <a:lnTo>
                      <a:pt x="304" y="400"/>
                    </a:lnTo>
                    <a:lnTo>
                      <a:pt x="305" y="403"/>
                    </a:lnTo>
                    <a:lnTo>
                      <a:pt x="307" y="406"/>
                    </a:lnTo>
                    <a:lnTo>
                      <a:pt x="308" y="412"/>
                    </a:lnTo>
                    <a:lnTo>
                      <a:pt x="308" y="415"/>
                    </a:lnTo>
                    <a:lnTo>
                      <a:pt x="305" y="418"/>
                    </a:lnTo>
                    <a:lnTo>
                      <a:pt x="305" y="420"/>
                    </a:lnTo>
                    <a:lnTo>
                      <a:pt x="307" y="423"/>
                    </a:lnTo>
                    <a:lnTo>
                      <a:pt x="307" y="426"/>
                    </a:lnTo>
                    <a:lnTo>
                      <a:pt x="308" y="426"/>
                    </a:lnTo>
                    <a:lnTo>
                      <a:pt x="313" y="423"/>
                    </a:lnTo>
                    <a:lnTo>
                      <a:pt x="314" y="422"/>
                    </a:lnTo>
                    <a:lnTo>
                      <a:pt x="317" y="422"/>
                    </a:lnTo>
                    <a:lnTo>
                      <a:pt x="319" y="423"/>
                    </a:lnTo>
                    <a:lnTo>
                      <a:pt x="321" y="423"/>
                    </a:lnTo>
                    <a:lnTo>
                      <a:pt x="320" y="424"/>
                    </a:lnTo>
                    <a:lnTo>
                      <a:pt x="320" y="425"/>
                    </a:lnTo>
                    <a:lnTo>
                      <a:pt x="321" y="425"/>
                    </a:lnTo>
                    <a:lnTo>
                      <a:pt x="322" y="426"/>
                    </a:lnTo>
                    <a:lnTo>
                      <a:pt x="322" y="427"/>
                    </a:lnTo>
                    <a:lnTo>
                      <a:pt x="325" y="426"/>
                    </a:lnTo>
                    <a:lnTo>
                      <a:pt x="327" y="429"/>
                    </a:lnTo>
                    <a:lnTo>
                      <a:pt x="327" y="431"/>
                    </a:lnTo>
                    <a:lnTo>
                      <a:pt x="328" y="433"/>
                    </a:lnTo>
                    <a:lnTo>
                      <a:pt x="329" y="433"/>
                    </a:lnTo>
                    <a:lnTo>
                      <a:pt x="332" y="436"/>
                    </a:lnTo>
                    <a:lnTo>
                      <a:pt x="333" y="435"/>
                    </a:lnTo>
                    <a:lnTo>
                      <a:pt x="334" y="436"/>
                    </a:lnTo>
                    <a:lnTo>
                      <a:pt x="336" y="436"/>
                    </a:lnTo>
                    <a:lnTo>
                      <a:pt x="338" y="438"/>
                    </a:lnTo>
                    <a:lnTo>
                      <a:pt x="339" y="440"/>
                    </a:lnTo>
                    <a:lnTo>
                      <a:pt x="341" y="437"/>
                    </a:lnTo>
                    <a:lnTo>
                      <a:pt x="343" y="438"/>
                    </a:lnTo>
                    <a:lnTo>
                      <a:pt x="346" y="439"/>
                    </a:lnTo>
                    <a:lnTo>
                      <a:pt x="349" y="436"/>
                    </a:lnTo>
                    <a:lnTo>
                      <a:pt x="351" y="439"/>
                    </a:lnTo>
                    <a:lnTo>
                      <a:pt x="358" y="439"/>
                    </a:lnTo>
                    <a:lnTo>
                      <a:pt x="361" y="435"/>
                    </a:lnTo>
                    <a:lnTo>
                      <a:pt x="362" y="438"/>
                    </a:lnTo>
                    <a:lnTo>
                      <a:pt x="366" y="439"/>
                    </a:lnTo>
                    <a:lnTo>
                      <a:pt x="367" y="438"/>
                    </a:lnTo>
                    <a:lnTo>
                      <a:pt x="368" y="439"/>
                    </a:lnTo>
                    <a:lnTo>
                      <a:pt x="367" y="439"/>
                    </a:lnTo>
                    <a:lnTo>
                      <a:pt x="368" y="441"/>
                    </a:lnTo>
                    <a:lnTo>
                      <a:pt x="369" y="443"/>
                    </a:lnTo>
                    <a:lnTo>
                      <a:pt x="368" y="444"/>
                    </a:lnTo>
                    <a:lnTo>
                      <a:pt x="370" y="446"/>
                    </a:lnTo>
                    <a:lnTo>
                      <a:pt x="370" y="448"/>
                    </a:lnTo>
                    <a:lnTo>
                      <a:pt x="370" y="450"/>
                    </a:lnTo>
                    <a:lnTo>
                      <a:pt x="370" y="451"/>
                    </a:lnTo>
                    <a:lnTo>
                      <a:pt x="370" y="452"/>
                    </a:lnTo>
                    <a:lnTo>
                      <a:pt x="370" y="454"/>
                    </a:lnTo>
                    <a:lnTo>
                      <a:pt x="369" y="454"/>
                    </a:lnTo>
                    <a:lnTo>
                      <a:pt x="368" y="456"/>
                    </a:lnTo>
                    <a:lnTo>
                      <a:pt x="368" y="458"/>
                    </a:lnTo>
                    <a:lnTo>
                      <a:pt x="370" y="460"/>
                    </a:lnTo>
                    <a:lnTo>
                      <a:pt x="371" y="461"/>
                    </a:lnTo>
                    <a:lnTo>
                      <a:pt x="370" y="462"/>
                    </a:lnTo>
                    <a:lnTo>
                      <a:pt x="371" y="463"/>
                    </a:lnTo>
                    <a:lnTo>
                      <a:pt x="370" y="463"/>
                    </a:lnTo>
                    <a:lnTo>
                      <a:pt x="371" y="465"/>
                    </a:lnTo>
                    <a:lnTo>
                      <a:pt x="370" y="467"/>
                    </a:lnTo>
                    <a:lnTo>
                      <a:pt x="369" y="468"/>
                    </a:lnTo>
                    <a:lnTo>
                      <a:pt x="370" y="471"/>
                    </a:lnTo>
                    <a:lnTo>
                      <a:pt x="369" y="471"/>
                    </a:lnTo>
                    <a:lnTo>
                      <a:pt x="370" y="473"/>
                    </a:lnTo>
                    <a:lnTo>
                      <a:pt x="371" y="473"/>
                    </a:lnTo>
                    <a:lnTo>
                      <a:pt x="371" y="475"/>
                    </a:lnTo>
                    <a:lnTo>
                      <a:pt x="370" y="476"/>
                    </a:lnTo>
                    <a:lnTo>
                      <a:pt x="370" y="478"/>
                    </a:lnTo>
                    <a:lnTo>
                      <a:pt x="368" y="481"/>
                    </a:lnTo>
                    <a:lnTo>
                      <a:pt x="368" y="483"/>
                    </a:lnTo>
                    <a:lnTo>
                      <a:pt x="370" y="484"/>
                    </a:lnTo>
                    <a:lnTo>
                      <a:pt x="373" y="486"/>
                    </a:lnTo>
                    <a:lnTo>
                      <a:pt x="375" y="487"/>
                    </a:lnTo>
                    <a:lnTo>
                      <a:pt x="375" y="485"/>
                    </a:lnTo>
                    <a:lnTo>
                      <a:pt x="376" y="486"/>
                    </a:lnTo>
                    <a:lnTo>
                      <a:pt x="377" y="486"/>
                    </a:lnTo>
                    <a:lnTo>
                      <a:pt x="376" y="485"/>
                    </a:lnTo>
                    <a:lnTo>
                      <a:pt x="376" y="484"/>
                    </a:lnTo>
                    <a:lnTo>
                      <a:pt x="378" y="484"/>
                    </a:lnTo>
                    <a:lnTo>
                      <a:pt x="378" y="481"/>
                    </a:lnTo>
                    <a:lnTo>
                      <a:pt x="379" y="483"/>
                    </a:lnTo>
                    <a:lnTo>
                      <a:pt x="379" y="481"/>
                    </a:lnTo>
                    <a:lnTo>
                      <a:pt x="381" y="483"/>
                    </a:lnTo>
                    <a:lnTo>
                      <a:pt x="382" y="482"/>
                    </a:lnTo>
                    <a:lnTo>
                      <a:pt x="380" y="480"/>
                    </a:lnTo>
                    <a:lnTo>
                      <a:pt x="382" y="480"/>
                    </a:lnTo>
                    <a:lnTo>
                      <a:pt x="380" y="477"/>
                    </a:lnTo>
                    <a:lnTo>
                      <a:pt x="380" y="476"/>
                    </a:lnTo>
                    <a:lnTo>
                      <a:pt x="382" y="478"/>
                    </a:lnTo>
                    <a:lnTo>
                      <a:pt x="382" y="476"/>
                    </a:lnTo>
                    <a:lnTo>
                      <a:pt x="383" y="475"/>
                    </a:lnTo>
                    <a:lnTo>
                      <a:pt x="382" y="473"/>
                    </a:lnTo>
                    <a:lnTo>
                      <a:pt x="384" y="473"/>
                    </a:lnTo>
                    <a:lnTo>
                      <a:pt x="383" y="471"/>
                    </a:lnTo>
                    <a:lnTo>
                      <a:pt x="383" y="464"/>
                    </a:lnTo>
                    <a:lnTo>
                      <a:pt x="385" y="463"/>
                    </a:lnTo>
                    <a:lnTo>
                      <a:pt x="384" y="461"/>
                    </a:lnTo>
                    <a:lnTo>
                      <a:pt x="384" y="460"/>
                    </a:lnTo>
                    <a:lnTo>
                      <a:pt x="385" y="462"/>
                    </a:lnTo>
                    <a:lnTo>
                      <a:pt x="386" y="461"/>
                    </a:lnTo>
                    <a:lnTo>
                      <a:pt x="386" y="459"/>
                    </a:lnTo>
                    <a:lnTo>
                      <a:pt x="387" y="459"/>
                    </a:lnTo>
                    <a:lnTo>
                      <a:pt x="387" y="457"/>
                    </a:lnTo>
                    <a:lnTo>
                      <a:pt x="388" y="456"/>
                    </a:lnTo>
                    <a:lnTo>
                      <a:pt x="388" y="454"/>
                    </a:lnTo>
                    <a:lnTo>
                      <a:pt x="389" y="453"/>
                    </a:lnTo>
                    <a:lnTo>
                      <a:pt x="390" y="454"/>
                    </a:lnTo>
                    <a:lnTo>
                      <a:pt x="391" y="454"/>
                    </a:lnTo>
                    <a:lnTo>
                      <a:pt x="392" y="452"/>
                    </a:lnTo>
                    <a:lnTo>
                      <a:pt x="393" y="454"/>
                    </a:lnTo>
                    <a:lnTo>
                      <a:pt x="394" y="452"/>
                    </a:lnTo>
                    <a:lnTo>
                      <a:pt x="392" y="452"/>
                    </a:lnTo>
                    <a:lnTo>
                      <a:pt x="393" y="451"/>
                    </a:lnTo>
                    <a:lnTo>
                      <a:pt x="392" y="450"/>
                    </a:lnTo>
                    <a:lnTo>
                      <a:pt x="396" y="450"/>
                    </a:lnTo>
                    <a:lnTo>
                      <a:pt x="394" y="448"/>
                    </a:lnTo>
                    <a:lnTo>
                      <a:pt x="395" y="447"/>
                    </a:lnTo>
                    <a:lnTo>
                      <a:pt x="394" y="448"/>
                    </a:lnTo>
                    <a:lnTo>
                      <a:pt x="393" y="447"/>
                    </a:lnTo>
                    <a:lnTo>
                      <a:pt x="394" y="446"/>
                    </a:lnTo>
                    <a:lnTo>
                      <a:pt x="395" y="446"/>
                    </a:lnTo>
                    <a:lnTo>
                      <a:pt x="394" y="446"/>
                    </a:lnTo>
                    <a:lnTo>
                      <a:pt x="395" y="444"/>
                    </a:lnTo>
                    <a:lnTo>
                      <a:pt x="396" y="444"/>
                    </a:lnTo>
                    <a:lnTo>
                      <a:pt x="395" y="443"/>
                    </a:lnTo>
                    <a:lnTo>
                      <a:pt x="395" y="441"/>
                    </a:lnTo>
                    <a:lnTo>
                      <a:pt x="397" y="440"/>
                    </a:lnTo>
                    <a:lnTo>
                      <a:pt x="395" y="440"/>
                    </a:lnTo>
                    <a:lnTo>
                      <a:pt x="395" y="439"/>
                    </a:lnTo>
                    <a:lnTo>
                      <a:pt x="394" y="439"/>
                    </a:lnTo>
                    <a:lnTo>
                      <a:pt x="396" y="437"/>
                    </a:lnTo>
                    <a:lnTo>
                      <a:pt x="397" y="438"/>
                    </a:lnTo>
                    <a:lnTo>
                      <a:pt x="397" y="437"/>
                    </a:lnTo>
                    <a:lnTo>
                      <a:pt x="398" y="437"/>
                    </a:lnTo>
                    <a:lnTo>
                      <a:pt x="399" y="436"/>
                    </a:lnTo>
                    <a:lnTo>
                      <a:pt x="400" y="434"/>
                    </a:lnTo>
                    <a:lnTo>
                      <a:pt x="400" y="435"/>
                    </a:lnTo>
                    <a:lnTo>
                      <a:pt x="400" y="433"/>
                    </a:lnTo>
                    <a:lnTo>
                      <a:pt x="403" y="433"/>
                    </a:lnTo>
                    <a:lnTo>
                      <a:pt x="403" y="430"/>
                    </a:lnTo>
                    <a:lnTo>
                      <a:pt x="404" y="427"/>
                    </a:lnTo>
                    <a:lnTo>
                      <a:pt x="406" y="426"/>
                    </a:lnTo>
                    <a:lnTo>
                      <a:pt x="408" y="424"/>
                    </a:lnTo>
                    <a:lnTo>
                      <a:pt x="409" y="423"/>
                    </a:lnTo>
                    <a:lnTo>
                      <a:pt x="409" y="422"/>
                    </a:lnTo>
                    <a:lnTo>
                      <a:pt x="408" y="423"/>
                    </a:lnTo>
                    <a:lnTo>
                      <a:pt x="409" y="418"/>
                    </a:lnTo>
                    <a:lnTo>
                      <a:pt x="411" y="419"/>
                    </a:lnTo>
                    <a:lnTo>
                      <a:pt x="412" y="418"/>
                    </a:lnTo>
                    <a:lnTo>
                      <a:pt x="413" y="418"/>
                    </a:lnTo>
                    <a:lnTo>
                      <a:pt x="413" y="417"/>
                    </a:lnTo>
                    <a:lnTo>
                      <a:pt x="414" y="418"/>
                    </a:lnTo>
                    <a:lnTo>
                      <a:pt x="416" y="417"/>
                    </a:lnTo>
                    <a:lnTo>
                      <a:pt x="414" y="416"/>
                    </a:lnTo>
                    <a:lnTo>
                      <a:pt x="414" y="415"/>
                    </a:lnTo>
                    <a:lnTo>
                      <a:pt x="414" y="416"/>
                    </a:lnTo>
                    <a:lnTo>
                      <a:pt x="416" y="416"/>
                    </a:lnTo>
                    <a:lnTo>
                      <a:pt x="416" y="414"/>
                    </a:lnTo>
                    <a:lnTo>
                      <a:pt x="417" y="414"/>
                    </a:lnTo>
                    <a:lnTo>
                      <a:pt x="417" y="413"/>
                    </a:lnTo>
                    <a:lnTo>
                      <a:pt x="418" y="413"/>
                    </a:lnTo>
                    <a:lnTo>
                      <a:pt x="420" y="412"/>
                    </a:lnTo>
                    <a:lnTo>
                      <a:pt x="421" y="413"/>
                    </a:lnTo>
                    <a:lnTo>
                      <a:pt x="424" y="410"/>
                    </a:lnTo>
                    <a:lnTo>
                      <a:pt x="422" y="409"/>
                    </a:lnTo>
                    <a:lnTo>
                      <a:pt x="423" y="406"/>
                    </a:lnTo>
                    <a:lnTo>
                      <a:pt x="424" y="405"/>
                    </a:lnTo>
                    <a:lnTo>
                      <a:pt x="425" y="405"/>
                    </a:lnTo>
                    <a:lnTo>
                      <a:pt x="424" y="404"/>
                    </a:lnTo>
                    <a:lnTo>
                      <a:pt x="425" y="404"/>
                    </a:lnTo>
                    <a:lnTo>
                      <a:pt x="425" y="403"/>
                    </a:lnTo>
                    <a:lnTo>
                      <a:pt x="427" y="403"/>
                    </a:lnTo>
                    <a:lnTo>
                      <a:pt x="427" y="401"/>
                    </a:lnTo>
                    <a:lnTo>
                      <a:pt x="428" y="400"/>
                    </a:lnTo>
                    <a:lnTo>
                      <a:pt x="429" y="398"/>
                    </a:lnTo>
                    <a:lnTo>
                      <a:pt x="428" y="395"/>
                    </a:lnTo>
                    <a:lnTo>
                      <a:pt x="429" y="392"/>
                    </a:lnTo>
                    <a:lnTo>
                      <a:pt x="429" y="391"/>
                    </a:lnTo>
                    <a:lnTo>
                      <a:pt x="430" y="389"/>
                    </a:lnTo>
                    <a:lnTo>
                      <a:pt x="430" y="388"/>
                    </a:lnTo>
                    <a:lnTo>
                      <a:pt x="431" y="388"/>
                    </a:lnTo>
                    <a:lnTo>
                      <a:pt x="432" y="386"/>
                    </a:lnTo>
                    <a:lnTo>
                      <a:pt x="437" y="389"/>
                    </a:lnTo>
                    <a:lnTo>
                      <a:pt x="440" y="389"/>
                    </a:lnTo>
                    <a:lnTo>
                      <a:pt x="441" y="389"/>
                    </a:lnTo>
                    <a:lnTo>
                      <a:pt x="442" y="387"/>
                    </a:lnTo>
                    <a:lnTo>
                      <a:pt x="443" y="386"/>
                    </a:lnTo>
                    <a:lnTo>
                      <a:pt x="442" y="386"/>
                    </a:lnTo>
                    <a:lnTo>
                      <a:pt x="442" y="384"/>
                    </a:lnTo>
                    <a:lnTo>
                      <a:pt x="443" y="385"/>
                    </a:lnTo>
                    <a:lnTo>
                      <a:pt x="445" y="384"/>
                    </a:lnTo>
                    <a:lnTo>
                      <a:pt x="444" y="383"/>
                    </a:lnTo>
                    <a:lnTo>
                      <a:pt x="446" y="384"/>
                    </a:lnTo>
                    <a:lnTo>
                      <a:pt x="446" y="383"/>
                    </a:lnTo>
                    <a:lnTo>
                      <a:pt x="445" y="382"/>
                    </a:lnTo>
                    <a:lnTo>
                      <a:pt x="447" y="382"/>
                    </a:lnTo>
                    <a:lnTo>
                      <a:pt x="448" y="381"/>
                    </a:lnTo>
                    <a:lnTo>
                      <a:pt x="447" y="380"/>
                    </a:lnTo>
                    <a:lnTo>
                      <a:pt x="449" y="379"/>
                    </a:lnTo>
                    <a:lnTo>
                      <a:pt x="449" y="381"/>
                    </a:lnTo>
                    <a:lnTo>
                      <a:pt x="450" y="381"/>
                    </a:lnTo>
                    <a:lnTo>
                      <a:pt x="450" y="380"/>
                    </a:lnTo>
                    <a:lnTo>
                      <a:pt x="449" y="378"/>
                    </a:lnTo>
                    <a:lnTo>
                      <a:pt x="449" y="376"/>
                    </a:lnTo>
                    <a:lnTo>
                      <a:pt x="450" y="376"/>
                    </a:lnTo>
                    <a:lnTo>
                      <a:pt x="452" y="377"/>
                    </a:lnTo>
                    <a:lnTo>
                      <a:pt x="452" y="375"/>
                    </a:lnTo>
                    <a:lnTo>
                      <a:pt x="455" y="373"/>
                    </a:lnTo>
                    <a:lnTo>
                      <a:pt x="456" y="373"/>
                    </a:lnTo>
                    <a:lnTo>
                      <a:pt x="457" y="373"/>
                    </a:lnTo>
                    <a:lnTo>
                      <a:pt x="458" y="373"/>
                    </a:lnTo>
                    <a:lnTo>
                      <a:pt x="458" y="374"/>
                    </a:lnTo>
                    <a:lnTo>
                      <a:pt x="458" y="375"/>
                    </a:lnTo>
                    <a:lnTo>
                      <a:pt x="459" y="374"/>
                    </a:lnTo>
                    <a:lnTo>
                      <a:pt x="461" y="375"/>
                    </a:lnTo>
                    <a:lnTo>
                      <a:pt x="463" y="374"/>
                    </a:lnTo>
                    <a:lnTo>
                      <a:pt x="463" y="376"/>
                    </a:lnTo>
                    <a:lnTo>
                      <a:pt x="465" y="376"/>
                    </a:lnTo>
                    <a:lnTo>
                      <a:pt x="466" y="378"/>
                    </a:lnTo>
                    <a:lnTo>
                      <a:pt x="469" y="378"/>
                    </a:lnTo>
                    <a:lnTo>
                      <a:pt x="470" y="380"/>
                    </a:lnTo>
                    <a:lnTo>
                      <a:pt x="473" y="382"/>
                    </a:lnTo>
                    <a:lnTo>
                      <a:pt x="475" y="382"/>
                    </a:lnTo>
                    <a:lnTo>
                      <a:pt x="478" y="382"/>
                    </a:lnTo>
                    <a:lnTo>
                      <a:pt x="478" y="385"/>
                    </a:lnTo>
                    <a:lnTo>
                      <a:pt x="482" y="388"/>
                    </a:lnTo>
                    <a:lnTo>
                      <a:pt x="484" y="391"/>
                    </a:lnTo>
                    <a:lnTo>
                      <a:pt x="486" y="392"/>
                    </a:lnTo>
                    <a:lnTo>
                      <a:pt x="488" y="391"/>
                    </a:lnTo>
                    <a:lnTo>
                      <a:pt x="489" y="392"/>
                    </a:lnTo>
                    <a:lnTo>
                      <a:pt x="490" y="394"/>
                    </a:lnTo>
                    <a:lnTo>
                      <a:pt x="491" y="397"/>
                    </a:lnTo>
                    <a:lnTo>
                      <a:pt x="495" y="401"/>
                    </a:lnTo>
                    <a:lnTo>
                      <a:pt x="496" y="403"/>
                    </a:lnTo>
                    <a:lnTo>
                      <a:pt x="497" y="403"/>
                    </a:lnTo>
                    <a:lnTo>
                      <a:pt x="499" y="407"/>
                    </a:lnTo>
                    <a:lnTo>
                      <a:pt x="504" y="405"/>
                    </a:lnTo>
                    <a:lnTo>
                      <a:pt x="506" y="406"/>
                    </a:lnTo>
                    <a:lnTo>
                      <a:pt x="507" y="406"/>
                    </a:lnTo>
                    <a:lnTo>
                      <a:pt x="508" y="408"/>
                    </a:lnTo>
                    <a:lnTo>
                      <a:pt x="510" y="405"/>
                    </a:lnTo>
                    <a:lnTo>
                      <a:pt x="514" y="403"/>
                    </a:lnTo>
                    <a:lnTo>
                      <a:pt x="515" y="402"/>
                    </a:lnTo>
                    <a:lnTo>
                      <a:pt x="517" y="403"/>
                    </a:lnTo>
                    <a:lnTo>
                      <a:pt x="518" y="401"/>
                    </a:lnTo>
                    <a:lnTo>
                      <a:pt x="520" y="397"/>
                    </a:lnTo>
                    <a:lnTo>
                      <a:pt x="522" y="399"/>
                    </a:lnTo>
                    <a:lnTo>
                      <a:pt x="522" y="397"/>
                    </a:lnTo>
                    <a:lnTo>
                      <a:pt x="525" y="394"/>
                    </a:lnTo>
                    <a:lnTo>
                      <a:pt x="531" y="397"/>
                    </a:lnTo>
                    <a:lnTo>
                      <a:pt x="533" y="399"/>
                    </a:lnTo>
                    <a:lnTo>
                      <a:pt x="536" y="404"/>
                    </a:lnTo>
                    <a:lnTo>
                      <a:pt x="539" y="409"/>
                    </a:lnTo>
                    <a:lnTo>
                      <a:pt x="539" y="410"/>
                    </a:lnTo>
                    <a:lnTo>
                      <a:pt x="542" y="412"/>
                    </a:lnTo>
                    <a:lnTo>
                      <a:pt x="545" y="412"/>
                    </a:lnTo>
                    <a:lnTo>
                      <a:pt x="548" y="410"/>
                    </a:lnTo>
                    <a:lnTo>
                      <a:pt x="551" y="411"/>
                    </a:lnTo>
                    <a:lnTo>
                      <a:pt x="554" y="407"/>
                    </a:lnTo>
                    <a:lnTo>
                      <a:pt x="557" y="409"/>
                    </a:lnTo>
                    <a:lnTo>
                      <a:pt x="559" y="408"/>
                    </a:lnTo>
                    <a:lnTo>
                      <a:pt x="562" y="409"/>
                    </a:lnTo>
                    <a:lnTo>
                      <a:pt x="564" y="407"/>
                    </a:lnTo>
                    <a:lnTo>
                      <a:pt x="565" y="403"/>
                    </a:lnTo>
                    <a:lnTo>
                      <a:pt x="566" y="401"/>
                    </a:lnTo>
                    <a:lnTo>
                      <a:pt x="571" y="401"/>
                    </a:lnTo>
                    <a:lnTo>
                      <a:pt x="572" y="399"/>
                    </a:lnTo>
                    <a:lnTo>
                      <a:pt x="574" y="396"/>
                    </a:lnTo>
                    <a:lnTo>
                      <a:pt x="577" y="396"/>
                    </a:lnTo>
                    <a:lnTo>
                      <a:pt x="579" y="397"/>
                    </a:lnTo>
                    <a:lnTo>
                      <a:pt x="577" y="3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0" name="Freeform 76">
                <a:extLst>
                  <a:ext uri="{FF2B5EF4-FFF2-40B4-BE49-F238E27FC236}">
                    <a16:creationId xmlns:a16="http://schemas.microsoft.com/office/drawing/2014/main" id="{87EA6F5C-2ECD-4F35-9557-F08A00283F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8" y="3431"/>
                <a:ext cx="579" cy="487"/>
              </a:xfrm>
              <a:custGeom>
                <a:avLst/>
                <a:gdLst>
                  <a:gd name="T0" fmla="*/ 545 w 579"/>
                  <a:gd name="T1" fmla="*/ 345 h 487"/>
                  <a:gd name="T2" fmla="*/ 506 w 579"/>
                  <a:gd name="T3" fmla="*/ 331 h 487"/>
                  <a:gd name="T4" fmla="*/ 490 w 579"/>
                  <a:gd name="T5" fmla="*/ 310 h 487"/>
                  <a:gd name="T6" fmla="*/ 473 w 579"/>
                  <a:gd name="T7" fmla="*/ 285 h 487"/>
                  <a:gd name="T8" fmla="*/ 442 w 579"/>
                  <a:gd name="T9" fmla="*/ 263 h 487"/>
                  <a:gd name="T10" fmla="*/ 468 w 579"/>
                  <a:gd name="T11" fmla="*/ 236 h 487"/>
                  <a:gd name="T12" fmla="*/ 453 w 579"/>
                  <a:gd name="T13" fmla="*/ 212 h 487"/>
                  <a:gd name="T14" fmla="*/ 460 w 579"/>
                  <a:gd name="T15" fmla="*/ 176 h 487"/>
                  <a:gd name="T16" fmla="*/ 438 w 579"/>
                  <a:gd name="T17" fmla="*/ 146 h 487"/>
                  <a:gd name="T18" fmla="*/ 435 w 579"/>
                  <a:gd name="T19" fmla="*/ 123 h 487"/>
                  <a:gd name="T20" fmla="*/ 428 w 579"/>
                  <a:gd name="T21" fmla="*/ 117 h 487"/>
                  <a:gd name="T22" fmla="*/ 420 w 579"/>
                  <a:gd name="T23" fmla="*/ 91 h 487"/>
                  <a:gd name="T24" fmla="*/ 393 w 579"/>
                  <a:gd name="T25" fmla="*/ 76 h 487"/>
                  <a:gd name="T26" fmla="*/ 398 w 579"/>
                  <a:gd name="T27" fmla="*/ 91 h 487"/>
                  <a:gd name="T28" fmla="*/ 391 w 579"/>
                  <a:gd name="T29" fmla="*/ 118 h 487"/>
                  <a:gd name="T30" fmla="*/ 378 w 579"/>
                  <a:gd name="T31" fmla="*/ 99 h 487"/>
                  <a:gd name="T32" fmla="*/ 373 w 579"/>
                  <a:gd name="T33" fmla="*/ 62 h 487"/>
                  <a:gd name="T34" fmla="*/ 371 w 579"/>
                  <a:gd name="T35" fmla="*/ 49 h 487"/>
                  <a:gd name="T36" fmla="*/ 362 w 579"/>
                  <a:gd name="T37" fmla="*/ 25 h 487"/>
                  <a:gd name="T38" fmla="*/ 373 w 579"/>
                  <a:gd name="T39" fmla="*/ 23 h 487"/>
                  <a:gd name="T40" fmla="*/ 330 w 579"/>
                  <a:gd name="T41" fmla="*/ 0 h 487"/>
                  <a:gd name="T42" fmla="*/ 307 w 579"/>
                  <a:gd name="T43" fmla="*/ 13 h 487"/>
                  <a:gd name="T44" fmla="*/ 280 w 579"/>
                  <a:gd name="T45" fmla="*/ 10 h 487"/>
                  <a:gd name="T46" fmla="*/ 261 w 579"/>
                  <a:gd name="T47" fmla="*/ 33 h 487"/>
                  <a:gd name="T48" fmla="*/ 254 w 579"/>
                  <a:gd name="T49" fmla="*/ 57 h 487"/>
                  <a:gd name="T50" fmla="*/ 252 w 579"/>
                  <a:gd name="T51" fmla="*/ 92 h 487"/>
                  <a:gd name="T52" fmla="*/ 251 w 579"/>
                  <a:gd name="T53" fmla="*/ 123 h 487"/>
                  <a:gd name="T54" fmla="*/ 226 w 579"/>
                  <a:gd name="T55" fmla="*/ 142 h 487"/>
                  <a:gd name="T56" fmla="*/ 219 w 579"/>
                  <a:gd name="T57" fmla="*/ 166 h 487"/>
                  <a:gd name="T58" fmla="*/ 214 w 579"/>
                  <a:gd name="T59" fmla="*/ 198 h 487"/>
                  <a:gd name="T60" fmla="*/ 206 w 579"/>
                  <a:gd name="T61" fmla="*/ 219 h 487"/>
                  <a:gd name="T62" fmla="*/ 198 w 579"/>
                  <a:gd name="T63" fmla="*/ 242 h 487"/>
                  <a:gd name="T64" fmla="*/ 170 w 579"/>
                  <a:gd name="T65" fmla="*/ 260 h 487"/>
                  <a:gd name="T66" fmla="*/ 148 w 579"/>
                  <a:gd name="T67" fmla="*/ 257 h 487"/>
                  <a:gd name="T68" fmla="*/ 127 w 579"/>
                  <a:gd name="T69" fmla="*/ 257 h 487"/>
                  <a:gd name="T70" fmla="*/ 106 w 579"/>
                  <a:gd name="T71" fmla="*/ 257 h 487"/>
                  <a:gd name="T72" fmla="*/ 90 w 579"/>
                  <a:gd name="T73" fmla="*/ 264 h 487"/>
                  <a:gd name="T74" fmla="*/ 59 w 579"/>
                  <a:gd name="T75" fmla="*/ 283 h 487"/>
                  <a:gd name="T76" fmla="*/ 38 w 579"/>
                  <a:gd name="T77" fmla="*/ 284 h 487"/>
                  <a:gd name="T78" fmla="*/ 15 w 579"/>
                  <a:gd name="T79" fmla="*/ 281 h 487"/>
                  <a:gd name="T80" fmla="*/ 7 w 579"/>
                  <a:gd name="T81" fmla="*/ 292 h 487"/>
                  <a:gd name="T82" fmla="*/ 39 w 579"/>
                  <a:gd name="T83" fmla="*/ 331 h 487"/>
                  <a:gd name="T84" fmla="*/ 85 w 579"/>
                  <a:gd name="T85" fmla="*/ 337 h 487"/>
                  <a:gd name="T86" fmla="*/ 102 w 579"/>
                  <a:gd name="T87" fmla="*/ 349 h 487"/>
                  <a:gd name="T88" fmla="*/ 146 w 579"/>
                  <a:gd name="T89" fmla="*/ 397 h 487"/>
                  <a:gd name="T90" fmla="*/ 212 w 579"/>
                  <a:gd name="T91" fmla="*/ 410 h 487"/>
                  <a:gd name="T92" fmla="*/ 231 w 579"/>
                  <a:gd name="T93" fmla="*/ 410 h 487"/>
                  <a:gd name="T94" fmla="*/ 265 w 579"/>
                  <a:gd name="T95" fmla="*/ 387 h 487"/>
                  <a:gd name="T96" fmla="*/ 308 w 579"/>
                  <a:gd name="T97" fmla="*/ 415 h 487"/>
                  <a:gd name="T98" fmla="*/ 328 w 579"/>
                  <a:gd name="T99" fmla="*/ 433 h 487"/>
                  <a:gd name="T100" fmla="*/ 369 w 579"/>
                  <a:gd name="T101" fmla="*/ 443 h 487"/>
                  <a:gd name="T102" fmla="*/ 369 w 579"/>
                  <a:gd name="T103" fmla="*/ 471 h 487"/>
                  <a:gd name="T104" fmla="*/ 381 w 579"/>
                  <a:gd name="T105" fmla="*/ 483 h 487"/>
                  <a:gd name="T106" fmla="*/ 388 w 579"/>
                  <a:gd name="T107" fmla="*/ 454 h 487"/>
                  <a:gd name="T108" fmla="*/ 396 w 579"/>
                  <a:gd name="T109" fmla="*/ 444 h 487"/>
                  <a:gd name="T110" fmla="*/ 409 w 579"/>
                  <a:gd name="T111" fmla="*/ 422 h 487"/>
                  <a:gd name="T112" fmla="*/ 421 w 579"/>
                  <a:gd name="T113" fmla="*/ 413 h 487"/>
                  <a:gd name="T114" fmla="*/ 440 w 579"/>
                  <a:gd name="T115" fmla="*/ 389 h 487"/>
                  <a:gd name="T116" fmla="*/ 450 w 579"/>
                  <a:gd name="T117" fmla="*/ 376 h 487"/>
                  <a:gd name="T118" fmla="*/ 484 w 579"/>
                  <a:gd name="T119" fmla="*/ 391 h 487"/>
                  <a:gd name="T120" fmla="*/ 525 w 579"/>
                  <a:gd name="T121" fmla="*/ 394 h 487"/>
                  <a:gd name="T122" fmla="*/ 579 w 579"/>
                  <a:gd name="T123" fmla="*/ 397 h 487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9"/>
                  <a:gd name="T187" fmla="*/ 0 h 487"/>
                  <a:gd name="T188" fmla="*/ 579 w 579"/>
                  <a:gd name="T189" fmla="*/ 487 h 487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9" h="487">
                    <a:moveTo>
                      <a:pt x="577" y="389"/>
                    </a:moveTo>
                    <a:lnTo>
                      <a:pt x="577" y="387"/>
                    </a:lnTo>
                    <a:lnTo>
                      <a:pt x="577" y="386"/>
                    </a:lnTo>
                    <a:lnTo>
                      <a:pt x="578" y="385"/>
                    </a:lnTo>
                    <a:lnTo>
                      <a:pt x="575" y="386"/>
                    </a:lnTo>
                    <a:lnTo>
                      <a:pt x="574" y="384"/>
                    </a:lnTo>
                    <a:lnTo>
                      <a:pt x="574" y="382"/>
                    </a:lnTo>
                    <a:lnTo>
                      <a:pt x="572" y="378"/>
                    </a:lnTo>
                    <a:lnTo>
                      <a:pt x="569" y="369"/>
                    </a:lnTo>
                    <a:lnTo>
                      <a:pt x="564" y="369"/>
                    </a:lnTo>
                    <a:lnTo>
                      <a:pt x="559" y="362"/>
                    </a:lnTo>
                    <a:lnTo>
                      <a:pt x="557" y="362"/>
                    </a:lnTo>
                    <a:lnTo>
                      <a:pt x="555" y="364"/>
                    </a:lnTo>
                    <a:lnTo>
                      <a:pt x="552" y="361"/>
                    </a:lnTo>
                    <a:lnTo>
                      <a:pt x="556" y="355"/>
                    </a:lnTo>
                    <a:lnTo>
                      <a:pt x="556" y="353"/>
                    </a:lnTo>
                    <a:lnTo>
                      <a:pt x="557" y="352"/>
                    </a:lnTo>
                    <a:lnTo>
                      <a:pt x="554" y="349"/>
                    </a:lnTo>
                    <a:lnTo>
                      <a:pt x="549" y="345"/>
                    </a:lnTo>
                    <a:lnTo>
                      <a:pt x="545" y="346"/>
                    </a:lnTo>
                    <a:lnTo>
                      <a:pt x="545" y="345"/>
                    </a:lnTo>
                    <a:lnTo>
                      <a:pt x="543" y="339"/>
                    </a:lnTo>
                    <a:lnTo>
                      <a:pt x="543" y="342"/>
                    </a:lnTo>
                    <a:lnTo>
                      <a:pt x="537" y="344"/>
                    </a:lnTo>
                    <a:lnTo>
                      <a:pt x="535" y="341"/>
                    </a:lnTo>
                    <a:lnTo>
                      <a:pt x="534" y="341"/>
                    </a:lnTo>
                    <a:lnTo>
                      <a:pt x="531" y="342"/>
                    </a:lnTo>
                    <a:lnTo>
                      <a:pt x="531" y="341"/>
                    </a:lnTo>
                    <a:lnTo>
                      <a:pt x="530" y="342"/>
                    </a:lnTo>
                    <a:lnTo>
                      <a:pt x="529" y="342"/>
                    </a:lnTo>
                    <a:lnTo>
                      <a:pt x="524" y="345"/>
                    </a:lnTo>
                    <a:lnTo>
                      <a:pt x="521" y="341"/>
                    </a:lnTo>
                    <a:lnTo>
                      <a:pt x="520" y="341"/>
                    </a:lnTo>
                    <a:lnTo>
                      <a:pt x="517" y="336"/>
                    </a:lnTo>
                    <a:lnTo>
                      <a:pt x="515" y="334"/>
                    </a:lnTo>
                    <a:lnTo>
                      <a:pt x="515" y="329"/>
                    </a:lnTo>
                    <a:lnTo>
                      <a:pt x="510" y="330"/>
                    </a:lnTo>
                    <a:lnTo>
                      <a:pt x="509" y="332"/>
                    </a:lnTo>
                    <a:lnTo>
                      <a:pt x="509" y="331"/>
                    </a:lnTo>
                    <a:lnTo>
                      <a:pt x="508" y="331"/>
                    </a:lnTo>
                    <a:lnTo>
                      <a:pt x="507" y="331"/>
                    </a:lnTo>
                    <a:lnTo>
                      <a:pt x="506" y="331"/>
                    </a:lnTo>
                    <a:lnTo>
                      <a:pt x="504" y="330"/>
                    </a:lnTo>
                    <a:lnTo>
                      <a:pt x="503" y="329"/>
                    </a:lnTo>
                    <a:lnTo>
                      <a:pt x="504" y="328"/>
                    </a:lnTo>
                    <a:lnTo>
                      <a:pt x="503" y="327"/>
                    </a:lnTo>
                    <a:lnTo>
                      <a:pt x="505" y="325"/>
                    </a:lnTo>
                    <a:lnTo>
                      <a:pt x="505" y="324"/>
                    </a:lnTo>
                    <a:lnTo>
                      <a:pt x="506" y="322"/>
                    </a:lnTo>
                    <a:lnTo>
                      <a:pt x="505" y="321"/>
                    </a:lnTo>
                    <a:lnTo>
                      <a:pt x="506" y="318"/>
                    </a:lnTo>
                    <a:lnTo>
                      <a:pt x="504" y="315"/>
                    </a:lnTo>
                    <a:lnTo>
                      <a:pt x="504" y="317"/>
                    </a:lnTo>
                    <a:lnTo>
                      <a:pt x="501" y="315"/>
                    </a:lnTo>
                    <a:lnTo>
                      <a:pt x="502" y="314"/>
                    </a:lnTo>
                    <a:lnTo>
                      <a:pt x="500" y="312"/>
                    </a:lnTo>
                    <a:lnTo>
                      <a:pt x="497" y="313"/>
                    </a:lnTo>
                    <a:lnTo>
                      <a:pt x="496" y="312"/>
                    </a:lnTo>
                    <a:lnTo>
                      <a:pt x="493" y="312"/>
                    </a:lnTo>
                    <a:lnTo>
                      <a:pt x="492" y="310"/>
                    </a:lnTo>
                    <a:lnTo>
                      <a:pt x="491" y="310"/>
                    </a:lnTo>
                    <a:lnTo>
                      <a:pt x="490" y="310"/>
                    </a:lnTo>
                    <a:lnTo>
                      <a:pt x="488" y="310"/>
                    </a:lnTo>
                    <a:lnTo>
                      <a:pt x="486" y="309"/>
                    </a:lnTo>
                    <a:lnTo>
                      <a:pt x="485" y="310"/>
                    </a:lnTo>
                    <a:lnTo>
                      <a:pt x="483" y="310"/>
                    </a:lnTo>
                    <a:lnTo>
                      <a:pt x="484" y="305"/>
                    </a:lnTo>
                    <a:lnTo>
                      <a:pt x="482" y="304"/>
                    </a:lnTo>
                    <a:lnTo>
                      <a:pt x="482" y="301"/>
                    </a:lnTo>
                    <a:lnTo>
                      <a:pt x="480" y="301"/>
                    </a:lnTo>
                    <a:lnTo>
                      <a:pt x="478" y="302"/>
                    </a:lnTo>
                    <a:lnTo>
                      <a:pt x="478" y="298"/>
                    </a:lnTo>
                    <a:lnTo>
                      <a:pt x="471" y="297"/>
                    </a:lnTo>
                    <a:lnTo>
                      <a:pt x="470" y="299"/>
                    </a:lnTo>
                    <a:lnTo>
                      <a:pt x="469" y="300"/>
                    </a:lnTo>
                    <a:lnTo>
                      <a:pt x="468" y="299"/>
                    </a:lnTo>
                    <a:lnTo>
                      <a:pt x="469" y="297"/>
                    </a:lnTo>
                    <a:lnTo>
                      <a:pt x="470" y="295"/>
                    </a:lnTo>
                    <a:lnTo>
                      <a:pt x="470" y="294"/>
                    </a:lnTo>
                    <a:lnTo>
                      <a:pt x="472" y="291"/>
                    </a:lnTo>
                    <a:lnTo>
                      <a:pt x="473" y="289"/>
                    </a:lnTo>
                    <a:lnTo>
                      <a:pt x="473" y="285"/>
                    </a:lnTo>
                    <a:lnTo>
                      <a:pt x="473" y="284"/>
                    </a:lnTo>
                    <a:lnTo>
                      <a:pt x="473" y="282"/>
                    </a:lnTo>
                    <a:lnTo>
                      <a:pt x="472" y="280"/>
                    </a:lnTo>
                    <a:lnTo>
                      <a:pt x="470" y="280"/>
                    </a:lnTo>
                    <a:lnTo>
                      <a:pt x="470" y="273"/>
                    </a:lnTo>
                    <a:lnTo>
                      <a:pt x="469" y="272"/>
                    </a:lnTo>
                    <a:lnTo>
                      <a:pt x="466" y="272"/>
                    </a:lnTo>
                    <a:lnTo>
                      <a:pt x="461" y="274"/>
                    </a:lnTo>
                    <a:lnTo>
                      <a:pt x="457" y="275"/>
                    </a:lnTo>
                    <a:lnTo>
                      <a:pt x="455" y="276"/>
                    </a:lnTo>
                    <a:lnTo>
                      <a:pt x="454" y="275"/>
                    </a:lnTo>
                    <a:lnTo>
                      <a:pt x="453" y="276"/>
                    </a:lnTo>
                    <a:lnTo>
                      <a:pt x="452" y="276"/>
                    </a:lnTo>
                    <a:lnTo>
                      <a:pt x="450" y="278"/>
                    </a:lnTo>
                    <a:lnTo>
                      <a:pt x="449" y="277"/>
                    </a:lnTo>
                    <a:lnTo>
                      <a:pt x="447" y="278"/>
                    </a:lnTo>
                    <a:lnTo>
                      <a:pt x="441" y="276"/>
                    </a:lnTo>
                    <a:lnTo>
                      <a:pt x="443" y="274"/>
                    </a:lnTo>
                    <a:lnTo>
                      <a:pt x="444" y="272"/>
                    </a:lnTo>
                    <a:lnTo>
                      <a:pt x="443" y="270"/>
                    </a:lnTo>
                    <a:lnTo>
                      <a:pt x="442" y="271"/>
                    </a:lnTo>
                    <a:lnTo>
                      <a:pt x="442" y="263"/>
                    </a:lnTo>
                    <a:lnTo>
                      <a:pt x="447" y="264"/>
                    </a:lnTo>
                    <a:lnTo>
                      <a:pt x="448" y="265"/>
                    </a:lnTo>
                    <a:lnTo>
                      <a:pt x="450" y="264"/>
                    </a:lnTo>
                    <a:lnTo>
                      <a:pt x="450" y="261"/>
                    </a:lnTo>
                    <a:lnTo>
                      <a:pt x="452" y="255"/>
                    </a:lnTo>
                    <a:lnTo>
                      <a:pt x="453" y="251"/>
                    </a:lnTo>
                    <a:lnTo>
                      <a:pt x="455" y="250"/>
                    </a:lnTo>
                    <a:lnTo>
                      <a:pt x="457" y="251"/>
                    </a:lnTo>
                    <a:lnTo>
                      <a:pt x="458" y="251"/>
                    </a:lnTo>
                    <a:lnTo>
                      <a:pt x="459" y="251"/>
                    </a:lnTo>
                    <a:lnTo>
                      <a:pt x="460" y="250"/>
                    </a:lnTo>
                    <a:lnTo>
                      <a:pt x="460" y="249"/>
                    </a:lnTo>
                    <a:lnTo>
                      <a:pt x="461" y="250"/>
                    </a:lnTo>
                    <a:lnTo>
                      <a:pt x="462" y="249"/>
                    </a:lnTo>
                    <a:lnTo>
                      <a:pt x="464" y="250"/>
                    </a:lnTo>
                    <a:lnTo>
                      <a:pt x="466" y="240"/>
                    </a:lnTo>
                    <a:lnTo>
                      <a:pt x="468" y="240"/>
                    </a:lnTo>
                    <a:lnTo>
                      <a:pt x="468" y="238"/>
                    </a:lnTo>
                    <a:lnTo>
                      <a:pt x="468" y="237"/>
                    </a:lnTo>
                    <a:lnTo>
                      <a:pt x="468" y="236"/>
                    </a:lnTo>
                    <a:lnTo>
                      <a:pt x="470" y="231"/>
                    </a:lnTo>
                    <a:lnTo>
                      <a:pt x="469" y="229"/>
                    </a:lnTo>
                    <a:lnTo>
                      <a:pt x="468" y="229"/>
                    </a:lnTo>
                    <a:lnTo>
                      <a:pt x="466" y="233"/>
                    </a:lnTo>
                    <a:lnTo>
                      <a:pt x="464" y="233"/>
                    </a:lnTo>
                    <a:lnTo>
                      <a:pt x="463" y="232"/>
                    </a:lnTo>
                    <a:lnTo>
                      <a:pt x="461" y="232"/>
                    </a:lnTo>
                    <a:lnTo>
                      <a:pt x="461" y="231"/>
                    </a:lnTo>
                    <a:lnTo>
                      <a:pt x="457" y="231"/>
                    </a:lnTo>
                    <a:lnTo>
                      <a:pt x="457" y="233"/>
                    </a:lnTo>
                    <a:lnTo>
                      <a:pt x="455" y="231"/>
                    </a:lnTo>
                    <a:lnTo>
                      <a:pt x="457" y="230"/>
                    </a:lnTo>
                    <a:lnTo>
                      <a:pt x="457" y="227"/>
                    </a:lnTo>
                    <a:lnTo>
                      <a:pt x="458" y="227"/>
                    </a:lnTo>
                    <a:lnTo>
                      <a:pt x="460" y="225"/>
                    </a:lnTo>
                    <a:lnTo>
                      <a:pt x="460" y="223"/>
                    </a:lnTo>
                    <a:lnTo>
                      <a:pt x="459" y="223"/>
                    </a:lnTo>
                    <a:lnTo>
                      <a:pt x="458" y="223"/>
                    </a:lnTo>
                    <a:lnTo>
                      <a:pt x="457" y="222"/>
                    </a:lnTo>
                    <a:lnTo>
                      <a:pt x="457" y="217"/>
                    </a:lnTo>
                    <a:lnTo>
                      <a:pt x="455" y="214"/>
                    </a:lnTo>
                    <a:lnTo>
                      <a:pt x="453" y="212"/>
                    </a:lnTo>
                    <a:lnTo>
                      <a:pt x="457" y="207"/>
                    </a:lnTo>
                    <a:lnTo>
                      <a:pt x="457" y="204"/>
                    </a:lnTo>
                    <a:lnTo>
                      <a:pt x="455" y="202"/>
                    </a:lnTo>
                    <a:lnTo>
                      <a:pt x="455" y="200"/>
                    </a:lnTo>
                    <a:lnTo>
                      <a:pt x="453" y="199"/>
                    </a:lnTo>
                    <a:lnTo>
                      <a:pt x="453" y="196"/>
                    </a:lnTo>
                    <a:lnTo>
                      <a:pt x="456" y="195"/>
                    </a:lnTo>
                    <a:lnTo>
                      <a:pt x="457" y="193"/>
                    </a:lnTo>
                    <a:lnTo>
                      <a:pt x="459" y="192"/>
                    </a:lnTo>
                    <a:lnTo>
                      <a:pt x="460" y="188"/>
                    </a:lnTo>
                    <a:lnTo>
                      <a:pt x="460" y="187"/>
                    </a:lnTo>
                    <a:lnTo>
                      <a:pt x="462" y="185"/>
                    </a:lnTo>
                    <a:lnTo>
                      <a:pt x="463" y="185"/>
                    </a:lnTo>
                    <a:lnTo>
                      <a:pt x="463" y="183"/>
                    </a:lnTo>
                    <a:lnTo>
                      <a:pt x="461" y="183"/>
                    </a:lnTo>
                    <a:lnTo>
                      <a:pt x="462" y="182"/>
                    </a:lnTo>
                    <a:lnTo>
                      <a:pt x="461" y="182"/>
                    </a:lnTo>
                    <a:lnTo>
                      <a:pt x="461" y="178"/>
                    </a:lnTo>
                    <a:lnTo>
                      <a:pt x="461" y="176"/>
                    </a:lnTo>
                    <a:lnTo>
                      <a:pt x="460" y="175"/>
                    </a:lnTo>
                    <a:lnTo>
                      <a:pt x="460" y="176"/>
                    </a:lnTo>
                    <a:lnTo>
                      <a:pt x="459" y="174"/>
                    </a:lnTo>
                    <a:lnTo>
                      <a:pt x="459" y="171"/>
                    </a:lnTo>
                    <a:lnTo>
                      <a:pt x="458" y="168"/>
                    </a:lnTo>
                    <a:lnTo>
                      <a:pt x="457" y="165"/>
                    </a:lnTo>
                    <a:lnTo>
                      <a:pt x="458" y="165"/>
                    </a:lnTo>
                    <a:lnTo>
                      <a:pt x="458" y="164"/>
                    </a:lnTo>
                    <a:lnTo>
                      <a:pt x="459" y="163"/>
                    </a:lnTo>
                    <a:lnTo>
                      <a:pt x="459" y="160"/>
                    </a:lnTo>
                    <a:lnTo>
                      <a:pt x="456" y="161"/>
                    </a:lnTo>
                    <a:lnTo>
                      <a:pt x="454" y="157"/>
                    </a:lnTo>
                    <a:lnTo>
                      <a:pt x="453" y="155"/>
                    </a:lnTo>
                    <a:lnTo>
                      <a:pt x="453" y="154"/>
                    </a:lnTo>
                    <a:lnTo>
                      <a:pt x="452" y="153"/>
                    </a:lnTo>
                    <a:lnTo>
                      <a:pt x="449" y="152"/>
                    </a:lnTo>
                    <a:lnTo>
                      <a:pt x="447" y="152"/>
                    </a:lnTo>
                    <a:lnTo>
                      <a:pt x="444" y="149"/>
                    </a:lnTo>
                    <a:lnTo>
                      <a:pt x="442" y="149"/>
                    </a:lnTo>
                    <a:lnTo>
                      <a:pt x="439" y="148"/>
                    </a:lnTo>
                    <a:lnTo>
                      <a:pt x="438" y="146"/>
                    </a:lnTo>
                    <a:lnTo>
                      <a:pt x="439" y="146"/>
                    </a:lnTo>
                    <a:lnTo>
                      <a:pt x="436" y="143"/>
                    </a:lnTo>
                    <a:lnTo>
                      <a:pt x="435" y="144"/>
                    </a:lnTo>
                    <a:lnTo>
                      <a:pt x="434" y="142"/>
                    </a:lnTo>
                    <a:lnTo>
                      <a:pt x="436" y="141"/>
                    </a:lnTo>
                    <a:lnTo>
                      <a:pt x="436" y="139"/>
                    </a:lnTo>
                    <a:lnTo>
                      <a:pt x="436" y="138"/>
                    </a:lnTo>
                    <a:lnTo>
                      <a:pt x="435" y="137"/>
                    </a:lnTo>
                    <a:lnTo>
                      <a:pt x="437" y="134"/>
                    </a:lnTo>
                    <a:lnTo>
                      <a:pt x="438" y="133"/>
                    </a:lnTo>
                    <a:lnTo>
                      <a:pt x="438" y="131"/>
                    </a:lnTo>
                    <a:lnTo>
                      <a:pt x="438" y="129"/>
                    </a:lnTo>
                    <a:lnTo>
                      <a:pt x="441" y="127"/>
                    </a:lnTo>
                    <a:lnTo>
                      <a:pt x="441" y="125"/>
                    </a:lnTo>
                    <a:lnTo>
                      <a:pt x="439" y="123"/>
                    </a:lnTo>
                    <a:lnTo>
                      <a:pt x="438" y="120"/>
                    </a:lnTo>
                    <a:lnTo>
                      <a:pt x="438" y="118"/>
                    </a:lnTo>
                    <a:lnTo>
                      <a:pt x="437" y="118"/>
                    </a:lnTo>
                    <a:lnTo>
                      <a:pt x="438" y="120"/>
                    </a:lnTo>
                    <a:lnTo>
                      <a:pt x="437" y="122"/>
                    </a:lnTo>
                    <a:lnTo>
                      <a:pt x="437" y="123"/>
                    </a:lnTo>
                    <a:lnTo>
                      <a:pt x="435" y="123"/>
                    </a:lnTo>
                    <a:lnTo>
                      <a:pt x="436" y="123"/>
                    </a:lnTo>
                    <a:lnTo>
                      <a:pt x="436" y="125"/>
                    </a:lnTo>
                    <a:lnTo>
                      <a:pt x="436" y="126"/>
                    </a:lnTo>
                    <a:lnTo>
                      <a:pt x="437" y="126"/>
                    </a:lnTo>
                    <a:lnTo>
                      <a:pt x="436" y="127"/>
                    </a:lnTo>
                    <a:lnTo>
                      <a:pt x="436" y="128"/>
                    </a:lnTo>
                    <a:lnTo>
                      <a:pt x="434" y="127"/>
                    </a:lnTo>
                    <a:lnTo>
                      <a:pt x="433" y="127"/>
                    </a:lnTo>
                    <a:lnTo>
                      <a:pt x="433" y="128"/>
                    </a:lnTo>
                    <a:lnTo>
                      <a:pt x="432" y="128"/>
                    </a:lnTo>
                    <a:lnTo>
                      <a:pt x="432" y="126"/>
                    </a:lnTo>
                    <a:lnTo>
                      <a:pt x="432" y="125"/>
                    </a:lnTo>
                    <a:lnTo>
                      <a:pt x="431" y="125"/>
                    </a:lnTo>
                    <a:lnTo>
                      <a:pt x="430" y="122"/>
                    </a:lnTo>
                    <a:lnTo>
                      <a:pt x="431" y="120"/>
                    </a:lnTo>
                    <a:lnTo>
                      <a:pt x="427" y="120"/>
                    </a:lnTo>
                    <a:lnTo>
                      <a:pt x="427" y="118"/>
                    </a:lnTo>
                    <a:lnTo>
                      <a:pt x="429" y="119"/>
                    </a:lnTo>
                    <a:lnTo>
                      <a:pt x="429" y="117"/>
                    </a:lnTo>
                    <a:lnTo>
                      <a:pt x="428" y="117"/>
                    </a:lnTo>
                    <a:lnTo>
                      <a:pt x="429" y="114"/>
                    </a:lnTo>
                    <a:lnTo>
                      <a:pt x="429" y="113"/>
                    </a:lnTo>
                    <a:lnTo>
                      <a:pt x="427" y="113"/>
                    </a:lnTo>
                    <a:lnTo>
                      <a:pt x="427" y="112"/>
                    </a:lnTo>
                    <a:lnTo>
                      <a:pt x="425" y="112"/>
                    </a:lnTo>
                    <a:lnTo>
                      <a:pt x="424" y="112"/>
                    </a:lnTo>
                    <a:lnTo>
                      <a:pt x="421" y="109"/>
                    </a:lnTo>
                    <a:lnTo>
                      <a:pt x="422" y="108"/>
                    </a:lnTo>
                    <a:lnTo>
                      <a:pt x="423" y="106"/>
                    </a:lnTo>
                    <a:lnTo>
                      <a:pt x="423" y="104"/>
                    </a:lnTo>
                    <a:lnTo>
                      <a:pt x="422" y="99"/>
                    </a:lnTo>
                    <a:lnTo>
                      <a:pt x="422" y="95"/>
                    </a:lnTo>
                    <a:lnTo>
                      <a:pt x="421" y="93"/>
                    </a:lnTo>
                    <a:lnTo>
                      <a:pt x="420" y="94"/>
                    </a:lnTo>
                    <a:lnTo>
                      <a:pt x="419" y="92"/>
                    </a:lnTo>
                    <a:lnTo>
                      <a:pt x="418" y="92"/>
                    </a:lnTo>
                    <a:lnTo>
                      <a:pt x="418" y="91"/>
                    </a:lnTo>
                    <a:lnTo>
                      <a:pt x="420" y="91"/>
                    </a:lnTo>
                    <a:lnTo>
                      <a:pt x="421" y="91"/>
                    </a:lnTo>
                    <a:lnTo>
                      <a:pt x="420" y="89"/>
                    </a:lnTo>
                    <a:lnTo>
                      <a:pt x="416" y="88"/>
                    </a:lnTo>
                    <a:lnTo>
                      <a:pt x="416" y="86"/>
                    </a:lnTo>
                    <a:lnTo>
                      <a:pt x="414" y="86"/>
                    </a:lnTo>
                    <a:lnTo>
                      <a:pt x="414" y="85"/>
                    </a:lnTo>
                    <a:lnTo>
                      <a:pt x="416" y="85"/>
                    </a:lnTo>
                    <a:lnTo>
                      <a:pt x="416" y="81"/>
                    </a:lnTo>
                    <a:lnTo>
                      <a:pt x="414" y="79"/>
                    </a:lnTo>
                    <a:lnTo>
                      <a:pt x="413" y="78"/>
                    </a:lnTo>
                    <a:lnTo>
                      <a:pt x="414" y="77"/>
                    </a:lnTo>
                    <a:lnTo>
                      <a:pt x="413" y="76"/>
                    </a:lnTo>
                    <a:lnTo>
                      <a:pt x="411" y="75"/>
                    </a:lnTo>
                    <a:lnTo>
                      <a:pt x="409" y="78"/>
                    </a:lnTo>
                    <a:lnTo>
                      <a:pt x="406" y="72"/>
                    </a:lnTo>
                    <a:lnTo>
                      <a:pt x="405" y="72"/>
                    </a:lnTo>
                    <a:lnTo>
                      <a:pt x="404" y="73"/>
                    </a:lnTo>
                    <a:lnTo>
                      <a:pt x="403" y="72"/>
                    </a:lnTo>
                    <a:lnTo>
                      <a:pt x="397" y="76"/>
                    </a:lnTo>
                    <a:lnTo>
                      <a:pt x="395" y="76"/>
                    </a:lnTo>
                    <a:lnTo>
                      <a:pt x="393" y="76"/>
                    </a:lnTo>
                    <a:lnTo>
                      <a:pt x="394" y="77"/>
                    </a:lnTo>
                    <a:lnTo>
                      <a:pt x="395" y="77"/>
                    </a:lnTo>
                    <a:lnTo>
                      <a:pt x="395" y="78"/>
                    </a:lnTo>
                    <a:lnTo>
                      <a:pt x="394" y="78"/>
                    </a:lnTo>
                    <a:lnTo>
                      <a:pt x="393" y="79"/>
                    </a:lnTo>
                    <a:lnTo>
                      <a:pt x="392" y="80"/>
                    </a:lnTo>
                    <a:lnTo>
                      <a:pt x="390" y="79"/>
                    </a:lnTo>
                    <a:lnTo>
                      <a:pt x="389" y="80"/>
                    </a:lnTo>
                    <a:lnTo>
                      <a:pt x="391" y="80"/>
                    </a:lnTo>
                    <a:lnTo>
                      <a:pt x="392" y="82"/>
                    </a:lnTo>
                    <a:lnTo>
                      <a:pt x="391" y="85"/>
                    </a:lnTo>
                    <a:lnTo>
                      <a:pt x="392" y="85"/>
                    </a:lnTo>
                    <a:lnTo>
                      <a:pt x="393" y="85"/>
                    </a:lnTo>
                    <a:lnTo>
                      <a:pt x="394" y="85"/>
                    </a:lnTo>
                    <a:lnTo>
                      <a:pt x="395" y="86"/>
                    </a:lnTo>
                    <a:lnTo>
                      <a:pt x="395" y="89"/>
                    </a:lnTo>
                    <a:lnTo>
                      <a:pt x="396" y="89"/>
                    </a:lnTo>
                    <a:lnTo>
                      <a:pt x="396" y="91"/>
                    </a:lnTo>
                    <a:lnTo>
                      <a:pt x="397" y="90"/>
                    </a:lnTo>
                    <a:lnTo>
                      <a:pt x="398" y="90"/>
                    </a:lnTo>
                    <a:lnTo>
                      <a:pt x="398" y="91"/>
                    </a:lnTo>
                    <a:lnTo>
                      <a:pt x="400" y="92"/>
                    </a:lnTo>
                    <a:lnTo>
                      <a:pt x="399" y="93"/>
                    </a:lnTo>
                    <a:lnTo>
                      <a:pt x="399" y="94"/>
                    </a:lnTo>
                    <a:lnTo>
                      <a:pt x="397" y="95"/>
                    </a:lnTo>
                    <a:lnTo>
                      <a:pt x="397" y="96"/>
                    </a:lnTo>
                    <a:lnTo>
                      <a:pt x="397" y="97"/>
                    </a:lnTo>
                    <a:lnTo>
                      <a:pt x="400" y="99"/>
                    </a:lnTo>
                    <a:lnTo>
                      <a:pt x="401" y="99"/>
                    </a:lnTo>
                    <a:lnTo>
                      <a:pt x="400" y="102"/>
                    </a:lnTo>
                    <a:lnTo>
                      <a:pt x="403" y="105"/>
                    </a:lnTo>
                    <a:lnTo>
                      <a:pt x="400" y="107"/>
                    </a:lnTo>
                    <a:lnTo>
                      <a:pt x="399" y="108"/>
                    </a:lnTo>
                    <a:lnTo>
                      <a:pt x="398" y="105"/>
                    </a:lnTo>
                    <a:lnTo>
                      <a:pt x="396" y="110"/>
                    </a:lnTo>
                    <a:lnTo>
                      <a:pt x="395" y="110"/>
                    </a:lnTo>
                    <a:lnTo>
                      <a:pt x="395" y="112"/>
                    </a:lnTo>
                    <a:lnTo>
                      <a:pt x="395" y="113"/>
                    </a:lnTo>
                    <a:lnTo>
                      <a:pt x="395" y="115"/>
                    </a:lnTo>
                    <a:lnTo>
                      <a:pt x="396" y="118"/>
                    </a:lnTo>
                    <a:lnTo>
                      <a:pt x="395" y="117"/>
                    </a:lnTo>
                    <a:lnTo>
                      <a:pt x="393" y="118"/>
                    </a:lnTo>
                    <a:lnTo>
                      <a:pt x="391" y="118"/>
                    </a:lnTo>
                    <a:lnTo>
                      <a:pt x="389" y="119"/>
                    </a:lnTo>
                    <a:lnTo>
                      <a:pt x="386" y="123"/>
                    </a:lnTo>
                    <a:lnTo>
                      <a:pt x="386" y="125"/>
                    </a:lnTo>
                    <a:lnTo>
                      <a:pt x="384" y="125"/>
                    </a:lnTo>
                    <a:lnTo>
                      <a:pt x="383" y="123"/>
                    </a:lnTo>
                    <a:lnTo>
                      <a:pt x="380" y="121"/>
                    </a:lnTo>
                    <a:lnTo>
                      <a:pt x="377" y="117"/>
                    </a:lnTo>
                    <a:lnTo>
                      <a:pt x="371" y="112"/>
                    </a:lnTo>
                    <a:lnTo>
                      <a:pt x="372" y="109"/>
                    </a:lnTo>
                    <a:lnTo>
                      <a:pt x="370" y="109"/>
                    </a:lnTo>
                    <a:lnTo>
                      <a:pt x="370" y="110"/>
                    </a:lnTo>
                    <a:lnTo>
                      <a:pt x="368" y="109"/>
                    </a:lnTo>
                    <a:lnTo>
                      <a:pt x="368" y="107"/>
                    </a:lnTo>
                    <a:lnTo>
                      <a:pt x="370" y="105"/>
                    </a:lnTo>
                    <a:lnTo>
                      <a:pt x="370" y="103"/>
                    </a:lnTo>
                    <a:lnTo>
                      <a:pt x="371" y="101"/>
                    </a:lnTo>
                    <a:lnTo>
                      <a:pt x="373" y="102"/>
                    </a:lnTo>
                    <a:lnTo>
                      <a:pt x="374" y="101"/>
                    </a:lnTo>
                    <a:lnTo>
                      <a:pt x="376" y="101"/>
                    </a:lnTo>
                    <a:lnTo>
                      <a:pt x="377" y="101"/>
                    </a:lnTo>
                    <a:lnTo>
                      <a:pt x="378" y="101"/>
                    </a:lnTo>
                    <a:lnTo>
                      <a:pt x="378" y="99"/>
                    </a:lnTo>
                    <a:lnTo>
                      <a:pt x="378" y="98"/>
                    </a:lnTo>
                    <a:lnTo>
                      <a:pt x="376" y="97"/>
                    </a:lnTo>
                    <a:lnTo>
                      <a:pt x="377" y="96"/>
                    </a:lnTo>
                    <a:lnTo>
                      <a:pt x="376" y="95"/>
                    </a:lnTo>
                    <a:lnTo>
                      <a:pt x="375" y="95"/>
                    </a:lnTo>
                    <a:lnTo>
                      <a:pt x="376" y="91"/>
                    </a:lnTo>
                    <a:lnTo>
                      <a:pt x="373" y="91"/>
                    </a:lnTo>
                    <a:lnTo>
                      <a:pt x="373" y="89"/>
                    </a:lnTo>
                    <a:lnTo>
                      <a:pt x="371" y="89"/>
                    </a:lnTo>
                    <a:lnTo>
                      <a:pt x="372" y="82"/>
                    </a:lnTo>
                    <a:lnTo>
                      <a:pt x="371" y="81"/>
                    </a:lnTo>
                    <a:lnTo>
                      <a:pt x="372" y="81"/>
                    </a:lnTo>
                    <a:lnTo>
                      <a:pt x="372" y="80"/>
                    </a:lnTo>
                    <a:lnTo>
                      <a:pt x="371" y="78"/>
                    </a:lnTo>
                    <a:lnTo>
                      <a:pt x="371" y="76"/>
                    </a:lnTo>
                    <a:lnTo>
                      <a:pt x="370" y="74"/>
                    </a:lnTo>
                    <a:lnTo>
                      <a:pt x="370" y="72"/>
                    </a:lnTo>
                    <a:lnTo>
                      <a:pt x="369" y="70"/>
                    </a:lnTo>
                    <a:lnTo>
                      <a:pt x="371" y="65"/>
                    </a:lnTo>
                    <a:lnTo>
                      <a:pt x="370" y="64"/>
                    </a:lnTo>
                    <a:lnTo>
                      <a:pt x="373" y="62"/>
                    </a:lnTo>
                    <a:lnTo>
                      <a:pt x="374" y="62"/>
                    </a:lnTo>
                    <a:lnTo>
                      <a:pt x="375" y="62"/>
                    </a:lnTo>
                    <a:lnTo>
                      <a:pt x="376" y="61"/>
                    </a:lnTo>
                    <a:lnTo>
                      <a:pt x="376" y="58"/>
                    </a:lnTo>
                    <a:lnTo>
                      <a:pt x="375" y="57"/>
                    </a:lnTo>
                    <a:lnTo>
                      <a:pt x="377" y="54"/>
                    </a:lnTo>
                    <a:lnTo>
                      <a:pt x="379" y="54"/>
                    </a:lnTo>
                    <a:lnTo>
                      <a:pt x="381" y="55"/>
                    </a:lnTo>
                    <a:lnTo>
                      <a:pt x="383" y="55"/>
                    </a:lnTo>
                    <a:lnTo>
                      <a:pt x="384" y="54"/>
                    </a:lnTo>
                    <a:lnTo>
                      <a:pt x="383" y="54"/>
                    </a:lnTo>
                    <a:lnTo>
                      <a:pt x="382" y="54"/>
                    </a:lnTo>
                    <a:lnTo>
                      <a:pt x="380" y="53"/>
                    </a:lnTo>
                    <a:lnTo>
                      <a:pt x="379" y="52"/>
                    </a:lnTo>
                    <a:lnTo>
                      <a:pt x="378" y="54"/>
                    </a:lnTo>
                    <a:lnTo>
                      <a:pt x="378" y="52"/>
                    </a:lnTo>
                    <a:lnTo>
                      <a:pt x="379" y="51"/>
                    </a:lnTo>
                    <a:lnTo>
                      <a:pt x="377" y="53"/>
                    </a:lnTo>
                    <a:lnTo>
                      <a:pt x="374" y="52"/>
                    </a:lnTo>
                    <a:lnTo>
                      <a:pt x="371" y="49"/>
                    </a:lnTo>
                    <a:lnTo>
                      <a:pt x="370" y="48"/>
                    </a:lnTo>
                    <a:lnTo>
                      <a:pt x="368" y="47"/>
                    </a:lnTo>
                    <a:lnTo>
                      <a:pt x="367" y="48"/>
                    </a:lnTo>
                    <a:lnTo>
                      <a:pt x="365" y="47"/>
                    </a:lnTo>
                    <a:lnTo>
                      <a:pt x="364" y="46"/>
                    </a:lnTo>
                    <a:lnTo>
                      <a:pt x="361" y="47"/>
                    </a:lnTo>
                    <a:lnTo>
                      <a:pt x="359" y="46"/>
                    </a:lnTo>
                    <a:lnTo>
                      <a:pt x="360" y="44"/>
                    </a:lnTo>
                    <a:lnTo>
                      <a:pt x="361" y="43"/>
                    </a:lnTo>
                    <a:lnTo>
                      <a:pt x="362" y="40"/>
                    </a:lnTo>
                    <a:lnTo>
                      <a:pt x="364" y="38"/>
                    </a:lnTo>
                    <a:lnTo>
                      <a:pt x="364" y="37"/>
                    </a:lnTo>
                    <a:lnTo>
                      <a:pt x="362" y="37"/>
                    </a:lnTo>
                    <a:lnTo>
                      <a:pt x="362" y="36"/>
                    </a:lnTo>
                    <a:lnTo>
                      <a:pt x="362" y="34"/>
                    </a:lnTo>
                    <a:lnTo>
                      <a:pt x="362" y="31"/>
                    </a:lnTo>
                    <a:lnTo>
                      <a:pt x="363" y="30"/>
                    </a:lnTo>
                    <a:lnTo>
                      <a:pt x="362" y="28"/>
                    </a:lnTo>
                    <a:lnTo>
                      <a:pt x="364" y="28"/>
                    </a:lnTo>
                    <a:lnTo>
                      <a:pt x="362" y="25"/>
                    </a:lnTo>
                    <a:lnTo>
                      <a:pt x="364" y="28"/>
                    </a:lnTo>
                    <a:lnTo>
                      <a:pt x="367" y="29"/>
                    </a:lnTo>
                    <a:lnTo>
                      <a:pt x="367" y="31"/>
                    </a:lnTo>
                    <a:lnTo>
                      <a:pt x="368" y="28"/>
                    </a:lnTo>
                    <a:lnTo>
                      <a:pt x="368" y="31"/>
                    </a:lnTo>
                    <a:lnTo>
                      <a:pt x="370" y="30"/>
                    </a:lnTo>
                    <a:lnTo>
                      <a:pt x="371" y="31"/>
                    </a:lnTo>
                    <a:lnTo>
                      <a:pt x="372" y="33"/>
                    </a:lnTo>
                    <a:lnTo>
                      <a:pt x="372" y="34"/>
                    </a:lnTo>
                    <a:lnTo>
                      <a:pt x="375" y="33"/>
                    </a:lnTo>
                    <a:lnTo>
                      <a:pt x="377" y="32"/>
                    </a:lnTo>
                    <a:lnTo>
                      <a:pt x="378" y="31"/>
                    </a:lnTo>
                    <a:lnTo>
                      <a:pt x="376" y="31"/>
                    </a:lnTo>
                    <a:lnTo>
                      <a:pt x="376" y="28"/>
                    </a:lnTo>
                    <a:lnTo>
                      <a:pt x="374" y="27"/>
                    </a:lnTo>
                    <a:lnTo>
                      <a:pt x="375" y="25"/>
                    </a:lnTo>
                    <a:lnTo>
                      <a:pt x="377" y="25"/>
                    </a:lnTo>
                    <a:lnTo>
                      <a:pt x="377" y="23"/>
                    </a:lnTo>
                    <a:lnTo>
                      <a:pt x="380" y="23"/>
                    </a:lnTo>
                    <a:lnTo>
                      <a:pt x="379" y="22"/>
                    </a:lnTo>
                    <a:lnTo>
                      <a:pt x="373" y="23"/>
                    </a:lnTo>
                    <a:lnTo>
                      <a:pt x="371" y="21"/>
                    </a:lnTo>
                    <a:lnTo>
                      <a:pt x="367" y="17"/>
                    </a:lnTo>
                    <a:lnTo>
                      <a:pt x="365" y="17"/>
                    </a:lnTo>
                    <a:lnTo>
                      <a:pt x="359" y="12"/>
                    </a:lnTo>
                    <a:lnTo>
                      <a:pt x="358" y="12"/>
                    </a:lnTo>
                    <a:lnTo>
                      <a:pt x="357" y="11"/>
                    </a:lnTo>
                    <a:lnTo>
                      <a:pt x="356" y="9"/>
                    </a:lnTo>
                    <a:lnTo>
                      <a:pt x="351" y="7"/>
                    </a:lnTo>
                    <a:lnTo>
                      <a:pt x="352" y="6"/>
                    </a:lnTo>
                    <a:lnTo>
                      <a:pt x="349" y="7"/>
                    </a:lnTo>
                    <a:lnTo>
                      <a:pt x="348" y="6"/>
                    </a:lnTo>
                    <a:lnTo>
                      <a:pt x="348" y="7"/>
                    </a:lnTo>
                    <a:lnTo>
                      <a:pt x="346" y="6"/>
                    </a:lnTo>
                    <a:lnTo>
                      <a:pt x="343" y="4"/>
                    </a:lnTo>
                    <a:lnTo>
                      <a:pt x="344" y="5"/>
                    </a:lnTo>
                    <a:lnTo>
                      <a:pt x="344" y="6"/>
                    </a:lnTo>
                    <a:lnTo>
                      <a:pt x="341" y="5"/>
                    </a:lnTo>
                    <a:lnTo>
                      <a:pt x="339" y="8"/>
                    </a:lnTo>
                    <a:lnTo>
                      <a:pt x="335" y="2"/>
                    </a:lnTo>
                    <a:lnTo>
                      <a:pt x="331" y="0"/>
                    </a:lnTo>
                    <a:lnTo>
                      <a:pt x="330" y="0"/>
                    </a:lnTo>
                    <a:lnTo>
                      <a:pt x="329" y="2"/>
                    </a:lnTo>
                    <a:lnTo>
                      <a:pt x="330" y="4"/>
                    </a:lnTo>
                    <a:lnTo>
                      <a:pt x="329" y="4"/>
                    </a:lnTo>
                    <a:lnTo>
                      <a:pt x="326" y="4"/>
                    </a:lnTo>
                    <a:lnTo>
                      <a:pt x="324" y="4"/>
                    </a:lnTo>
                    <a:lnTo>
                      <a:pt x="323" y="2"/>
                    </a:lnTo>
                    <a:lnTo>
                      <a:pt x="321" y="4"/>
                    </a:lnTo>
                    <a:lnTo>
                      <a:pt x="318" y="2"/>
                    </a:lnTo>
                    <a:lnTo>
                      <a:pt x="318" y="0"/>
                    </a:lnTo>
                    <a:lnTo>
                      <a:pt x="316" y="1"/>
                    </a:lnTo>
                    <a:lnTo>
                      <a:pt x="315" y="0"/>
                    </a:lnTo>
                    <a:lnTo>
                      <a:pt x="313" y="0"/>
                    </a:lnTo>
                    <a:lnTo>
                      <a:pt x="311" y="0"/>
                    </a:lnTo>
                    <a:lnTo>
                      <a:pt x="311" y="2"/>
                    </a:lnTo>
                    <a:lnTo>
                      <a:pt x="310" y="4"/>
                    </a:lnTo>
                    <a:lnTo>
                      <a:pt x="310" y="7"/>
                    </a:lnTo>
                    <a:lnTo>
                      <a:pt x="310" y="9"/>
                    </a:lnTo>
                    <a:lnTo>
                      <a:pt x="309" y="10"/>
                    </a:lnTo>
                    <a:lnTo>
                      <a:pt x="307" y="13"/>
                    </a:lnTo>
                    <a:lnTo>
                      <a:pt x="308" y="15"/>
                    </a:lnTo>
                    <a:lnTo>
                      <a:pt x="308" y="17"/>
                    </a:lnTo>
                    <a:lnTo>
                      <a:pt x="307" y="17"/>
                    </a:lnTo>
                    <a:lnTo>
                      <a:pt x="307" y="16"/>
                    </a:lnTo>
                    <a:lnTo>
                      <a:pt x="305" y="17"/>
                    </a:lnTo>
                    <a:lnTo>
                      <a:pt x="300" y="15"/>
                    </a:lnTo>
                    <a:lnTo>
                      <a:pt x="300" y="17"/>
                    </a:lnTo>
                    <a:lnTo>
                      <a:pt x="299" y="16"/>
                    </a:lnTo>
                    <a:lnTo>
                      <a:pt x="299" y="15"/>
                    </a:lnTo>
                    <a:lnTo>
                      <a:pt x="297" y="16"/>
                    </a:lnTo>
                    <a:lnTo>
                      <a:pt x="297" y="15"/>
                    </a:lnTo>
                    <a:lnTo>
                      <a:pt x="294" y="11"/>
                    </a:lnTo>
                    <a:lnTo>
                      <a:pt x="293" y="11"/>
                    </a:lnTo>
                    <a:lnTo>
                      <a:pt x="289" y="15"/>
                    </a:lnTo>
                    <a:lnTo>
                      <a:pt x="286" y="14"/>
                    </a:lnTo>
                    <a:lnTo>
                      <a:pt x="285" y="15"/>
                    </a:lnTo>
                    <a:lnTo>
                      <a:pt x="284" y="15"/>
                    </a:lnTo>
                    <a:lnTo>
                      <a:pt x="283" y="15"/>
                    </a:lnTo>
                    <a:lnTo>
                      <a:pt x="281" y="15"/>
                    </a:lnTo>
                    <a:lnTo>
                      <a:pt x="283" y="11"/>
                    </a:lnTo>
                    <a:lnTo>
                      <a:pt x="281" y="10"/>
                    </a:lnTo>
                    <a:lnTo>
                      <a:pt x="280" y="10"/>
                    </a:lnTo>
                    <a:lnTo>
                      <a:pt x="279" y="10"/>
                    </a:lnTo>
                    <a:lnTo>
                      <a:pt x="278" y="11"/>
                    </a:lnTo>
                    <a:lnTo>
                      <a:pt x="276" y="12"/>
                    </a:lnTo>
                    <a:lnTo>
                      <a:pt x="274" y="11"/>
                    </a:lnTo>
                    <a:lnTo>
                      <a:pt x="273" y="13"/>
                    </a:lnTo>
                    <a:lnTo>
                      <a:pt x="274" y="16"/>
                    </a:lnTo>
                    <a:lnTo>
                      <a:pt x="270" y="19"/>
                    </a:lnTo>
                    <a:lnTo>
                      <a:pt x="270" y="21"/>
                    </a:lnTo>
                    <a:lnTo>
                      <a:pt x="268" y="20"/>
                    </a:lnTo>
                    <a:lnTo>
                      <a:pt x="267" y="17"/>
                    </a:lnTo>
                    <a:lnTo>
                      <a:pt x="266" y="17"/>
                    </a:lnTo>
                    <a:lnTo>
                      <a:pt x="266" y="18"/>
                    </a:lnTo>
                    <a:lnTo>
                      <a:pt x="266" y="22"/>
                    </a:lnTo>
                    <a:lnTo>
                      <a:pt x="266" y="23"/>
                    </a:lnTo>
                    <a:lnTo>
                      <a:pt x="265" y="23"/>
                    </a:lnTo>
                    <a:lnTo>
                      <a:pt x="265" y="25"/>
                    </a:lnTo>
                    <a:lnTo>
                      <a:pt x="263" y="28"/>
                    </a:lnTo>
                    <a:lnTo>
                      <a:pt x="262" y="29"/>
                    </a:lnTo>
                    <a:lnTo>
                      <a:pt x="260" y="29"/>
                    </a:lnTo>
                    <a:lnTo>
                      <a:pt x="259" y="31"/>
                    </a:lnTo>
                    <a:lnTo>
                      <a:pt x="261" y="31"/>
                    </a:lnTo>
                    <a:lnTo>
                      <a:pt x="261" y="33"/>
                    </a:lnTo>
                    <a:lnTo>
                      <a:pt x="262" y="34"/>
                    </a:lnTo>
                    <a:lnTo>
                      <a:pt x="263" y="36"/>
                    </a:lnTo>
                    <a:lnTo>
                      <a:pt x="265" y="36"/>
                    </a:lnTo>
                    <a:lnTo>
                      <a:pt x="269" y="38"/>
                    </a:lnTo>
                    <a:lnTo>
                      <a:pt x="270" y="41"/>
                    </a:lnTo>
                    <a:lnTo>
                      <a:pt x="270" y="44"/>
                    </a:lnTo>
                    <a:lnTo>
                      <a:pt x="267" y="51"/>
                    </a:lnTo>
                    <a:lnTo>
                      <a:pt x="266" y="51"/>
                    </a:lnTo>
                    <a:lnTo>
                      <a:pt x="264" y="54"/>
                    </a:lnTo>
                    <a:lnTo>
                      <a:pt x="261" y="55"/>
                    </a:lnTo>
                    <a:lnTo>
                      <a:pt x="261" y="57"/>
                    </a:lnTo>
                    <a:lnTo>
                      <a:pt x="260" y="58"/>
                    </a:lnTo>
                    <a:lnTo>
                      <a:pt x="257" y="59"/>
                    </a:lnTo>
                    <a:lnTo>
                      <a:pt x="256" y="55"/>
                    </a:lnTo>
                    <a:lnTo>
                      <a:pt x="255" y="54"/>
                    </a:lnTo>
                    <a:lnTo>
                      <a:pt x="253" y="54"/>
                    </a:lnTo>
                    <a:lnTo>
                      <a:pt x="252" y="54"/>
                    </a:lnTo>
                    <a:lnTo>
                      <a:pt x="254" y="56"/>
                    </a:lnTo>
                    <a:lnTo>
                      <a:pt x="254" y="57"/>
                    </a:lnTo>
                    <a:lnTo>
                      <a:pt x="253" y="58"/>
                    </a:lnTo>
                    <a:lnTo>
                      <a:pt x="254" y="60"/>
                    </a:lnTo>
                    <a:lnTo>
                      <a:pt x="256" y="62"/>
                    </a:lnTo>
                    <a:lnTo>
                      <a:pt x="257" y="62"/>
                    </a:lnTo>
                    <a:lnTo>
                      <a:pt x="258" y="61"/>
                    </a:lnTo>
                    <a:lnTo>
                      <a:pt x="259" y="62"/>
                    </a:lnTo>
                    <a:lnTo>
                      <a:pt x="258" y="63"/>
                    </a:lnTo>
                    <a:lnTo>
                      <a:pt x="258" y="64"/>
                    </a:lnTo>
                    <a:lnTo>
                      <a:pt x="258" y="66"/>
                    </a:lnTo>
                    <a:lnTo>
                      <a:pt x="261" y="66"/>
                    </a:lnTo>
                    <a:lnTo>
                      <a:pt x="260" y="69"/>
                    </a:lnTo>
                    <a:lnTo>
                      <a:pt x="256" y="71"/>
                    </a:lnTo>
                    <a:lnTo>
                      <a:pt x="258" y="74"/>
                    </a:lnTo>
                    <a:lnTo>
                      <a:pt x="256" y="77"/>
                    </a:lnTo>
                    <a:lnTo>
                      <a:pt x="254" y="78"/>
                    </a:lnTo>
                    <a:lnTo>
                      <a:pt x="253" y="80"/>
                    </a:lnTo>
                    <a:lnTo>
                      <a:pt x="252" y="83"/>
                    </a:lnTo>
                    <a:lnTo>
                      <a:pt x="254" y="88"/>
                    </a:lnTo>
                    <a:lnTo>
                      <a:pt x="253" y="89"/>
                    </a:lnTo>
                    <a:lnTo>
                      <a:pt x="253" y="90"/>
                    </a:lnTo>
                    <a:lnTo>
                      <a:pt x="254" y="91"/>
                    </a:lnTo>
                    <a:lnTo>
                      <a:pt x="252" y="92"/>
                    </a:lnTo>
                    <a:lnTo>
                      <a:pt x="253" y="95"/>
                    </a:lnTo>
                    <a:lnTo>
                      <a:pt x="254" y="95"/>
                    </a:lnTo>
                    <a:lnTo>
                      <a:pt x="256" y="94"/>
                    </a:lnTo>
                    <a:lnTo>
                      <a:pt x="256" y="96"/>
                    </a:lnTo>
                    <a:lnTo>
                      <a:pt x="255" y="98"/>
                    </a:lnTo>
                    <a:lnTo>
                      <a:pt x="254" y="99"/>
                    </a:lnTo>
                    <a:lnTo>
                      <a:pt x="254" y="102"/>
                    </a:lnTo>
                    <a:lnTo>
                      <a:pt x="253" y="105"/>
                    </a:lnTo>
                    <a:lnTo>
                      <a:pt x="253" y="107"/>
                    </a:lnTo>
                    <a:lnTo>
                      <a:pt x="252" y="106"/>
                    </a:lnTo>
                    <a:lnTo>
                      <a:pt x="252" y="107"/>
                    </a:lnTo>
                    <a:lnTo>
                      <a:pt x="253" y="112"/>
                    </a:lnTo>
                    <a:lnTo>
                      <a:pt x="254" y="112"/>
                    </a:lnTo>
                    <a:lnTo>
                      <a:pt x="251" y="114"/>
                    </a:lnTo>
                    <a:lnTo>
                      <a:pt x="253" y="118"/>
                    </a:lnTo>
                    <a:lnTo>
                      <a:pt x="254" y="120"/>
                    </a:lnTo>
                    <a:lnTo>
                      <a:pt x="253" y="119"/>
                    </a:lnTo>
                    <a:lnTo>
                      <a:pt x="254" y="120"/>
                    </a:lnTo>
                    <a:lnTo>
                      <a:pt x="254" y="122"/>
                    </a:lnTo>
                    <a:lnTo>
                      <a:pt x="251" y="122"/>
                    </a:lnTo>
                    <a:lnTo>
                      <a:pt x="251" y="123"/>
                    </a:lnTo>
                    <a:lnTo>
                      <a:pt x="248" y="125"/>
                    </a:lnTo>
                    <a:lnTo>
                      <a:pt x="246" y="125"/>
                    </a:lnTo>
                    <a:lnTo>
                      <a:pt x="246" y="126"/>
                    </a:lnTo>
                    <a:lnTo>
                      <a:pt x="244" y="128"/>
                    </a:lnTo>
                    <a:lnTo>
                      <a:pt x="244" y="129"/>
                    </a:lnTo>
                    <a:lnTo>
                      <a:pt x="243" y="128"/>
                    </a:lnTo>
                    <a:lnTo>
                      <a:pt x="243" y="125"/>
                    </a:lnTo>
                    <a:lnTo>
                      <a:pt x="240" y="125"/>
                    </a:lnTo>
                    <a:lnTo>
                      <a:pt x="240" y="126"/>
                    </a:lnTo>
                    <a:lnTo>
                      <a:pt x="240" y="128"/>
                    </a:lnTo>
                    <a:lnTo>
                      <a:pt x="238" y="129"/>
                    </a:lnTo>
                    <a:lnTo>
                      <a:pt x="234" y="133"/>
                    </a:lnTo>
                    <a:lnTo>
                      <a:pt x="232" y="132"/>
                    </a:lnTo>
                    <a:lnTo>
                      <a:pt x="230" y="133"/>
                    </a:lnTo>
                    <a:lnTo>
                      <a:pt x="227" y="133"/>
                    </a:lnTo>
                    <a:lnTo>
                      <a:pt x="227" y="135"/>
                    </a:lnTo>
                    <a:lnTo>
                      <a:pt x="227" y="136"/>
                    </a:lnTo>
                    <a:lnTo>
                      <a:pt x="226" y="136"/>
                    </a:lnTo>
                    <a:lnTo>
                      <a:pt x="227" y="139"/>
                    </a:lnTo>
                    <a:lnTo>
                      <a:pt x="226" y="140"/>
                    </a:lnTo>
                    <a:lnTo>
                      <a:pt x="226" y="142"/>
                    </a:lnTo>
                    <a:lnTo>
                      <a:pt x="225" y="143"/>
                    </a:lnTo>
                    <a:lnTo>
                      <a:pt x="223" y="143"/>
                    </a:lnTo>
                    <a:lnTo>
                      <a:pt x="222" y="144"/>
                    </a:lnTo>
                    <a:lnTo>
                      <a:pt x="223" y="146"/>
                    </a:lnTo>
                    <a:lnTo>
                      <a:pt x="221" y="146"/>
                    </a:lnTo>
                    <a:lnTo>
                      <a:pt x="221" y="147"/>
                    </a:lnTo>
                    <a:lnTo>
                      <a:pt x="218" y="148"/>
                    </a:lnTo>
                    <a:lnTo>
                      <a:pt x="218" y="147"/>
                    </a:lnTo>
                    <a:lnTo>
                      <a:pt x="217" y="148"/>
                    </a:lnTo>
                    <a:lnTo>
                      <a:pt x="215" y="151"/>
                    </a:lnTo>
                    <a:lnTo>
                      <a:pt x="215" y="154"/>
                    </a:lnTo>
                    <a:lnTo>
                      <a:pt x="216" y="156"/>
                    </a:lnTo>
                    <a:lnTo>
                      <a:pt x="220" y="156"/>
                    </a:lnTo>
                    <a:lnTo>
                      <a:pt x="220" y="157"/>
                    </a:lnTo>
                    <a:lnTo>
                      <a:pt x="221" y="157"/>
                    </a:lnTo>
                    <a:lnTo>
                      <a:pt x="221" y="159"/>
                    </a:lnTo>
                    <a:lnTo>
                      <a:pt x="223" y="161"/>
                    </a:lnTo>
                    <a:lnTo>
                      <a:pt x="223" y="165"/>
                    </a:lnTo>
                    <a:lnTo>
                      <a:pt x="222" y="165"/>
                    </a:lnTo>
                    <a:lnTo>
                      <a:pt x="221" y="165"/>
                    </a:lnTo>
                    <a:lnTo>
                      <a:pt x="219" y="166"/>
                    </a:lnTo>
                    <a:lnTo>
                      <a:pt x="218" y="166"/>
                    </a:lnTo>
                    <a:lnTo>
                      <a:pt x="217" y="165"/>
                    </a:lnTo>
                    <a:lnTo>
                      <a:pt x="214" y="165"/>
                    </a:lnTo>
                    <a:lnTo>
                      <a:pt x="212" y="166"/>
                    </a:lnTo>
                    <a:lnTo>
                      <a:pt x="212" y="169"/>
                    </a:lnTo>
                    <a:lnTo>
                      <a:pt x="210" y="170"/>
                    </a:lnTo>
                    <a:lnTo>
                      <a:pt x="208" y="176"/>
                    </a:lnTo>
                    <a:lnTo>
                      <a:pt x="207" y="178"/>
                    </a:lnTo>
                    <a:lnTo>
                      <a:pt x="207" y="180"/>
                    </a:lnTo>
                    <a:lnTo>
                      <a:pt x="206" y="183"/>
                    </a:lnTo>
                    <a:lnTo>
                      <a:pt x="207" y="185"/>
                    </a:lnTo>
                    <a:lnTo>
                      <a:pt x="209" y="185"/>
                    </a:lnTo>
                    <a:lnTo>
                      <a:pt x="211" y="186"/>
                    </a:lnTo>
                    <a:lnTo>
                      <a:pt x="213" y="186"/>
                    </a:lnTo>
                    <a:lnTo>
                      <a:pt x="214" y="188"/>
                    </a:lnTo>
                    <a:lnTo>
                      <a:pt x="216" y="191"/>
                    </a:lnTo>
                    <a:lnTo>
                      <a:pt x="215" y="193"/>
                    </a:lnTo>
                    <a:lnTo>
                      <a:pt x="215" y="192"/>
                    </a:lnTo>
                    <a:lnTo>
                      <a:pt x="214" y="193"/>
                    </a:lnTo>
                    <a:lnTo>
                      <a:pt x="214" y="198"/>
                    </a:lnTo>
                    <a:lnTo>
                      <a:pt x="216" y="199"/>
                    </a:lnTo>
                    <a:lnTo>
                      <a:pt x="214" y="202"/>
                    </a:lnTo>
                    <a:lnTo>
                      <a:pt x="212" y="200"/>
                    </a:lnTo>
                    <a:lnTo>
                      <a:pt x="212" y="201"/>
                    </a:lnTo>
                    <a:lnTo>
                      <a:pt x="210" y="203"/>
                    </a:lnTo>
                    <a:lnTo>
                      <a:pt x="207" y="201"/>
                    </a:lnTo>
                    <a:lnTo>
                      <a:pt x="204" y="201"/>
                    </a:lnTo>
                    <a:lnTo>
                      <a:pt x="202" y="205"/>
                    </a:lnTo>
                    <a:lnTo>
                      <a:pt x="201" y="206"/>
                    </a:lnTo>
                    <a:lnTo>
                      <a:pt x="203" y="207"/>
                    </a:lnTo>
                    <a:lnTo>
                      <a:pt x="202" y="209"/>
                    </a:lnTo>
                    <a:lnTo>
                      <a:pt x="204" y="208"/>
                    </a:lnTo>
                    <a:lnTo>
                      <a:pt x="204" y="210"/>
                    </a:lnTo>
                    <a:lnTo>
                      <a:pt x="204" y="212"/>
                    </a:lnTo>
                    <a:lnTo>
                      <a:pt x="206" y="215"/>
                    </a:lnTo>
                    <a:lnTo>
                      <a:pt x="205" y="216"/>
                    </a:lnTo>
                    <a:lnTo>
                      <a:pt x="204" y="216"/>
                    </a:lnTo>
                    <a:lnTo>
                      <a:pt x="204" y="217"/>
                    </a:lnTo>
                    <a:lnTo>
                      <a:pt x="202" y="220"/>
                    </a:lnTo>
                    <a:lnTo>
                      <a:pt x="203" y="220"/>
                    </a:lnTo>
                    <a:lnTo>
                      <a:pt x="204" y="218"/>
                    </a:lnTo>
                    <a:lnTo>
                      <a:pt x="206" y="219"/>
                    </a:lnTo>
                    <a:lnTo>
                      <a:pt x="209" y="217"/>
                    </a:lnTo>
                    <a:lnTo>
                      <a:pt x="209" y="215"/>
                    </a:lnTo>
                    <a:lnTo>
                      <a:pt x="210" y="216"/>
                    </a:lnTo>
                    <a:lnTo>
                      <a:pt x="210" y="217"/>
                    </a:lnTo>
                    <a:lnTo>
                      <a:pt x="208" y="221"/>
                    </a:lnTo>
                    <a:lnTo>
                      <a:pt x="211" y="221"/>
                    </a:lnTo>
                    <a:lnTo>
                      <a:pt x="211" y="223"/>
                    </a:lnTo>
                    <a:lnTo>
                      <a:pt x="212" y="223"/>
                    </a:lnTo>
                    <a:lnTo>
                      <a:pt x="210" y="230"/>
                    </a:lnTo>
                    <a:lnTo>
                      <a:pt x="210" y="231"/>
                    </a:lnTo>
                    <a:lnTo>
                      <a:pt x="210" y="230"/>
                    </a:lnTo>
                    <a:lnTo>
                      <a:pt x="209" y="232"/>
                    </a:lnTo>
                    <a:lnTo>
                      <a:pt x="207" y="233"/>
                    </a:lnTo>
                    <a:lnTo>
                      <a:pt x="207" y="234"/>
                    </a:lnTo>
                    <a:lnTo>
                      <a:pt x="205" y="235"/>
                    </a:lnTo>
                    <a:lnTo>
                      <a:pt x="204" y="237"/>
                    </a:lnTo>
                    <a:lnTo>
                      <a:pt x="203" y="237"/>
                    </a:lnTo>
                    <a:lnTo>
                      <a:pt x="201" y="237"/>
                    </a:lnTo>
                    <a:lnTo>
                      <a:pt x="199" y="237"/>
                    </a:lnTo>
                    <a:lnTo>
                      <a:pt x="197" y="237"/>
                    </a:lnTo>
                    <a:lnTo>
                      <a:pt x="196" y="238"/>
                    </a:lnTo>
                    <a:lnTo>
                      <a:pt x="198" y="242"/>
                    </a:lnTo>
                    <a:lnTo>
                      <a:pt x="198" y="244"/>
                    </a:lnTo>
                    <a:lnTo>
                      <a:pt x="196" y="244"/>
                    </a:lnTo>
                    <a:lnTo>
                      <a:pt x="194" y="246"/>
                    </a:lnTo>
                    <a:lnTo>
                      <a:pt x="194" y="247"/>
                    </a:lnTo>
                    <a:lnTo>
                      <a:pt x="193" y="249"/>
                    </a:lnTo>
                    <a:lnTo>
                      <a:pt x="190" y="247"/>
                    </a:lnTo>
                    <a:lnTo>
                      <a:pt x="187" y="248"/>
                    </a:lnTo>
                    <a:lnTo>
                      <a:pt x="185" y="247"/>
                    </a:lnTo>
                    <a:lnTo>
                      <a:pt x="184" y="248"/>
                    </a:lnTo>
                    <a:lnTo>
                      <a:pt x="181" y="246"/>
                    </a:lnTo>
                    <a:lnTo>
                      <a:pt x="180" y="246"/>
                    </a:lnTo>
                    <a:lnTo>
                      <a:pt x="178" y="248"/>
                    </a:lnTo>
                    <a:lnTo>
                      <a:pt x="177" y="248"/>
                    </a:lnTo>
                    <a:lnTo>
                      <a:pt x="172" y="250"/>
                    </a:lnTo>
                    <a:lnTo>
                      <a:pt x="172" y="249"/>
                    </a:lnTo>
                    <a:lnTo>
                      <a:pt x="172" y="250"/>
                    </a:lnTo>
                    <a:lnTo>
                      <a:pt x="170" y="252"/>
                    </a:lnTo>
                    <a:lnTo>
                      <a:pt x="173" y="254"/>
                    </a:lnTo>
                    <a:lnTo>
                      <a:pt x="173" y="256"/>
                    </a:lnTo>
                    <a:lnTo>
                      <a:pt x="174" y="257"/>
                    </a:lnTo>
                    <a:lnTo>
                      <a:pt x="174" y="258"/>
                    </a:lnTo>
                    <a:lnTo>
                      <a:pt x="170" y="260"/>
                    </a:lnTo>
                    <a:lnTo>
                      <a:pt x="170" y="257"/>
                    </a:lnTo>
                    <a:lnTo>
                      <a:pt x="168" y="257"/>
                    </a:lnTo>
                    <a:lnTo>
                      <a:pt x="168" y="260"/>
                    </a:lnTo>
                    <a:lnTo>
                      <a:pt x="166" y="260"/>
                    </a:lnTo>
                    <a:lnTo>
                      <a:pt x="168" y="261"/>
                    </a:lnTo>
                    <a:lnTo>
                      <a:pt x="166" y="261"/>
                    </a:lnTo>
                    <a:lnTo>
                      <a:pt x="166" y="262"/>
                    </a:lnTo>
                    <a:lnTo>
                      <a:pt x="162" y="260"/>
                    </a:lnTo>
                    <a:lnTo>
                      <a:pt x="161" y="260"/>
                    </a:lnTo>
                    <a:lnTo>
                      <a:pt x="161" y="261"/>
                    </a:lnTo>
                    <a:lnTo>
                      <a:pt x="159" y="260"/>
                    </a:lnTo>
                    <a:lnTo>
                      <a:pt x="157" y="260"/>
                    </a:lnTo>
                    <a:lnTo>
                      <a:pt x="157" y="261"/>
                    </a:lnTo>
                    <a:lnTo>
                      <a:pt x="157" y="263"/>
                    </a:lnTo>
                    <a:lnTo>
                      <a:pt x="157" y="264"/>
                    </a:lnTo>
                    <a:lnTo>
                      <a:pt x="156" y="263"/>
                    </a:lnTo>
                    <a:lnTo>
                      <a:pt x="155" y="260"/>
                    </a:lnTo>
                    <a:lnTo>
                      <a:pt x="153" y="260"/>
                    </a:lnTo>
                    <a:lnTo>
                      <a:pt x="152" y="261"/>
                    </a:lnTo>
                    <a:lnTo>
                      <a:pt x="151" y="260"/>
                    </a:lnTo>
                    <a:lnTo>
                      <a:pt x="149" y="257"/>
                    </a:lnTo>
                    <a:lnTo>
                      <a:pt x="148" y="257"/>
                    </a:lnTo>
                    <a:lnTo>
                      <a:pt x="146" y="257"/>
                    </a:lnTo>
                    <a:lnTo>
                      <a:pt x="144" y="257"/>
                    </a:lnTo>
                    <a:lnTo>
                      <a:pt x="144" y="255"/>
                    </a:lnTo>
                    <a:lnTo>
                      <a:pt x="144" y="254"/>
                    </a:lnTo>
                    <a:lnTo>
                      <a:pt x="142" y="254"/>
                    </a:lnTo>
                    <a:lnTo>
                      <a:pt x="142" y="255"/>
                    </a:lnTo>
                    <a:lnTo>
                      <a:pt x="143" y="257"/>
                    </a:lnTo>
                    <a:lnTo>
                      <a:pt x="142" y="260"/>
                    </a:lnTo>
                    <a:lnTo>
                      <a:pt x="141" y="260"/>
                    </a:lnTo>
                    <a:lnTo>
                      <a:pt x="139" y="262"/>
                    </a:lnTo>
                    <a:lnTo>
                      <a:pt x="137" y="262"/>
                    </a:lnTo>
                    <a:lnTo>
                      <a:pt x="136" y="263"/>
                    </a:lnTo>
                    <a:lnTo>
                      <a:pt x="133" y="262"/>
                    </a:lnTo>
                    <a:lnTo>
                      <a:pt x="131" y="261"/>
                    </a:lnTo>
                    <a:lnTo>
                      <a:pt x="128" y="259"/>
                    </a:lnTo>
                    <a:lnTo>
                      <a:pt x="128" y="257"/>
                    </a:lnTo>
                    <a:lnTo>
                      <a:pt x="129" y="257"/>
                    </a:lnTo>
                    <a:lnTo>
                      <a:pt x="128" y="256"/>
                    </a:lnTo>
                    <a:lnTo>
                      <a:pt x="128" y="255"/>
                    </a:lnTo>
                    <a:lnTo>
                      <a:pt x="128" y="257"/>
                    </a:lnTo>
                    <a:lnTo>
                      <a:pt x="127" y="257"/>
                    </a:lnTo>
                    <a:lnTo>
                      <a:pt x="126" y="256"/>
                    </a:lnTo>
                    <a:lnTo>
                      <a:pt x="125" y="256"/>
                    </a:lnTo>
                    <a:lnTo>
                      <a:pt x="125" y="255"/>
                    </a:lnTo>
                    <a:lnTo>
                      <a:pt x="126" y="255"/>
                    </a:lnTo>
                    <a:lnTo>
                      <a:pt x="125" y="254"/>
                    </a:lnTo>
                    <a:lnTo>
                      <a:pt x="126" y="254"/>
                    </a:lnTo>
                    <a:lnTo>
                      <a:pt x="126" y="252"/>
                    </a:lnTo>
                    <a:lnTo>
                      <a:pt x="125" y="251"/>
                    </a:lnTo>
                    <a:lnTo>
                      <a:pt x="125" y="250"/>
                    </a:lnTo>
                    <a:lnTo>
                      <a:pt x="125" y="248"/>
                    </a:lnTo>
                    <a:lnTo>
                      <a:pt x="124" y="247"/>
                    </a:lnTo>
                    <a:lnTo>
                      <a:pt x="121" y="249"/>
                    </a:lnTo>
                    <a:lnTo>
                      <a:pt x="119" y="251"/>
                    </a:lnTo>
                    <a:lnTo>
                      <a:pt x="115" y="248"/>
                    </a:lnTo>
                    <a:lnTo>
                      <a:pt x="114" y="254"/>
                    </a:lnTo>
                    <a:lnTo>
                      <a:pt x="116" y="254"/>
                    </a:lnTo>
                    <a:lnTo>
                      <a:pt x="112" y="256"/>
                    </a:lnTo>
                    <a:lnTo>
                      <a:pt x="110" y="259"/>
                    </a:lnTo>
                    <a:lnTo>
                      <a:pt x="109" y="257"/>
                    </a:lnTo>
                    <a:lnTo>
                      <a:pt x="108" y="258"/>
                    </a:lnTo>
                    <a:lnTo>
                      <a:pt x="106" y="257"/>
                    </a:lnTo>
                    <a:lnTo>
                      <a:pt x="108" y="257"/>
                    </a:lnTo>
                    <a:lnTo>
                      <a:pt x="108" y="256"/>
                    </a:lnTo>
                    <a:lnTo>
                      <a:pt x="104" y="253"/>
                    </a:lnTo>
                    <a:lnTo>
                      <a:pt x="103" y="253"/>
                    </a:lnTo>
                    <a:lnTo>
                      <a:pt x="101" y="252"/>
                    </a:lnTo>
                    <a:lnTo>
                      <a:pt x="102" y="255"/>
                    </a:lnTo>
                    <a:lnTo>
                      <a:pt x="101" y="256"/>
                    </a:lnTo>
                    <a:lnTo>
                      <a:pt x="101" y="258"/>
                    </a:lnTo>
                    <a:lnTo>
                      <a:pt x="99" y="261"/>
                    </a:lnTo>
                    <a:lnTo>
                      <a:pt x="100" y="261"/>
                    </a:lnTo>
                    <a:lnTo>
                      <a:pt x="100" y="262"/>
                    </a:lnTo>
                    <a:lnTo>
                      <a:pt x="99" y="262"/>
                    </a:lnTo>
                    <a:lnTo>
                      <a:pt x="100" y="264"/>
                    </a:lnTo>
                    <a:lnTo>
                      <a:pt x="99" y="264"/>
                    </a:lnTo>
                    <a:lnTo>
                      <a:pt x="98" y="264"/>
                    </a:lnTo>
                    <a:lnTo>
                      <a:pt x="96" y="265"/>
                    </a:lnTo>
                    <a:lnTo>
                      <a:pt x="98" y="267"/>
                    </a:lnTo>
                    <a:lnTo>
                      <a:pt x="95" y="267"/>
                    </a:lnTo>
                    <a:lnTo>
                      <a:pt x="95" y="264"/>
                    </a:lnTo>
                    <a:lnTo>
                      <a:pt x="94" y="264"/>
                    </a:lnTo>
                    <a:lnTo>
                      <a:pt x="91" y="263"/>
                    </a:lnTo>
                    <a:lnTo>
                      <a:pt x="90" y="264"/>
                    </a:lnTo>
                    <a:lnTo>
                      <a:pt x="87" y="263"/>
                    </a:lnTo>
                    <a:lnTo>
                      <a:pt x="85" y="265"/>
                    </a:lnTo>
                    <a:lnTo>
                      <a:pt x="82" y="263"/>
                    </a:lnTo>
                    <a:lnTo>
                      <a:pt x="81" y="265"/>
                    </a:lnTo>
                    <a:lnTo>
                      <a:pt x="78" y="267"/>
                    </a:lnTo>
                    <a:lnTo>
                      <a:pt x="77" y="267"/>
                    </a:lnTo>
                    <a:lnTo>
                      <a:pt x="76" y="269"/>
                    </a:lnTo>
                    <a:lnTo>
                      <a:pt x="78" y="270"/>
                    </a:lnTo>
                    <a:lnTo>
                      <a:pt x="78" y="271"/>
                    </a:lnTo>
                    <a:lnTo>
                      <a:pt x="77" y="271"/>
                    </a:lnTo>
                    <a:lnTo>
                      <a:pt x="77" y="272"/>
                    </a:lnTo>
                    <a:lnTo>
                      <a:pt x="75" y="272"/>
                    </a:lnTo>
                    <a:lnTo>
                      <a:pt x="74" y="275"/>
                    </a:lnTo>
                    <a:lnTo>
                      <a:pt x="71" y="277"/>
                    </a:lnTo>
                    <a:lnTo>
                      <a:pt x="66" y="276"/>
                    </a:lnTo>
                    <a:lnTo>
                      <a:pt x="64" y="275"/>
                    </a:lnTo>
                    <a:lnTo>
                      <a:pt x="64" y="276"/>
                    </a:lnTo>
                    <a:lnTo>
                      <a:pt x="64" y="280"/>
                    </a:lnTo>
                    <a:lnTo>
                      <a:pt x="63" y="282"/>
                    </a:lnTo>
                    <a:lnTo>
                      <a:pt x="60" y="280"/>
                    </a:lnTo>
                    <a:lnTo>
                      <a:pt x="59" y="283"/>
                    </a:lnTo>
                    <a:lnTo>
                      <a:pt x="58" y="282"/>
                    </a:lnTo>
                    <a:lnTo>
                      <a:pt x="58" y="283"/>
                    </a:lnTo>
                    <a:lnTo>
                      <a:pt x="58" y="284"/>
                    </a:lnTo>
                    <a:lnTo>
                      <a:pt x="59" y="284"/>
                    </a:lnTo>
                    <a:lnTo>
                      <a:pt x="58" y="286"/>
                    </a:lnTo>
                    <a:lnTo>
                      <a:pt x="58" y="288"/>
                    </a:lnTo>
                    <a:lnTo>
                      <a:pt x="56" y="288"/>
                    </a:lnTo>
                    <a:lnTo>
                      <a:pt x="55" y="289"/>
                    </a:lnTo>
                    <a:lnTo>
                      <a:pt x="54" y="287"/>
                    </a:lnTo>
                    <a:lnTo>
                      <a:pt x="52" y="285"/>
                    </a:lnTo>
                    <a:lnTo>
                      <a:pt x="52" y="283"/>
                    </a:lnTo>
                    <a:lnTo>
                      <a:pt x="49" y="280"/>
                    </a:lnTo>
                    <a:lnTo>
                      <a:pt x="49" y="279"/>
                    </a:lnTo>
                    <a:lnTo>
                      <a:pt x="46" y="279"/>
                    </a:lnTo>
                    <a:lnTo>
                      <a:pt x="43" y="281"/>
                    </a:lnTo>
                    <a:lnTo>
                      <a:pt x="42" y="282"/>
                    </a:lnTo>
                    <a:lnTo>
                      <a:pt x="42" y="280"/>
                    </a:lnTo>
                    <a:lnTo>
                      <a:pt x="40" y="280"/>
                    </a:lnTo>
                    <a:lnTo>
                      <a:pt x="39" y="279"/>
                    </a:lnTo>
                    <a:lnTo>
                      <a:pt x="38" y="279"/>
                    </a:lnTo>
                    <a:lnTo>
                      <a:pt x="36" y="280"/>
                    </a:lnTo>
                    <a:lnTo>
                      <a:pt x="38" y="284"/>
                    </a:lnTo>
                    <a:lnTo>
                      <a:pt x="37" y="284"/>
                    </a:lnTo>
                    <a:lnTo>
                      <a:pt x="35" y="285"/>
                    </a:lnTo>
                    <a:lnTo>
                      <a:pt x="35" y="287"/>
                    </a:lnTo>
                    <a:lnTo>
                      <a:pt x="33" y="287"/>
                    </a:lnTo>
                    <a:lnTo>
                      <a:pt x="33" y="288"/>
                    </a:lnTo>
                    <a:lnTo>
                      <a:pt x="33" y="289"/>
                    </a:lnTo>
                    <a:lnTo>
                      <a:pt x="31" y="291"/>
                    </a:lnTo>
                    <a:lnTo>
                      <a:pt x="30" y="291"/>
                    </a:lnTo>
                    <a:lnTo>
                      <a:pt x="30" y="288"/>
                    </a:lnTo>
                    <a:lnTo>
                      <a:pt x="28" y="289"/>
                    </a:lnTo>
                    <a:lnTo>
                      <a:pt x="27" y="289"/>
                    </a:lnTo>
                    <a:lnTo>
                      <a:pt x="25" y="287"/>
                    </a:lnTo>
                    <a:lnTo>
                      <a:pt x="25" y="286"/>
                    </a:lnTo>
                    <a:lnTo>
                      <a:pt x="26" y="284"/>
                    </a:lnTo>
                    <a:lnTo>
                      <a:pt x="25" y="283"/>
                    </a:lnTo>
                    <a:lnTo>
                      <a:pt x="24" y="281"/>
                    </a:lnTo>
                    <a:lnTo>
                      <a:pt x="23" y="280"/>
                    </a:lnTo>
                    <a:lnTo>
                      <a:pt x="20" y="280"/>
                    </a:lnTo>
                    <a:lnTo>
                      <a:pt x="21" y="284"/>
                    </a:lnTo>
                    <a:lnTo>
                      <a:pt x="17" y="280"/>
                    </a:lnTo>
                    <a:lnTo>
                      <a:pt x="14" y="280"/>
                    </a:lnTo>
                    <a:lnTo>
                      <a:pt x="15" y="281"/>
                    </a:lnTo>
                    <a:lnTo>
                      <a:pt x="17" y="281"/>
                    </a:lnTo>
                    <a:lnTo>
                      <a:pt x="17" y="282"/>
                    </a:lnTo>
                    <a:lnTo>
                      <a:pt x="18" y="282"/>
                    </a:lnTo>
                    <a:lnTo>
                      <a:pt x="15" y="284"/>
                    </a:lnTo>
                    <a:lnTo>
                      <a:pt x="14" y="285"/>
                    </a:lnTo>
                    <a:lnTo>
                      <a:pt x="14" y="286"/>
                    </a:lnTo>
                    <a:lnTo>
                      <a:pt x="13" y="287"/>
                    </a:lnTo>
                    <a:lnTo>
                      <a:pt x="12" y="287"/>
                    </a:lnTo>
                    <a:lnTo>
                      <a:pt x="10" y="286"/>
                    </a:lnTo>
                    <a:lnTo>
                      <a:pt x="10" y="284"/>
                    </a:lnTo>
                    <a:lnTo>
                      <a:pt x="8" y="284"/>
                    </a:lnTo>
                    <a:lnTo>
                      <a:pt x="7" y="286"/>
                    </a:lnTo>
                    <a:lnTo>
                      <a:pt x="8" y="287"/>
                    </a:lnTo>
                    <a:lnTo>
                      <a:pt x="9" y="287"/>
                    </a:lnTo>
                    <a:lnTo>
                      <a:pt x="10" y="288"/>
                    </a:lnTo>
                    <a:lnTo>
                      <a:pt x="11" y="289"/>
                    </a:lnTo>
                    <a:lnTo>
                      <a:pt x="10" y="291"/>
                    </a:lnTo>
                    <a:lnTo>
                      <a:pt x="9" y="290"/>
                    </a:lnTo>
                    <a:lnTo>
                      <a:pt x="7" y="291"/>
                    </a:lnTo>
                    <a:lnTo>
                      <a:pt x="7" y="292"/>
                    </a:lnTo>
                    <a:lnTo>
                      <a:pt x="10" y="293"/>
                    </a:lnTo>
                    <a:lnTo>
                      <a:pt x="8" y="294"/>
                    </a:lnTo>
                    <a:lnTo>
                      <a:pt x="7" y="295"/>
                    </a:lnTo>
                    <a:lnTo>
                      <a:pt x="5" y="294"/>
                    </a:lnTo>
                    <a:lnTo>
                      <a:pt x="4" y="294"/>
                    </a:lnTo>
                    <a:lnTo>
                      <a:pt x="4" y="297"/>
                    </a:lnTo>
                    <a:lnTo>
                      <a:pt x="0" y="301"/>
                    </a:lnTo>
                    <a:lnTo>
                      <a:pt x="5" y="303"/>
                    </a:lnTo>
                    <a:lnTo>
                      <a:pt x="11" y="308"/>
                    </a:lnTo>
                    <a:lnTo>
                      <a:pt x="17" y="308"/>
                    </a:lnTo>
                    <a:lnTo>
                      <a:pt x="19" y="309"/>
                    </a:lnTo>
                    <a:lnTo>
                      <a:pt x="20" y="308"/>
                    </a:lnTo>
                    <a:lnTo>
                      <a:pt x="22" y="310"/>
                    </a:lnTo>
                    <a:lnTo>
                      <a:pt x="25" y="315"/>
                    </a:lnTo>
                    <a:lnTo>
                      <a:pt x="27" y="315"/>
                    </a:lnTo>
                    <a:lnTo>
                      <a:pt x="26" y="314"/>
                    </a:lnTo>
                    <a:lnTo>
                      <a:pt x="31" y="318"/>
                    </a:lnTo>
                    <a:lnTo>
                      <a:pt x="34" y="322"/>
                    </a:lnTo>
                    <a:lnTo>
                      <a:pt x="35" y="325"/>
                    </a:lnTo>
                    <a:lnTo>
                      <a:pt x="38" y="328"/>
                    </a:lnTo>
                    <a:lnTo>
                      <a:pt x="39" y="331"/>
                    </a:lnTo>
                    <a:lnTo>
                      <a:pt x="40" y="331"/>
                    </a:lnTo>
                    <a:lnTo>
                      <a:pt x="42" y="330"/>
                    </a:lnTo>
                    <a:lnTo>
                      <a:pt x="45" y="330"/>
                    </a:lnTo>
                    <a:lnTo>
                      <a:pt x="46" y="330"/>
                    </a:lnTo>
                    <a:lnTo>
                      <a:pt x="46" y="331"/>
                    </a:lnTo>
                    <a:lnTo>
                      <a:pt x="53" y="333"/>
                    </a:lnTo>
                    <a:lnTo>
                      <a:pt x="57" y="335"/>
                    </a:lnTo>
                    <a:lnTo>
                      <a:pt x="62" y="331"/>
                    </a:lnTo>
                    <a:lnTo>
                      <a:pt x="64" y="328"/>
                    </a:lnTo>
                    <a:lnTo>
                      <a:pt x="65" y="325"/>
                    </a:lnTo>
                    <a:lnTo>
                      <a:pt x="69" y="326"/>
                    </a:lnTo>
                    <a:lnTo>
                      <a:pt x="72" y="328"/>
                    </a:lnTo>
                    <a:lnTo>
                      <a:pt x="77" y="328"/>
                    </a:lnTo>
                    <a:lnTo>
                      <a:pt x="78" y="329"/>
                    </a:lnTo>
                    <a:lnTo>
                      <a:pt x="79" y="329"/>
                    </a:lnTo>
                    <a:lnTo>
                      <a:pt x="82" y="326"/>
                    </a:lnTo>
                    <a:lnTo>
                      <a:pt x="82" y="328"/>
                    </a:lnTo>
                    <a:lnTo>
                      <a:pt x="84" y="331"/>
                    </a:lnTo>
                    <a:lnTo>
                      <a:pt x="84" y="332"/>
                    </a:lnTo>
                    <a:lnTo>
                      <a:pt x="82" y="333"/>
                    </a:lnTo>
                    <a:lnTo>
                      <a:pt x="82" y="335"/>
                    </a:lnTo>
                    <a:lnTo>
                      <a:pt x="85" y="337"/>
                    </a:lnTo>
                    <a:lnTo>
                      <a:pt x="87" y="339"/>
                    </a:lnTo>
                    <a:lnTo>
                      <a:pt x="90" y="338"/>
                    </a:lnTo>
                    <a:lnTo>
                      <a:pt x="90" y="337"/>
                    </a:lnTo>
                    <a:lnTo>
                      <a:pt x="90" y="336"/>
                    </a:lnTo>
                    <a:lnTo>
                      <a:pt x="91" y="336"/>
                    </a:lnTo>
                    <a:lnTo>
                      <a:pt x="92" y="337"/>
                    </a:lnTo>
                    <a:lnTo>
                      <a:pt x="92" y="338"/>
                    </a:lnTo>
                    <a:lnTo>
                      <a:pt x="91" y="342"/>
                    </a:lnTo>
                    <a:lnTo>
                      <a:pt x="92" y="345"/>
                    </a:lnTo>
                    <a:lnTo>
                      <a:pt x="93" y="345"/>
                    </a:lnTo>
                    <a:lnTo>
                      <a:pt x="96" y="342"/>
                    </a:lnTo>
                    <a:lnTo>
                      <a:pt x="97" y="345"/>
                    </a:lnTo>
                    <a:lnTo>
                      <a:pt x="97" y="347"/>
                    </a:lnTo>
                    <a:lnTo>
                      <a:pt x="96" y="347"/>
                    </a:lnTo>
                    <a:lnTo>
                      <a:pt x="95" y="346"/>
                    </a:lnTo>
                    <a:lnTo>
                      <a:pt x="95" y="344"/>
                    </a:lnTo>
                    <a:lnTo>
                      <a:pt x="95" y="345"/>
                    </a:lnTo>
                    <a:lnTo>
                      <a:pt x="94" y="346"/>
                    </a:lnTo>
                    <a:lnTo>
                      <a:pt x="95" y="348"/>
                    </a:lnTo>
                    <a:lnTo>
                      <a:pt x="98" y="348"/>
                    </a:lnTo>
                    <a:lnTo>
                      <a:pt x="101" y="347"/>
                    </a:lnTo>
                    <a:lnTo>
                      <a:pt x="102" y="349"/>
                    </a:lnTo>
                    <a:lnTo>
                      <a:pt x="104" y="349"/>
                    </a:lnTo>
                    <a:lnTo>
                      <a:pt x="102" y="354"/>
                    </a:lnTo>
                    <a:lnTo>
                      <a:pt x="103" y="355"/>
                    </a:lnTo>
                    <a:lnTo>
                      <a:pt x="104" y="358"/>
                    </a:lnTo>
                    <a:lnTo>
                      <a:pt x="106" y="358"/>
                    </a:lnTo>
                    <a:lnTo>
                      <a:pt x="107" y="357"/>
                    </a:lnTo>
                    <a:lnTo>
                      <a:pt x="107" y="354"/>
                    </a:lnTo>
                    <a:lnTo>
                      <a:pt x="108" y="354"/>
                    </a:lnTo>
                    <a:lnTo>
                      <a:pt x="109" y="354"/>
                    </a:lnTo>
                    <a:lnTo>
                      <a:pt x="108" y="356"/>
                    </a:lnTo>
                    <a:lnTo>
                      <a:pt x="112" y="356"/>
                    </a:lnTo>
                    <a:lnTo>
                      <a:pt x="112" y="358"/>
                    </a:lnTo>
                    <a:lnTo>
                      <a:pt x="109" y="360"/>
                    </a:lnTo>
                    <a:lnTo>
                      <a:pt x="108" y="365"/>
                    </a:lnTo>
                    <a:lnTo>
                      <a:pt x="112" y="368"/>
                    </a:lnTo>
                    <a:lnTo>
                      <a:pt x="118" y="375"/>
                    </a:lnTo>
                    <a:lnTo>
                      <a:pt x="120" y="378"/>
                    </a:lnTo>
                    <a:lnTo>
                      <a:pt x="134" y="388"/>
                    </a:lnTo>
                    <a:lnTo>
                      <a:pt x="138" y="392"/>
                    </a:lnTo>
                    <a:lnTo>
                      <a:pt x="142" y="395"/>
                    </a:lnTo>
                    <a:lnTo>
                      <a:pt x="146" y="397"/>
                    </a:lnTo>
                    <a:lnTo>
                      <a:pt x="149" y="398"/>
                    </a:lnTo>
                    <a:lnTo>
                      <a:pt x="150" y="398"/>
                    </a:lnTo>
                    <a:lnTo>
                      <a:pt x="150" y="397"/>
                    </a:lnTo>
                    <a:lnTo>
                      <a:pt x="152" y="397"/>
                    </a:lnTo>
                    <a:lnTo>
                      <a:pt x="152" y="398"/>
                    </a:lnTo>
                    <a:lnTo>
                      <a:pt x="157" y="400"/>
                    </a:lnTo>
                    <a:lnTo>
                      <a:pt x="158" y="399"/>
                    </a:lnTo>
                    <a:lnTo>
                      <a:pt x="160" y="399"/>
                    </a:lnTo>
                    <a:lnTo>
                      <a:pt x="160" y="400"/>
                    </a:lnTo>
                    <a:lnTo>
                      <a:pt x="161" y="399"/>
                    </a:lnTo>
                    <a:lnTo>
                      <a:pt x="161" y="398"/>
                    </a:lnTo>
                    <a:lnTo>
                      <a:pt x="173" y="402"/>
                    </a:lnTo>
                    <a:lnTo>
                      <a:pt x="187" y="405"/>
                    </a:lnTo>
                    <a:lnTo>
                      <a:pt x="191" y="407"/>
                    </a:lnTo>
                    <a:lnTo>
                      <a:pt x="193" y="406"/>
                    </a:lnTo>
                    <a:lnTo>
                      <a:pt x="196" y="406"/>
                    </a:lnTo>
                    <a:lnTo>
                      <a:pt x="201" y="408"/>
                    </a:lnTo>
                    <a:lnTo>
                      <a:pt x="202" y="407"/>
                    </a:lnTo>
                    <a:lnTo>
                      <a:pt x="205" y="410"/>
                    </a:lnTo>
                    <a:lnTo>
                      <a:pt x="210" y="412"/>
                    </a:lnTo>
                    <a:lnTo>
                      <a:pt x="212" y="410"/>
                    </a:lnTo>
                    <a:lnTo>
                      <a:pt x="213" y="408"/>
                    </a:lnTo>
                    <a:lnTo>
                      <a:pt x="214" y="407"/>
                    </a:lnTo>
                    <a:lnTo>
                      <a:pt x="214" y="406"/>
                    </a:lnTo>
                    <a:lnTo>
                      <a:pt x="214" y="409"/>
                    </a:lnTo>
                    <a:lnTo>
                      <a:pt x="216" y="408"/>
                    </a:lnTo>
                    <a:lnTo>
                      <a:pt x="217" y="409"/>
                    </a:lnTo>
                    <a:lnTo>
                      <a:pt x="218" y="410"/>
                    </a:lnTo>
                    <a:lnTo>
                      <a:pt x="216" y="412"/>
                    </a:lnTo>
                    <a:lnTo>
                      <a:pt x="218" y="414"/>
                    </a:lnTo>
                    <a:lnTo>
                      <a:pt x="218" y="413"/>
                    </a:lnTo>
                    <a:lnTo>
                      <a:pt x="218" y="414"/>
                    </a:lnTo>
                    <a:lnTo>
                      <a:pt x="222" y="414"/>
                    </a:lnTo>
                    <a:lnTo>
                      <a:pt x="222" y="415"/>
                    </a:lnTo>
                    <a:lnTo>
                      <a:pt x="224" y="415"/>
                    </a:lnTo>
                    <a:lnTo>
                      <a:pt x="225" y="414"/>
                    </a:lnTo>
                    <a:lnTo>
                      <a:pt x="226" y="412"/>
                    </a:lnTo>
                    <a:lnTo>
                      <a:pt x="227" y="410"/>
                    </a:lnTo>
                    <a:lnTo>
                      <a:pt x="228" y="412"/>
                    </a:lnTo>
                    <a:lnTo>
                      <a:pt x="230" y="410"/>
                    </a:lnTo>
                    <a:lnTo>
                      <a:pt x="231" y="410"/>
                    </a:lnTo>
                    <a:lnTo>
                      <a:pt x="232" y="410"/>
                    </a:lnTo>
                    <a:lnTo>
                      <a:pt x="234" y="406"/>
                    </a:lnTo>
                    <a:lnTo>
                      <a:pt x="235" y="404"/>
                    </a:lnTo>
                    <a:lnTo>
                      <a:pt x="237" y="401"/>
                    </a:lnTo>
                    <a:lnTo>
                      <a:pt x="240" y="401"/>
                    </a:lnTo>
                    <a:lnTo>
                      <a:pt x="242" y="399"/>
                    </a:lnTo>
                    <a:lnTo>
                      <a:pt x="242" y="396"/>
                    </a:lnTo>
                    <a:lnTo>
                      <a:pt x="242" y="395"/>
                    </a:lnTo>
                    <a:lnTo>
                      <a:pt x="243" y="392"/>
                    </a:lnTo>
                    <a:lnTo>
                      <a:pt x="245" y="388"/>
                    </a:lnTo>
                    <a:lnTo>
                      <a:pt x="245" y="386"/>
                    </a:lnTo>
                    <a:lnTo>
                      <a:pt x="246" y="384"/>
                    </a:lnTo>
                    <a:lnTo>
                      <a:pt x="250" y="382"/>
                    </a:lnTo>
                    <a:lnTo>
                      <a:pt x="250" y="381"/>
                    </a:lnTo>
                    <a:lnTo>
                      <a:pt x="249" y="380"/>
                    </a:lnTo>
                    <a:lnTo>
                      <a:pt x="250" y="380"/>
                    </a:lnTo>
                    <a:lnTo>
                      <a:pt x="254" y="384"/>
                    </a:lnTo>
                    <a:lnTo>
                      <a:pt x="260" y="386"/>
                    </a:lnTo>
                    <a:lnTo>
                      <a:pt x="264" y="385"/>
                    </a:lnTo>
                    <a:lnTo>
                      <a:pt x="265" y="387"/>
                    </a:lnTo>
                    <a:lnTo>
                      <a:pt x="267" y="386"/>
                    </a:lnTo>
                    <a:lnTo>
                      <a:pt x="269" y="383"/>
                    </a:lnTo>
                    <a:lnTo>
                      <a:pt x="271" y="381"/>
                    </a:lnTo>
                    <a:lnTo>
                      <a:pt x="275" y="386"/>
                    </a:lnTo>
                    <a:lnTo>
                      <a:pt x="275" y="387"/>
                    </a:lnTo>
                    <a:lnTo>
                      <a:pt x="278" y="391"/>
                    </a:lnTo>
                    <a:lnTo>
                      <a:pt x="283" y="392"/>
                    </a:lnTo>
                    <a:lnTo>
                      <a:pt x="286" y="395"/>
                    </a:lnTo>
                    <a:lnTo>
                      <a:pt x="285" y="397"/>
                    </a:lnTo>
                    <a:lnTo>
                      <a:pt x="289" y="399"/>
                    </a:lnTo>
                    <a:lnTo>
                      <a:pt x="291" y="399"/>
                    </a:lnTo>
                    <a:lnTo>
                      <a:pt x="295" y="399"/>
                    </a:lnTo>
                    <a:lnTo>
                      <a:pt x="296" y="397"/>
                    </a:lnTo>
                    <a:lnTo>
                      <a:pt x="299" y="397"/>
                    </a:lnTo>
                    <a:lnTo>
                      <a:pt x="302" y="399"/>
                    </a:lnTo>
                    <a:lnTo>
                      <a:pt x="304" y="400"/>
                    </a:lnTo>
                    <a:lnTo>
                      <a:pt x="305" y="403"/>
                    </a:lnTo>
                    <a:lnTo>
                      <a:pt x="307" y="406"/>
                    </a:lnTo>
                    <a:lnTo>
                      <a:pt x="308" y="412"/>
                    </a:lnTo>
                    <a:lnTo>
                      <a:pt x="308" y="415"/>
                    </a:lnTo>
                    <a:lnTo>
                      <a:pt x="305" y="418"/>
                    </a:lnTo>
                    <a:lnTo>
                      <a:pt x="305" y="420"/>
                    </a:lnTo>
                    <a:lnTo>
                      <a:pt x="307" y="423"/>
                    </a:lnTo>
                    <a:lnTo>
                      <a:pt x="307" y="426"/>
                    </a:lnTo>
                    <a:lnTo>
                      <a:pt x="308" y="426"/>
                    </a:lnTo>
                    <a:lnTo>
                      <a:pt x="313" y="423"/>
                    </a:lnTo>
                    <a:lnTo>
                      <a:pt x="314" y="422"/>
                    </a:lnTo>
                    <a:lnTo>
                      <a:pt x="317" y="422"/>
                    </a:lnTo>
                    <a:lnTo>
                      <a:pt x="319" y="423"/>
                    </a:lnTo>
                    <a:lnTo>
                      <a:pt x="321" y="423"/>
                    </a:lnTo>
                    <a:lnTo>
                      <a:pt x="320" y="424"/>
                    </a:lnTo>
                    <a:lnTo>
                      <a:pt x="320" y="425"/>
                    </a:lnTo>
                    <a:lnTo>
                      <a:pt x="321" y="425"/>
                    </a:lnTo>
                    <a:lnTo>
                      <a:pt x="322" y="426"/>
                    </a:lnTo>
                    <a:lnTo>
                      <a:pt x="322" y="427"/>
                    </a:lnTo>
                    <a:lnTo>
                      <a:pt x="325" y="426"/>
                    </a:lnTo>
                    <a:lnTo>
                      <a:pt x="327" y="429"/>
                    </a:lnTo>
                    <a:lnTo>
                      <a:pt x="327" y="431"/>
                    </a:lnTo>
                    <a:lnTo>
                      <a:pt x="328" y="433"/>
                    </a:lnTo>
                    <a:lnTo>
                      <a:pt x="329" y="433"/>
                    </a:lnTo>
                    <a:lnTo>
                      <a:pt x="332" y="436"/>
                    </a:lnTo>
                    <a:lnTo>
                      <a:pt x="333" y="435"/>
                    </a:lnTo>
                    <a:lnTo>
                      <a:pt x="334" y="436"/>
                    </a:lnTo>
                    <a:lnTo>
                      <a:pt x="336" y="436"/>
                    </a:lnTo>
                    <a:lnTo>
                      <a:pt x="338" y="438"/>
                    </a:lnTo>
                    <a:lnTo>
                      <a:pt x="339" y="440"/>
                    </a:lnTo>
                    <a:lnTo>
                      <a:pt x="341" y="437"/>
                    </a:lnTo>
                    <a:lnTo>
                      <a:pt x="343" y="438"/>
                    </a:lnTo>
                    <a:lnTo>
                      <a:pt x="346" y="439"/>
                    </a:lnTo>
                    <a:lnTo>
                      <a:pt x="349" y="436"/>
                    </a:lnTo>
                    <a:lnTo>
                      <a:pt x="351" y="439"/>
                    </a:lnTo>
                    <a:lnTo>
                      <a:pt x="358" y="439"/>
                    </a:lnTo>
                    <a:lnTo>
                      <a:pt x="361" y="435"/>
                    </a:lnTo>
                    <a:lnTo>
                      <a:pt x="362" y="438"/>
                    </a:lnTo>
                    <a:lnTo>
                      <a:pt x="366" y="439"/>
                    </a:lnTo>
                    <a:lnTo>
                      <a:pt x="367" y="438"/>
                    </a:lnTo>
                    <a:lnTo>
                      <a:pt x="368" y="439"/>
                    </a:lnTo>
                    <a:lnTo>
                      <a:pt x="367" y="439"/>
                    </a:lnTo>
                    <a:lnTo>
                      <a:pt x="368" y="441"/>
                    </a:lnTo>
                    <a:lnTo>
                      <a:pt x="369" y="443"/>
                    </a:lnTo>
                    <a:lnTo>
                      <a:pt x="368" y="444"/>
                    </a:lnTo>
                    <a:lnTo>
                      <a:pt x="370" y="446"/>
                    </a:lnTo>
                    <a:lnTo>
                      <a:pt x="370" y="448"/>
                    </a:lnTo>
                    <a:lnTo>
                      <a:pt x="370" y="450"/>
                    </a:lnTo>
                    <a:lnTo>
                      <a:pt x="370" y="451"/>
                    </a:lnTo>
                    <a:lnTo>
                      <a:pt x="370" y="452"/>
                    </a:lnTo>
                    <a:lnTo>
                      <a:pt x="370" y="454"/>
                    </a:lnTo>
                    <a:lnTo>
                      <a:pt x="369" y="454"/>
                    </a:lnTo>
                    <a:lnTo>
                      <a:pt x="368" y="456"/>
                    </a:lnTo>
                    <a:lnTo>
                      <a:pt x="368" y="458"/>
                    </a:lnTo>
                    <a:lnTo>
                      <a:pt x="370" y="460"/>
                    </a:lnTo>
                    <a:lnTo>
                      <a:pt x="371" y="461"/>
                    </a:lnTo>
                    <a:lnTo>
                      <a:pt x="370" y="462"/>
                    </a:lnTo>
                    <a:lnTo>
                      <a:pt x="371" y="463"/>
                    </a:lnTo>
                    <a:lnTo>
                      <a:pt x="370" y="463"/>
                    </a:lnTo>
                    <a:lnTo>
                      <a:pt x="371" y="465"/>
                    </a:lnTo>
                    <a:lnTo>
                      <a:pt x="370" y="467"/>
                    </a:lnTo>
                    <a:lnTo>
                      <a:pt x="369" y="468"/>
                    </a:lnTo>
                    <a:lnTo>
                      <a:pt x="370" y="471"/>
                    </a:lnTo>
                    <a:lnTo>
                      <a:pt x="369" y="471"/>
                    </a:lnTo>
                    <a:lnTo>
                      <a:pt x="370" y="473"/>
                    </a:lnTo>
                    <a:lnTo>
                      <a:pt x="371" y="473"/>
                    </a:lnTo>
                    <a:lnTo>
                      <a:pt x="371" y="475"/>
                    </a:lnTo>
                    <a:lnTo>
                      <a:pt x="370" y="476"/>
                    </a:lnTo>
                    <a:lnTo>
                      <a:pt x="370" y="478"/>
                    </a:lnTo>
                    <a:lnTo>
                      <a:pt x="368" y="481"/>
                    </a:lnTo>
                    <a:lnTo>
                      <a:pt x="368" y="483"/>
                    </a:lnTo>
                    <a:lnTo>
                      <a:pt x="370" y="484"/>
                    </a:lnTo>
                    <a:lnTo>
                      <a:pt x="373" y="486"/>
                    </a:lnTo>
                    <a:lnTo>
                      <a:pt x="375" y="487"/>
                    </a:lnTo>
                    <a:lnTo>
                      <a:pt x="375" y="485"/>
                    </a:lnTo>
                    <a:lnTo>
                      <a:pt x="376" y="486"/>
                    </a:lnTo>
                    <a:lnTo>
                      <a:pt x="377" y="486"/>
                    </a:lnTo>
                    <a:lnTo>
                      <a:pt x="376" y="485"/>
                    </a:lnTo>
                    <a:lnTo>
                      <a:pt x="376" y="484"/>
                    </a:lnTo>
                    <a:lnTo>
                      <a:pt x="378" y="484"/>
                    </a:lnTo>
                    <a:lnTo>
                      <a:pt x="378" y="481"/>
                    </a:lnTo>
                    <a:lnTo>
                      <a:pt x="379" y="483"/>
                    </a:lnTo>
                    <a:lnTo>
                      <a:pt x="379" y="481"/>
                    </a:lnTo>
                    <a:lnTo>
                      <a:pt x="381" y="483"/>
                    </a:lnTo>
                    <a:lnTo>
                      <a:pt x="382" y="482"/>
                    </a:lnTo>
                    <a:lnTo>
                      <a:pt x="380" y="480"/>
                    </a:lnTo>
                    <a:lnTo>
                      <a:pt x="382" y="480"/>
                    </a:lnTo>
                    <a:lnTo>
                      <a:pt x="380" y="477"/>
                    </a:lnTo>
                    <a:lnTo>
                      <a:pt x="380" y="476"/>
                    </a:lnTo>
                    <a:lnTo>
                      <a:pt x="382" y="478"/>
                    </a:lnTo>
                    <a:lnTo>
                      <a:pt x="382" y="476"/>
                    </a:lnTo>
                    <a:lnTo>
                      <a:pt x="383" y="475"/>
                    </a:lnTo>
                    <a:lnTo>
                      <a:pt x="382" y="473"/>
                    </a:lnTo>
                    <a:lnTo>
                      <a:pt x="384" y="473"/>
                    </a:lnTo>
                    <a:lnTo>
                      <a:pt x="383" y="471"/>
                    </a:lnTo>
                    <a:lnTo>
                      <a:pt x="383" y="464"/>
                    </a:lnTo>
                    <a:lnTo>
                      <a:pt x="385" y="463"/>
                    </a:lnTo>
                    <a:lnTo>
                      <a:pt x="384" y="461"/>
                    </a:lnTo>
                    <a:lnTo>
                      <a:pt x="384" y="460"/>
                    </a:lnTo>
                    <a:lnTo>
                      <a:pt x="385" y="462"/>
                    </a:lnTo>
                    <a:lnTo>
                      <a:pt x="386" y="461"/>
                    </a:lnTo>
                    <a:lnTo>
                      <a:pt x="386" y="459"/>
                    </a:lnTo>
                    <a:lnTo>
                      <a:pt x="387" y="459"/>
                    </a:lnTo>
                    <a:lnTo>
                      <a:pt x="387" y="457"/>
                    </a:lnTo>
                    <a:lnTo>
                      <a:pt x="388" y="456"/>
                    </a:lnTo>
                    <a:lnTo>
                      <a:pt x="388" y="454"/>
                    </a:lnTo>
                    <a:lnTo>
                      <a:pt x="389" y="453"/>
                    </a:lnTo>
                    <a:lnTo>
                      <a:pt x="390" y="454"/>
                    </a:lnTo>
                    <a:lnTo>
                      <a:pt x="391" y="454"/>
                    </a:lnTo>
                    <a:lnTo>
                      <a:pt x="392" y="452"/>
                    </a:lnTo>
                    <a:lnTo>
                      <a:pt x="393" y="454"/>
                    </a:lnTo>
                    <a:lnTo>
                      <a:pt x="394" y="452"/>
                    </a:lnTo>
                    <a:lnTo>
                      <a:pt x="392" y="452"/>
                    </a:lnTo>
                    <a:lnTo>
                      <a:pt x="393" y="451"/>
                    </a:lnTo>
                    <a:lnTo>
                      <a:pt x="392" y="450"/>
                    </a:lnTo>
                    <a:lnTo>
                      <a:pt x="396" y="450"/>
                    </a:lnTo>
                    <a:lnTo>
                      <a:pt x="394" y="448"/>
                    </a:lnTo>
                    <a:lnTo>
                      <a:pt x="395" y="447"/>
                    </a:lnTo>
                    <a:lnTo>
                      <a:pt x="394" y="448"/>
                    </a:lnTo>
                    <a:lnTo>
                      <a:pt x="393" y="447"/>
                    </a:lnTo>
                    <a:lnTo>
                      <a:pt x="394" y="446"/>
                    </a:lnTo>
                    <a:lnTo>
                      <a:pt x="395" y="446"/>
                    </a:lnTo>
                    <a:lnTo>
                      <a:pt x="394" y="446"/>
                    </a:lnTo>
                    <a:lnTo>
                      <a:pt x="395" y="444"/>
                    </a:lnTo>
                    <a:lnTo>
                      <a:pt x="396" y="444"/>
                    </a:lnTo>
                    <a:lnTo>
                      <a:pt x="395" y="443"/>
                    </a:lnTo>
                    <a:lnTo>
                      <a:pt x="395" y="441"/>
                    </a:lnTo>
                    <a:lnTo>
                      <a:pt x="397" y="440"/>
                    </a:lnTo>
                    <a:lnTo>
                      <a:pt x="395" y="440"/>
                    </a:lnTo>
                    <a:lnTo>
                      <a:pt x="395" y="439"/>
                    </a:lnTo>
                    <a:lnTo>
                      <a:pt x="394" y="439"/>
                    </a:lnTo>
                    <a:lnTo>
                      <a:pt x="396" y="437"/>
                    </a:lnTo>
                    <a:lnTo>
                      <a:pt x="397" y="438"/>
                    </a:lnTo>
                    <a:lnTo>
                      <a:pt x="397" y="437"/>
                    </a:lnTo>
                    <a:lnTo>
                      <a:pt x="398" y="437"/>
                    </a:lnTo>
                    <a:lnTo>
                      <a:pt x="399" y="436"/>
                    </a:lnTo>
                    <a:lnTo>
                      <a:pt x="400" y="434"/>
                    </a:lnTo>
                    <a:lnTo>
                      <a:pt x="400" y="435"/>
                    </a:lnTo>
                    <a:lnTo>
                      <a:pt x="400" y="433"/>
                    </a:lnTo>
                    <a:lnTo>
                      <a:pt x="403" y="433"/>
                    </a:lnTo>
                    <a:lnTo>
                      <a:pt x="403" y="430"/>
                    </a:lnTo>
                    <a:lnTo>
                      <a:pt x="404" y="427"/>
                    </a:lnTo>
                    <a:lnTo>
                      <a:pt x="406" y="426"/>
                    </a:lnTo>
                    <a:lnTo>
                      <a:pt x="408" y="424"/>
                    </a:lnTo>
                    <a:lnTo>
                      <a:pt x="409" y="423"/>
                    </a:lnTo>
                    <a:lnTo>
                      <a:pt x="409" y="422"/>
                    </a:lnTo>
                    <a:lnTo>
                      <a:pt x="408" y="423"/>
                    </a:lnTo>
                    <a:lnTo>
                      <a:pt x="409" y="418"/>
                    </a:lnTo>
                    <a:lnTo>
                      <a:pt x="411" y="419"/>
                    </a:lnTo>
                    <a:lnTo>
                      <a:pt x="412" y="418"/>
                    </a:lnTo>
                    <a:lnTo>
                      <a:pt x="413" y="418"/>
                    </a:lnTo>
                    <a:lnTo>
                      <a:pt x="413" y="417"/>
                    </a:lnTo>
                    <a:lnTo>
                      <a:pt x="414" y="418"/>
                    </a:lnTo>
                    <a:lnTo>
                      <a:pt x="416" y="417"/>
                    </a:lnTo>
                    <a:lnTo>
                      <a:pt x="414" y="416"/>
                    </a:lnTo>
                    <a:lnTo>
                      <a:pt x="414" y="415"/>
                    </a:lnTo>
                    <a:lnTo>
                      <a:pt x="414" y="416"/>
                    </a:lnTo>
                    <a:lnTo>
                      <a:pt x="416" y="416"/>
                    </a:lnTo>
                    <a:lnTo>
                      <a:pt x="416" y="414"/>
                    </a:lnTo>
                    <a:lnTo>
                      <a:pt x="417" y="414"/>
                    </a:lnTo>
                    <a:lnTo>
                      <a:pt x="417" y="413"/>
                    </a:lnTo>
                    <a:lnTo>
                      <a:pt x="418" y="413"/>
                    </a:lnTo>
                    <a:lnTo>
                      <a:pt x="420" y="412"/>
                    </a:lnTo>
                    <a:lnTo>
                      <a:pt x="421" y="413"/>
                    </a:lnTo>
                    <a:lnTo>
                      <a:pt x="424" y="410"/>
                    </a:lnTo>
                    <a:lnTo>
                      <a:pt x="422" y="409"/>
                    </a:lnTo>
                    <a:lnTo>
                      <a:pt x="423" y="406"/>
                    </a:lnTo>
                    <a:lnTo>
                      <a:pt x="424" y="405"/>
                    </a:lnTo>
                    <a:lnTo>
                      <a:pt x="425" y="405"/>
                    </a:lnTo>
                    <a:lnTo>
                      <a:pt x="424" y="404"/>
                    </a:lnTo>
                    <a:lnTo>
                      <a:pt x="425" y="404"/>
                    </a:lnTo>
                    <a:lnTo>
                      <a:pt x="425" y="403"/>
                    </a:lnTo>
                    <a:lnTo>
                      <a:pt x="427" y="403"/>
                    </a:lnTo>
                    <a:lnTo>
                      <a:pt x="427" y="401"/>
                    </a:lnTo>
                    <a:lnTo>
                      <a:pt x="428" y="400"/>
                    </a:lnTo>
                    <a:lnTo>
                      <a:pt x="429" y="398"/>
                    </a:lnTo>
                    <a:lnTo>
                      <a:pt x="428" y="395"/>
                    </a:lnTo>
                    <a:lnTo>
                      <a:pt x="429" y="392"/>
                    </a:lnTo>
                    <a:lnTo>
                      <a:pt x="429" y="391"/>
                    </a:lnTo>
                    <a:lnTo>
                      <a:pt x="430" y="389"/>
                    </a:lnTo>
                    <a:lnTo>
                      <a:pt x="430" y="388"/>
                    </a:lnTo>
                    <a:lnTo>
                      <a:pt x="431" y="388"/>
                    </a:lnTo>
                    <a:lnTo>
                      <a:pt x="432" y="386"/>
                    </a:lnTo>
                    <a:lnTo>
                      <a:pt x="437" y="389"/>
                    </a:lnTo>
                    <a:lnTo>
                      <a:pt x="440" y="389"/>
                    </a:lnTo>
                    <a:lnTo>
                      <a:pt x="441" y="389"/>
                    </a:lnTo>
                    <a:lnTo>
                      <a:pt x="442" y="387"/>
                    </a:lnTo>
                    <a:lnTo>
                      <a:pt x="443" y="386"/>
                    </a:lnTo>
                    <a:lnTo>
                      <a:pt x="442" y="386"/>
                    </a:lnTo>
                    <a:lnTo>
                      <a:pt x="442" y="384"/>
                    </a:lnTo>
                    <a:lnTo>
                      <a:pt x="443" y="385"/>
                    </a:lnTo>
                    <a:lnTo>
                      <a:pt x="445" y="384"/>
                    </a:lnTo>
                    <a:lnTo>
                      <a:pt x="444" y="383"/>
                    </a:lnTo>
                    <a:lnTo>
                      <a:pt x="446" y="384"/>
                    </a:lnTo>
                    <a:lnTo>
                      <a:pt x="446" y="383"/>
                    </a:lnTo>
                    <a:lnTo>
                      <a:pt x="445" y="382"/>
                    </a:lnTo>
                    <a:lnTo>
                      <a:pt x="447" y="382"/>
                    </a:lnTo>
                    <a:lnTo>
                      <a:pt x="448" y="381"/>
                    </a:lnTo>
                    <a:lnTo>
                      <a:pt x="447" y="380"/>
                    </a:lnTo>
                    <a:lnTo>
                      <a:pt x="449" y="379"/>
                    </a:lnTo>
                    <a:lnTo>
                      <a:pt x="449" y="381"/>
                    </a:lnTo>
                    <a:lnTo>
                      <a:pt x="450" y="381"/>
                    </a:lnTo>
                    <a:lnTo>
                      <a:pt x="450" y="380"/>
                    </a:lnTo>
                    <a:lnTo>
                      <a:pt x="449" y="378"/>
                    </a:lnTo>
                    <a:lnTo>
                      <a:pt x="449" y="376"/>
                    </a:lnTo>
                    <a:lnTo>
                      <a:pt x="450" y="376"/>
                    </a:lnTo>
                    <a:lnTo>
                      <a:pt x="452" y="377"/>
                    </a:lnTo>
                    <a:lnTo>
                      <a:pt x="452" y="375"/>
                    </a:lnTo>
                    <a:lnTo>
                      <a:pt x="455" y="373"/>
                    </a:lnTo>
                    <a:lnTo>
                      <a:pt x="456" y="373"/>
                    </a:lnTo>
                    <a:lnTo>
                      <a:pt x="457" y="373"/>
                    </a:lnTo>
                    <a:lnTo>
                      <a:pt x="458" y="373"/>
                    </a:lnTo>
                    <a:lnTo>
                      <a:pt x="458" y="374"/>
                    </a:lnTo>
                    <a:lnTo>
                      <a:pt x="458" y="375"/>
                    </a:lnTo>
                    <a:lnTo>
                      <a:pt x="459" y="374"/>
                    </a:lnTo>
                    <a:lnTo>
                      <a:pt x="461" y="375"/>
                    </a:lnTo>
                    <a:lnTo>
                      <a:pt x="463" y="374"/>
                    </a:lnTo>
                    <a:lnTo>
                      <a:pt x="463" y="376"/>
                    </a:lnTo>
                    <a:lnTo>
                      <a:pt x="465" y="376"/>
                    </a:lnTo>
                    <a:lnTo>
                      <a:pt x="466" y="378"/>
                    </a:lnTo>
                    <a:lnTo>
                      <a:pt x="469" y="378"/>
                    </a:lnTo>
                    <a:lnTo>
                      <a:pt x="470" y="380"/>
                    </a:lnTo>
                    <a:lnTo>
                      <a:pt x="473" y="382"/>
                    </a:lnTo>
                    <a:lnTo>
                      <a:pt x="475" y="382"/>
                    </a:lnTo>
                    <a:lnTo>
                      <a:pt x="478" y="382"/>
                    </a:lnTo>
                    <a:lnTo>
                      <a:pt x="478" y="385"/>
                    </a:lnTo>
                    <a:lnTo>
                      <a:pt x="482" y="388"/>
                    </a:lnTo>
                    <a:lnTo>
                      <a:pt x="484" y="391"/>
                    </a:lnTo>
                    <a:lnTo>
                      <a:pt x="486" y="392"/>
                    </a:lnTo>
                    <a:lnTo>
                      <a:pt x="488" y="391"/>
                    </a:lnTo>
                    <a:lnTo>
                      <a:pt x="489" y="392"/>
                    </a:lnTo>
                    <a:lnTo>
                      <a:pt x="490" y="394"/>
                    </a:lnTo>
                    <a:lnTo>
                      <a:pt x="491" y="397"/>
                    </a:lnTo>
                    <a:lnTo>
                      <a:pt x="495" y="401"/>
                    </a:lnTo>
                    <a:lnTo>
                      <a:pt x="496" y="403"/>
                    </a:lnTo>
                    <a:lnTo>
                      <a:pt x="497" y="403"/>
                    </a:lnTo>
                    <a:lnTo>
                      <a:pt x="499" y="407"/>
                    </a:lnTo>
                    <a:lnTo>
                      <a:pt x="504" y="405"/>
                    </a:lnTo>
                    <a:lnTo>
                      <a:pt x="506" y="406"/>
                    </a:lnTo>
                    <a:lnTo>
                      <a:pt x="507" y="406"/>
                    </a:lnTo>
                    <a:lnTo>
                      <a:pt x="508" y="408"/>
                    </a:lnTo>
                    <a:lnTo>
                      <a:pt x="510" y="405"/>
                    </a:lnTo>
                    <a:lnTo>
                      <a:pt x="514" y="403"/>
                    </a:lnTo>
                    <a:lnTo>
                      <a:pt x="515" y="402"/>
                    </a:lnTo>
                    <a:lnTo>
                      <a:pt x="517" y="403"/>
                    </a:lnTo>
                    <a:lnTo>
                      <a:pt x="518" y="401"/>
                    </a:lnTo>
                    <a:lnTo>
                      <a:pt x="520" y="397"/>
                    </a:lnTo>
                    <a:lnTo>
                      <a:pt x="522" y="399"/>
                    </a:lnTo>
                    <a:lnTo>
                      <a:pt x="522" y="397"/>
                    </a:lnTo>
                    <a:lnTo>
                      <a:pt x="525" y="394"/>
                    </a:lnTo>
                    <a:lnTo>
                      <a:pt x="531" y="397"/>
                    </a:lnTo>
                    <a:lnTo>
                      <a:pt x="533" y="399"/>
                    </a:lnTo>
                    <a:lnTo>
                      <a:pt x="536" y="404"/>
                    </a:lnTo>
                    <a:lnTo>
                      <a:pt x="539" y="409"/>
                    </a:lnTo>
                    <a:lnTo>
                      <a:pt x="539" y="410"/>
                    </a:lnTo>
                    <a:lnTo>
                      <a:pt x="542" y="412"/>
                    </a:lnTo>
                    <a:lnTo>
                      <a:pt x="545" y="412"/>
                    </a:lnTo>
                    <a:lnTo>
                      <a:pt x="548" y="410"/>
                    </a:lnTo>
                    <a:lnTo>
                      <a:pt x="551" y="411"/>
                    </a:lnTo>
                    <a:lnTo>
                      <a:pt x="554" y="407"/>
                    </a:lnTo>
                    <a:lnTo>
                      <a:pt x="557" y="409"/>
                    </a:lnTo>
                    <a:lnTo>
                      <a:pt x="559" y="408"/>
                    </a:lnTo>
                    <a:lnTo>
                      <a:pt x="562" y="409"/>
                    </a:lnTo>
                    <a:lnTo>
                      <a:pt x="564" y="407"/>
                    </a:lnTo>
                    <a:lnTo>
                      <a:pt x="565" y="403"/>
                    </a:lnTo>
                    <a:lnTo>
                      <a:pt x="566" y="401"/>
                    </a:lnTo>
                    <a:lnTo>
                      <a:pt x="571" y="401"/>
                    </a:lnTo>
                    <a:lnTo>
                      <a:pt x="572" y="399"/>
                    </a:lnTo>
                    <a:lnTo>
                      <a:pt x="574" y="396"/>
                    </a:lnTo>
                    <a:lnTo>
                      <a:pt x="577" y="396"/>
                    </a:lnTo>
                    <a:lnTo>
                      <a:pt x="579" y="397"/>
                    </a:lnTo>
                    <a:lnTo>
                      <a:pt x="577" y="389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71" name="Group 80">
              <a:extLst>
                <a:ext uri="{FF2B5EF4-FFF2-40B4-BE49-F238E27FC236}">
                  <a16:creationId xmlns:a16="http://schemas.microsoft.com/office/drawing/2014/main" id="{6D254643-81DE-4D84-8FE5-6C24EE5BA06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81" y="2725"/>
              <a:ext cx="335" cy="268"/>
              <a:chOff x="1081" y="2725"/>
              <a:chExt cx="335" cy="268"/>
            </a:xfrm>
          </p:grpSpPr>
          <p:sp>
            <p:nvSpPr>
              <p:cNvPr id="517" name="Freeform 78">
                <a:extLst>
                  <a:ext uri="{FF2B5EF4-FFF2-40B4-BE49-F238E27FC236}">
                    <a16:creationId xmlns:a16="http://schemas.microsoft.com/office/drawing/2014/main" id="{0D1DA062-FF45-4C7E-8860-FE2180BD87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1" y="2725"/>
                <a:ext cx="335" cy="268"/>
              </a:xfrm>
              <a:custGeom>
                <a:avLst/>
                <a:gdLst>
                  <a:gd name="T0" fmla="*/ 328 w 335"/>
                  <a:gd name="T1" fmla="*/ 238 h 268"/>
                  <a:gd name="T2" fmla="*/ 328 w 335"/>
                  <a:gd name="T3" fmla="*/ 207 h 268"/>
                  <a:gd name="T4" fmla="*/ 325 w 335"/>
                  <a:gd name="T5" fmla="*/ 172 h 268"/>
                  <a:gd name="T6" fmla="*/ 319 w 335"/>
                  <a:gd name="T7" fmla="*/ 134 h 268"/>
                  <a:gd name="T8" fmla="*/ 289 w 335"/>
                  <a:gd name="T9" fmla="*/ 125 h 268"/>
                  <a:gd name="T10" fmla="*/ 278 w 335"/>
                  <a:gd name="T11" fmla="*/ 116 h 268"/>
                  <a:gd name="T12" fmla="*/ 276 w 335"/>
                  <a:gd name="T13" fmla="*/ 91 h 268"/>
                  <a:gd name="T14" fmla="*/ 262 w 335"/>
                  <a:gd name="T15" fmla="*/ 77 h 268"/>
                  <a:gd name="T16" fmla="*/ 266 w 335"/>
                  <a:gd name="T17" fmla="*/ 43 h 268"/>
                  <a:gd name="T18" fmla="*/ 254 w 335"/>
                  <a:gd name="T19" fmla="*/ 21 h 268"/>
                  <a:gd name="T20" fmla="*/ 238 w 335"/>
                  <a:gd name="T21" fmla="*/ 22 h 268"/>
                  <a:gd name="T22" fmla="*/ 229 w 335"/>
                  <a:gd name="T23" fmla="*/ 20 h 268"/>
                  <a:gd name="T24" fmla="*/ 213 w 335"/>
                  <a:gd name="T25" fmla="*/ 7 h 268"/>
                  <a:gd name="T26" fmla="*/ 202 w 335"/>
                  <a:gd name="T27" fmla="*/ 1 h 268"/>
                  <a:gd name="T28" fmla="*/ 188 w 335"/>
                  <a:gd name="T29" fmla="*/ 20 h 268"/>
                  <a:gd name="T30" fmla="*/ 188 w 335"/>
                  <a:gd name="T31" fmla="*/ 43 h 268"/>
                  <a:gd name="T32" fmla="*/ 186 w 335"/>
                  <a:gd name="T33" fmla="*/ 68 h 268"/>
                  <a:gd name="T34" fmla="*/ 150 w 335"/>
                  <a:gd name="T35" fmla="*/ 62 h 268"/>
                  <a:gd name="T36" fmla="*/ 130 w 335"/>
                  <a:gd name="T37" fmla="*/ 84 h 268"/>
                  <a:gd name="T38" fmla="*/ 113 w 335"/>
                  <a:gd name="T39" fmla="*/ 79 h 268"/>
                  <a:gd name="T40" fmla="*/ 87 w 335"/>
                  <a:gd name="T41" fmla="*/ 63 h 268"/>
                  <a:gd name="T42" fmla="*/ 66 w 335"/>
                  <a:gd name="T43" fmla="*/ 79 h 268"/>
                  <a:gd name="T44" fmla="*/ 51 w 335"/>
                  <a:gd name="T45" fmla="*/ 81 h 268"/>
                  <a:gd name="T46" fmla="*/ 39 w 335"/>
                  <a:gd name="T47" fmla="*/ 78 h 268"/>
                  <a:gd name="T48" fmla="*/ 36 w 335"/>
                  <a:gd name="T49" fmla="*/ 82 h 268"/>
                  <a:gd name="T50" fmla="*/ 32 w 335"/>
                  <a:gd name="T51" fmla="*/ 94 h 268"/>
                  <a:gd name="T52" fmla="*/ 23 w 335"/>
                  <a:gd name="T53" fmla="*/ 112 h 268"/>
                  <a:gd name="T54" fmla="*/ 8 w 335"/>
                  <a:gd name="T55" fmla="*/ 126 h 268"/>
                  <a:gd name="T56" fmla="*/ 3 w 335"/>
                  <a:gd name="T57" fmla="*/ 148 h 268"/>
                  <a:gd name="T58" fmla="*/ 8 w 335"/>
                  <a:gd name="T59" fmla="*/ 172 h 268"/>
                  <a:gd name="T60" fmla="*/ 14 w 335"/>
                  <a:gd name="T61" fmla="*/ 188 h 268"/>
                  <a:gd name="T62" fmla="*/ 18 w 335"/>
                  <a:gd name="T63" fmla="*/ 202 h 268"/>
                  <a:gd name="T64" fmla="*/ 23 w 335"/>
                  <a:gd name="T65" fmla="*/ 209 h 268"/>
                  <a:gd name="T66" fmla="*/ 29 w 335"/>
                  <a:gd name="T67" fmla="*/ 224 h 268"/>
                  <a:gd name="T68" fmla="*/ 41 w 335"/>
                  <a:gd name="T69" fmla="*/ 226 h 268"/>
                  <a:gd name="T70" fmla="*/ 54 w 335"/>
                  <a:gd name="T71" fmla="*/ 222 h 268"/>
                  <a:gd name="T72" fmla="*/ 55 w 335"/>
                  <a:gd name="T73" fmla="*/ 238 h 268"/>
                  <a:gd name="T74" fmla="*/ 63 w 335"/>
                  <a:gd name="T75" fmla="*/ 236 h 268"/>
                  <a:gd name="T76" fmla="*/ 78 w 335"/>
                  <a:gd name="T77" fmla="*/ 237 h 268"/>
                  <a:gd name="T78" fmla="*/ 93 w 335"/>
                  <a:gd name="T79" fmla="*/ 224 h 268"/>
                  <a:gd name="T80" fmla="*/ 131 w 335"/>
                  <a:gd name="T81" fmla="*/ 211 h 268"/>
                  <a:gd name="T82" fmla="*/ 140 w 335"/>
                  <a:gd name="T83" fmla="*/ 202 h 268"/>
                  <a:gd name="T84" fmla="*/ 148 w 335"/>
                  <a:gd name="T85" fmla="*/ 190 h 268"/>
                  <a:gd name="T86" fmla="*/ 155 w 335"/>
                  <a:gd name="T87" fmla="*/ 191 h 268"/>
                  <a:gd name="T88" fmla="*/ 165 w 335"/>
                  <a:gd name="T89" fmla="*/ 193 h 268"/>
                  <a:gd name="T90" fmla="*/ 173 w 335"/>
                  <a:gd name="T91" fmla="*/ 198 h 268"/>
                  <a:gd name="T92" fmla="*/ 180 w 335"/>
                  <a:gd name="T93" fmla="*/ 214 h 268"/>
                  <a:gd name="T94" fmla="*/ 192 w 335"/>
                  <a:gd name="T95" fmla="*/ 224 h 268"/>
                  <a:gd name="T96" fmla="*/ 202 w 335"/>
                  <a:gd name="T97" fmla="*/ 234 h 268"/>
                  <a:gd name="T98" fmla="*/ 213 w 335"/>
                  <a:gd name="T99" fmla="*/ 246 h 268"/>
                  <a:gd name="T100" fmla="*/ 231 w 335"/>
                  <a:gd name="T101" fmla="*/ 249 h 268"/>
                  <a:gd name="T102" fmla="*/ 242 w 335"/>
                  <a:gd name="T103" fmla="*/ 243 h 268"/>
                  <a:gd name="T104" fmla="*/ 256 w 335"/>
                  <a:gd name="T105" fmla="*/ 250 h 268"/>
                  <a:gd name="T106" fmla="*/ 268 w 335"/>
                  <a:gd name="T107" fmla="*/ 259 h 268"/>
                  <a:gd name="T108" fmla="*/ 268 w 335"/>
                  <a:gd name="T109" fmla="*/ 267 h 268"/>
                  <a:gd name="T110" fmla="*/ 279 w 335"/>
                  <a:gd name="T111" fmla="*/ 263 h 268"/>
                  <a:gd name="T112" fmla="*/ 282 w 335"/>
                  <a:gd name="T113" fmla="*/ 252 h 268"/>
                  <a:gd name="T114" fmla="*/ 295 w 335"/>
                  <a:gd name="T115" fmla="*/ 241 h 268"/>
                  <a:gd name="T116" fmla="*/ 305 w 335"/>
                  <a:gd name="T117" fmla="*/ 255 h 268"/>
                  <a:gd name="T118" fmla="*/ 319 w 335"/>
                  <a:gd name="T119" fmla="*/ 253 h 268"/>
                  <a:gd name="T120" fmla="*/ 326 w 335"/>
                  <a:gd name="T121" fmla="*/ 256 h 26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35"/>
                  <a:gd name="T184" fmla="*/ 0 h 268"/>
                  <a:gd name="T185" fmla="*/ 335 w 335"/>
                  <a:gd name="T186" fmla="*/ 268 h 26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35" h="268">
                    <a:moveTo>
                      <a:pt x="334" y="252"/>
                    </a:moveTo>
                    <a:lnTo>
                      <a:pt x="334" y="249"/>
                    </a:lnTo>
                    <a:lnTo>
                      <a:pt x="333" y="249"/>
                    </a:lnTo>
                    <a:lnTo>
                      <a:pt x="332" y="246"/>
                    </a:lnTo>
                    <a:lnTo>
                      <a:pt x="331" y="245"/>
                    </a:lnTo>
                    <a:lnTo>
                      <a:pt x="331" y="244"/>
                    </a:lnTo>
                    <a:lnTo>
                      <a:pt x="329" y="242"/>
                    </a:lnTo>
                    <a:lnTo>
                      <a:pt x="328" y="239"/>
                    </a:lnTo>
                    <a:lnTo>
                      <a:pt x="326" y="238"/>
                    </a:lnTo>
                    <a:lnTo>
                      <a:pt x="328" y="238"/>
                    </a:lnTo>
                    <a:lnTo>
                      <a:pt x="324" y="233"/>
                    </a:lnTo>
                    <a:lnTo>
                      <a:pt x="326" y="232"/>
                    </a:lnTo>
                    <a:lnTo>
                      <a:pt x="327" y="231"/>
                    </a:lnTo>
                    <a:lnTo>
                      <a:pt x="323" y="230"/>
                    </a:lnTo>
                    <a:lnTo>
                      <a:pt x="321" y="228"/>
                    </a:lnTo>
                    <a:lnTo>
                      <a:pt x="326" y="220"/>
                    </a:lnTo>
                    <a:lnTo>
                      <a:pt x="325" y="218"/>
                    </a:lnTo>
                    <a:lnTo>
                      <a:pt x="328" y="214"/>
                    </a:lnTo>
                    <a:lnTo>
                      <a:pt x="331" y="212"/>
                    </a:lnTo>
                    <a:lnTo>
                      <a:pt x="328" y="210"/>
                    </a:lnTo>
                    <a:lnTo>
                      <a:pt x="328" y="207"/>
                    </a:lnTo>
                    <a:lnTo>
                      <a:pt x="327" y="204"/>
                    </a:lnTo>
                    <a:lnTo>
                      <a:pt x="323" y="201"/>
                    </a:lnTo>
                    <a:lnTo>
                      <a:pt x="323" y="200"/>
                    </a:lnTo>
                    <a:lnTo>
                      <a:pt x="325" y="196"/>
                    </a:lnTo>
                    <a:lnTo>
                      <a:pt x="328" y="194"/>
                    </a:lnTo>
                    <a:lnTo>
                      <a:pt x="326" y="191"/>
                    </a:lnTo>
                    <a:lnTo>
                      <a:pt x="325" y="180"/>
                    </a:lnTo>
                    <a:lnTo>
                      <a:pt x="324" y="180"/>
                    </a:lnTo>
                    <a:lnTo>
                      <a:pt x="324" y="178"/>
                    </a:lnTo>
                    <a:lnTo>
                      <a:pt x="326" y="174"/>
                    </a:lnTo>
                    <a:lnTo>
                      <a:pt x="325" y="172"/>
                    </a:lnTo>
                    <a:lnTo>
                      <a:pt x="327" y="167"/>
                    </a:lnTo>
                    <a:lnTo>
                      <a:pt x="324" y="165"/>
                    </a:lnTo>
                    <a:lnTo>
                      <a:pt x="325" y="164"/>
                    </a:lnTo>
                    <a:lnTo>
                      <a:pt x="328" y="158"/>
                    </a:lnTo>
                    <a:lnTo>
                      <a:pt x="330" y="155"/>
                    </a:lnTo>
                    <a:lnTo>
                      <a:pt x="328" y="150"/>
                    </a:lnTo>
                    <a:lnTo>
                      <a:pt x="323" y="145"/>
                    </a:lnTo>
                    <a:lnTo>
                      <a:pt x="322" y="142"/>
                    </a:lnTo>
                    <a:lnTo>
                      <a:pt x="322" y="139"/>
                    </a:lnTo>
                    <a:lnTo>
                      <a:pt x="322" y="133"/>
                    </a:lnTo>
                    <a:lnTo>
                      <a:pt x="319" y="134"/>
                    </a:lnTo>
                    <a:lnTo>
                      <a:pt x="316" y="127"/>
                    </a:lnTo>
                    <a:lnTo>
                      <a:pt x="313" y="127"/>
                    </a:lnTo>
                    <a:lnTo>
                      <a:pt x="308" y="125"/>
                    </a:lnTo>
                    <a:lnTo>
                      <a:pt x="306" y="123"/>
                    </a:lnTo>
                    <a:lnTo>
                      <a:pt x="304" y="120"/>
                    </a:lnTo>
                    <a:lnTo>
                      <a:pt x="301" y="119"/>
                    </a:lnTo>
                    <a:lnTo>
                      <a:pt x="300" y="117"/>
                    </a:lnTo>
                    <a:lnTo>
                      <a:pt x="298" y="116"/>
                    </a:lnTo>
                    <a:lnTo>
                      <a:pt x="296" y="116"/>
                    </a:lnTo>
                    <a:lnTo>
                      <a:pt x="294" y="116"/>
                    </a:lnTo>
                    <a:lnTo>
                      <a:pt x="289" y="125"/>
                    </a:lnTo>
                    <a:lnTo>
                      <a:pt x="284" y="129"/>
                    </a:lnTo>
                    <a:lnTo>
                      <a:pt x="282" y="129"/>
                    </a:lnTo>
                    <a:lnTo>
                      <a:pt x="281" y="128"/>
                    </a:lnTo>
                    <a:lnTo>
                      <a:pt x="279" y="128"/>
                    </a:lnTo>
                    <a:lnTo>
                      <a:pt x="278" y="126"/>
                    </a:lnTo>
                    <a:lnTo>
                      <a:pt x="279" y="125"/>
                    </a:lnTo>
                    <a:lnTo>
                      <a:pt x="279" y="124"/>
                    </a:lnTo>
                    <a:lnTo>
                      <a:pt x="280" y="122"/>
                    </a:lnTo>
                    <a:lnTo>
                      <a:pt x="279" y="121"/>
                    </a:lnTo>
                    <a:lnTo>
                      <a:pt x="279" y="120"/>
                    </a:lnTo>
                    <a:lnTo>
                      <a:pt x="278" y="116"/>
                    </a:lnTo>
                    <a:lnTo>
                      <a:pt x="281" y="114"/>
                    </a:lnTo>
                    <a:lnTo>
                      <a:pt x="280" y="113"/>
                    </a:lnTo>
                    <a:lnTo>
                      <a:pt x="281" y="112"/>
                    </a:lnTo>
                    <a:lnTo>
                      <a:pt x="280" y="110"/>
                    </a:lnTo>
                    <a:lnTo>
                      <a:pt x="282" y="107"/>
                    </a:lnTo>
                    <a:lnTo>
                      <a:pt x="281" y="107"/>
                    </a:lnTo>
                    <a:lnTo>
                      <a:pt x="281" y="99"/>
                    </a:lnTo>
                    <a:lnTo>
                      <a:pt x="279" y="96"/>
                    </a:lnTo>
                    <a:lnTo>
                      <a:pt x="278" y="92"/>
                    </a:lnTo>
                    <a:lnTo>
                      <a:pt x="277" y="92"/>
                    </a:lnTo>
                    <a:lnTo>
                      <a:pt x="276" y="91"/>
                    </a:lnTo>
                    <a:lnTo>
                      <a:pt x="275" y="91"/>
                    </a:lnTo>
                    <a:lnTo>
                      <a:pt x="275" y="90"/>
                    </a:lnTo>
                    <a:lnTo>
                      <a:pt x="274" y="91"/>
                    </a:lnTo>
                    <a:lnTo>
                      <a:pt x="274" y="90"/>
                    </a:lnTo>
                    <a:lnTo>
                      <a:pt x="271" y="90"/>
                    </a:lnTo>
                    <a:lnTo>
                      <a:pt x="271" y="88"/>
                    </a:lnTo>
                    <a:lnTo>
                      <a:pt x="268" y="87"/>
                    </a:lnTo>
                    <a:lnTo>
                      <a:pt x="266" y="86"/>
                    </a:lnTo>
                    <a:lnTo>
                      <a:pt x="262" y="79"/>
                    </a:lnTo>
                    <a:lnTo>
                      <a:pt x="262" y="77"/>
                    </a:lnTo>
                    <a:lnTo>
                      <a:pt x="260" y="73"/>
                    </a:lnTo>
                    <a:lnTo>
                      <a:pt x="259" y="71"/>
                    </a:lnTo>
                    <a:lnTo>
                      <a:pt x="259" y="60"/>
                    </a:lnTo>
                    <a:lnTo>
                      <a:pt x="258" y="57"/>
                    </a:lnTo>
                    <a:lnTo>
                      <a:pt x="259" y="54"/>
                    </a:lnTo>
                    <a:lnTo>
                      <a:pt x="259" y="52"/>
                    </a:lnTo>
                    <a:lnTo>
                      <a:pt x="260" y="50"/>
                    </a:lnTo>
                    <a:lnTo>
                      <a:pt x="262" y="49"/>
                    </a:lnTo>
                    <a:lnTo>
                      <a:pt x="262" y="48"/>
                    </a:lnTo>
                    <a:lnTo>
                      <a:pt x="266" y="46"/>
                    </a:lnTo>
                    <a:lnTo>
                      <a:pt x="266" y="43"/>
                    </a:lnTo>
                    <a:lnTo>
                      <a:pt x="265" y="39"/>
                    </a:lnTo>
                    <a:lnTo>
                      <a:pt x="262" y="38"/>
                    </a:lnTo>
                    <a:lnTo>
                      <a:pt x="264" y="33"/>
                    </a:lnTo>
                    <a:lnTo>
                      <a:pt x="264" y="30"/>
                    </a:lnTo>
                    <a:lnTo>
                      <a:pt x="258" y="28"/>
                    </a:lnTo>
                    <a:lnTo>
                      <a:pt x="257" y="28"/>
                    </a:lnTo>
                    <a:lnTo>
                      <a:pt x="256" y="29"/>
                    </a:lnTo>
                    <a:lnTo>
                      <a:pt x="254" y="26"/>
                    </a:lnTo>
                    <a:lnTo>
                      <a:pt x="256" y="25"/>
                    </a:lnTo>
                    <a:lnTo>
                      <a:pt x="255" y="23"/>
                    </a:lnTo>
                    <a:lnTo>
                      <a:pt x="254" y="21"/>
                    </a:lnTo>
                    <a:lnTo>
                      <a:pt x="256" y="20"/>
                    </a:lnTo>
                    <a:lnTo>
                      <a:pt x="255" y="20"/>
                    </a:lnTo>
                    <a:lnTo>
                      <a:pt x="250" y="20"/>
                    </a:lnTo>
                    <a:lnTo>
                      <a:pt x="247" y="22"/>
                    </a:lnTo>
                    <a:lnTo>
                      <a:pt x="245" y="21"/>
                    </a:lnTo>
                    <a:lnTo>
                      <a:pt x="243" y="23"/>
                    </a:lnTo>
                    <a:lnTo>
                      <a:pt x="243" y="26"/>
                    </a:lnTo>
                    <a:lnTo>
                      <a:pt x="241" y="26"/>
                    </a:lnTo>
                    <a:lnTo>
                      <a:pt x="238" y="23"/>
                    </a:lnTo>
                    <a:lnTo>
                      <a:pt x="237" y="23"/>
                    </a:lnTo>
                    <a:lnTo>
                      <a:pt x="238" y="22"/>
                    </a:lnTo>
                    <a:lnTo>
                      <a:pt x="238" y="20"/>
                    </a:lnTo>
                    <a:lnTo>
                      <a:pt x="238" y="18"/>
                    </a:lnTo>
                    <a:lnTo>
                      <a:pt x="239" y="12"/>
                    </a:lnTo>
                    <a:lnTo>
                      <a:pt x="238" y="7"/>
                    </a:lnTo>
                    <a:lnTo>
                      <a:pt x="234" y="9"/>
                    </a:lnTo>
                    <a:lnTo>
                      <a:pt x="230" y="9"/>
                    </a:lnTo>
                    <a:lnTo>
                      <a:pt x="230" y="12"/>
                    </a:lnTo>
                    <a:lnTo>
                      <a:pt x="227" y="15"/>
                    </a:lnTo>
                    <a:lnTo>
                      <a:pt x="227" y="18"/>
                    </a:lnTo>
                    <a:lnTo>
                      <a:pt x="228" y="18"/>
                    </a:lnTo>
                    <a:lnTo>
                      <a:pt x="229" y="20"/>
                    </a:lnTo>
                    <a:lnTo>
                      <a:pt x="227" y="19"/>
                    </a:lnTo>
                    <a:lnTo>
                      <a:pt x="225" y="20"/>
                    </a:lnTo>
                    <a:lnTo>
                      <a:pt x="224" y="18"/>
                    </a:lnTo>
                    <a:lnTo>
                      <a:pt x="221" y="18"/>
                    </a:lnTo>
                    <a:lnTo>
                      <a:pt x="219" y="18"/>
                    </a:lnTo>
                    <a:lnTo>
                      <a:pt x="218" y="14"/>
                    </a:lnTo>
                    <a:lnTo>
                      <a:pt x="218" y="13"/>
                    </a:lnTo>
                    <a:lnTo>
                      <a:pt x="221" y="10"/>
                    </a:lnTo>
                    <a:lnTo>
                      <a:pt x="220" y="8"/>
                    </a:lnTo>
                    <a:lnTo>
                      <a:pt x="215" y="7"/>
                    </a:lnTo>
                    <a:lnTo>
                      <a:pt x="213" y="7"/>
                    </a:lnTo>
                    <a:lnTo>
                      <a:pt x="213" y="5"/>
                    </a:lnTo>
                    <a:lnTo>
                      <a:pt x="211" y="4"/>
                    </a:lnTo>
                    <a:lnTo>
                      <a:pt x="211" y="3"/>
                    </a:lnTo>
                    <a:lnTo>
                      <a:pt x="209" y="1"/>
                    </a:lnTo>
                    <a:lnTo>
                      <a:pt x="208" y="6"/>
                    </a:lnTo>
                    <a:lnTo>
                      <a:pt x="205" y="7"/>
                    </a:lnTo>
                    <a:lnTo>
                      <a:pt x="202" y="5"/>
                    </a:lnTo>
                    <a:lnTo>
                      <a:pt x="202" y="4"/>
                    </a:lnTo>
                    <a:lnTo>
                      <a:pt x="202" y="3"/>
                    </a:lnTo>
                    <a:lnTo>
                      <a:pt x="202" y="1"/>
                    </a:lnTo>
                    <a:lnTo>
                      <a:pt x="199" y="0"/>
                    </a:lnTo>
                    <a:lnTo>
                      <a:pt x="197" y="0"/>
                    </a:lnTo>
                    <a:lnTo>
                      <a:pt x="197" y="3"/>
                    </a:lnTo>
                    <a:lnTo>
                      <a:pt x="196" y="3"/>
                    </a:lnTo>
                    <a:lnTo>
                      <a:pt x="193" y="5"/>
                    </a:lnTo>
                    <a:lnTo>
                      <a:pt x="191" y="5"/>
                    </a:lnTo>
                    <a:lnTo>
                      <a:pt x="189" y="5"/>
                    </a:lnTo>
                    <a:lnTo>
                      <a:pt x="188" y="7"/>
                    </a:lnTo>
                    <a:lnTo>
                      <a:pt x="183" y="13"/>
                    </a:lnTo>
                    <a:lnTo>
                      <a:pt x="185" y="15"/>
                    </a:lnTo>
                    <a:lnTo>
                      <a:pt x="188" y="20"/>
                    </a:lnTo>
                    <a:lnTo>
                      <a:pt x="189" y="18"/>
                    </a:lnTo>
                    <a:lnTo>
                      <a:pt x="193" y="17"/>
                    </a:lnTo>
                    <a:lnTo>
                      <a:pt x="193" y="18"/>
                    </a:lnTo>
                    <a:lnTo>
                      <a:pt x="194" y="23"/>
                    </a:lnTo>
                    <a:lnTo>
                      <a:pt x="196" y="27"/>
                    </a:lnTo>
                    <a:lnTo>
                      <a:pt x="195" y="26"/>
                    </a:lnTo>
                    <a:lnTo>
                      <a:pt x="193" y="28"/>
                    </a:lnTo>
                    <a:lnTo>
                      <a:pt x="193" y="34"/>
                    </a:lnTo>
                    <a:lnTo>
                      <a:pt x="192" y="37"/>
                    </a:lnTo>
                    <a:lnTo>
                      <a:pt x="193" y="38"/>
                    </a:lnTo>
                    <a:lnTo>
                      <a:pt x="188" y="43"/>
                    </a:lnTo>
                    <a:lnTo>
                      <a:pt x="187" y="44"/>
                    </a:lnTo>
                    <a:lnTo>
                      <a:pt x="185" y="46"/>
                    </a:lnTo>
                    <a:lnTo>
                      <a:pt x="186" y="48"/>
                    </a:lnTo>
                    <a:lnTo>
                      <a:pt x="187" y="51"/>
                    </a:lnTo>
                    <a:lnTo>
                      <a:pt x="187" y="54"/>
                    </a:lnTo>
                    <a:lnTo>
                      <a:pt x="189" y="54"/>
                    </a:lnTo>
                    <a:lnTo>
                      <a:pt x="186" y="56"/>
                    </a:lnTo>
                    <a:lnTo>
                      <a:pt x="186" y="59"/>
                    </a:lnTo>
                    <a:lnTo>
                      <a:pt x="185" y="60"/>
                    </a:lnTo>
                    <a:lnTo>
                      <a:pt x="186" y="61"/>
                    </a:lnTo>
                    <a:lnTo>
                      <a:pt x="186" y="68"/>
                    </a:lnTo>
                    <a:lnTo>
                      <a:pt x="186" y="71"/>
                    </a:lnTo>
                    <a:lnTo>
                      <a:pt x="185" y="71"/>
                    </a:lnTo>
                    <a:lnTo>
                      <a:pt x="179" y="71"/>
                    </a:lnTo>
                    <a:lnTo>
                      <a:pt x="177" y="73"/>
                    </a:lnTo>
                    <a:lnTo>
                      <a:pt x="174" y="73"/>
                    </a:lnTo>
                    <a:lnTo>
                      <a:pt x="171" y="71"/>
                    </a:lnTo>
                    <a:lnTo>
                      <a:pt x="169" y="69"/>
                    </a:lnTo>
                    <a:lnTo>
                      <a:pt x="159" y="64"/>
                    </a:lnTo>
                    <a:lnTo>
                      <a:pt x="158" y="68"/>
                    </a:lnTo>
                    <a:lnTo>
                      <a:pt x="152" y="62"/>
                    </a:lnTo>
                    <a:lnTo>
                      <a:pt x="150" y="62"/>
                    </a:lnTo>
                    <a:lnTo>
                      <a:pt x="149" y="65"/>
                    </a:lnTo>
                    <a:lnTo>
                      <a:pt x="147" y="65"/>
                    </a:lnTo>
                    <a:lnTo>
                      <a:pt x="145" y="65"/>
                    </a:lnTo>
                    <a:lnTo>
                      <a:pt x="143" y="65"/>
                    </a:lnTo>
                    <a:lnTo>
                      <a:pt x="140" y="63"/>
                    </a:lnTo>
                    <a:lnTo>
                      <a:pt x="139" y="63"/>
                    </a:lnTo>
                    <a:lnTo>
                      <a:pt x="139" y="65"/>
                    </a:lnTo>
                    <a:lnTo>
                      <a:pt x="137" y="69"/>
                    </a:lnTo>
                    <a:lnTo>
                      <a:pt x="134" y="72"/>
                    </a:lnTo>
                    <a:lnTo>
                      <a:pt x="131" y="78"/>
                    </a:lnTo>
                    <a:lnTo>
                      <a:pt x="130" y="84"/>
                    </a:lnTo>
                    <a:lnTo>
                      <a:pt x="128" y="86"/>
                    </a:lnTo>
                    <a:lnTo>
                      <a:pt x="128" y="84"/>
                    </a:lnTo>
                    <a:lnTo>
                      <a:pt x="124" y="86"/>
                    </a:lnTo>
                    <a:lnTo>
                      <a:pt x="121" y="85"/>
                    </a:lnTo>
                    <a:lnTo>
                      <a:pt x="121" y="84"/>
                    </a:lnTo>
                    <a:lnTo>
                      <a:pt x="120" y="84"/>
                    </a:lnTo>
                    <a:lnTo>
                      <a:pt x="119" y="82"/>
                    </a:lnTo>
                    <a:lnTo>
                      <a:pt x="117" y="82"/>
                    </a:lnTo>
                    <a:lnTo>
                      <a:pt x="115" y="80"/>
                    </a:lnTo>
                    <a:lnTo>
                      <a:pt x="113" y="79"/>
                    </a:lnTo>
                    <a:lnTo>
                      <a:pt x="112" y="81"/>
                    </a:lnTo>
                    <a:lnTo>
                      <a:pt x="109" y="82"/>
                    </a:lnTo>
                    <a:lnTo>
                      <a:pt x="107" y="81"/>
                    </a:lnTo>
                    <a:lnTo>
                      <a:pt x="107" y="80"/>
                    </a:lnTo>
                    <a:lnTo>
                      <a:pt x="109" y="77"/>
                    </a:lnTo>
                    <a:lnTo>
                      <a:pt x="106" y="73"/>
                    </a:lnTo>
                    <a:lnTo>
                      <a:pt x="101" y="73"/>
                    </a:lnTo>
                    <a:lnTo>
                      <a:pt x="99" y="71"/>
                    </a:lnTo>
                    <a:lnTo>
                      <a:pt x="95" y="67"/>
                    </a:lnTo>
                    <a:lnTo>
                      <a:pt x="91" y="67"/>
                    </a:lnTo>
                    <a:lnTo>
                      <a:pt x="87" y="63"/>
                    </a:lnTo>
                    <a:lnTo>
                      <a:pt x="83" y="61"/>
                    </a:lnTo>
                    <a:lnTo>
                      <a:pt x="80" y="68"/>
                    </a:lnTo>
                    <a:lnTo>
                      <a:pt x="79" y="69"/>
                    </a:lnTo>
                    <a:lnTo>
                      <a:pt x="77" y="69"/>
                    </a:lnTo>
                    <a:lnTo>
                      <a:pt x="75" y="70"/>
                    </a:lnTo>
                    <a:lnTo>
                      <a:pt x="69" y="68"/>
                    </a:lnTo>
                    <a:lnTo>
                      <a:pt x="69" y="69"/>
                    </a:lnTo>
                    <a:lnTo>
                      <a:pt x="69" y="73"/>
                    </a:lnTo>
                    <a:lnTo>
                      <a:pt x="67" y="74"/>
                    </a:lnTo>
                    <a:lnTo>
                      <a:pt x="67" y="77"/>
                    </a:lnTo>
                    <a:lnTo>
                      <a:pt x="66" y="79"/>
                    </a:lnTo>
                    <a:lnTo>
                      <a:pt x="66" y="83"/>
                    </a:lnTo>
                    <a:lnTo>
                      <a:pt x="65" y="86"/>
                    </a:lnTo>
                    <a:lnTo>
                      <a:pt x="62" y="87"/>
                    </a:lnTo>
                    <a:lnTo>
                      <a:pt x="60" y="87"/>
                    </a:lnTo>
                    <a:lnTo>
                      <a:pt x="60" y="86"/>
                    </a:lnTo>
                    <a:lnTo>
                      <a:pt x="59" y="88"/>
                    </a:lnTo>
                    <a:lnTo>
                      <a:pt x="58" y="86"/>
                    </a:lnTo>
                    <a:lnTo>
                      <a:pt x="55" y="86"/>
                    </a:lnTo>
                    <a:lnTo>
                      <a:pt x="55" y="85"/>
                    </a:lnTo>
                    <a:lnTo>
                      <a:pt x="52" y="84"/>
                    </a:lnTo>
                    <a:lnTo>
                      <a:pt x="51" y="81"/>
                    </a:lnTo>
                    <a:lnTo>
                      <a:pt x="48" y="78"/>
                    </a:lnTo>
                    <a:lnTo>
                      <a:pt x="47" y="78"/>
                    </a:lnTo>
                    <a:lnTo>
                      <a:pt x="46" y="79"/>
                    </a:lnTo>
                    <a:lnTo>
                      <a:pt x="46" y="78"/>
                    </a:lnTo>
                    <a:lnTo>
                      <a:pt x="44" y="79"/>
                    </a:lnTo>
                    <a:lnTo>
                      <a:pt x="45" y="78"/>
                    </a:lnTo>
                    <a:lnTo>
                      <a:pt x="46" y="76"/>
                    </a:lnTo>
                    <a:lnTo>
                      <a:pt x="44" y="76"/>
                    </a:lnTo>
                    <a:lnTo>
                      <a:pt x="44" y="75"/>
                    </a:lnTo>
                    <a:lnTo>
                      <a:pt x="41" y="76"/>
                    </a:lnTo>
                    <a:lnTo>
                      <a:pt x="39" y="78"/>
                    </a:lnTo>
                    <a:lnTo>
                      <a:pt x="37" y="75"/>
                    </a:lnTo>
                    <a:lnTo>
                      <a:pt x="34" y="76"/>
                    </a:lnTo>
                    <a:lnTo>
                      <a:pt x="36" y="78"/>
                    </a:lnTo>
                    <a:lnTo>
                      <a:pt x="35" y="78"/>
                    </a:lnTo>
                    <a:lnTo>
                      <a:pt x="36" y="79"/>
                    </a:lnTo>
                    <a:lnTo>
                      <a:pt x="37" y="78"/>
                    </a:lnTo>
                    <a:lnTo>
                      <a:pt x="38" y="79"/>
                    </a:lnTo>
                    <a:lnTo>
                      <a:pt x="38" y="80"/>
                    </a:lnTo>
                    <a:lnTo>
                      <a:pt x="37" y="79"/>
                    </a:lnTo>
                    <a:lnTo>
                      <a:pt x="36" y="81"/>
                    </a:lnTo>
                    <a:lnTo>
                      <a:pt x="36" y="82"/>
                    </a:lnTo>
                    <a:lnTo>
                      <a:pt x="36" y="84"/>
                    </a:lnTo>
                    <a:lnTo>
                      <a:pt x="37" y="84"/>
                    </a:lnTo>
                    <a:lnTo>
                      <a:pt x="38" y="85"/>
                    </a:lnTo>
                    <a:lnTo>
                      <a:pt x="38" y="86"/>
                    </a:lnTo>
                    <a:lnTo>
                      <a:pt x="35" y="87"/>
                    </a:lnTo>
                    <a:lnTo>
                      <a:pt x="34" y="89"/>
                    </a:lnTo>
                    <a:lnTo>
                      <a:pt x="36" y="91"/>
                    </a:lnTo>
                    <a:lnTo>
                      <a:pt x="34" y="95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28" y="97"/>
                    </a:lnTo>
                    <a:lnTo>
                      <a:pt x="26" y="102"/>
                    </a:lnTo>
                    <a:lnTo>
                      <a:pt x="26" y="104"/>
                    </a:lnTo>
                    <a:lnTo>
                      <a:pt x="25" y="104"/>
                    </a:lnTo>
                    <a:lnTo>
                      <a:pt x="24" y="107"/>
                    </a:lnTo>
                    <a:lnTo>
                      <a:pt x="27" y="110"/>
                    </a:lnTo>
                    <a:lnTo>
                      <a:pt x="26" y="112"/>
                    </a:lnTo>
                    <a:lnTo>
                      <a:pt x="23" y="112"/>
                    </a:lnTo>
                    <a:lnTo>
                      <a:pt x="23" y="110"/>
                    </a:lnTo>
                    <a:lnTo>
                      <a:pt x="23" y="108"/>
                    </a:lnTo>
                    <a:lnTo>
                      <a:pt x="22" y="110"/>
                    </a:lnTo>
                    <a:lnTo>
                      <a:pt x="20" y="114"/>
                    </a:lnTo>
                    <a:lnTo>
                      <a:pt x="16" y="115"/>
                    </a:lnTo>
                    <a:lnTo>
                      <a:pt x="12" y="116"/>
                    </a:lnTo>
                    <a:lnTo>
                      <a:pt x="10" y="118"/>
                    </a:lnTo>
                    <a:lnTo>
                      <a:pt x="10" y="121"/>
                    </a:lnTo>
                    <a:lnTo>
                      <a:pt x="9" y="123"/>
                    </a:lnTo>
                    <a:lnTo>
                      <a:pt x="8" y="126"/>
                    </a:lnTo>
                    <a:lnTo>
                      <a:pt x="10" y="128"/>
                    </a:lnTo>
                    <a:lnTo>
                      <a:pt x="10" y="130"/>
                    </a:lnTo>
                    <a:lnTo>
                      <a:pt x="4" y="135"/>
                    </a:lnTo>
                    <a:lnTo>
                      <a:pt x="3" y="134"/>
                    </a:lnTo>
                    <a:lnTo>
                      <a:pt x="0" y="139"/>
                    </a:lnTo>
                    <a:lnTo>
                      <a:pt x="0" y="144"/>
                    </a:lnTo>
                    <a:lnTo>
                      <a:pt x="2" y="144"/>
                    </a:lnTo>
                    <a:lnTo>
                      <a:pt x="3" y="144"/>
                    </a:lnTo>
                    <a:lnTo>
                      <a:pt x="4" y="144"/>
                    </a:lnTo>
                    <a:lnTo>
                      <a:pt x="3" y="147"/>
                    </a:lnTo>
                    <a:lnTo>
                      <a:pt x="3" y="148"/>
                    </a:lnTo>
                    <a:lnTo>
                      <a:pt x="3" y="149"/>
                    </a:lnTo>
                    <a:lnTo>
                      <a:pt x="4" y="153"/>
                    </a:lnTo>
                    <a:lnTo>
                      <a:pt x="4" y="154"/>
                    </a:lnTo>
                    <a:lnTo>
                      <a:pt x="2" y="158"/>
                    </a:lnTo>
                    <a:lnTo>
                      <a:pt x="5" y="161"/>
                    </a:lnTo>
                    <a:lnTo>
                      <a:pt x="4" y="161"/>
                    </a:lnTo>
                    <a:lnTo>
                      <a:pt x="4" y="163"/>
                    </a:lnTo>
                    <a:lnTo>
                      <a:pt x="6" y="165"/>
                    </a:lnTo>
                    <a:lnTo>
                      <a:pt x="7" y="170"/>
                    </a:lnTo>
                    <a:lnTo>
                      <a:pt x="6" y="172"/>
                    </a:lnTo>
                    <a:lnTo>
                      <a:pt x="8" y="172"/>
                    </a:lnTo>
                    <a:lnTo>
                      <a:pt x="9" y="175"/>
                    </a:lnTo>
                    <a:lnTo>
                      <a:pt x="9" y="176"/>
                    </a:lnTo>
                    <a:lnTo>
                      <a:pt x="12" y="178"/>
                    </a:lnTo>
                    <a:lnTo>
                      <a:pt x="12" y="181"/>
                    </a:lnTo>
                    <a:lnTo>
                      <a:pt x="12" y="182"/>
                    </a:lnTo>
                    <a:lnTo>
                      <a:pt x="13" y="182"/>
                    </a:lnTo>
                    <a:lnTo>
                      <a:pt x="13" y="185"/>
                    </a:lnTo>
                    <a:lnTo>
                      <a:pt x="14" y="185"/>
                    </a:lnTo>
                    <a:lnTo>
                      <a:pt x="14" y="187"/>
                    </a:lnTo>
                    <a:lnTo>
                      <a:pt x="14" y="188"/>
                    </a:lnTo>
                    <a:lnTo>
                      <a:pt x="14" y="192"/>
                    </a:lnTo>
                    <a:lnTo>
                      <a:pt x="14" y="194"/>
                    </a:lnTo>
                    <a:lnTo>
                      <a:pt x="16" y="195"/>
                    </a:lnTo>
                    <a:lnTo>
                      <a:pt x="17" y="199"/>
                    </a:lnTo>
                    <a:lnTo>
                      <a:pt x="18" y="199"/>
                    </a:lnTo>
                    <a:lnTo>
                      <a:pt x="17" y="201"/>
                    </a:lnTo>
                    <a:lnTo>
                      <a:pt x="18" y="201"/>
                    </a:lnTo>
                    <a:lnTo>
                      <a:pt x="17" y="202"/>
                    </a:lnTo>
                    <a:lnTo>
                      <a:pt x="18" y="202"/>
                    </a:lnTo>
                    <a:lnTo>
                      <a:pt x="18" y="205"/>
                    </a:lnTo>
                    <a:lnTo>
                      <a:pt x="18" y="206"/>
                    </a:lnTo>
                    <a:lnTo>
                      <a:pt x="19" y="205"/>
                    </a:lnTo>
                    <a:lnTo>
                      <a:pt x="18" y="208"/>
                    </a:lnTo>
                    <a:lnTo>
                      <a:pt x="22" y="209"/>
                    </a:lnTo>
                    <a:lnTo>
                      <a:pt x="22" y="208"/>
                    </a:lnTo>
                    <a:lnTo>
                      <a:pt x="22" y="209"/>
                    </a:lnTo>
                    <a:lnTo>
                      <a:pt x="23" y="210"/>
                    </a:lnTo>
                    <a:lnTo>
                      <a:pt x="23" y="209"/>
                    </a:lnTo>
                    <a:lnTo>
                      <a:pt x="25" y="210"/>
                    </a:lnTo>
                    <a:lnTo>
                      <a:pt x="26" y="210"/>
                    </a:lnTo>
                    <a:lnTo>
                      <a:pt x="26" y="211"/>
                    </a:lnTo>
                    <a:lnTo>
                      <a:pt x="25" y="211"/>
                    </a:lnTo>
                    <a:lnTo>
                      <a:pt x="27" y="212"/>
                    </a:lnTo>
                    <a:lnTo>
                      <a:pt x="26" y="215"/>
                    </a:lnTo>
                    <a:lnTo>
                      <a:pt x="28" y="216"/>
                    </a:lnTo>
                    <a:lnTo>
                      <a:pt x="28" y="218"/>
                    </a:lnTo>
                    <a:lnTo>
                      <a:pt x="29" y="221"/>
                    </a:lnTo>
                    <a:lnTo>
                      <a:pt x="30" y="221"/>
                    </a:lnTo>
                    <a:lnTo>
                      <a:pt x="29" y="224"/>
                    </a:lnTo>
                    <a:lnTo>
                      <a:pt x="31" y="224"/>
                    </a:lnTo>
                    <a:lnTo>
                      <a:pt x="31" y="225"/>
                    </a:lnTo>
                    <a:lnTo>
                      <a:pt x="32" y="227"/>
                    </a:lnTo>
                    <a:lnTo>
                      <a:pt x="33" y="224"/>
                    </a:lnTo>
                    <a:lnTo>
                      <a:pt x="35" y="219"/>
                    </a:lnTo>
                    <a:lnTo>
                      <a:pt x="39" y="219"/>
                    </a:lnTo>
                    <a:lnTo>
                      <a:pt x="38" y="220"/>
                    </a:lnTo>
                    <a:lnTo>
                      <a:pt x="39" y="222"/>
                    </a:lnTo>
                    <a:lnTo>
                      <a:pt x="40" y="225"/>
                    </a:lnTo>
                    <a:lnTo>
                      <a:pt x="41" y="226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7" y="226"/>
                    </a:lnTo>
                    <a:lnTo>
                      <a:pt x="45" y="224"/>
                    </a:lnTo>
                    <a:lnTo>
                      <a:pt x="45" y="223"/>
                    </a:lnTo>
                    <a:lnTo>
                      <a:pt x="49" y="224"/>
                    </a:lnTo>
                    <a:lnTo>
                      <a:pt x="49" y="223"/>
                    </a:lnTo>
                    <a:lnTo>
                      <a:pt x="51" y="221"/>
                    </a:lnTo>
                    <a:lnTo>
                      <a:pt x="53" y="221"/>
                    </a:lnTo>
                    <a:lnTo>
                      <a:pt x="54" y="221"/>
                    </a:lnTo>
                    <a:lnTo>
                      <a:pt x="54" y="222"/>
                    </a:lnTo>
                    <a:lnTo>
                      <a:pt x="53" y="223"/>
                    </a:lnTo>
                    <a:lnTo>
                      <a:pt x="53" y="225"/>
                    </a:lnTo>
                    <a:lnTo>
                      <a:pt x="52" y="225"/>
                    </a:lnTo>
                    <a:lnTo>
                      <a:pt x="54" y="228"/>
                    </a:lnTo>
                    <a:lnTo>
                      <a:pt x="52" y="229"/>
                    </a:lnTo>
                    <a:lnTo>
                      <a:pt x="52" y="231"/>
                    </a:lnTo>
                    <a:lnTo>
                      <a:pt x="52" y="236"/>
                    </a:lnTo>
                    <a:lnTo>
                      <a:pt x="54" y="238"/>
                    </a:lnTo>
                    <a:lnTo>
                      <a:pt x="55" y="238"/>
                    </a:lnTo>
                    <a:lnTo>
                      <a:pt x="55" y="236"/>
                    </a:lnTo>
                    <a:lnTo>
                      <a:pt x="56" y="238"/>
                    </a:lnTo>
                    <a:lnTo>
                      <a:pt x="57" y="237"/>
                    </a:lnTo>
                    <a:lnTo>
                      <a:pt x="57" y="238"/>
                    </a:lnTo>
                    <a:lnTo>
                      <a:pt x="58" y="238"/>
                    </a:lnTo>
                    <a:lnTo>
                      <a:pt x="57" y="238"/>
                    </a:lnTo>
                    <a:lnTo>
                      <a:pt x="59" y="240"/>
                    </a:lnTo>
                    <a:lnTo>
                      <a:pt x="60" y="241"/>
                    </a:lnTo>
                    <a:lnTo>
                      <a:pt x="61" y="240"/>
                    </a:lnTo>
                    <a:lnTo>
                      <a:pt x="61" y="238"/>
                    </a:lnTo>
                    <a:lnTo>
                      <a:pt x="63" y="236"/>
                    </a:lnTo>
                    <a:lnTo>
                      <a:pt x="63" y="237"/>
                    </a:lnTo>
                    <a:lnTo>
                      <a:pt x="65" y="238"/>
                    </a:lnTo>
                    <a:lnTo>
                      <a:pt x="66" y="238"/>
                    </a:lnTo>
                    <a:lnTo>
                      <a:pt x="66" y="235"/>
                    </a:lnTo>
                    <a:lnTo>
                      <a:pt x="68" y="236"/>
                    </a:lnTo>
                    <a:lnTo>
                      <a:pt x="69" y="238"/>
                    </a:lnTo>
                    <a:lnTo>
                      <a:pt x="71" y="238"/>
                    </a:lnTo>
                    <a:lnTo>
                      <a:pt x="71" y="236"/>
                    </a:lnTo>
                    <a:lnTo>
                      <a:pt x="75" y="237"/>
                    </a:lnTo>
                    <a:lnTo>
                      <a:pt x="78" y="237"/>
                    </a:lnTo>
                    <a:lnTo>
                      <a:pt x="78" y="236"/>
                    </a:lnTo>
                    <a:lnTo>
                      <a:pt x="82" y="240"/>
                    </a:lnTo>
                    <a:lnTo>
                      <a:pt x="82" y="239"/>
                    </a:lnTo>
                    <a:lnTo>
                      <a:pt x="82" y="235"/>
                    </a:lnTo>
                    <a:lnTo>
                      <a:pt x="84" y="234"/>
                    </a:lnTo>
                    <a:lnTo>
                      <a:pt x="84" y="233"/>
                    </a:lnTo>
                    <a:lnTo>
                      <a:pt x="88" y="234"/>
                    </a:lnTo>
                    <a:lnTo>
                      <a:pt x="89" y="232"/>
                    </a:lnTo>
                    <a:lnTo>
                      <a:pt x="90" y="233"/>
                    </a:lnTo>
                    <a:lnTo>
                      <a:pt x="93" y="225"/>
                    </a:lnTo>
                    <a:lnTo>
                      <a:pt x="93" y="224"/>
                    </a:lnTo>
                    <a:lnTo>
                      <a:pt x="100" y="226"/>
                    </a:lnTo>
                    <a:lnTo>
                      <a:pt x="101" y="225"/>
                    </a:lnTo>
                    <a:lnTo>
                      <a:pt x="102" y="221"/>
                    </a:lnTo>
                    <a:lnTo>
                      <a:pt x="101" y="212"/>
                    </a:lnTo>
                    <a:lnTo>
                      <a:pt x="101" y="207"/>
                    </a:lnTo>
                    <a:lnTo>
                      <a:pt x="115" y="212"/>
                    </a:lnTo>
                    <a:lnTo>
                      <a:pt x="121" y="218"/>
                    </a:lnTo>
                    <a:lnTo>
                      <a:pt x="128" y="213"/>
                    </a:lnTo>
                    <a:lnTo>
                      <a:pt x="129" y="213"/>
                    </a:lnTo>
                    <a:lnTo>
                      <a:pt x="130" y="212"/>
                    </a:lnTo>
                    <a:lnTo>
                      <a:pt x="131" y="211"/>
                    </a:lnTo>
                    <a:lnTo>
                      <a:pt x="130" y="209"/>
                    </a:lnTo>
                    <a:lnTo>
                      <a:pt x="128" y="207"/>
                    </a:lnTo>
                    <a:lnTo>
                      <a:pt x="129" y="205"/>
                    </a:lnTo>
                    <a:lnTo>
                      <a:pt x="128" y="204"/>
                    </a:lnTo>
                    <a:lnTo>
                      <a:pt x="133" y="203"/>
                    </a:lnTo>
                    <a:lnTo>
                      <a:pt x="133" y="202"/>
                    </a:lnTo>
                    <a:lnTo>
                      <a:pt x="136" y="201"/>
                    </a:lnTo>
                    <a:lnTo>
                      <a:pt x="138" y="201"/>
                    </a:lnTo>
                    <a:lnTo>
                      <a:pt x="139" y="201"/>
                    </a:lnTo>
                    <a:lnTo>
                      <a:pt x="140" y="200"/>
                    </a:lnTo>
                    <a:lnTo>
                      <a:pt x="140" y="202"/>
                    </a:lnTo>
                    <a:lnTo>
                      <a:pt x="143" y="200"/>
                    </a:lnTo>
                    <a:lnTo>
                      <a:pt x="145" y="199"/>
                    </a:lnTo>
                    <a:lnTo>
                      <a:pt x="144" y="195"/>
                    </a:lnTo>
                    <a:lnTo>
                      <a:pt x="145" y="195"/>
                    </a:lnTo>
                    <a:lnTo>
                      <a:pt x="144" y="191"/>
                    </a:lnTo>
                    <a:lnTo>
                      <a:pt x="142" y="191"/>
                    </a:lnTo>
                    <a:lnTo>
                      <a:pt x="145" y="191"/>
                    </a:lnTo>
                    <a:lnTo>
                      <a:pt x="145" y="190"/>
                    </a:lnTo>
                    <a:lnTo>
                      <a:pt x="147" y="191"/>
                    </a:lnTo>
                    <a:lnTo>
                      <a:pt x="147" y="190"/>
                    </a:lnTo>
                    <a:lnTo>
                      <a:pt x="148" y="190"/>
                    </a:lnTo>
                    <a:lnTo>
                      <a:pt x="148" y="191"/>
                    </a:lnTo>
                    <a:lnTo>
                      <a:pt x="147" y="185"/>
                    </a:lnTo>
                    <a:lnTo>
                      <a:pt x="148" y="184"/>
                    </a:lnTo>
                    <a:lnTo>
                      <a:pt x="153" y="185"/>
                    </a:lnTo>
                    <a:lnTo>
                      <a:pt x="153" y="186"/>
                    </a:lnTo>
                    <a:lnTo>
                      <a:pt x="153" y="189"/>
                    </a:lnTo>
                    <a:lnTo>
                      <a:pt x="152" y="189"/>
                    </a:lnTo>
                    <a:lnTo>
                      <a:pt x="153" y="191"/>
                    </a:lnTo>
                    <a:lnTo>
                      <a:pt x="154" y="191"/>
                    </a:lnTo>
                    <a:lnTo>
                      <a:pt x="155" y="192"/>
                    </a:lnTo>
                    <a:lnTo>
                      <a:pt x="155" y="191"/>
                    </a:lnTo>
                    <a:lnTo>
                      <a:pt x="157" y="191"/>
                    </a:lnTo>
                    <a:lnTo>
                      <a:pt x="158" y="195"/>
                    </a:lnTo>
                    <a:lnTo>
                      <a:pt x="156" y="195"/>
                    </a:lnTo>
                    <a:lnTo>
                      <a:pt x="158" y="196"/>
                    </a:lnTo>
                    <a:lnTo>
                      <a:pt x="158" y="197"/>
                    </a:lnTo>
                    <a:lnTo>
                      <a:pt x="161" y="197"/>
                    </a:lnTo>
                    <a:lnTo>
                      <a:pt x="162" y="199"/>
                    </a:lnTo>
                    <a:lnTo>
                      <a:pt x="162" y="196"/>
                    </a:lnTo>
                    <a:lnTo>
                      <a:pt x="164" y="196"/>
                    </a:lnTo>
                    <a:lnTo>
                      <a:pt x="164" y="194"/>
                    </a:lnTo>
                    <a:lnTo>
                      <a:pt x="165" y="193"/>
                    </a:lnTo>
                    <a:lnTo>
                      <a:pt x="166" y="194"/>
                    </a:lnTo>
                    <a:lnTo>
                      <a:pt x="165" y="194"/>
                    </a:lnTo>
                    <a:lnTo>
                      <a:pt x="165" y="195"/>
                    </a:lnTo>
                    <a:lnTo>
                      <a:pt x="167" y="195"/>
                    </a:lnTo>
                    <a:lnTo>
                      <a:pt x="167" y="196"/>
                    </a:lnTo>
                    <a:lnTo>
                      <a:pt x="169" y="196"/>
                    </a:lnTo>
                    <a:lnTo>
                      <a:pt x="170" y="196"/>
                    </a:lnTo>
                    <a:lnTo>
                      <a:pt x="173" y="195"/>
                    </a:lnTo>
                    <a:lnTo>
                      <a:pt x="173" y="196"/>
                    </a:lnTo>
                    <a:lnTo>
                      <a:pt x="172" y="197"/>
                    </a:lnTo>
                    <a:lnTo>
                      <a:pt x="173" y="198"/>
                    </a:lnTo>
                    <a:lnTo>
                      <a:pt x="175" y="204"/>
                    </a:lnTo>
                    <a:lnTo>
                      <a:pt x="176" y="204"/>
                    </a:lnTo>
                    <a:lnTo>
                      <a:pt x="178" y="205"/>
                    </a:lnTo>
                    <a:lnTo>
                      <a:pt x="178" y="208"/>
                    </a:lnTo>
                    <a:lnTo>
                      <a:pt x="178" y="207"/>
                    </a:lnTo>
                    <a:lnTo>
                      <a:pt x="180" y="207"/>
                    </a:lnTo>
                    <a:lnTo>
                      <a:pt x="180" y="208"/>
                    </a:lnTo>
                    <a:lnTo>
                      <a:pt x="179" y="210"/>
                    </a:lnTo>
                    <a:lnTo>
                      <a:pt x="180" y="212"/>
                    </a:lnTo>
                    <a:lnTo>
                      <a:pt x="180" y="214"/>
                    </a:lnTo>
                    <a:lnTo>
                      <a:pt x="181" y="212"/>
                    </a:lnTo>
                    <a:lnTo>
                      <a:pt x="182" y="213"/>
                    </a:lnTo>
                    <a:lnTo>
                      <a:pt x="184" y="212"/>
                    </a:lnTo>
                    <a:lnTo>
                      <a:pt x="186" y="212"/>
                    </a:lnTo>
                    <a:lnTo>
                      <a:pt x="187" y="216"/>
                    </a:lnTo>
                    <a:lnTo>
                      <a:pt x="189" y="217"/>
                    </a:lnTo>
                    <a:lnTo>
                      <a:pt x="188" y="218"/>
                    </a:lnTo>
                    <a:lnTo>
                      <a:pt x="190" y="218"/>
                    </a:lnTo>
                    <a:lnTo>
                      <a:pt x="193" y="221"/>
                    </a:lnTo>
                    <a:lnTo>
                      <a:pt x="192" y="223"/>
                    </a:lnTo>
                    <a:lnTo>
                      <a:pt x="192" y="224"/>
                    </a:lnTo>
                    <a:lnTo>
                      <a:pt x="193" y="223"/>
                    </a:lnTo>
                    <a:lnTo>
                      <a:pt x="193" y="225"/>
                    </a:lnTo>
                    <a:lnTo>
                      <a:pt x="193" y="231"/>
                    </a:lnTo>
                    <a:lnTo>
                      <a:pt x="194" y="231"/>
                    </a:lnTo>
                    <a:lnTo>
                      <a:pt x="194" y="232"/>
                    </a:lnTo>
                    <a:lnTo>
                      <a:pt x="197" y="232"/>
                    </a:lnTo>
                    <a:lnTo>
                      <a:pt x="197" y="233"/>
                    </a:lnTo>
                    <a:lnTo>
                      <a:pt x="198" y="233"/>
                    </a:lnTo>
                    <a:lnTo>
                      <a:pt x="198" y="234"/>
                    </a:lnTo>
                    <a:lnTo>
                      <a:pt x="200" y="233"/>
                    </a:lnTo>
                    <a:lnTo>
                      <a:pt x="202" y="234"/>
                    </a:lnTo>
                    <a:lnTo>
                      <a:pt x="204" y="236"/>
                    </a:lnTo>
                    <a:lnTo>
                      <a:pt x="203" y="236"/>
                    </a:lnTo>
                    <a:lnTo>
                      <a:pt x="204" y="236"/>
                    </a:lnTo>
                    <a:lnTo>
                      <a:pt x="204" y="238"/>
                    </a:lnTo>
                    <a:lnTo>
                      <a:pt x="205" y="238"/>
                    </a:lnTo>
                    <a:lnTo>
                      <a:pt x="205" y="239"/>
                    </a:lnTo>
                    <a:lnTo>
                      <a:pt x="205" y="241"/>
                    </a:lnTo>
                    <a:lnTo>
                      <a:pt x="207" y="242"/>
                    </a:lnTo>
                    <a:lnTo>
                      <a:pt x="208" y="241"/>
                    </a:lnTo>
                    <a:lnTo>
                      <a:pt x="212" y="244"/>
                    </a:lnTo>
                    <a:lnTo>
                      <a:pt x="213" y="246"/>
                    </a:lnTo>
                    <a:lnTo>
                      <a:pt x="215" y="248"/>
                    </a:lnTo>
                    <a:lnTo>
                      <a:pt x="218" y="249"/>
                    </a:lnTo>
                    <a:lnTo>
                      <a:pt x="221" y="251"/>
                    </a:lnTo>
                    <a:lnTo>
                      <a:pt x="224" y="255"/>
                    </a:lnTo>
                    <a:lnTo>
                      <a:pt x="226" y="254"/>
                    </a:lnTo>
                    <a:lnTo>
                      <a:pt x="227" y="254"/>
                    </a:lnTo>
                    <a:lnTo>
                      <a:pt x="229" y="254"/>
                    </a:lnTo>
                    <a:lnTo>
                      <a:pt x="229" y="253"/>
                    </a:lnTo>
                    <a:lnTo>
                      <a:pt x="230" y="250"/>
                    </a:lnTo>
                    <a:lnTo>
                      <a:pt x="229" y="249"/>
                    </a:lnTo>
                    <a:lnTo>
                      <a:pt x="231" y="249"/>
                    </a:lnTo>
                    <a:lnTo>
                      <a:pt x="231" y="247"/>
                    </a:lnTo>
                    <a:lnTo>
                      <a:pt x="234" y="246"/>
                    </a:lnTo>
                    <a:lnTo>
                      <a:pt x="235" y="244"/>
                    </a:lnTo>
                    <a:lnTo>
                      <a:pt x="236" y="243"/>
                    </a:lnTo>
                    <a:lnTo>
                      <a:pt x="237" y="243"/>
                    </a:lnTo>
                    <a:lnTo>
                      <a:pt x="238" y="242"/>
                    </a:lnTo>
                    <a:lnTo>
                      <a:pt x="239" y="244"/>
                    </a:lnTo>
                    <a:lnTo>
                      <a:pt x="240" y="243"/>
                    </a:lnTo>
                    <a:lnTo>
                      <a:pt x="242" y="243"/>
                    </a:lnTo>
                    <a:lnTo>
                      <a:pt x="243" y="244"/>
                    </a:lnTo>
                    <a:lnTo>
                      <a:pt x="246" y="246"/>
                    </a:lnTo>
                    <a:lnTo>
                      <a:pt x="246" y="248"/>
                    </a:lnTo>
                    <a:lnTo>
                      <a:pt x="249" y="249"/>
                    </a:lnTo>
                    <a:lnTo>
                      <a:pt x="250" y="250"/>
                    </a:lnTo>
                    <a:lnTo>
                      <a:pt x="251" y="248"/>
                    </a:lnTo>
                    <a:lnTo>
                      <a:pt x="252" y="250"/>
                    </a:lnTo>
                    <a:lnTo>
                      <a:pt x="253" y="250"/>
                    </a:lnTo>
                    <a:lnTo>
                      <a:pt x="253" y="249"/>
                    </a:lnTo>
                    <a:lnTo>
                      <a:pt x="256" y="250"/>
                    </a:lnTo>
                    <a:lnTo>
                      <a:pt x="256" y="252"/>
                    </a:lnTo>
                    <a:lnTo>
                      <a:pt x="257" y="255"/>
                    </a:lnTo>
                    <a:lnTo>
                      <a:pt x="258" y="255"/>
                    </a:lnTo>
                    <a:lnTo>
                      <a:pt x="260" y="256"/>
                    </a:lnTo>
                    <a:lnTo>
                      <a:pt x="261" y="258"/>
                    </a:lnTo>
                    <a:lnTo>
                      <a:pt x="263" y="260"/>
                    </a:lnTo>
                    <a:lnTo>
                      <a:pt x="264" y="255"/>
                    </a:lnTo>
                    <a:lnTo>
                      <a:pt x="266" y="254"/>
                    </a:lnTo>
                    <a:lnTo>
                      <a:pt x="268" y="255"/>
                    </a:lnTo>
                    <a:lnTo>
                      <a:pt x="267" y="256"/>
                    </a:lnTo>
                    <a:lnTo>
                      <a:pt x="268" y="259"/>
                    </a:lnTo>
                    <a:lnTo>
                      <a:pt x="267" y="259"/>
                    </a:lnTo>
                    <a:lnTo>
                      <a:pt x="268" y="261"/>
                    </a:lnTo>
                    <a:lnTo>
                      <a:pt x="269" y="262"/>
                    </a:lnTo>
                    <a:lnTo>
                      <a:pt x="269" y="263"/>
                    </a:lnTo>
                    <a:lnTo>
                      <a:pt x="266" y="262"/>
                    </a:lnTo>
                    <a:lnTo>
                      <a:pt x="266" y="263"/>
                    </a:lnTo>
                    <a:lnTo>
                      <a:pt x="268" y="263"/>
                    </a:lnTo>
                    <a:lnTo>
                      <a:pt x="268" y="265"/>
                    </a:lnTo>
                    <a:lnTo>
                      <a:pt x="267" y="265"/>
                    </a:lnTo>
                    <a:lnTo>
                      <a:pt x="268" y="265"/>
                    </a:lnTo>
                    <a:lnTo>
                      <a:pt x="268" y="267"/>
                    </a:lnTo>
                    <a:lnTo>
                      <a:pt x="271" y="268"/>
                    </a:lnTo>
                    <a:lnTo>
                      <a:pt x="273" y="267"/>
                    </a:lnTo>
                    <a:lnTo>
                      <a:pt x="274" y="268"/>
                    </a:lnTo>
                    <a:lnTo>
                      <a:pt x="275" y="266"/>
                    </a:lnTo>
                    <a:lnTo>
                      <a:pt x="277" y="268"/>
                    </a:lnTo>
                    <a:lnTo>
                      <a:pt x="277" y="267"/>
                    </a:lnTo>
                    <a:lnTo>
                      <a:pt x="278" y="268"/>
                    </a:lnTo>
                    <a:lnTo>
                      <a:pt x="278" y="267"/>
                    </a:lnTo>
                    <a:lnTo>
                      <a:pt x="277" y="265"/>
                    </a:lnTo>
                    <a:lnTo>
                      <a:pt x="278" y="264"/>
                    </a:lnTo>
                    <a:lnTo>
                      <a:pt x="279" y="263"/>
                    </a:lnTo>
                    <a:lnTo>
                      <a:pt x="280" y="266"/>
                    </a:lnTo>
                    <a:lnTo>
                      <a:pt x="282" y="266"/>
                    </a:lnTo>
                    <a:lnTo>
                      <a:pt x="282" y="265"/>
                    </a:lnTo>
                    <a:lnTo>
                      <a:pt x="284" y="263"/>
                    </a:lnTo>
                    <a:lnTo>
                      <a:pt x="283" y="262"/>
                    </a:lnTo>
                    <a:lnTo>
                      <a:pt x="285" y="262"/>
                    </a:lnTo>
                    <a:lnTo>
                      <a:pt x="286" y="260"/>
                    </a:lnTo>
                    <a:lnTo>
                      <a:pt x="283" y="258"/>
                    </a:lnTo>
                    <a:lnTo>
                      <a:pt x="283" y="254"/>
                    </a:lnTo>
                    <a:lnTo>
                      <a:pt x="282" y="252"/>
                    </a:lnTo>
                    <a:lnTo>
                      <a:pt x="283" y="249"/>
                    </a:lnTo>
                    <a:lnTo>
                      <a:pt x="287" y="249"/>
                    </a:lnTo>
                    <a:lnTo>
                      <a:pt x="290" y="249"/>
                    </a:lnTo>
                    <a:lnTo>
                      <a:pt x="291" y="244"/>
                    </a:lnTo>
                    <a:lnTo>
                      <a:pt x="293" y="246"/>
                    </a:lnTo>
                    <a:lnTo>
                      <a:pt x="294" y="246"/>
                    </a:lnTo>
                    <a:lnTo>
                      <a:pt x="295" y="244"/>
                    </a:lnTo>
                    <a:lnTo>
                      <a:pt x="294" y="242"/>
                    </a:lnTo>
                    <a:lnTo>
                      <a:pt x="295" y="241"/>
                    </a:lnTo>
                    <a:lnTo>
                      <a:pt x="294" y="241"/>
                    </a:lnTo>
                    <a:lnTo>
                      <a:pt x="294" y="239"/>
                    </a:lnTo>
                    <a:lnTo>
                      <a:pt x="299" y="242"/>
                    </a:lnTo>
                    <a:lnTo>
                      <a:pt x="300" y="243"/>
                    </a:lnTo>
                    <a:lnTo>
                      <a:pt x="300" y="244"/>
                    </a:lnTo>
                    <a:lnTo>
                      <a:pt x="299" y="244"/>
                    </a:lnTo>
                    <a:lnTo>
                      <a:pt x="298" y="246"/>
                    </a:lnTo>
                    <a:lnTo>
                      <a:pt x="302" y="252"/>
                    </a:lnTo>
                    <a:lnTo>
                      <a:pt x="302" y="254"/>
                    </a:lnTo>
                    <a:lnTo>
                      <a:pt x="305" y="254"/>
                    </a:lnTo>
                    <a:lnTo>
                      <a:pt x="305" y="255"/>
                    </a:lnTo>
                    <a:lnTo>
                      <a:pt x="307" y="255"/>
                    </a:lnTo>
                    <a:lnTo>
                      <a:pt x="308" y="257"/>
                    </a:lnTo>
                    <a:lnTo>
                      <a:pt x="311" y="257"/>
                    </a:lnTo>
                    <a:lnTo>
                      <a:pt x="311" y="253"/>
                    </a:lnTo>
                    <a:lnTo>
                      <a:pt x="312" y="254"/>
                    </a:lnTo>
                    <a:lnTo>
                      <a:pt x="314" y="253"/>
                    </a:lnTo>
                    <a:lnTo>
                      <a:pt x="315" y="253"/>
                    </a:lnTo>
                    <a:lnTo>
                      <a:pt x="317" y="252"/>
                    </a:lnTo>
                    <a:lnTo>
                      <a:pt x="318" y="252"/>
                    </a:lnTo>
                    <a:lnTo>
                      <a:pt x="318" y="253"/>
                    </a:lnTo>
                    <a:lnTo>
                      <a:pt x="319" y="253"/>
                    </a:lnTo>
                    <a:lnTo>
                      <a:pt x="319" y="254"/>
                    </a:lnTo>
                    <a:lnTo>
                      <a:pt x="320" y="255"/>
                    </a:lnTo>
                    <a:lnTo>
                      <a:pt x="320" y="254"/>
                    </a:lnTo>
                    <a:lnTo>
                      <a:pt x="321" y="254"/>
                    </a:lnTo>
                    <a:lnTo>
                      <a:pt x="321" y="258"/>
                    </a:lnTo>
                    <a:lnTo>
                      <a:pt x="322" y="258"/>
                    </a:lnTo>
                    <a:lnTo>
                      <a:pt x="322" y="257"/>
                    </a:lnTo>
                    <a:lnTo>
                      <a:pt x="323" y="255"/>
                    </a:lnTo>
                    <a:lnTo>
                      <a:pt x="323" y="258"/>
                    </a:lnTo>
                    <a:lnTo>
                      <a:pt x="324" y="257"/>
                    </a:lnTo>
                    <a:lnTo>
                      <a:pt x="326" y="256"/>
                    </a:lnTo>
                    <a:lnTo>
                      <a:pt x="335" y="256"/>
                    </a:lnTo>
                    <a:lnTo>
                      <a:pt x="335" y="255"/>
                    </a:lnTo>
                    <a:lnTo>
                      <a:pt x="334" y="25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8" name="Freeform 79">
                <a:extLst>
                  <a:ext uri="{FF2B5EF4-FFF2-40B4-BE49-F238E27FC236}">
                    <a16:creationId xmlns:a16="http://schemas.microsoft.com/office/drawing/2014/main" id="{30485023-7409-4E96-BEC0-5F68B97256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1" y="2725"/>
                <a:ext cx="335" cy="268"/>
              </a:xfrm>
              <a:custGeom>
                <a:avLst/>
                <a:gdLst>
                  <a:gd name="T0" fmla="*/ 328 w 335"/>
                  <a:gd name="T1" fmla="*/ 238 h 268"/>
                  <a:gd name="T2" fmla="*/ 328 w 335"/>
                  <a:gd name="T3" fmla="*/ 207 h 268"/>
                  <a:gd name="T4" fmla="*/ 325 w 335"/>
                  <a:gd name="T5" fmla="*/ 172 h 268"/>
                  <a:gd name="T6" fmla="*/ 319 w 335"/>
                  <a:gd name="T7" fmla="*/ 134 h 268"/>
                  <a:gd name="T8" fmla="*/ 289 w 335"/>
                  <a:gd name="T9" fmla="*/ 125 h 268"/>
                  <a:gd name="T10" fmla="*/ 278 w 335"/>
                  <a:gd name="T11" fmla="*/ 116 h 268"/>
                  <a:gd name="T12" fmla="*/ 276 w 335"/>
                  <a:gd name="T13" fmla="*/ 91 h 268"/>
                  <a:gd name="T14" fmla="*/ 262 w 335"/>
                  <a:gd name="T15" fmla="*/ 77 h 268"/>
                  <a:gd name="T16" fmla="*/ 266 w 335"/>
                  <a:gd name="T17" fmla="*/ 43 h 268"/>
                  <a:gd name="T18" fmla="*/ 254 w 335"/>
                  <a:gd name="T19" fmla="*/ 21 h 268"/>
                  <a:gd name="T20" fmla="*/ 238 w 335"/>
                  <a:gd name="T21" fmla="*/ 22 h 268"/>
                  <a:gd name="T22" fmla="*/ 229 w 335"/>
                  <a:gd name="T23" fmla="*/ 20 h 268"/>
                  <a:gd name="T24" fmla="*/ 213 w 335"/>
                  <a:gd name="T25" fmla="*/ 7 h 268"/>
                  <a:gd name="T26" fmla="*/ 202 w 335"/>
                  <a:gd name="T27" fmla="*/ 1 h 268"/>
                  <a:gd name="T28" fmla="*/ 188 w 335"/>
                  <a:gd name="T29" fmla="*/ 20 h 268"/>
                  <a:gd name="T30" fmla="*/ 188 w 335"/>
                  <a:gd name="T31" fmla="*/ 43 h 268"/>
                  <a:gd name="T32" fmla="*/ 186 w 335"/>
                  <a:gd name="T33" fmla="*/ 68 h 268"/>
                  <a:gd name="T34" fmla="*/ 150 w 335"/>
                  <a:gd name="T35" fmla="*/ 62 h 268"/>
                  <a:gd name="T36" fmla="*/ 130 w 335"/>
                  <a:gd name="T37" fmla="*/ 84 h 268"/>
                  <a:gd name="T38" fmla="*/ 113 w 335"/>
                  <a:gd name="T39" fmla="*/ 79 h 268"/>
                  <a:gd name="T40" fmla="*/ 87 w 335"/>
                  <a:gd name="T41" fmla="*/ 63 h 268"/>
                  <a:gd name="T42" fmla="*/ 66 w 335"/>
                  <a:gd name="T43" fmla="*/ 79 h 268"/>
                  <a:gd name="T44" fmla="*/ 51 w 335"/>
                  <a:gd name="T45" fmla="*/ 81 h 268"/>
                  <a:gd name="T46" fmla="*/ 39 w 335"/>
                  <a:gd name="T47" fmla="*/ 78 h 268"/>
                  <a:gd name="T48" fmla="*/ 36 w 335"/>
                  <a:gd name="T49" fmla="*/ 82 h 268"/>
                  <a:gd name="T50" fmla="*/ 32 w 335"/>
                  <a:gd name="T51" fmla="*/ 94 h 268"/>
                  <a:gd name="T52" fmla="*/ 23 w 335"/>
                  <a:gd name="T53" fmla="*/ 112 h 268"/>
                  <a:gd name="T54" fmla="*/ 8 w 335"/>
                  <a:gd name="T55" fmla="*/ 126 h 268"/>
                  <a:gd name="T56" fmla="*/ 3 w 335"/>
                  <a:gd name="T57" fmla="*/ 148 h 268"/>
                  <a:gd name="T58" fmla="*/ 8 w 335"/>
                  <a:gd name="T59" fmla="*/ 172 h 268"/>
                  <a:gd name="T60" fmla="*/ 14 w 335"/>
                  <a:gd name="T61" fmla="*/ 188 h 268"/>
                  <a:gd name="T62" fmla="*/ 18 w 335"/>
                  <a:gd name="T63" fmla="*/ 202 h 268"/>
                  <a:gd name="T64" fmla="*/ 23 w 335"/>
                  <a:gd name="T65" fmla="*/ 209 h 268"/>
                  <a:gd name="T66" fmla="*/ 29 w 335"/>
                  <a:gd name="T67" fmla="*/ 224 h 268"/>
                  <a:gd name="T68" fmla="*/ 41 w 335"/>
                  <a:gd name="T69" fmla="*/ 226 h 268"/>
                  <a:gd name="T70" fmla="*/ 54 w 335"/>
                  <a:gd name="T71" fmla="*/ 222 h 268"/>
                  <a:gd name="T72" fmla="*/ 55 w 335"/>
                  <a:gd name="T73" fmla="*/ 238 h 268"/>
                  <a:gd name="T74" fmla="*/ 63 w 335"/>
                  <a:gd name="T75" fmla="*/ 236 h 268"/>
                  <a:gd name="T76" fmla="*/ 78 w 335"/>
                  <a:gd name="T77" fmla="*/ 237 h 268"/>
                  <a:gd name="T78" fmla="*/ 93 w 335"/>
                  <a:gd name="T79" fmla="*/ 224 h 268"/>
                  <a:gd name="T80" fmla="*/ 131 w 335"/>
                  <a:gd name="T81" fmla="*/ 211 h 268"/>
                  <a:gd name="T82" fmla="*/ 140 w 335"/>
                  <a:gd name="T83" fmla="*/ 202 h 268"/>
                  <a:gd name="T84" fmla="*/ 148 w 335"/>
                  <a:gd name="T85" fmla="*/ 190 h 268"/>
                  <a:gd name="T86" fmla="*/ 155 w 335"/>
                  <a:gd name="T87" fmla="*/ 191 h 268"/>
                  <a:gd name="T88" fmla="*/ 165 w 335"/>
                  <a:gd name="T89" fmla="*/ 193 h 268"/>
                  <a:gd name="T90" fmla="*/ 173 w 335"/>
                  <a:gd name="T91" fmla="*/ 198 h 268"/>
                  <a:gd name="T92" fmla="*/ 180 w 335"/>
                  <a:gd name="T93" fmla="*/ 214 h 268"/>
                  <a:gd name="T94" fmla="*/ 192 w 335"/>
                  <a:gd name="T95" fmla="*/ 224 h 268"/>
                  <a:gd name="T96" fmla="*/ 202 w 335"/>
                  <a:gd name="T97" fmla="*/ 234 h 268"/>
                  <a:gd name="T98" fmla="*/ 213 w 335"/>
                  <a:gd name="T99" fmla="*/ 246 h 268"/>
                  <a:gd name="T100" fmla="*/ 231 w 335"/>
                  <a:gd name="T101" fmla="*/ 249 h 268"/>
                  <a:gd name="T102" fmla="*/ 242 w 335"/>
                  <a:gd name="T103" fmla="*/ 243 h 268"/>
                  <a:gd name="T104" fmla="*/ 256 w 335"/>
                  <a:gd name="T105" fmla="*/ 250 h 268"/>
                  <a:gd name="T106" fmla="*/ 268 w 335"/>
                  <a:gd name="T107" fmla="*/ 259 h 268"/>
                  <a:gd name="T108" fmla="*/ 268 w 335"/>
                  <a:gd name="T109" fmla="*/ 267 h 268"/>
                  <a:gd name="T110" fmla="*/ 279 w 335"/>
                  <a:gd name="T111" fmla="*/ 263 h 268"/>
                  <a:gd name="T112" fmla="*/ 282 w 335"/>
                  <a:gd name="T113" fmla="*/ 252 h 268"/>
                  <a:gd name="T114" fmla="*/ 295 w 335"/>
                  <a:gd name="T115" fmla="*/ 241 h 268"/>
                  <a:gd name="T116" fmla="*/ 305 w 335"/>
                  <a:gd name="T117" fmla="*/ 255 h 268"/>
                  <a:gd name="T118" fmla="*/ 319 w 335"/>
                  <a:gd name="T119" fmla="*/ 253 h 268"/>
                  <a:gd name="T120" fmla="*/ 326 w 335"/>
                  <a:gd name="T121" fmla="*/ 256 h 26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35"/>
                  <a:gd name="T184" fmla="*/ 0 h 268"/>
                  <a:gd name="T185" fmla="*/ 335 w 335"/>
                  <a:gd name="T186" fmla="*/ 268 h 26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35" h="268">
                    <a:moveTo>
                      <a:pt x="334" y="252"/>
                    </a:moveTo>
                    <a:lnTo>
                      <a:pt x="334" y="249"/>
                    </a:lnTo>
                    <a:lnTo>
                      <a:pt x="333" y="249"/>
                    </a:lnTo>
                    <a:lnTo>
                      <a:pt x="332" y="246"/>
                    </a:lnTo>
                    <a:lnTo>
                      <a:pt x="331" y="245"/>
                    </a:lnTo>
                    <a:lnTo>
                      <a:pt x="331" y="244"/>
                    </a:lnTo>
                    <a:lnTo>
                      <a:pt x="329" y="242"/>
                    </a:lnTo>
                    <a:lnTo>
                      <a:pt x="328" y="239"/>
                    </a:lnTo>
                    <a:lnTo>
                      <a:pt x="326" y="238"/>
                    </a:lnTo>
                    <a:lnTo>
                      <a:pt x="328" y="238"/>
                    </a:lnTo>
                    <a:lnTo>
                      <a:pt x="324" y="233"/>
                    </a:lnTo>
                    <a:lnTo>
                      <a:pt x="326" y="232"/>
                    </a:lnTo>
                    <a:lnTo>
                      <a:pt x="327" y="231"/>
                    </a:lnTo>
                    <a:lnTo>
                      <a:pt x="323" y="230"/>
                    </a:lnTo>
                    <a:lnTo>
                      <a:pt x="321" y="228"/>
                    </a:lnTo>
                    <a:lnTo>
                      <a:pt x="326" y="220"/>
                    </a:lnTo>
                    <a:lnTo>
                      <a:pt x="325" y="218"/>
                    </a:lnTo>
                    <a:lnTo>
                      <a:pt x="328" y="214"/>
                    </a:lnTo>
                    <a:lnTo>
                      <a:pt x="331" y="212"/>
                    </a:lnTo>
                    <a:lnTo>
                      <a:pt x="328" y="210"/>
                    </a:lnTo>
                    <a:lnTo>
                      <a:pt x="328" y="207"/>
                    </a:lnTo>
                    <a:lnTo>
                      <a:pt x="327" y="204"/>
                    </a:lnTo>
                    <a:lnTo>
                      <a:pt x="323" y="201"/>
                    </a:lnTo>
                    <a:lnTo>
                      <a:pt x="323" y="200"/>
                    </a:lnTo>
                    <a:lnTo>
                      <a:pt x="325" y="196"/>
                    </a:lnTo>
                    <a:lnTo>
                      <a:pt x="328" y="194"/>
                    </a:lnTo>
                    <a:lnTo>
                      <a:pt x="326" y="191"/>
                    </a:lnTo>
                    <a:lnTo>
                      <a:pt x="325" y="180"/>
                    </a:lnTo>
                    <a:lnTo>
                      <a:pt x="324" y="180"/>
                    </a:lnTo>
                    <a:lnTo>
                      <a:pt x="324" y="178"/>
                    </a:lnTo>
                    <a:lnTo>
                      <a:pt x="326" y="174"/>
                    </a:lnTo>
                    <a:lnTo>
                      <a:pt x="325" y="172"/>
                    </a:lnTo>
                    <a:lnTo>
                      <a:pt x="327" y="167"/>
                    </a:lnTo>
                    <a:lnTo>
                      <a:pt x="324" y="165"/>
                    </a:lnTo>
                    <a:lnTo>
                      <a:pt x="325" y="164"/>
                    </a:lnTo>
                    <a:lnTo>
                      <a:pt x="328" y="158"/>
                    </a:lnTo>
                    <a:lnTo>
                      <a:pt x="330" y="155"/>
                    </a:lnTo>
                    <a:lnTo>
                      <a:pt x="328" y="150"/>
                    </a:lnTo>
                    <a:lnTo>
                      <a:pt x="323" y="145"/>
                    </a:lnTo>
                    <a:lnTo>
                      <a:pt x="322" y="142"/>
                    </a:lnTo>
                    <a:lnTo>
                      <a:pt x="322" y="139"/>
                    </a:lnTo>
                    <a:lnTo>
                      <a:pt x="322" y="133"/>
                    </a:lnTo>
                    <a:lnTo>
                      <a:pt x="319" y="134"/>
                    </a:lnTo>
                    <a:lnTo>
                      <a:pt x="316" y="127"/>
                    </a:lnTo>
                    <a:lnTo>
                      <a:pt x="313" y="127"/>
                    </a:lnTo>
                    <a:lnTo>
                      <a:pt x="308" y="125"/>
                    </a:lnTo>
                    <a:lnTo>
                      <a:pt x="306" y="123"/>
                    </a:lnTo>
                    <a:lnTo>
                      <a:pt x="304" y="120"/>
                    </a:lnTo>
                    <a:lnTo>
                      <a:pt x="301" y="119"/>
                    </a:lnTo>
                    <a:lnTo>
                      <a:pt x="300" y="117"/>
                    </a:lnTo>
                    <a:lnTo>
                      <a:pt x="298" y="116"/>
                    </a:lnTo>
                    <a:lnTo>
                      <a:pt x="296" y="116"/>
                    </a:lnTo>
                    <a:lnTo>
                      <a:pt x="294" y="116"/>
                    </a:lnTo>
                    <a:lnTo>
                      <a:pt x="289" y="125"/>
                    </a:lnTo>
                    <a:lnTo>
                      <a:pt x="284" y="129"/>
                    </a:lnTo>
                    <a:lnTo>
                      <a:pt x="282" y="129"/>
                    </a:lnTo>
                    <a:lnTo>
                      <a:pt x="281" y="128"/>
                    </a:lnTo>
                    <a:lnTo>
                      <a:pt x="279" y="128"/>
                    </a:lnTo>
                    <a:lnTo>
                      <a:pt x="278" y="126"/>
                    </a:lnTo>
                    <a:lnTo>
                      <a:pt x="279" y="125"/>
                    </a:lnTo>
                    <a:lnTo>
                      <a:pt x="279" y="124"/>
                    </a:lnTo>
                    <a:lnTo>
                      <a:pt x="280" y="122"/>
                    </a:lnTo>
                    <a:lnTo>
                      <a:pt x="279" y="121"/>
                    </a:lnTo>
                    <a:lnTo>
                      <a:pt x="279" y="120"/>
                    </a:lnTo>
                    <a:lnTo>
                      <a:pt x="278" y="116"/>
                    </a:lnTo>
                    <a:lnTo>
                      <a:pt x="281" y="114"/>
                    </a:lnTo>
                    <a:lnTo>
                      <a:pt x="280" y="113"/>
                    </a:lnTo>
                    <a:lnTo>
                      <a:pt x="281" y="112"/>
                    </a:lnTo>
                    <a:lnTo>
                      <a:pt x="280" y="110"/>
                    </a:lnTo>
                    <a:lnTo>
                      <a:pt x="282" y="107"/>
                    </a:lnTo>
                    <a:lnTo>
                      <a:pt x="281" y="107"/>
                    </a:lnTo>
                    <a:lnTo>
                      <a:pt x="281" y="99"/>
                    </a:lnTo>
                    <a:lnTo>
                      <a:pt x="279" y="96"/>
                    </a:lnTo>
                    <a:lnTo>
                      <a:pt x="278" y="92"/>
                    </a:lnTo>
                    <a:lnTo>
                      <a:pt x="277" y="92"/>
                    </a:lnTo>
                    <a:lnTo>
                      <a:pt x="276" y="91"/>
                    </a:lnTo>
                    <a:lnTo>
                      <a:pt x="275" y="91"/>
                    </a:lnTo>
                    <a:lnTo>
                      <a:pt x="275" y="90"/>
                    </a:lnTo>
                    <a:lnTo>
                      <a:pt x="274" y="91"/>
                    </a:lnTo>
                    <a:lnTo>
                      <a:pt x="274" y="90"/>
                    </a:lnTo>
                    <a:lnTo>
                      <a:pt x="271" y="90"/>
                    </a:lnTo>
                    <a:lnTo>
                      <a:pt x="271" y="88"/>
                    </a:lnTo>
                    <a:lnTo>
                      <a:pt x="268" y="87"/>
                    </a:lnTo>
                    <a:lnTo>
                      <a:pt x="266" y="86"/>
                    </a:lnTo>
                    <a:lnTo>
                      <a:pt x="262" y="79"/>
                    </a:lnTo>
                    <a:lnTo>
                      <a:pt x="262" y="77"/>
                    </a:lnTo>
                    <a:lnTo>
                      <a:pt x="260" y="73"/>
                    </a:lnTo>
                    <a:lnTo>
                      <a:pt x="259" y="71"/>
                    </a:lnTo>
                    <a:lnTo>
                      <a:pt x="259" y="60"/>
                    </a:lnTo>
                    <a:lnTo>
                      <a:pt x="258" y="57"/>
                    </a:lnTo>
                    <a:lnTo>
                      <a:pt x="259" y="54"/>
                    </a:lnTo>
                    <a:lnTo>
                      <a:pt x="259" y="52"/>
                    </a:lnTo>
                    <a:lnTo>
                      <a:pt x="260" y="50"/>
                    </a:lnTo>
                    <a:lnTo>
                      <a:pt x="262" y="49"/>
                    </a:lnTo>
                    <a:lnTo>
                      <a:pt x="262" y="48"/>
                    </a:lnTo>
                    <a:lnTo>
                      <a:pt x="266" y="46"/>
                    </a:lnTo>
                    <a:lnTo>
                      <a:pt x="266" y="43"/>
                    </a:lnTo>
                    <a:lnTo>
                      <a:pt x="265" y="39"/>
                    </a:lnTo>
                    <a:lnTo>
                      <a:pt x="262" y="38"/>
                    </a:lnTo>
                    <a:lnTo>
                      <a:pt x="264" y="33"/>
                    </a:lnTo>
                    <a:lnTo>
                      <a:pt x="264" y="30"/>
                    </a:lnTo>
                    <a:lnTo>
                      <a:pt x="258" y="28"/>
                    </a:lnTo>
                    <a:lnTo>
                      <a:pt x="257" y="28"/>
                    </a:lnTo>
                    <a:lnTo>
                      <a:pt x="256" y="29"/>
                    </a:lnTo>
                    <a:lnTo>
                      <a:pt x="254" y="26"/>
                    </a:lnTo>
                    <a:lnTo>
                      <a:pt x="256" y="25"/>
                    </a:lnTo>
                    <a:lnTo>
                      <a:pt x="255" y="23"/>
                    </a:lnTo>
                    <a:lnTo>
                      <a:pt x="254" y="21"/>
                    </a:lnTo>
                    <a:lnTo>
                      <a:pt x="256" y="20"/>
                    </a:lnTo>
                    <a:lnTo>
                      <a:pt x="255" y="20"/>
                    </a:lnTo>
                    <a:lnTo>
                      <a:pt x="250" y="20"/>
                    </a:lnTo>
                    <a:lnTo>
                      <a:pt x="247" y="22"/>
                    </a:lnTo>
                    <a:lnTo>
                      <a:pt x="245" y="21"/>
                    </a:lnTo>
                    <a:lnTo>
                      <a:pt x="243" y="23"/>
                    </a:lnTo>
                    <a:lnTo>
                      <a:pt x="243" y="26"/>
                    </a:lnTo>
                    <a:lnTo>
                      <a:pt x="241" y="26"/>
                    </a:lnTo>
                    <a:lnTo>
                      <a:pt x="238" y="23"/>
                    </a:lnTo>
                    <a:lnTo>
                      <a:pt x="237" y="23"/>
                    </a:lnTo>
                    <a:lnTo>
                      <a:pt x="238" y="22"/>
                    </a:lnTo>
                    <a:lnTo>
                      <a:pt x="238" y="20"/>
                    </a:lnTo>
                    <a:lnTo>
                      <a:pt x="238" y="18"/>
                    </a:lnTo>
                    <a:lnTo>
                      <a:pt x="239" y="12"/>
                    </a:lnTo>
                    <a:lnTo>
                      <a:pt x="238" y="7"/>
                    </a:lnTo>
                    <a:lnTo>
                      <a:pt x="234" y="9"/>
                    </a:lnTo>
                    <a:lnTo>
                      <a:pt x="230" y="9"/>
                    </a:lnTo>
                    <a:lnTo>
                      <a:pt x="230" y="12"/>
                    </a:lnTo>
                    <a:lnTo>
                      <a:pt x="227" y="15"/>
                    </a:lnTo>
                    <a:lnTo>
                      <a:pt x="227" y="18"/>
                    </a:lnTo>
                    <a:lnTo>
                      <a:pt x="228" y="18"/>
                    </a:lnTo>
                    <a:lnTo>
                      <a:pt x="229" y="20"/>
                    </a:lnTo>
                    <a:lnTo>
                      <a:pt x="227" y="19"/>
                    </a:lnTo>
                    <a:lnTo>
                      <a:pt x="225" y="20"/>
                    </a:lnTo>
                    <a:lnTo>
                      <a:pt x="224" y="18"/>
                    </a:lnTo>
                    <a:lnTo>
                      <a:pt x="221" y="18"/>
                    </a:lnTo>
                    <a:lnTo>
                      <a:pt x="219" y="18"/>
                    </a:lnTo>
                    <a:lnTo>
                      <a:pt x="218" y="14"/>
                    </a:lnTo>
                    <a:lnTo>
                      <a:pt x="218" y="13"/>
                    </a:lnTo>
                    <a:lnTo>
                      <a:pt x="221" y="10"/>
                    </a:lnTo>
                    <a:lnTo>
                      <a:pt x="220" y="8"/>
                    </a:lnTo>
                    <a:lnTo>
                      <a:pt x="215" y="7"/>
                    </a:lnTo>
                    <a:lnTo>
                      <a:pt x="213" y="7"/>
                    </a:lnTo>
                    <a:lnTo>
                      <a:pt x="213" y="5"/>
                    </a:lnTo>
                    <a:lnTo>
                      <a:pt x="211" y="4"/>
                    </a:lnTo>
                    <a:lnTo>
                      <a:pt x="211" y="3"/>
                    </a:lnTo>
                    <a:lnTo>
                      <a:pt x="209" y="1"/>
                    </a:lnTo>
                    <a:lnTo>
                      <a:pt x="208" y="6"/>
                    </a:lnTo>
                    <a:lnTo>
                      <a:pt x="205" y="7"/>
                    </a:lnTo>
                    <a:lnTo>
                      <a:pt x="202" y="5"/>
                    </a:lnTo>
                    <a:lnTo>
                      <a:pt x="202" y="4"/>
                    </a:lnTo>
                    <a:lnTo>
                      <a:pt x="202" y="3"/>
                    </a:lnTo>
                    <a:lnTo>
                      <a:pt x="202" y="1"/>
                    </a:lnTo>
                    <a:lnTo>
                      <a:pt x="199" y="0"/>
                    </a:lnTo>
                    <a:lnTo>
                      <a:pt x="197" y="0"/>
                    </a:lnTo>
                    <a:lnTo>
                      <a:pt x="197" y="3"/>
                    </a:lnTo>
                    <a:lnTo>
                      <a:pt x="196" y="3"/>
                    </a:lnTo>
                    <a:lnTo>
                      <a:pt x="193" y="5"/>
                    </a:lnTo>
                    <a:lnTo>
                      <a:pt x="191" y="5"/>
                    </a:lnTo>
                    <a:lnTo>
                      <a:pt x="189" y="5"/>
                    </a:lnTo>
                    <a:lnTo>
                      <a:pt x="188" y="7"/>
                    </a:lnTo>
                    <a:lnTo>
                      <a:pt x="183" y="13"/>
                    </a:lnTo>
                    <a:lnTo>
                      <a:pt x="185" y="15"/>
                    </a:lnTo>
                    <a:lnTo>
                      <a:pt x="188" y="20"/>
                    </a:lnTo>
                    <a:lnTo>
                      <a:pt x="189" y="18"/>
                    </a:lnTo>
                    <a:lnTo>
                      <a:pt x="193" y="17"/>
                    </a:lnTo>
                    <a:lnTo>
                      <a:pt x="193" y="18"/>
                    </a:lnTo>
                    <a:lnTo>
                      <a:pt x="194" y="23"/>
                    </a:lnTo>
                    <a:lnTo>
                      <a:pt x="196" y="27"/>
                    </a:lnTo>
                    <a:lnTo>
                      <a:pt x="195" y="26"/>
                    </a:lnTo>
                    <a:lnTo>
                      <a:pt x="193" y="28"/>
                    </a:lnTo>
                    <a:lnTo>
                      <a:pt x="193" y="34"/>
                    </a:lnTo>
                    <a:lnTo>
                      <a:pt x="192" y="37"/>
                    </a:lnTo>
                    <a:lnTo>
                      <a:pt x="193" y="38"/>
                    </a:lnTo>
                    <a:lnTo>
                      <a:pt x="188" y="43"/>
                    </a:lnTo>
                    <a:lnTo>
                      <a:pt x="187" y="44"/>
                    </a:lnTo>
                    <a:lnTo>
                      <a:pt x="185" y="46"/>
                    </a:lnTo>
                    <a:lnTo>
                      <a:pt x="186" y="48"/>
                    </a:lnTo>
                    <a:lnTo>
                      <a:pt x="187" y="51"/>
                    </a:lnTo>
                    <a:lnTo>
                      <a:pt x="187" y="54"/>
                    </a:lnTo>
                    <a:lnTo>
                      <a:pt x="189" y="54"/>
                    </a:lnTo>
                    <a:lnTo>
                      <a:pt x="186" y="56"/>
                    </a:lnTo>
                    <a:lnTo>
                      <a:pt x="186" y="59"/>
                    </a:lnTo>
                    <a:lnTo>
                      <a:pt x="185" y="60"/>
                    </a:lnTo>
                    <a:lnTo>
                      <a:pt x="186" y="61"/>
                    </a:lnTo>
                    <a:lnTo>
                      <a:pt x="186" y="68"/>
                    </a:lnTo>
                    <a:lnTo>
                      <a:pt x="186" y="71"/>
                    </a:lnTo>
                    <a:lnTo>
                      <a:pt x="185" y="71"/>
                    </a:lnTo>
                    <a:lnTo>
                      <a:pt x="179" y="71"/>
                    </a:lnTo>
                    <a:lnTo>
                      <a:pt x="177" y="73"/>
                    </a:lnTo>
                    <a:lnTo>
                      <a:pt x="174" y="73"/>
                    </a:lnTo>
                    <a:lnTo>
                      <a:pt x="171" y="71"/>
                    </a:lnTo>
                    <a:lnTo>
                      <a:pt x="169" y="69"/>
                    </a:lnTo>
                    <a:lnTo>
                      <a:pt x="159" y="64"/>
                    </a:lnTo>
                    <a:lnTo>
                      <a:pt x="158" y="68"/>
                    </a:lnTo>
                    <a:lnTo>
                      <a:pt x="152" y="62"/>
                    </a:lnTo>
                    <a:lnTo>
                      <a:pt x="150" y="62"/>
                    </a:lnTo>
                    <a:lnTo>
                      <a:pt x="149" y="65"/>
                    </a:lnTo>
                    <a:lnTo>
                      <a:pt x="147" y="65"/>
                    </a:lnTo>
                    <a:lnTo>
                      <a:pt x="145" y="65"/>
                    </a:lnTo>
                    <a:lnTo>
                      <a:pt x="143" y="65"/>
                    </a:lnTo>
                    <a:lnTo>
                      <a:pt x="140" y="63"/>
                    </a:lnTo>
                    <a:lnTo>
                      <a:pt x="139" y="63"/>
                    </a:lnTo>
                    <a:lnTo>
                      <a:pt x="139" y="65"/>
                    </a:lnTo>
                    <a:lnTo>
                      <a:pt x="137" y="69"/>
                    </a:lnTo>
                    <a:lnTo>
                      <a:pt x="134" y="72"/>
                    </a:lnTo>
                    <a:lnTo>
                      <a:pt x="131" y="78"/>
                    </a:lnTo>
                    <a:lnTo>
                      <a:pt x="130" y="84"/>
                    </a:lnTo>
                    <a:lnTo>
                      <a:pt x="128" y="86"/>
                    </a:lnTo>
                    <a:lnTo>
                      <a:pt x="128" y="84"/>
                    </a:lnTo>
                    <a:lnTo>
                      <a:pt x="124" y="86"/>
                    </a:lnTo>
                    <a:lnTo>
                      <a:pt x="121" y="85"/>
                    </a:lnTo>
                    <a:lnTo>
                      <a:pt x="121" y="84"/>
                    </a:lnTo>
                    <a:lnTo>
                      <a:pt x="120" y="84"/>
                    </a:lnTo>
                    <a:lnTo>
                      <a:pt x="119" y="82"/>
                    </a:lnTo>
                    <a:lnTo>
                      <a:pt x="117" y="82"/>
                    </a:lnTo>
                    <a:lnTo>
                      <a:pt x="115" y="80"/>
                    </a:lnTo>
                    <a:lnTo>
                      <a:pt x="113" y="79"/>
                    </a:lnTo>
                    <a:lnTo>
                      <a:pt x="112" y="81"/>
                    </a:lnTo>
                    <a:lnTo>
                      <a:pt x="109" y="82"/>
                    </a:lnTo>
                    <a:lnTo>
                      <a:pt x="107" y="81"/>
                    </a:lnTo>
                    <a:lnTo>
                      <a:pt x="107" y="80"/>
                    </a:lnTo>
                    <a:lnTo>
                      <a:pt x="109" y="77"/>
                    </a:lnTo>
                    <a:lnTo>
                      <a:pt x="106" y="73"/>
                    </a:lnTo>
                    <a:lnTo>
                      <a:pt x="101" y="73"/>
                    </a:lnTo>
                    <a:lnTo>
                      <a:pt x="99" y="71"/>
                    </a:lnTo>
                    <a:lnTo>
                      <a:pt x="95" y="67"/>
                    </a:lnTo>
                    <a:lnTo>
                      <a:pt x="91" y="67"/>
                    </a:lnTo>
                    <a:lnTo>
                      <a:pt x="87" y="63"/>
                    </a:lnTo>
                    <a:lnTo>
                      <a:pt x="83" y="61"/>
                    </a:lnTo>
                    <a:lnTo>
                      <a:pt x="80" y="68"/>
                    </a:lnTo>
                    <a:lnTo>
                      <a:pt x="79" y="69"/>
                    </a:lnTo>
                    <a:lnTo>
                      <a:pt x="77" y="69"/>
                    </a:lnTo>
                    <a:lnTo>
                      <a:pt x="75" y="70"/>
                    </a:lnTo>
                    <a:lnTo>
                      <a:pt x="69" y="68"/>
                    </a:lnTo>
                    <a:lnTo>
                      <a:pt x="69" y="69"/>
                    </a:lnTo>
                    <a:lnTo>
                      <a:pt x="69" y="73"/>
                    </a:lnTo>
                    <a:lnTo>
                      <a:pt x="67" y="74"/>
                    </a:lnTo>
                    <a:lnTo>
                      <a:pt x="67" y="77"/>
                    </a:lnTo>
                    <a:lnTo>
                      <a:pt x="66" y="79"/>
                    </a:lnTo>
                    <a:lnTo>
                      <a:pt x="66" y="83"/>
                    </a:lnTo>
                    <a:lnTo>
                      <a:pt x="65" y="86"/>
                    </a:lnTo>
                    <a:lnTo>
                      <a:pt x="62" y="87"/>
                    </a:lnTo>
                    <a:lnTo>
                      <a:pt x="60" y="87"/>
                    </a:lnTo>
                    <a:lnTo>
                      <a:pt x="60" y="86"/>
                    </a:lnTo>
                    <a:lnTo>
                      <a:pt x="59" y="88"/>
                    </a:lnTo>
                    <a:lnTo>
                      <a:pt x="58" y="86"/>
                    </a:lnTo>
                    <a:lnTo>
                      <a:pt x="55" y="86"/>
                    </a:lnTo>
                    <a:lnTo>
                      <a:pt x="55" y="85"/>
                    </a:lnTo>
                    <a:lnTo>
                      <a:pt x="52" y="84"/>
                    </a:lnTo>
                    <a:lnTo>
                      <a:pt x="51" y="81"/>
                    </a:lnTo>
                    <a:lnTo>
                      <a:pt x="48" y="78"/>
                    </a:lnTo>
                    <a:lnTo>
                      <a:pt x="47" y="78"/>
                    </a:lnTo>
                    <a:lnTo>
                      <a:pt x="46" y="79"/>
                    </a:lnTo>
                    <a:lnTo>
                      <a:pt x="46" y="78"/>
                    </a:lnTo>
                    <a:lnTo>
                      <a:pt x="44" y="79"/>
                    </a:lnTo>
                    <a:lnTo>
                      <a:pt x="45" y="78"/>
                    </a:lnTo>
                    <a:lnTo>
                      <a:pt x="46" y="76"/>
                    </a:lnTo>
                    <a:lnTo>
                      <a:pt x="44" y="76"/>
                    </a:lnTo>
                    <a:lnTo>
                      <a:pt x="44" y="75"/>
                    </a:lnTo>
                    <a:lnTo>
                      <a:pt x="41" y="76"/>
                    </a:lnTo>
                    <a:lnTo>
                      <a:pt x="39" y="78"/>
                    </a:lnTo>
                    <a:lnTo>
                      <a:pt x="37" y="75"/>
                    </a:lnTo>
                    <a:lnTo>
                      <a:pt x="34" y="76"/>
                    </a:lnTo>
                    <a:lnTo>
                      <a:pt x="36" y="78"/>
                    </a:lnTo>
                    <a:lnTo>
                      <a:pt x="35" y="78"/>
                    </a:lnTo>
                    <a:lnTo>
                      <a:pt x="36" y="79"/>
                    </a:lnTo>
                    <a:lnTo>
                      <a:pt x="37" y="78"/>
                    </a:lnTo>
                    <a:lnTo>
                      <a:pt x="38" y="79"/>
                    </a:lnTo>
                    <a:lnTo>
                      <a:pt x="38" y="80"/>
                    </a:lnTo>
                    <a:lnTo>
                      <a:pt x="37" y="79"/>
                    </a:lnTo>
                    <a:lnTo>
                      <a:pt x="36" y="81"/>
                    </a:lnTo>
                    <a:lnTo>
                      <a:pt x="36" y="82"/>
                    </a:lnTo>
                    <a:lnTo>
                      <a:pt x="36" y="84"/>
                    </a:lnTo>
                    <a:lnTo>
                      <a:pt x="37" y="84"/>
                    </a:lnTo>
                    <a:lnTo>
                      <a:pt x="38" y="85"/>
                    </a:lnTo>
                    <a:lnTo>
                      <a:pt x="38" y="86"/>
                    </a:lnTo>
                    <a:lnTo>
                      <a:pt x="35" y="87"/>
                    </a:lnTo>
                    <a:lnTo>
                      <a:pt x="34" y="89"/>
                    </a:lnTo>
                    <a:lnTo>
                      <a:pt x="36" y="91"/>
                    </a:lnTo>
                    <a:lnTo>
                      <a:pt x="34" y="95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28" y="97"/>
                    </a:lnTo>
                    <a:lnTo>
                      <a:pt x="26" y="102"/>
                    </a:lnTo>
                    <a:lnTo>
                      <a:pt x="26" y="104"/>
                    </a:lnTo>
                    <a:lnTo>
                      <a:pt x="25" y="104"/>
                    </a:lnTo>
                    <a:lnTo>
                      <a:pt x="24" y="107"/>
                    </a:lnTo>
                    <a:lnTo>
                      <a:pt x="27" y="110"/>
                    </a:lnTo>
                    <a:lnTo>
                      <a:pt x="26" y="112"/>
                    </a:lnTo>
                    <a:lnTo>
                      <a:pt x="23" y="112"/>
                    </a:lnTo>
                    <a:lnTo>
                      <a:pt x="23" y="110"/>
                    </a:lnTo>
                    <a:lnTo>
                      <a:pt x="23" y="108"/>
                    </a:lnTo>
                    <a:lnTo>
                      <a:pt x="22" y="110"/>
                    </a:lnTo>
                    <a:lnTo>
                      <a:pt x="20" y="114"/>
                    </a:lnTo>
                    <a:lnTo>
                      <a:pt x="16" y="115"/>
                    </a:lnTo>
                    <a:lnTo>
                      <a:pt x="12" y="116"/>
                    </a:lnTo>
                    <a:lnTo>
                      <a:pt x="10" y="118"/>
                    </a:lnTo>
                    <a:lnTo>
                      <a:pt x="10" y="121"/>
                    </a:lnTo>
                    <a:lnTo>
                      <a:pt x="9" y="123"/>
                    </a:lnTo>
                    <a:lnTo>
                      <a:pt x="8" y="126"/>
                    </a:lnTo>
                    <a:lnTo>
                      <a:pt x="10" y="128"/>
                    </a:lnTo>
                    <a:lnTo>
                      <a:pt x="10" y="130"/>
                    </a:lnTo>
                    <a:lnTo>
                      <a:pt x="4" y="135"/>
                    </a:lnTo>
                    <a:lnTo>
                      <a:pt x="3" y="134"/>
                    </a:lnTo>
                    <a:lnTo>
                      <a:pt x="0" y="139"/>
                    </a:lnTo>
                    <a:lnTo>
                      <a:pt x="0" y="144"/>
                    </a:lnTo>
                    <a:lnTo>
                      <a:pt x="2" y="144"/>
                    </a:lnTo>
                    <a:lnTo>
                      <a:pt x="3" y="144"/>
                    </a:lnTo>
                    <a:lnTo>
                      <a:pt x="4" y="144"/>
                    </a:lnTo>
                    <a:lnTo>
                      <a:pt x="3" y="147"/>
                    </a:lnTo>
                    <a:lnTo>
                      <a:pt x="3" y="148"/>
                    </a:lnTo>
                    <a:lnTo>
                      <a:pt x="3" y="149"/>
                    </a:lnTo>
                    <a:lnTo>
                      <a:pt x="4" y="153"/>
                    </a:lnTo>
                    <a:lnTo>
                      <a:pt x="4" y="154"/>
                    </a:lnTo>
                    <a:lnTo>
                      <a:pt x="2" y="158"/>
                    </a:lnTo>
                    <a:lnTo>
                      <a:pt x="5" y="161"/>
                    </a:lnTo>
                    <a:lnTo>
                      <a:pt x="4" y="161"/>
                    </a:lnTo>
                    <a:lnTo>
                      <a:pt x="4" y="163"/>
                    </a:lnTo>
                    <a:lnTo>
                      <a:pt x="6" y="165"/>
                    </a:lnTo>
                    <a:lnTo>
                      <a:pt x="7" y="170"/>
                    </a:lnTo>
                    <a:lnTo>
                      <a:pt x="6" y="172"/>
                    </a:lnTo>
                    <a:lnTo>
                      <a:pt x="8" y="172"/>
                    </a:lnTo>
                    <a:lnTo>
                      <a:pt x="9" y="175"/>
                    </a:lnTo>
                    <a:lnTo>
                      <a:pt x="9" y="176"/>
                    </a:lnTo>
                    <a:lnTo>
                      <a:pt x="12" y="178"/>
                    </a:lnTo>
                    <a:lnTo>
                      <a:pt x="12" y="181"/>
                    </a:lnTo>
                    <a:lnTo>
                      <a:pt x="12" y="182"/>
                    </a:lnTo>
                    <a:lnTo>
                      <a:pt x="13" y="182"/>
                    </a:lnTo>
                    <a:lnTo>
                      <a:pt x="13" y="185"/>
                    </a:lnTo>
                    <a:lnTo>
                      <a:pt x="14" y="185"/>
                    </a:lnTo>
                    <a:lnTo>
                      <a:pt x="14" y="187"/>
                    </a:lnTo>
                    <a:lnTo>
                      <a:pt x="14" y="188"/>
                    </a:lnTo>
                    <a:lnTo>
                      <a:pt x="14" y="192"/>
                    </a:lnTo>
                    <a:lnTo>
                      <a:pt x="14" y="194"/>
                    </a:lnTo>
                    <a:lnTo>
                      <a:pt x="16" y="195"/>
                    </a:lnTo>
                    <a:lnTo>
                      <a:pt x="17" y="199"/>
                    </a:lnTo>
                    <a:lnTo>
                      <a:pt x="18" y="199"/>
                    </a:lnTo>
                    <a:lnTo>
                      <a:pt x="17" y="201"/>
                    </a:lnTo>
                    <a:lnTo>
                      <a:pt x="18" y="201"/>
                    </a:lnTo>
                    <a:lnTo>
                      <a:pt x="17" y="202"/>
                    </a:lnTo>
                    <a:lnTo>
                      <a:pt x="18" y="202"/>
                    </a:lnTo>
                    <a:lnTo>
                      <a:pt x="18" y="205"/>
                    </a:lnTo>
                    <a:lnTo>
                      <a:pt x="18" y="206"/>
                    </a:lnTo>
                    <a:lnTo>
                      <a:pt x="19" y="205"/>
                    </a:lnTo>
                    <a:lnTo>
                      <a:pt x="18" y="208"/>
                    </a:lnTo>
                    <a:lnTo>
                      <a:pt x="22" y="209"/>
                    </a:lnTo>
                    <a:lnTo>
                      <a:pt x="22" y="208"/>
                    </a:lnTo>
                    <a:lnTo>
                      <a:pt x="22" y="209"/>
                    </a:lnTo>
                    <a:lnTo>
                      <a:pt x="23" y="210"/>
                    </a:lnTo>
                    <a:lnTo>
                      <a:pt x="23" y="209"/>
                    </a:lnTo>
                    <a:lnTo>
                      <a:pt x="25" y="210"/>
                    </a:lnTo>
                    <a:lnTo>
                      <a:pt x="26" y="210"/>
                    </a:lnTo>
                    <a:lnTo>
                      <a:pt x="26" y="211"/>
                    </a:lnTo>
                    <a:lnTo>
                      <a:pt x="25" y="211"/>
                    </a:lnTo>
                    <a:lnTo>
                      <a:pt x="27" y="212"/>
                    </a:lnTo>
                    <a:lnTo>
                      <a:pt x="26" y="215"/>
                    </a:lnTo>
                    <a:lnTo>
                      <a:pt x="28" y="216"/>
                    </a:lnTo>
                    <a:lnTo>
                      <a:pt x="28" y="218"/>
                    </a:lnTo>
                    <a:lnTo>
                      <a:pt x="29" y="221"/>
                    </a:lnTo>
                    <a:lnTo>
                      <a:pt x="30" y="221"/>
                    </a:lnTo>
                    <a:lnTo>
                      <a:pt x="29" y="224"/>
                    </a:lnTo>
                    <a:lnTo>
                      <a:pt x="31" y="224"/>
                    </a:lnTo>
                    <a:lnTo>
                      <a:pt x="31" y="225"/>
                    </a:lnTo>
                    <a:lnTo>
                      <a:pt x="32" y="227"/>
                    </a:lnTo>
                    <a:lnTo>
                      <a:pt x="33" y="224"/>
                    </a:lnTo>
                    <a:lnTo>
                      <a:pt x="35" y="219"/>
                    </a:lnTo>
                    <a:lnTo>
                      <a:pt x="39" y="219"/>
                    </a:lnTo>
                    <a:lnTo>
                      <a:pt x="38" y="220"/>
                    </a:lnTo>
                    <a:lnTo>
                      <a:pt x="39" y="222"/>
                    </a:lnTo>
                    <a:lnTo>
                      <a:pt x="40" y="225"/>
                    </a:lnTo>
                    <a:lnTo>
                      <a:pt x="41" y="226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7" y="226"/>
                    </a:lnTo>
                    <a:lnTo>
                      <a:pt x="45" y="224"/>
                    </a:lnTo>
                    <a:lnTo>
                      <a:pt x="45" y="223"/>
                    </a:lnTo>
                    <a:lnTo>
                      <a:pt x="49" y="224"/>
                    </a:lnTo>
                    <a:lnTo>
                      <a:pt x="49" y="223"/>
                    </a:lnTo>
                    <a:lnTo>
                      <a:pt x="51" y="221"/>
                    </a:lnTo>
                    <a:lnTo>
                      <a:pt x="53" y="221"/>
                    </a:lnTo>
                    <a:lnTo>
                      <a:pt x="54" y="221"/>
                    </a:lnTo>
                    <a:lnTo>
                      <a:pt x="54" y="222"/>
                    </a:lnTo>
                    <a:lnTo>
                      <a:pt x="53" y="223"/>
                    </a:lnTo>
                    <a:lnTo>
                      <a:pt x="53" y="225"/>
                    </a:lnTo>
                    <a:lnTo>
                      <a:pt x="52" y="225"/>
                    </a:lnTo>
                    <a:lnTo>
                      <a:pt x="54" y="228"/>
                    </a:lnTo>
                    <a:lnTo>
                      <a:pt x="52" y="229"/>
                    </a:lnTo>
                    <a:lnTo>
                      <a:pt x="52" y="231"/>
                    </a:lnTo>
                    <a:lnTo>
                      <a:pt x="52" y="236"/>
                    </a:lnTo>
                    <a:lnTo>
                      <a:pt x="54" y="238"/>
                    </a:lnTo>
                    <a:lnTo>
                      <a:pt x="55" y="238"/>
                    </a:lnTo>
                    <a:lnTo>
                      <a:pt x="55" y="236"/>
                    </a:lnTo>
                    <a:lnTo>
                      <a:pt x="56" y="238"/>
                    </a:lnTo>
                    <a:lnTo>
                      <a:pt x="57" y="237"/>
                    </a:lnTo>
                    <a:lnTo>
                      <a:pt x="57" y="238"/>
                    </a:lnTo>
                    <a:lnTo>
                      <a:pt x="58" y="238"/>
                    </a:lnTo>
                    <a:lnTo>
                      <a:pt x="57" y="238"/>
                    </a:lnTo>
                    <a:lnTo>
                      <a:pt x="59" y="240"/>
                    </a:lnTo>
                    <a:lnTo>
                      <a:pt x="60" y="241"/>
                    </a:lnTo>
                    <a:lnTo>
                      <a:pt x="61" y="240"/>
                    </a:lnTo>
                    <a:lnTo>
                      <a:pt x="61" y="238"/>
                    </a:lnTo>
                    <a:lnTo>
                      <a:pt x="63" y="236"/>
                    </a:lnTo>
                    <a:lnTo>
                      <a:pt x="63" y="237"/>
                    </a:lnTo>
                    <a:lnTo>
                      <a:pt x="65" y="238"/>
                    </a:lnTo>
                    <a:lnTo>
                      <a:pt x="66" y="238"/>
                    </a:lnTo>
                    <a:lnTo>
                      <a:pt x="66" y="235"/>
                    </a:lnTo>
                    <a:lnTo>
                      <a:pt x="68" y="236"/>
                    </a:lnTo>
                    <a:lnTo>
                      <a:pt x="69" y="238"/>
                    </a:lnTo>
                    <a:lnTo>
                      <a:pt x="71" y="238"/>
                    </a:lnTo>
                    <a:lnTo>
                      <a:pt x="71" y="236"/>
                    </a:lnTo>
                    <a:lnTo>
                      <a:pt x="75" y="237"/>
                    </a:lnTo>
                    <a:lnTo>
                      <a:pt x="78" y="237"/>
                    </a:lnTo>
                    <a:lnTo>
                      <a:pt x="78" y="236"/>
                    </a:lnTo>
                    <a:lnTo>
                      <a:pt x="82" y="240"/>
                    </a:lnTo>
                    <a:lnTo>
                      <a:pt x="82" y="239"/>
                    </a:lnTo>
                    <a:lnTo>
                      <a:pt x="82" y="235"/>
                    </a:lnTo>
                    <a:lnTo>
                      <a:pt x="84" y="234"/>
                    </a:lnTo>
                    <a:lnTo>
                      <a:pt x="84" y="233"/>
                    </a:lnTo>
                    <a:lnTo>
                      <a:pt x="88" y="234"/>
                    </a:lnTo>
                    <a:lnTo>
                      <a:pt x="89" y="232"/>
                    </a:lnTo>
                    <a:lnTo>
                      <a:pt x="90" y="233"/>
                    </a:lnTo>
                    <a:lnTo>
                      <a:pt x="93" y="225"/>
                    </a:lnTo>
                    <a:lnTo>
                      <a:pt x="93" y="224"/>
                    </a:lnTo>
                    <a:lnTo>
                      <a:pt x="100" y="226"/>
                    </a:lnTo>
                    <a:lnTo>
                      <a:pt x="101" y="225"/>
                    </a:lnTo>
                    <a:lnTo>
                      <a:pt x="102" y="221"/>
                    </a:lnTo>
                    <a:lnTo>
                      <a:pt x="101" y="212"/>
                    </a:lnTo>
                    <a:lnTo>
                      <a:pt x="101" y="207"/>
                    </a:lnTo>
                    <a:lnTo>
                      <a:pt x="115" y="212"/>
                    </a:lnTo>
                    <a:lnTo>
                      <a:pt x="121" y="218"/>
                    </a:lnTo>
                    <a:lnTo>
                      <a:pt x="128" y="213"/>
                    </a:lnTo>
                    <a:lnTo>
                      <a:pt x="129" y="213"/>
                    </a:lnTo>
                    <a:lnTo>
                      <a:pt x="130" y="212"/>
                    </a:lnTo>
                    <a:lnTo>
                      <a:pt x="131" y="211"/>
                    </a:lnTo>
                    <a:lnTo>
                      <a:pt x="130" y="209"/>
                    </a:lnTo>
                    <a:lnTo>
                      <a:pt x="128" y="207"/>
                    </a:lnTo>
                    <a:lnTo>
                      <a:pt x="129" y="205"/>
                    </a:lnTo>
                    <a:lnTo>
                      <a:pt x="128" y="204"/>
                    </a:lnTo>
                    <a:lnTo>
                      <a:pt x="133" y="203"/>
                    </a:lnTo>
                    <a:lnTo>
                      <a:pt x="133" y="202"/>
                    </a:lnTo>
                    <a:lnTo>
                      <a:pt x="136" y="201"/>
                    </a:lnTo>
                    <a:lnTo>
                      <a:pt x="138" y="201"/>
                    </a:lnTo>
                    <a:lnTo>
                      <a:pt x="139" y="201"/>
                    </a:lnTo>
                    <a:lnTo>
                      <a:pt x="140" y="200"/>
                    </a:lnTo>
                    <a:lnTo>
                      <a:pt x="140" y="202"/>
                    </a:lnTo>
                    <a:lnTo>
                      <a:pt x="143" y="200"/>
                    </a:lnTo>
                    <a:lnTo>
                      <a:pt x="145" y="199"/>
                    </a:lnTo>
                    <a:lnTo>
                      <a:pt x="144" y="195"/>
                    </a:lnTo>
                    <a:lnTo>
                      <a:pt x="145" y="195"/>
                    </a:lnTo>
                    <a:lnTo>
                      <a:pt x="144" y="191"/>
                    </a:lnTo>
                    <a:lnTo>
                      <a:pt x="142" y="191"/>
                    </a:lnTo>
                    <a:lnTo>
                      <a:pt x="145" y="191"/>
                    </a:lnTo>
                    <a:lnTo>
                      <a:pt x="145" y="190"/>
                    </a:lnTo>
                    <a:lnTo>
                      <a:pt x="147" y="191"/>
                    </a:lnTo>
                    <a:lnTo>
                      <a:pt x="147" y="190"/>
                    </a:lnTo>
                    <a:lnTo>
                      <a:pt x="148" y="190"/>
                    </a:lnTo>
                    <a:lnTo>
                      <a:pt x="148" y="191"/>
                    </a:lnTo>
                    <a:lnTo>
                      <a:pt x="147" y="185"/>
                    </a:lnTo>
                    <a:lnTo>
                      <a:pt x="148" y="184"/>
                    </a:lnTo>
                    <a:lnTo>
                      <a:pt x="153" y="185"/>
                    </a:lnTo>
                    <a:lnTo>
                      <a:pt x="153" y="186"/>
                    </a:lnTo>
                    <a:lnTo>
                      <a:pt x="153" y="189"/>
                    </a:lnTo>
                    <a:lnTo>
                      <a:pt x="152" y="189"/>
                    </a:lnTo>
                    <a:lnTo>
                      <a:pt x="153" y="191"/>
                    </a:lnTo>
                    <a:lnTo>
                      <a:pt x="154" y="191"/>
                    </a:lnTo>
                    <a:lnTo>
                      <a:pt x="155" y="192"/>
                    </a:lnTo>
                    <a:lnTo>
                      <a:pt x="155" y="191"/>
                    </a:lnTo>
                    <a:lnTo>
                      <a:pt x="157" y="191"/>
                    </a:lnTo>
                    <a:lnTo>
                      <a:pt x="158" y="195"/>
                    </a:lnTo>
                    <a:lnTo>
                      <a:pt x="156" y="195"/>
                    </a:lnTo>
                    <a:lnTo>
                      <a:pt x="158" y="196"/>
                    </a:lnTo>
                    <a:lnTo>
                      <a:pt x="158" y="197"/>
                    </a:lnTo>
                    <a:lnTo>
                      <a:pt x="161" y="197"/>
                    </a:lnTo>
                    <a:lnTo>
                      <a:pt x="162" y="199"/>
                    </a:lnTo>
                    <a:lnTo>
                      <a:pt x="162" y="196"/>
                    </a:lnTo>
                    <a:lnTo>
                      <a:pt x="164" y="196"/>
                    </a:lnTo>
                    <a:lnTo>
                      <a:pt x="164" y="194"/>
                    </a:lnTo>
                    <a:lnTo>
                      <a:pt x="165" y="193"/>
                    </a:lnTo>
                    <a:lnTo>
                      <a:pt x="166" y="194"/>
                    </a:lnTo>
                    <a:lnTo>
                      <a:pt x="165" y="194"/>
                    </a:lnTo>
                    <a:lnTo>
                      <a:pt x="165" y="195"/>
                    </a:lnTo>
                    <a:lnTo>
                      <a:pt x="167" y="195"/>
                    </a:lnTo>
                    <a:lnTo>
                      <a:pt x="167" y="196"/>
                    </a:lnTo>
                    <a:lnTo>
                      <a:pt x="169" y="196"/>
                    </a:lnTo>
                    <a:lnTo>
                      <a:pt x="170" y="196"/>
                    </a:lnTo>
                    <a:lnTo>
                      <a:pt x="173" y="195"/>
                    </a:lnTo>
                    <a:lnTo>
                      <a:pt x="173" y="196"/>
                    </a:lnTo>
                    <a:lnTo>
                      <a:pt x="172" y="197"/>
                    </a:lnTo>
                    <a:lnTo>
                      <a:pt x="173" y="198"/>
                    </a:lnTo>
                    <a:lnTo>
                      <a:pt x="175" y="204"/>
                    </a:lnTo>
                    <a:lnTo>
                      <a:pt x="176" y="204"/>
                    </a:lnTo>
                    <a:lnTo>
                      <a:pt x="178" y="205"/>
                    </a:lnTo>
                    <a:lnTo>
                      <a:pt x="178" y="208"/>
                    </a:lnTo>
                    <a:lnTo>
                      <a:pt x="178" y="207"/>
                    </a:lnTo>
                    <a:lnTo>
                      <a:pt x="180" y="207"/>
                    </a:lnTo>
                    <a:lnTo>
                      <a:pt x="180" y="208"/>
                    </a:lnTo>
                    <a:lnTo>
                      <a:pt x="179" y="210"/>
                    </a:lnTo>
                    <a:lnTo>
                      <a:pt x="180" y="212"/>
                    </a:lnTo>
                    <a:lnTo>
                      <a:pt x="180" y="214"/>
                    </a:lnTo>
                    <a:lnTo>
                      <a:pt x="181" y="212"/>
                    </a:lnTo>
                    <a:lnTo>
                      <a:pt x="182" y="213"/>
                    </a:lnTo>
                    <a:lnTo>
                      <a:pt x="184" y="212"/>
                    </a:lnTo>
                    <a:lnTo>
                      <a:pt x="186" y="212"/>
                    </a:lnTo>
                    <a:lnTo>
                      <a:pt x="187" y="216"/>
                    </a:lnTo>
                    <a:lnTo>
                      <a:pt x="189" y="217"/>
                    </a:lnTo>
                    <a:lnTo>
                      <a:pt x="188" y="218"/>
                    </a:lnTo>
                    <a:lnTo>
                      <a:pt x="190" y="218"/>
                    </a:lnTo>
                    <a:lnTo>
                      <a:pt x="193" y="221"/>
                    </a:lnTo>
                    <a:lnTo>
                      <a:pt x="192" y="223"/>
                    </a:lnTo>
                    <a:lnTo>
                      <a:pt x="192" y="224"/>
                    </a:lnTo>
                    <a:lnTo>
                      <a:pt x="193" y="223"/>
                    </a:lnTo>
                    <a:lnTo>
                      <a:pt x="193" y="225"/>
                    </a:lnTo>
                    <a:lnTo>
                      <a:pt x="193" y="231"/>
                    </a:lnTo>
                    <a:lnTo>
                      <a:pt x="194" y="231"/>
                    </a:lnTo>
                    <a:lnTo>
                      <a:pt x="194" y="232"/>
                    </a:lnTo>
                    <a:lnTo>
                      <a:pt x="197" y="232"/>
                    </a:lnTo>
                    <a:lnTo>
                      <a:pt x="197" y="233"/>
                    </a:lnTo>
                    <a:lnTo>
                      <a:pt x="198" y="233"/>
                    </a:lnTo>
                    <a:lnTo>
                      <a:pt x="198" y="234"/>
                    </a:lnTo>
                    <a:lnTo>
                      <a:pt x="200" y="233"/>
                    </a:lnTo>
                    <a:lnTo>
                      <a:pt x="202" y="234"/>
                    </a:lnTo>
                    <a:lnTo>
                      <a:pt x="204" y="236"/>
                    </a:lnTo>
                    <a:lnTo>
                      <a:pt x="203" y="236"/>
                    </a:lnTo>
                    <a:lnTo>
                      <a:pt x="204" y="236"/>
                    </a:lnTo>
                    <a:lnTo>
                      <a:pt x="204" y="238"/>
                    </a:lnTo>
                    <a:lnTo>
                      <a:pt x="205" y="238"/>
                    </a:lnTo>
                    <a:lnTo>
                      <a:pt x="205" y="239"/>
                    </a:lnTo>
                    <a:lnTo>
                      <a:pt x="205" y="241"/>
                    </a:lnTo>
                    <a:lnTo>
                      <a:pt x="207" y="242"/>
                    </a:lnTo>
                    <a:lnTo>
                      <a:pt x="208" y="241"/>
                    </a:lnTo>
                    <a:lnTo>
                      <a:pt x="212" y="244"/>
                    </a:lnTo>
                    <a:lnTo>
                      <a:pt x="213" y="246"/>
                    </a:lnTo>
                    <a:lnTo>
                      <a:pt x="215" y="248"/>
                    </a:lnTo>
                    <a:lnTo>
                      <a:pt x="218" y="249"/>
                    </a:lnTo>
                    <a:lnTo>
                      <a:pt x="221" y="251"/>
                    </a:lnTo>
                    <a:lnTo>
                      <a:pt x="224" y="255"/>
                    </a:lnTo>
                    <a:lnTo>
                      <a:pt x="226" y="254"/>
                    </a:lnTo>
                    <a:lnTo>
                      <a:pt x="227" y="254"/>
                    </a:lnTo>
                    <a:lnTo>
                      <a:pt x="229" y="254"/>
                    </a:lnTo>
                    <a:lnTo>
                      <a:pt x="229" y="253"/>
                    </a:lnTo>
                    <a:lnTo>
                      <a:pt x="230" y="250"/>
                    </a:lnTo>
                    <a:lnTo>
                      <a:pt x="229" y="249"/>
                    </a:lnTo>
                    <a:lnTo>
                      <a:pt x="231" y="249"/>
                    </a:lnTo>
                    <a:lnTo>
                      <a:pt x="231" y="247"/>
                    </a:lnTo>
                    <a:lnTo>
                      <a:pt x="234" y="246"/>
                    </a:lnTo>
                    <a:lnTo>
                      <a:pt x="235" y="244"/>
                    </a:lnTo>
                    <a:lnTo>
                      <a:pt x="236" y="243"/>
                    </a:lnTo>
                    <a:lnTo>
                      <a:pt x="237" y="243"/>
                    </a:lnTo>
                    <a:lnTo>
                      <a:pt x="238" y="242"/>
                    </a:lnTo>
                    <a:lnTo>
                      <a:pt x="239" y="244"/>
                    </a:lnTo>
                    <a:lnTo>
                      <a:pt x="240" y="243"/>
                    </a:lnTo>
                    <a:lnTo>
                      <a:pt x="242" y="243"/>
                    </a:lnTo>
                    <a:lnTo>
                      <a:pt x="243" y="244"/>
                    </a:lnTo>
                    <a:lnTo>
                      <a:pt x="246" y="246"/>
                    </a:lnTo>
                    <a:lnTo>
                      <a:pt x="246" y="248"/>
                    </a:lnTo>
                    <a:lnTo>
                      <a:pt x="249" y="249"/>
                    </a:lnTo>
                    <a:lnTo>
                      <a:pt x="250" y="250"/>
                    </a:lnTo>
                    <a:lnTo>
                      <a:pt x="251" y="248"/>
                    </a:lnTo>
                    <a:lnTo>
                      <a:pt x="252" y="250"/>
                    </a:lnTo>
                    <a:lnTo>
                      <a:pt x="253" y="250"/>
                    </a:lnTo>
                    <a:lnTo>
                      <a:pt x="253" y="249"/>
                    </a:lnTo>
                    <a:lnTo>
                      <a:pt x="256" y="250"/>
                    </a:lnTo>
                    <a:lnTo>
                      <a:pt x="256" y="252"/>
                    </a:lnTo>
                    <a:lnTo>
                      <a:pt x="257" y="255"/>
                    </a:lnTo>
                    <a:lnTo>
                      <a:pt x="258" y="255"/>
                    </a:lnTo>
                    <a:lnTo>
                      <a:pt x="260" y="256"/>
                    </a:lnTo>
                    <a:lnTo>
                      <a:pt x="261" y="258"/>
                    </a:lnTo>
                    <a:lnTo>
                      <a:pt x="263" y="260"/>
                    </a:lnTo>
                    <a:lnTo>
                      <a:pt x="264" y="255"/>
                    </a:lnTo>
                    <a:lnTo>
                      <a:pt x="266" y="254"/>
                    </a:lnTo>
                    <a:lnTo>
                      <a:pt x="268" y="255"/>
                    </a:lnTo>
                    <a:lnTo>
                      <a:pt x="267" y="256"/>
                    </a:lnTo>
                    <a:lnTo>
                      <a:pt x="268" y="259"/>
                    </a:lnTo>
                    <a:lnTo>
                      <a:pt x="267" y="259"/>
                    </a:lnTo>
                    <a:lnTo>
                      <a:pt x="268" y="261"/>
                    </a:lnTo>
                    <a:lnTo>
                      <a:pt x="269" y="262"/>
                    </a:lnTo>
                    <a:lnTo>
                      <a:pt x="269" y="263"/>
                    </a:lnTo>
                    <a:lnTo>
                      <a:pt x="266" y="262"/>
                    </a:lnTo>
                    <a:lnTo>
                      <a:pt x="266" y="263"/>
                    </a:lnTo>
                    <a:lnTo>
                      <a:pt x="268" y="263"/>
                    </a:lnTo>
                    <a:lnTo>
                      <a:pt x="268" y="265"/>
                    </a:lnTo>
                    <a:lnTo>
                      <a:pt x="267" y="265"/>
                    </a:lnTo>
                    <a:lnTo>
                      <a:pt x="268" y="265"/>
                    </a:lnTo>
                    <a:lnTo>
                      <a:pt x="268" y="267"/>
                    </a:lnTo>
                    <a:lnTo>
                      <a:pt x="271" y="268"/>
                    </a:lnTo>
                    <a:lnTo>
                      <a:pt x="273" y="267"/>
                    </a:lnTo>
                    <a:lnTo>
                      <a:pt x="274" y="268"/>
                    </a:lnTo>
                    <a:lnTo>
                      <a:pt x="275" y="266"/>
                    </a:lnTo>
                    <a:lnTo>
                      <a:pt x="277" y="268"/>
                    </a:lnTo>
                    <a:lnTo>
                      <a:pt x="277" y="267"/>
                    </a:lnTo>
                    <a:lnTo>
                      <a:pt x="278" y="268"/>
                    </a:lnTo>
                    <a:lnTo>
                      <a:pt x="278" y="267"/>
                    </a:lnTo>
                    <a:lnTo>
                      <a:pt x="277" y="265"/>
                    </a:lnTo>
                    <a:lnTo>
                      <a:pt x="278" y="264"/>
                    </a:lnTo>
                    <a:lnTo>
                      <a:pt x="279" y="263"/>
                    </a:lnTo>
                    <a:lnTo>
                      <a:pt x="280" y="266"/>
                    </a:lnTo>
                    <a:lnTo>
                      <a:pt x="282" y="266"/>
                    </a:lnTo>
                    <a:lnTo>
                      <a:pt x="282" y="265"/>
                    </a:lnTo>
                    <a:lnTo>
                      <a:pt x="284" y="263"/>
                    </a:lnTo>
                    <a:lnTo>
                      <a:pt x="283" y="262"/>
                    </a:lnTo>
                    <a:lnTo>
                      <a:pt x="285" y="262"/>
                    </a:lnTo>
                    <a:lnTo>
                      <a:pt x="286" y="260"/>
                    </a:lnTo>
                    <a:lnTo>
                      <a:pt x="283" y="258"/>
                    </a:lnTo>
                    <a:lnTo>
                      <a:pt x="283" y="254"/>
                    </a:lnTo>
                    <a:lnTo>
                      <a:pt x="282" y="252"/>
                    </a:lnTo>
                    <a:lnTo>
                      <a:pt x="283" y="249"/>
                    </a:lnTo>
                    <a:lnTo>
                      <a:pt x="287" y="249"/>
                    </a:lnTo>
                    <a:lnTo>
                      <a:pt x="290" y="249"/>
                    </a:lnTo>
                    <a:lnTo>
                      <a:pt x="291" y="244"/>
                    </a:lnTo>
                    <a:lnTo>
                      <a:pt x="293" y="246"/>
                    </a:lnTo>
                    <a:lnTo>
                      <a:pt x="294" y="246"/>
                    </a:lnTo>
                    <a:lnTo>
                      <a:pt x="295" y="244"/>
                    </a:lnTo>
                    <a:lnTo>
                      <a:pt x="294" y="242"/>
                    </a:lnTo>
                    <a:lnTo>
                      <a:pt x="295" y="241"/>
                    </a:lnTo>
                    <a:lnTo>
                      <a:pt x="294" y="241"/>
                    </a:lnTo>
                    <a:lnTo>
                      <a:pt x="294" y="239"/>
                    </a:lnTo>
                    <a:lnTo>
                      <a:pt x="299" y="242"/>
                    </a:lnTo>
                    <a:lnTo>
                      <a:pt x="300" y="243"/>
                    </a:lnTo>
                    <a:lnTo>
                      <a:pt x="300" y="244"/>
                    </a:lnTo>
                    <a:lnTo>
                      <a:pt x="299" y="244"/>
                    </a:lnTo>
                    <a:lnTo>
                      <a:pt x="298" y="246"/>
                    </a:lnTo>
                    <a:lnTo>
                      <a:pt x="302" y="252"/>
                    </a:lnTo>
                    <a:lnTo>
                      <a:pt x="302" y="254"/>
                    </a:lnTo>
                    <a:lnTo>
                      <a:pt x="305" y="254"/>
                    </a:lnTo>
                    <a:lnTo>
                      <a:pt x="305" y="255"/>
                    </a:lnTo>
                    <a:lnTo>
                      <a:pt x="307" y="255"/>
                    </a:lnTo>
                    <a:lnTo>
                      <a:pt x="308" y="257"/>
                    </a:lnTo>
                    <a:lnTo>
                      <a:pt x="311" y="257"/>
                    </a:lnTo>
                    <a:lnTo>
                      <a:pt x="311" y="253"/>
                    </a:lnTo>
                    <a:lnTo>
                      <a:pt x="312" y="254"/>
                    </a:lnTo>
                    <a:lnTo>
                      <a:pt x="314" y="253"/>
                    </a:lnTo>
                    <a:lnTo>
                      <a:pt x="315" y="253"/>
                    </a:lnTo>
                    <a:lnTo>
                      <a:pt x="317" y="252"/>
                    </a:lnTo>
                    <a:lnTo>
                      <a:pt x="318" y="252"/>
                    </a:lnTo>
                    <a:lnTo>
                      <a:pt x="318" y="253"/>
                    </a:lnTo>
                    <a:lnTo>
                      <a:pt x="319" y="253"/>
                    </a:lnTo>
                    <a:lnTo>
                      <a:pt x="319" y="254"/>
                    </a:lnTo>
                    <a:lnTo>
                      <a:pt x="320" y="255"/>
                    </a:lnTo>
                    <a:lnTo>
                      <a:pt x="320" y="254"/>
                    </a:lnTo>
                    <a:lnTo>
                      <a:pt x="321" y="254"/>
                    </a:lnTo>
                    <a:lnTo>
                      <a:pt x="321" y="258"/>
                    </a:lnTo>
                    <a:lnTo>
                      <a:pt x="322" y="258"/>
                    </a:lnTo>
                    <a:lnTo>
                      <a:pt x="322" y="257"/>
                    </a:lnTo>
                    <a:lnTo>
                      <a:pt x="323" y="255"/>
                    </a:lnTo>
                    <a:lnTo>
                      <a:pt x="323" y="258"/>
                    </a:lnTo>
                    <a:lnTo>
                      <a:pt x="324" y="257"/>
                    </a:lnTo>
                    <a:lnTo>
                      <a:pt x="326" y="256"/>
                    </a:lnTo>
                    <a:lnTo>
                      <a:pt x="335" y="256"/>
                    </a:lnTo>
                    <a:lnTo>
                      <a:pt x="335" y="255"/>
                    </a:lnTo>
                    <a:lnTo>
                      <a:pt x="334" y="252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72" name="Group 83">
              <a:extLst>
                <a:ext uri="{FF2B5EF4-FFF2-40B4-BE49-F238E27FC236}">
                  <a16:creationId xmlns:a16="http://schemas.microsoft.com/office/drawing/2014/main" id="{1EEF81E8-7FEA-4517-9780-7FC9F174C0F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1" y="2910"/>
              <a:ext cx="569" cy="509"/>
              <a:chOff x="791" y="2910"/>
              <a:chExt cx="569" cy="509"/>
            </a:xfrm>
          </p:grpSpPr>
          <p:sp>
            <p:nvSpPr>
              <p:cNvPr id="515" name="Freeform 81">
                <a:extLst>
                  <a:ext uri="{FF2B5EF4-FFF2-40B4-BE49-F238E27FC236}">
                    <a16:creationId xmlns:a16="http://schemas.microsoft.com/office/drawing/2014/main" id="{A583B780-B3C9-443E-B621-623B18DBD2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" y="2910"/>
                <a:ext cx="569" cy="509"/>
              </a:xfrm>
              <a:custGeom>
                <a:avLst/>
                <a:gdLst>
                  <a:gd name="T0" fmla="*/ 128 w 569"/>
                  <a:gd name="T1" fmla="*/ 470 h 509"/>
                  <a:gd name="T2" fmla="*/ 100 w 569"/>
                  <a:gd name="T3" fmla="*/ 473 h 509"/>
                  <a:gd name="T4" fmla="*/ 79 w 569"/>
                  <a:gd name="T5" fmla="*/ 467 h 509"/>
                  <a:gd name="T6" fmla="*/ 69 w 569"/>
                  <a:gd name="T7" fmla="*/ 420 h 509"/>
                  <a:gd name="T8" fmla="*/ 60 w 569"/>
                  <a:gd name="T9" fmla="*/ 397 h 509"/>
                  <a:gd name="T10" fmla="*/ 56 w 569"/>
                  <a:gd name="T11" fmla="*/ 386 h 509"/>
                  <a:gd name="T12" fmla="*/ 81 w 569"/>
                  <a:gd name="T13" fmla="*/ 368 h 509"/>
                  <a:gd name="T14" fmla="*/ 91 w 569"/>
                  <a:gd name="T15" fmla="*/ 338 h 509"/>
                  <a:gd name="T16" fmla="*/ 106 w 569"/>
                  <a:gd name="T17" fmla="*/ 306 h 509"/>
                  <a:gd name="T18" fmla="*/ 89 w 569"/>
                  <a:gd name="T19" fmla="*/ 267 h 509"/>
                  <a:gd name="T20" fmla="*/ 60 w 569"/>
                  <a:gd name="T21" fmla="*/ 236 h 509"/>
                  <a:gd name="T22" fmla="*/ 33 w 569"/>
                  <a:gd name="T23" fmla="*/ 210 h 509"/>
                  <a:gd name="T24" fmla="*/ 6 w 569"/>
                  <a:gd name="T25" fmla="*/ 198 h 509"/>
                  <a:gd name="T26" fmla="*/ 25 w 569"/>
                  <a:gd name="T27" fmla="*/ 175 h 509"/>
                  <a:gd name="T28" fmla="*/ 41 w 569"/>
                  <a:gd name="T29" fmla="*/ 146 h 509"/>
                  <a:gd name="T30" fmla="*/ 85 w 569"/>
                  <a:gd name="T31" fmla="*/ 126 h 509"/>
                  <a:gd name="T32" fmla="*/ 128 w 569"/>
                  <a:gd name="T33" fmla="*/ 122 h 509"/>
                  <a:gd name="T34" fmla="*/ 164 w 569"/>
                  <a:gd name="T35" fmla="*/ 107 h 509"/>
                  <a:gd name="T36" fmla="*/ 188 w 569"/>
                  <a:gd name="T37" fmla="*/ 92 h 509"/>
                  <a:gd name="T38" fmla="*/ 237 w 569"/>
                  <a:gd name="T39" fmla="*/ 103 h 509"/>
                  <a:gd name="T40" fmla="*/ 273 w 569"/>
                  <a:gd name="T41" fmla="*/ 101 h 509"/>
                  <a:gd name="T42" fmla="*/ 282 w 569"/>
                  <a:gd name="T43" fmla="*/ 78 h 509"/>
                  <a:gd name="T44" fmla="*/ 295 w 569"/>
                  <a:gd name="T45" fmla="*/ 68 h 509"/>
                  <a:gd name="T46" fmla="*/ 321 w 569"/>
                  <a:gd name="T47" fmla="*/ 39 h 509"/>
                  <a:gd name="T48" fmla="*/ 343 w 569"/>
                  <a:gd name="T49" fmla="*/ 44 h 509"/>
                  <a:gd name="T50" fmla="*/ 368 w 569"/>
                  <a:gd name="T51" fmla="*/ 52 h 509"/>
                  <a:gd name="T52" fmla="*/ 423 w 569"/>
                  <a:gd name="T53" fmla="*/ 18 h 509"/>
                  <a:gd name="T54" fmla="*/ 446 w 569"/>
                  <a:gd name="T55" fmla="*/ 7 h 509"/>
                  <a:gd name="T56" fmla="*/ 468 w 569"/>
                  <a:gd name="T57" fmla="*/ 20 h 509"/>
                  <a:gd name="T58" fmla="*/ 488 w 569"/>
                  <a:gd name="T59" fmla="*/ 49 h 509"/>
                  <a:gd name="T60" fmla="*/ 491 w 569"/>
                  <a:gd name="T61" fmla="*/ 77 h 509"/>
                  <a:gd name="T62" fmla="*/ 489 w 569"/>
                  <a:gd name="T63" fmla="*/ 109 h 509"/>
                  <a:gd name="T64" fmla="*/ 483 w 569"/>
                  <a:gd name="T65" fmla="*/ 137 h 509"/>
                  <a:gd name="T66" fmla="*/ 499 w 569"/>
                  <a:gd name="T67" fmla="*/ 161 h 509"/>
                  <a:gd name="T68" fmla="*/ 528 w 569"/>
                  <a:gd name="T69" fmla="*/ 171 h 509"/>
                  <a:gd name="T70" fmla="*/ 541 w 569"/>
                  <a:gd name="T71" fmla="*/ 189 h 509"/>
                  <a:gd name="T72" fmla="*/ 539 w 569"/>
                  <a:gd name="T73" fmla="*/ 225 h 509"/>
                  <a:gd name="T74" fmla="*/ 552 w 569"/>
                  <a:gd name="T75" fmla="*/ 249 h 509"/>
                  <a:gd name="T76" fmla="*/ 542 w 569"/>
                  <a:gd name="T77" fmla="*/ 279 h 509"/>
                  <a:gd name="T78" fmla="*/ 530 w 569"/>
                  <a:gd name="T79" fmla="*/ 288 h 509"/>
                  <a:gd name="T80" fmla="*/ 548 w 569"/>
                  <a:gd name="T81" fmla="*/ 306 h 509"/>
                  <a:gd name="T82" fmla="*/ 567 w 569"/>
                  <a:gd name="T83" fmla="*/ 330 h 509"/>
                  <a:gd name="T84" fmla="*/ 557 w 569"/>
                  <a:gd name="T85" fmla="*/ 360 h 509"/>
                  <a:gd name="T86" fmla="*/ 544 w 569"/>
                  <a:gd name="T87" fmla="*/ 384 h 509"/>
                  <a:gd name="T88" fmla="*/ 524 w 569"/>
                  <a:gd name="T89" fmla="*/ 401 h 509"/>
                  <a:gd name="T90" fmla="*/ 495 w 569"/>
                  <a:gd name="T91" fmla="*/ 412 h 509"/>
                  <a:gd name="T92" fmla="*/ 475 w 569"/>
                  <a:gd name="T93" fmla="*/ 420 h 509"/>
                  <a:gd name="T94" fmla="*/ 469 w 569"/>
                  <a:gd name="T95" fmla="*/ 456 h 509"/>
                  <a:gd name="T96" fmla="*/ 457 w 569"/>
                  <a:gd name="T97" fmla="*/ 480 h 509"/>
                  <a:gd name="T98" fmla="*/ 438 w 569"/>
                  <a:gd name="T99" fmla="*/ 480 h 509"/>
                  <a:gd name="T100" fmla="*/ 411 w 569"/>
                  <a:gd name="T101" fmla="*/ 478 h 509"/>
                  <a:gd name="T102" fmla="*/ 386 w 569"/>
                  <a:gd name="T103" fmla="*/ 495 h 509"/>
                  <a:gd name="T104" fmla="*/ 372 w 569"/>
                  <a:gd name="T105" fmla="*/ 480 h 509"/>
                  <a:gd name="T106" fmla="*/ 340 w 569"/>
                  <a:gd name="T107" fmla="*/ 465 h 509"/>
                  <a:gd name="T108" fmla="*/ 330 w 569"/>
                  <a:gd name="T109" fmla="*/ 486 h 509"/>
                  <a:gd name="T110" fmla="*/ 312 w 569"/>
                  <a:gd name="T111" fmla="*/ 499 h 509"/>
                  <a:gd name="T112" fmla="*/ 291 w 569"/>
                  <a:gd name="T113" fmla="*/ 488 h 509"/>
                  <a:gd name="T114" fmla="*/ 269 w 569"/>
                  <a:gd name="T115" fmla="*/ 484 h 509"/>
                  <a:gd name="T116" fmla="*/ 243 w 569"/>
                  <a:gd name="T117" fmla="*/ 476 h 509"/>
                  <a:gd name="T118" fmla="*/ 233 w 569"/>
                  <a:gd name="T119" fmla="*/ 484 h 509"/>
                  <a:gd name="T120" fmla="*/ 216 w 569"/>
                  <a:gd name="T121" fmla="*/ 473 h 509"/>
                  <a:gd name="T122" fmla="*/ 190 w 569"/>
                  <a:gd name="T123" fmla="*/ 474 h 509"/>
                  <a:gd name="T124" fmla="*/ 158 w 569"/>
                  <a:gd name="T125" fmla="*/ 475 h 5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9"/>
                  <a:gd name="T190" fmla="*/ 0 h 509"/>
                  <a:gd name="T191" fmla="*/ 569 w 569"/>
                  <a:gd name="T192" fmla="*/ 509 h 5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9" h="509">
                    <a:moveTo>
                      <a:pt x="144" y="458"/>
                    </a:moveTo>
                    <a:lnTo>
                      <a:pt x="142" y="460"/>
                    </a:lnTo>
                    <a:lnTo>
                      <a:pt x="142" y="459"/>
                    </a:lnTo>
                    <a:lnTo>
                      <a:pt x="139" y="461"/>
                    </a:lnTo>
                    <a:lnTo>
                      <a:pt x="138" y="461"/>
                    </a:lnTo>
                    <a:lnTo>
                      <a:pt x="136" y="460"/>
                    </a:lnTo>
                    <a:lnTo>
                      <a:pt x="135" y="463"/>
                    </a:lnTo>
                    <a:lnTo>
                      <a:pt x="136" y="465"/>
                    </a:lnTo>
                    <a:lnTo>
                      <a:pt x="135" y="467"/>
                    </a:lnTo>
                    <a:lnTo>
                      <a:pt x="135" y="465"/>
                    </a:lnTo>
                    <a:lnTo>
                      <a:pt x="134" y="468"/>
                    </a:lnTo>
                    <a:lnTo>
                      <a:pt x="134" y="469"/>
                    </a:lnTo>
                    <a:lnTo>
                      <a:pt x="134" y="470"/>
                    </a:lnTo>
                    <a:lnTo>
                      <a:pt x="133" y="470"/>
                    </a:lnTo>
                    <a:lnTo>
                      <a:pt x="133" y="471"/>
                    </a:lnTo>
                    <a:lnTo>
                      <a:pt x="132" y="469"/>
                    </a:lnTo>
                    <a:lnTo>
                      <a:pt x="131" y="469"/>
                    </a:lnTo>
                    <a:lnTo>
                      <a:pt x="131" y="471"/>
                    </a:lnTo>
                    <a:lnTo>
                      <a:pt x="132" y="473"/>
                    </a:lnTo>
                    <a:lnTo>
                      <a:pt x="131" y="473"/>
                    </a:lnTo>
                    <a:lnTo>
                      <a:pt x="131" y="475"/>
                    </a:lnTo>
                    <a:lnTo>
                      <a:pt x="130" y="475"/>
                    </a:lnTo>
                    <a:lnTo>
                      <a:pt x="130" y="472"/>
                    </a:lnTo>
                    <a:lnTo>
                      <a:pt x="128" y="472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6" y="473"/>
                    </a:lnTo>
                    <a:lnTo>
                      <a:pt x="125" y="475"/>
                    </a:lnTo>
                    <a:lnTo>
                      <a:pt x="125" y="476"/>
                    </a:lnTo>
                    <a:lnTo>
                      <a:pt x="125" y="477"/>
                    </a:lnTo>
                    <a:lnTo>
                      <a:pt x="121" y="476"/>
                    </a:lnTo>
                    <a:lnTo>
                      <a:pt x="118" y="475"/>
                    </a:lnTo>
                    <a:lnTo>
                      <a:pt x="118" y="473"/>
                    </a:lnTo>
                    <a:lnTo>
                      <a:pt x="117" y="472"/>
                    </a:lnTo>
                    <a:lnTo>
                      <a:pt x="114" y="475"/>
                    </a:lnTo>
                    <a:lnTo>
                      <a:pt x="114" y="478"/>
                    </a:lnTo>
                    <a:lnTo>
                      <a:pt x="113" y="478"/>
                    </a:lnTo>
                    <a:lnTo>
                      <a:pt x="111" y="480"/>
                    </a:lnTo>
                    <a:lnTo>
                      <a:pt x="111" y="478"/>
                    </a:lnTo>
                    <a:lnTo>
                      <a:pt x="107" y="479"/>
                    </a:lnTo>
                    <a:lnTo>
                      <a:pt x="107" y="478"/>
                    </a:lnTo>
                    <a:lnTo>
                      <a:pt x="105" y="478"/>
                    </a:lnTo>
                    <a:lnTo>
                      <a:pt x="105" y="476"/>
                    </a:lnTo>
                    <a:lnTo>
                      <a:pt x="104" y="475"/>
                    </a:lnTo>
                    <a:lnTo>
                      <a:pt x="103" y="476"/>
                    </a:lnTo>
                    <a:lnTo>
                      <a:pt x="100" y="476"/>
                    </a:lnTo>
                    <a:lnTo>
                      <a:pt x="102" y="475"/>
                    </a:lnTo>
                    <a:lnTo>
                      <a:pt x="102" y="473"/>
                    </a:lnTo>
                    <a:lnTo>
                      <a:pt x="104" y="472"/>
                    </a:lnTo>
                    <a:lnTo>
                      <a:pt x="100" y="472"/>
                    </a:lnTo>
                    <a:lnTo>
                      <a:pt x="100" y="473"/>
                    </a:lnTo>
                    <a:lnTo>
                      <a:pt x="98" y="472"/>
                    </a:lnTo>
                    <a:lnTo>
                      <a:pt x="98" y="470"/>
                    </a:lnTo>
                    <a:lnTo>
                      <a:pt x="98" y="468"/>
                    </a:lnTo>
                    <a:lnTo>
                      <a:pt x="95" y="465"/>
                    </a:lnTo>
                    <a:lnTo>
                      <a:pt x="93" y="466"/>
                    </a:lnTo>
                    <a:lnTo>
                      <a:pt x="93" y="467"/>
                    </a:lnTo>
                    <a:lnTo>
                      <a:pt x="94" y="468"/>
                    </a:lnTo>
                    <a:lnTo>
                      <a:pt x="92" y="468"/>
                    </a:lnTo>
                    <a:lnTo>
                      <a:pt x="90" y="471"/>
                    </a:lnTo>
                    <a:lnTo>
                      <a:pt x="89" y="471"/>
                    </a:lnTo>
                    <a:lnTo>
                      <a:pt x="87" y="472"/>
                    </a:lnTo>
                    <a:lnTo>
                      <a:pt x="87" y="471"/>
                    </a:lnTo>
                    <a:lnTo>
                      <a:pt x="87" y="470"/>
                    </a:lnTo>
                    <a:lnTo>
                      <a:pt x="86" y="471"/>
                    </a:lnTo>
                    <a:lnTo>
                      <a:pt x="85" y="471"/>
                    </a:lnTo>
                    <a:lnTo>
                      <a:pt x="85" y="467"/>
                    </a:lnTo>
                    <a:lnTo>
                      <a:pt x="85" y="468"/>
                    </a:lnTo>
                    <a:lnTo>
                      <a:pt x="84" y="467"/>
                    </a:lnTo>
                    <a:lnTo>
                      <a:pt x="84" y="463"/>
                    </a:lnTo>
                    <a:lnTo>
                      <a:pt x="82" y="463"/>
                    </a:lnTo>
                    <a:lnTo>
                      <a:pt x="83" y="464"/>
                    </a:lnTo>
                    <a:lnTo>
                      <a:pt x="81" y="464"/>
                    </a:lnTo>
                    <a:lnTo>
                      <a:pt x="81" y="467"/>
                    </a:lnTo>
                    <a:lnTo>
                      <a:pt x="79" y="467"/>
                    </a:lnTo>
                    <a:lnTo>
                      <a:pt x="79" y="468"/>
                    </a:lnTo>
                    <a:lnTo>
                      <a:pt x="76" y="466"/>
                    </a:lnTo>
                    <a:lnTo>
                      <a:pt x="74" y="465"/>
                    </a:lnTo>
                    <a:lnTo>
                      <a:pt x="72" y="469"/>
                    </a:lnTo>
                    <a:lnTo>
                      <a:pt x="71" y="469"/>
                    </a:lnTo>
                    <a:lnTo>
                      <a:pt x="68" y="468"/>
                    </a:lnTo>
                    <a:lnTo>
                      <a:pt x="67" y="468"/>
                    </a:lnTo>
                    <a:lnTo>
                      <a:pt x="68" y="465"/>
                    </a:lnTo>
                    <a:lnTo>
                      <a:pt x="68" y="464"/>
                    </a:lnTo>
                    <a:lnTo>
                      <a:pt x="69" y="459"/>
                    </a:lnTo>
                    <a:lnTo>
                      <a:pt x="70" y="456"/>
                    </a:lnTo>
                    <a:lnTo>
                      <a:pt x="68" y="455"/>
                    </a:lnTo>
                    <a:lnTo>
                      <a:pt x="69" y="452"/>
                    </a:lnTo>
                    <a:lnTo>
                      <a:pt x="65" y="448"/>
                    </a:lnTo>
                    <a:lnTo>
                      <a:pt x="64" y="448"/>
                    </a:lnTo>
                    <a:lnTo>
                      <a:pt x="61" y="452"/>
                    </a:lnTo>
                    <a:lnTo>
                      <a:pt x="61" y="451"/>
                    </a:lnTo>
                    <a:lnTo>
                      <a:pt x="63" y="450"/>
                    </a:lnTo>
                    <a:lnTo>
                      <a:pt x="64" y="445"/>
                    </a:lnTo>
                    <a:lnTo>
                      <a:pt x="63" y="444"/>
                    </a:lnTo>
                    <a:lnTo>
                      <a:pt x="63" y="443"/>
                    </a:lnTo>
                    <a:lnTo>
                      <a:pt x="65" y="437"/>
                    </a:lnTo>
                    <a:lnTo>
                      <a:pt x="64" y="433"/>
                    </a:lnTo>
                    <a:lnTo>
                      <a:pt x="66" y="431"/>
                    </a:lnTo>
                    <a:lnTo>
                      <a:pt x="68" y="428"/>
                    </a:lnTo>
                    <a:lnTo>
                      <a:pt x="68" y="421"/>
                    </a:lnTo>
                    <a:lnTo>
                      <a:pt x="69" y="420"/>
                    </a:lnTo>
                    <a:lnTo>
                      <a:pt x="70" y="417"/>
                    </a:lnTo>
                    <a:lnTo>
                      <a:pt x="69" y="415"/>
                    </a:lnTo>
                    <a:lnTo>
                      <a:pt x="67" y="416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3" y="411"/>
                    </a:lnTo>
                    <a:lnTo>
                      <a:pt x="61" y="412"/>
                    </a:lnTo>
                    <a:lnTo>
                      <a:pt x="58" y="411"/>
                    </a:lnTo>
                    <a:lnTo>
                      <a:pt x="58" y="409"/>
                    </a:lnTo>
                    <a:lnTo>
                      <a:pt x="60" y="409"/>
                    </a:lnTo>
                    <a:lnTo>
                      <a:pt x="60" y="408"/>
                    </a:lnTo>
                    <a:lnTo>
                      <a:pt x="57" y="407"/>
                    </a:lnTo>
                    <a:lnTo>
                      <a:pt x="57" y="406"/>
                    </a:lnTo>
                    <a:lnTo>
                      <a:pt x="55" y="406"/>
                    </a:lnTo>
                    <a:lnTo>
                      <a:pt x="53" y="405"/>
                    </a:lnTo>
                    <a:lnTo>
                      <a:pt x="52" y="405"/>
                    </a:lnTo>
                    <a:lnTo>
                      <a:pt x="52" y="402"/>
                    </a:lnTo>
                    <a:lnTo>
                      <a:pt x="50" y="401"/>
                    </a:lnTo>
                    <a:lnTo>
                      <a:pt x="53" y="402"/>
                    </a:lnTo>
                    <a:lnTo>
                      <a:pt x="56" y="405"/>
                    </a:lnTo>
                    <a:lnTo>
                      <a:pt x="59" y="405"/>
                    </a:lnTo>
                    <a:lnTo>
                      <a:pt x="60" y="404"/>
                    </a:lnTo>
                    <a:lnTo>
                      <a:pt x="61" y="404"/>
                    </a:lnTo>
                    <a:lnTo>
                      <a:pt x="63" y="403"/>
                    </a:lnTo>
                    <a:lnTo>
                      <a:pt x="61" y="403"/>
                    </a:lnTo>
                    <a:lnTo>
                      <a:pt x="60" y="397"/>
                    </a:lnTo>
                    <a:lnTo>
                      <a:pt x="56" y="396"/>
                    </a:lnTo>
                    <a:lnTo>
                      <a:pt x="55" y="394"/>
                    </a:lnTo>
                    <a:lnTo>
                      <a:pt x="56" y="392"/>
                    </a:lnTo>
                    <a:lnTo>
                      <a:pt x="55" y="391"/>
                    </a:lnTo>
                    <a:lnTo>
                      <a:pt x="56" y="390"/>
                    </a:lnTo>
                    <a:lnTo>
                      <a:pt x="57" y="391"/>
                    </a:lnTo>
                    <a:lnTo>
                      <a:pt x="57" y="392"/>
                    </a:lnTo>
                    <a:lnTo>
                      <a:pt x="58" y="391"/>
                    </a:lnTo>
                    <a:lnTo>
                      <a:pt x="59" y="391"/>
                    </a:lnTo>
                    <a:lnTo>
                      <a:pt x="60" y="391"/>
                    </a:lnTo>
                    <a:lnTo>
                      <a:pt x="63" y="390"/>
                    </a:lnTo>
                    <a:lnTo>
                      <a:pt x="64" y="391"/>
                    </a:lnTo>
                    <a:lnTo>
                      <a:pt x="67" y="388"/>
                    </a:lnTo>
                    <a:lnTo>
                      <a:pt x="65" y="388"/>
                    </a:lnTo>
                    <a:lnTo>
                      <a:pt x="65" y="386"/>
                    </a:lnTo>
                    <a:lnTo>
                      <a:pt x="63" y="386"/>
                    </a:lnTo>
                    <a:lnTo>
                      <a:pt x="62" y="385"/>
                    </a:lnTo>
                    <a:lnTo>
                      <a:pt x="60" y="386"/>
                    </a:lnTo>
                    <a:lnTo>
                      <a:pt x="61" y="384"/>
                    </a:lnTo>
                    <a:lnTo>
                      <a:pt x="60" y="384"/>
                    </a:lnTo>
                    <a:lnTo>
                      <a:pt x="58" y="385"/>
                    </a:lnTo>
                    <a:lnTo>
                      <a:pt x="58" y="384"/>
                    </a:lnTo>
                    <a:lnTo>
                      <a:pt x="57" y="384"/>
                    </a:lnTo>
                    <a:lnTo>
                      <a:pt x="56" y="386"/>
                    </a:lnTo>
                    <a:lnTo>
                      <a:pt x="55" y="386"/>
                    </a:lnTo>
                    <a:lnTo>
                      <a:pt x="55" y="388"/>
                    </a:lnTo>
                    <a:lnTo>
                      <a:pt x="53" y="387"/>
                    </a:lnTo>
                    <a:lnTo>
                      <a:pt x="52" y="383"/>
                    </a:lnTo>
                    <a:lnTo>
                      <a:pt x="53" y="384"/>
                    </a:lnTo>
                    <a:lnTo>
                      <a:pt x="53" y="383"/>
                    </a:lnTo>
                    <a:lnTo>
                      <a:pt x="52" y="382"/>
                    </a:lnTo>
                    <a:lnTo>
                      <a:pt x="54" y="380"/>
                    </a:lnTo>
                    <a:lnTo>
                      <a:pt x="53" y="378"/>
                    </a:lnTo>
                    <a:lnTo>
                      <a:pt x="54" y="376"/>
                    </a:lnTo>
                    <a:lnTo>
                      <a:pt x="58" y="374"/>
                    </a:lnTo>
                    <a:lnTo>
                      <a:pt x="61" y="368"/>
                    </a:lnTo>
                    <a:lnTo>
                      <a:pt x="71" y="365"/>
                    </a:lnTo>
                    <a:lnTo>
                      <a:pt x="73" y="364"/>
                    </a:lnTo>
                    <a:lnTo>
                      <a:pt x="75" y="364"/>
                    </a:lnTo>
                    <a:lnTo>
                      <a:pt x="74" y="364"/>
                    </a:lnTo>
                    <a:lnTo>
                      <a:pt x="74" y="367"/>
                    </a:lnTo>
                    <a:lnTo>
                      <a:pt x="76" y="368"/>
                    </a:lnTo>
                    <a:lnTo>
                      <a:pt x="77" y="370"/>
                    </a:lnTo>
                    <a:lnTo>
                      <a:pt x="77" y="371"/>
                    </a:lnTo>
                    <a:lnTo>
                      <a:pt x="79" y="371"/>
                    </a:lnTo>
                    <a:lnTo>
                      <a:pt x="80" y="371"/>
                    </a:lnTo>
                    <a:lnTo>
                      <a:pt x="81" y="369"/>
                    </a:lnTo>
                    <a:lnTo>
                      <a:pt x="81" y="368"/>
                    </a:lnTo>
                    <a:lnTo>
                      <a:pt x="82" y="367"/>
                    </a:lnTo>
                    <a:lnTo>
                      <a:pt x="82" y="365"/>
                    </a:lnTo>
                    <a:lnTo>
                      <a:pt x="84" y="364"/>
                    </a:lnTo>
                    <a:lnTo>
                      <a:pt x="85" y="361"/>
                    </a:lnTo>
                    <a:lnTo>
                      <a:pt x="86" y="361"/>
                    </a:lnTo>
                    <a:lnTo>
                      <a:pt x="89" y="361"/>
                    </a:lnTo>
                    <a:lnTo>
                      <a:pt x="89" y="360"/>
                    </a:lnTo>
                    <a:lnTo>
                      <a:pt x="90" y="360"/>
                    </a:lnTo>
                    <a:lnTo>
                      <a:pt x="91" y="360"/>
                    </a:lnTo>
                    <a:lnTo>
                      <a:pt x="93" y="358"/>
                    </a:lnTo>
                    <a:lnTo>
                      <a:pt x="93" y="359"/>
                    </a:lnTo>
                    <a:lnTo>
                      <a:pt x="95" y="356"/>
                    </a:lnTo>
                    <a:lnTo>
                      <a:pt x="95" y="354"/>
                    </a:lnTo>
                    <a:lnTo>
                      <a:pt x="93" y="353"/>
                    </a:lnTo>
                    <a:lnTo>
                      <a:pt x="92" y="352"/>
                    </a:lnTo>
                    <a:lnTo>
                      <a:pt x="91" y="351"/>
                    </a:lnTo>
                    <a:lnTo>
                      <a:pt x="90" y="352"/>
                    </a:lnTo>
                    <a:lnTo>
                      <a:pt x="89" y="352"/>
                    </a:lnTo>
                    <a:lnTo>
                      <a:pt x="87" y="354"/>
                    </a:lnTo>
                    <a:lnTo>
                      <a:pt x="86" y="353"/>
                    </a:lnTo>
                    <a:lnTo>
                      <a:pt x="87" y="350"/>
                    </a:lnTo>
                    <a:lnTo>
                      <a:pt x="90" y="349"/>
                    </a:lnTo>
                    <a:lnTo>
                      <a:pt x="92" y="344"/>
                    </a:lnTo>
                    <a:lnTo>
                      <a:pt x="92" y="341"/>
                    </a:lnTo>
                    <a:lnTo>
                      <a:pt x="91" y="339"/>
                    </a:lnTo>
                    <a:lnTo>
                      <a:pt x="91" y="338"/>
                    </a:lnTo>
                    <a:lnTo>
                      <a:pt x="90" y="335"/>
                    </a:lnTo>
                    <a:lnTo>
                      <a:pt x="91" y="333"/>
                    </a:lnTo>
                    <a:lnTo>
                      <a:pt x="95" y="333"/>
                    </a:lnTo>
                    <a:lnTo>
                      <a:pt x="95" y="331"/>
                    </a:lnTo>
                    <a:lnTo>
                      <a:pt x="97" y="330"/>
                    </a:lnTo>
                    <a:lnTo>
                      <a:pt x="96" y="330"/>
                    </a:lnTo>
                    <a:lnTo>
                      <a:pt x="97" y="326"/>
                    </a:lnTo>
                    <a:lnTo>
                      <a:pt x="95" y="324"/>
                    </a:lnTo>
                    <a:lnTo>
                      <a:pt x="95" y="321"/>
                    </a:lnTo>
                    <a:lnTo>
                      <a:pt x="98" y="318"/>
                    </a:lnTo>
                    <a:lnTo>
                      <a:pt x="97" y="316"/>
                    </a:lnTo>
                    <a:lnTo>
                      <a:pt x="96" y="314"/>
                    </a:lnTo>
                    <a:lnTo>
                      <a:pt x="97" y="313"/>
                    </a:lnTo>
                    <a:lnTo>
                      <a:pt x="98" y="314"/>
                    </a:lnTo>
                    <a:lnTo>
                      <a:pt x="100" y="310"/>
                    </a:lnTo>
                    <a:lnTo>
                      <a:pt x="99" y="308"/>
                    </a:lnTo>
                    <a:lnTo>
                      <a:pt x="100" y="308"/>
                    </a:lnTo>
                    <a:lnTo>
                      <a:pt x="100" y="304"/>
                    </a:lnTo>
                    <a:lnTo>
                      <a:pt x="101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4" y="304"/>
                    </a:lnTo>
                    <a:lnTo>
                      <a:pt x="105" y="304"/>
                    </a:lnTo>
                    <a:lnTo>
                      <a:pt x="106" y="304"/>
                    </a:lnTo>
                    <a:lnTo>
                      <a:pt x="106" y="306"/>
                    </a:lnTo>
                    <a:lnTo>
                      <a:pt x="107" y="305"/>
                    </a:lnTo>
                    <a:lnTo>
                      <a:pt x="107" y="299"/>
                    </a:lnTo>
                    <a:lnTo>
                      <a:pt x="107" y="293"/>
                    </a:lnTo>
                    <a:lnTo>
                      <a:pt x="106" y="291"/>
                    </a:lnTo>
                    <a:lnTo>
                      <a:pt x="107" y="289"/>
                    </a:lnTo>
                    <a:lnTo>
                      <a:pt x="107" y="287"/>
                    </a:lnTo>
                    <a:lnTo>
                      <a:pt x="106" y="287"/>
                    </a:lnTo>
                    <a:lnTo>
                      <a:pt x="105" y="286"/>
                    </a:lnTo>
                    <a:lnTo>
                      <a:pt x="106" y="284"/>
                    </a:lnTo>
                    <a:lnTo>
                      <a:pt x="107" y="283"/>
                    </a:lnTo>
                    <a:lnTo>
                      <a:pt x="107" y="280"/>
                    </a:lnTo>
                    <a:lnTo>
                      <a:pt x="106" y="280"/>
                    </a:lnTo>
                    <a:lnTo>
                      <a:pt x="107" y="278"/>
                    </a:lnTo>
                    <a:lnTo>
                      <a:pt x="110" y="277"/>
                    </a:lnTo>
                    <a:lnTo>
                      <a:pt x="106" y="277"/>
                    </a:lnTo>
                    <a:lnTo>
                      <a:pt x="104" y="276"/>
                    </a:lnTo>
                    <a:lnTo>
                      <a:pt x="100" y="272"/>
                    </a:lnTo>
                    <a:lnTo>
                      <a:pt x="98" y="269"/>
                    </a:lnTo>
                    <a:lnTo>
                      <a:pt x="93" y="268"/>
                    </a:lnTo>
                    <a:lnTo>
                      <a:pt x="92" y="267"/>
                    </a:lnTo>
                    <a:lnTo>
                      <a:pt x="89" y="268"/>
                    </a:lnTo>
                    <a:lnTo>
                      <a:pt x="87" y="267"/>
                    </a:lnTo>
                    <a:lnTo>
                      <a:pt x="87" y="266"/>
                    </a:lnTo>
                    <a:lnTo>
                      <a:pt x="89" y="267"/>
                    </a:lnTo>
                    <a:lnTo>
                      <a:pt x="90" y="262"/>
                    </a:lnTo>
                    <a:lnTo>
                      <a:pt x="90" y="260"/>
                    </a:lnTo>
                    <a:lnTo>
                      <a:pt x="90" y="259"/>
                    </a:lnTo>
                    <a:lnTo>
                      <a:pt x="90" y="256"/>
                    </a:lnTo>
                    <a:lnTo>
                      <a:pt x="87" y="256"/>
                    </a:lnTo>
                    <a:lnTo>
                      <a:pt x="85" y="255"/>
                    </a:lnTo>
                    <a:lnTo>
                      <a:pt x="83" y="254"/>
                    </a:lnTo>
                    <a:lnTo>
                      <a:pt x="79" y="254"/>
                    </a:lnTo>
                    <a:lnTo>
                      <a:pt x="77" y="255"/>
                    </a:lnTo>
                    <a:lnTo>
                      <a:pt x="77" y="252"/>
                    </a:lnTo>
                    <a:lnTo>
                      <a:pt x="76" y="248"/>
                    </a:lnTo>
                    <a:lnTo>
                      <a:pt x="74" y="247"/>
                    </a:lnTo>
                    <a:lnTo>
                      <a:pt x="73" y="248"/>
                    </a:lnTo>
                    <a:lnTo>
                      <a:pt x="73" y="247"/>
                    </a:lnTo>
                    <a:lnTo>
                      <a:pt x="71" y="244"/>
                    </a:lnTo>
                    <a:lnTo>
                      <a:pt x="70" y="244"/>
                    </a:lnTo>
                    <a:lnTo>
                      <a:pt x="70" y="238"/>
                    </a:lnTo>
                    <a:lnTo>
                      <a:pt x="68" y="237"/>
                    </a:lnTo>
                    <a:lnTo>
                      <a:pt x="67" y="235"/>
                    </a:lnTo>
                    <a:lnTo>
                      <a:pt x="66" y="235"/>
                    </a:lnTo>
                    <a:lnTo>
                      <a:pt x="65" y="234"/>
                    </a:lnTo>
                    <a:lnTo>
                      <a:pt x="63" y="236"/>
                    </a:lnTo>
                    <a:lnTo>
                      <a:pt x="62" y="236"/>
                    </a:lnTo>
                    <a:lnTo>
                      <a:pt x="61" y="235"/>
                    </a:lnTo>
                    <a:lnTo>
                      <a:pt x="60" y="236"/>
                    </a:lnTo>
                    <a:lnTo>
                      <a:pt x="61" y="237"/>
                    </a:lnTo>
                    <a:lnTo>
                      <a:pt x="53" y="237"/>
                    </a:lnTo>
                    <a:lnTo>
                      <a:pt x="52" y="236"/>
                    </a:lnTo>
                    <a:lnTo>
                      <a:pt x="43" y="234"/>
                    </a:lnTo>
                    <a:lnTo>
                      <a:pt x="43" y="233"/>
                    </a:lnTo>
                    <a:lnTo>
                      <a:pt x="42" y="232"/>
                    </a:lnTo>
                    <a:lnTo>
                      <a:pt x="42" y="231"/>
                    </a:lnTo>
                    <a:lnTo>
                      <a:pt x="40" y="229"/>
                    </a:lnTo>
                    <a:lnTo>
                      <a:pt x="41" y="228"/>
                    </a:lnTo>
                    <a:lnTo>
                      <a:pt x="40" y="227"/>
                    </a:lnTo>
                    <a:lnTo>
                      <a:pt x="38" y="226"/>
                    </a:lnTo>
                    <a:lnTo>
                      <a:pt x="37" y="224"/>
                    </a:lnTo>
                    <a:lnTo>
                      <a:pt x="36" y="224"/>
                    </a:lnTo>
                    <a:lnTo>
                      <a:pt x="35" y="223"/>
                    </a:lnTo>
                    <a:lnTo>
                      <a:pt x="32" y="223"/>
                    </a:lnTo>
                    <a:lnTo>
                      <a:pt x="31" y="220"/>
                    </a:lnTo>
                    <a:lnTo>
                      <a:pt x="29" y="220"/>
                    </a:lnTo>
                    <a:lnTo>
                      <a:pt x="27" y="219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5"/>
                    </a:lnTo>
                    <a:lnTo>
                      <a:pt x="34" y="215"/>
                    </a:lnTo>
                    <a:lnTo>
                      <a:pt x="37" y="217"/>
                    </a:lnTo>
                    <a:lnTo>
                      <a:pt x="37" y="216"/>
                    </a:lnTo>
                    <a:lnTo>
                      <a:pt x="35" y="215"/>
                    </a:lnTo>
                    <a:lnTo>
                      <a:pt x="34" y="215"/>
                    </a:lnTo>
                    <a:lnTo>
                      <a:pt x="33" y="210"/>
                    </a:lnTo>
                    <a:lnTo>
                      <a:pt x="32" y="210"/>
                    </a:lnTo>
                    <a:lnTo>
                      <a:pt x="27" y="210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22" y="209"/>
                    </a:lnTo>
                    <a:lnTo>
                      <a:pt x="21" y="209"/>
                    </a:lnTo>
                    <a:lnTo>
                      <a:pt x="20" y="207"/>
                    </a:lnTo>
                    <a:lnTo>
                      <a:pt x="19" y="209"/>
                    </a:lnTo>
                    <a:lnTo>
                      <a:pt x="13" y="207"/>
                    </a:lnTo>
                    <a:lnTo>
                      <a:pt x="12" y="210"/>
                    </a:lnTo>
                    <a:lnTo>
                      <a:pt x="11" y="210"/>
                    </a:lnTo>
                    <a:lnTo>
                      <a:pt x="9" y="212"/>
                    </a:lnTo>
                    <a:lnTo>
                      <a:pt x="7" y="212"/>
                    </a:lnTo>
                    <a:lnTo>
                      <a:pt x="7" y="209"/>
                    </a:lnTo>
                    <a:lnTo>
                      <a:pt x="3" y="209"/>
                    </a:lnTo>
                    <a:lnTo>
                      <a:pt x="1" y="209"/>
                    </a:lnTo>
                    <a:lnTo>
                      <a:pt x="0" y="209"/>
                    </a:lnTo>
                    <a:lnTo>
                      <a:pt x="0" y="207"/>
                    </a:lnTo>
                    <a:lnTo>
                      <a:pt x="2" y="205"/>
                    </a:lnTo>
                    <a:lnTo>
                      <a:pt x="2" y="203"/>
                    </a:lnTo>
                    <a:lnTo>
                      <a:pt x="4" y="202"/>
                    </a:lnTo>
                    <a:lnTo>
                      <a:pt x="5" y="202"/>
                    </a:lnTo>
                    <a:lnTo>
                      <a:pt x="4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8" y="197"/>
                    </a:lnTo>
                    <a:lnTo>
                      <a:pt x="11" y="197"/>
                    </a:lnTo>
                    <a:lnTo>
                      <a:pt x="11" y="193"/>
                    </a:lnTo>
                    <a:lnTo>
                      <a:pt x="11" y="190"/>
                    </a:lnTo>
                    <a:lnTo>
                      <a:pt x="9" y="189"/>
                    </a:lnTo>
                    <a:lnTo>
                      <a:pt x="8" y="186"/>
                    </a:lnTo>
                    <a:lnTo>
                      <a:pt x="6" y="188"/>
                    </a:lnTo>
                    <a:lnTo>
                      <a:pt x="6" y="186"/>
                    </a:lnTo>
                    <a:lnTo>
                      <a:pt x="6" y="183"/>
                    </a:lnTo>
                    <a:lnTo>
                      <a:pt x="7" y="180"/>
                    </a:lnTo>
                    <a:lnTo>
                      <a:pt x="6" y="179"/>
                    </a:lnTo>
                    <a:lnTo>
                      <a:pt x="8" y="178"/>
                    </a:lnTo>
                    <a:lnTo>
                      <a:pt x="9" y="179"/>
                    </a:lnTo>
                    <a:lnTo>
                      <a:pt x="11" y="177"/>
                    </a:lnTo>
                    <a:lnTo>
                      <a:pt x="12" y="177"/>
                    </a:lnTo>
                    <a:lnTo>
                      <a:pt x="12" y="175"/>
                    </a:lnTo>
                    <a:lnTo>
                      <a:pt x="16" y="175"/>
                    </a:lnTo>
                    <a:lnTo>
                      <a:pt x="16" y="176"/>
                    </a:lnTo>
                    <a:lnTo>
                      <a:pt x="20" y="178"/>
                    </a:lnTo>
                    <a:lnTo>
                      <a:pt x="22" y="178"/>
                    </a:lnTo>
                    <a:lnTo>
                      <a:pt x="22" y="176"/>
                    </a:lnTo>
                    <a:lnTo>
                      <a:pt x="22" y="175"/>
                    </a:lnTo>
                    <a:lnTo>
                      <a:pt x="22" y="174"/>
                    </a:lnTo>
                    <a:lnTo>
                      <a:pt x="23" y="175"/>
                    </a:lnTo>
                    <a:lnTo>
                      <a:pt x="25" y="175"/>
                    </a:lnTo>
                    <a:lnTo>
                      <a:pt x="25" y="171"/>
                    </a:lnTo>
                    <a:lnTo>
                      <a:pt x="25" y="170"/>
                    </a:lnTo>
                    <a:lnTo>
                      <a:pt x="25" y="166"/>
                    </a:lnTo>
                    <a:lnTo>
                      <a:pt x="25" y="167"/>
                    </a:lnTo>
                    <a:lnTo>
                      <a:pt x="26" y="167"/>
                    </a:lnTo>
                    <a:lnTo>
                      <a:pt x="27" y="169"/>
                    </a:lnTo>
                    <a:lnTo>
                      <a:pt x="28" y="169"/>
                    </a:lnTo>
                    <a:lnTo>
                      <a:pt x="30" y="170"/>
                    </a:lnTo>
                    <a:lnTo>
                      <a:pt x="31" y="168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29" y="162"/>
                    </a:lnTo>
                    <a:lnTo>
                      <a:pt x="33" y="162"/>
                    </a:lnTo>
                    <a:lnTo>
                      <a:pt x="33" y="159"/>
                    </a:lnTo>
                    <a:lnTo>
                      <a:pt x="32" y="155"/>
                    </a:lnTo>
                    <a:lnTo>
                      <a:pt x="33" y="154"/>
                    </a:lnTo>
                    <a:lnTo>
                      <a:pt x="33" y="150"/>
                    </a:lnTo>
                    <a:lnTo>
                      <a:pt x="34" y="152"/>
                    </a:lnTo>
                    <a:lnTo>
                      <a:pt x="37" y="152"/>
                    </a:lnTo>
                    <a:lnTo>
                      <a:pt x="38" y="151"/>
                    </a:lnTo>
                    <a:lnTo>
                      <a:pt x="38" y="150"/>
                    </a:lnTo>
                    <a:lnTo>
                      <a:pt x="40" y="150"/>
                    </a:lnTo>
                    <a:lnTo>
                      <a:pt x="40" y="149"/>
                    </a:lnTo>
                    <a:lnTo>
                      <a:pt x="41" y="149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43" y="146"/>
                    </a:lnTo>
                    <a:lnTo>
                      <a:pt x="43" y="145"/>
                    </a:lnTo>
                    <a:lnTo>
                      <a:pt x="46" y="145"/>
                    </a:lnTo>
                    <a:lnTo>
                      <a:pt x="47" y="142"/>
                    </a:lnTo>
                    <a:lnTo>
                      <a:pt x="50" y="142"/>
                    </a:lnTo>
                    <a:lnTo>
                      <a:pt x="52" y="142"/>
                    </a:lnTo>
                    <a:lnTo>
                      <a:pt x="52" y="141"/>
                    </a:lnTo>
                    <a:lnTo>
                      <a:pt x="53" y="141"/>
                    </a:lnTo>
                    <a:lnTo>
                      <a:pt x="55" y="145"/>
                    </a:lnTo>
                    <a:lnTo>
                      <a:pt x="57" y="146"/>
                    </a:lnTo>
                    <a:lnTo>
                      <a:pt x="58" y="145"/>
                    </a:lnTo>
                    <a:lnTo>
                      <a:pt x="61" y="145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71" y="140"/>
                    </a:lnTo>
                    <a:lnTo>
                      <a:pt x="70" y="137"/>
                    </a:lnTo>
                    <a:lnTo>
                      <a:pt x="73" y="138"/>
                    </a:lnTo>
                    <a:lnTo>
                      <a:pt x="74" y="137"/>
                    </a:lnTo>
                    <a:lnTo>
                      <a:pt x="76" y="134"/>
                    </a:lnTo>
                    <a:lnTo>
                      <a:pt x="76" y="133"/>
                    </a:lnTo>
                    <a:lnTo>
                      <a:pt x="78" y="133"/>
                    </a:lnTo>
                    <a:lnTo>
                      <a:pt x="80" y="132"/>
                    </a:lnTo>
                    <a:lnTo>
                      <a:pt x="85" y="126"/>
                    </a:lnTo>
                    <a:lnTo>
                      <a:pt x="86" y="127"/>
                    </a:lnTo>
                    <a:lnTo>
                      <a:pt x="85" y="128"/>
                    </a:lnTo>
                    <a:lnTo>
                      <a:pt x="85" y="133"/>
                    </a:lnTo>
                    <a:lnTo>
                      <a:pt x="89" y="132"/>
                    </a:lnTo>
                    <a:lnTo>
                      <a:pt x="90" y="133"/>
                    </a:lnTo>
                    <a:lnTo>
                      <a:pt x="92" y="135"/>
                    </a:lnTo>
                    <a:lnTo>
                      <a:pt x="93" y="135"/>
                    </a:lnTo>
                    <a:lnTo>
                      <a:pt x="97" y="133"/>
                    </a:lnTo>
                    <a:lnTo>
                      <a:pt x="104" y="135"/>
                    </a:lnTo>
                    <a:lnTo>
                      <a:pt x="106" y="136"/>
                    </a:lnTo>
                    <a:lnTo>
                      <a:pt x="107" y="133"/>
                    </a:lnTo>
                    <a:lnTo>
                      <a:pt x="108" y="131"/>
                    </a:lnTo>
                    <a:lnTo>
                      <a:pt x="109" y="132"/>
                    </a:lnTo>
                    <a:lnTo>
                      <a:pt x="110" y="129"/>
                    </a:lnTo>
                    <a:lnTo>
                      <a:pt x="111" y="130"/>
                    </a:lnTo>
                    <a:lnTo>
                      <a:pt x="110" y="133"/>
                    </a:lnTo>
                    <a:lnTo>
                      <a:pt x="112" y="133"/>
                    </a:lnTo>
                    <a:lnTo>
                      <a:pt x="113" y="131"/>
                    </a:lnTo>
                    <a:lnTo>
                      <a:pt x="114" y="131"/>
                    </a:lnTo>
                    <a:lnTo>
                      <a:pt x="118" y="127"/>
                    </a:lnTo>
                    <a:lnTo>
                      <a:pt x="120" y="124"/>
                    </a:lnTo>
                    <a:lnTo>
                      <a:pt x="122" y="122"/>
                    </a:lnTo>
                    <a:lnTo>
                      <a:pt x="123" y="122"/>
                    </a:lnTo>
                    <a:lnTo>
                      <a:pt x="125" y="120"/>
                    </a:lnTo>
                    <a:lnTo>
                      <a:pt x="126" y="120"/>
                    </a:lnTo>
                    <a:lnTo>
                      <a:pt x="128" y="123"/>
                    </a:lnTo>
                    <a:lnTo>
                      <a:pt x="128" y="122"/>
                    </a:lnTo>
                    <a:lnTo>
                      <a:pt x="129" y="122"/>
                    </a:lnTo>
                    <a:lnTo>
                      <a:pt x="131" y="128"/>
                    </a:lnTo>
                    <a:lnTo>
                      <a:pt x="130" y="131"/>
                    </a:lnTo>
                    <a:lnTo>
                      <a:pt x="131" y="132"/>
                    </a:lnTo>
                    <a:lnTo>
                      <a:pt x="138" y="132"/>
                    </a:lnTo>
                    <a:lnTo>
                      <a:pt x="138" y="128"/>
                    </a:lnTo>
                    <a:lnTo>
                      <a:pt x="139" y="127"/>
                    </a:lnTo>
                    <a:lnTo>
                      <a:pt x="139" y="124"/>
                    </a:lnTo>
                    <a:lnTo>
                      <a:pt x="141" y="122"/>
                    </a:lnTo>
                    <a:lnTo>
                      <a:pt x="143" y="120"/>
                    </a:lnTo>
                    <a:lnTo>
                      <a:pt x="146" y="120"/>
                    </a:lnTo>
                    <a:lnTo>
                      <a:pt x="152" y="119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6" y="119"/>
                    </a:lnTo>
                    <a:lnTo>
                      <a:pt x="157" y="118"/>
                    </a:lnTo>
                    <a:lnTo>
                      <a:pt x="158" y="118"/>
                    </a:lnTo>
                    <a:lnTo>
                      <a:pt x="161" y="117"/>
                    </a:lnTo>
                    <a:lnTo>
                      <a:pt x="161" y="115"/>
                    </a:lnTo>
                    <a:lnTo>
                      <a:pt x="162" y="115"/>
                    </a:lnTo>
                    <a:lnTo>
                      <a:pt x="162" y="114"/>
                    </a:lnTo>
                    <a:lnTo>
                      <a:pt x="164" y="115"/>
                    </a:lnTo>
                    <a:lnTo>
                      <a:pt x="165" y="113"/>
                    </a:lnTo>
                    <a:lnTo>
                      <a:pt x="166" y="112"/>
                    </a:lnTo>
                    <a:lnTo>
                      <a:pt x="166" y="108"/>
                    </a:lnTo>
                    <a:lnTo>
                      <a:pt x="166" y="107"/>
                    </a:lnTo>
                    <a:lnTo>
                      <a:pt x="164" y="107"/>
                    </a:lnTo>
                    <a:lnTo>
                      <a:pt x="165" y="107"/>
                    </a:lnTo>
                    <a:lnTo>
                      <a:pt x="165" y="106"/>
                    </a:lnTo>
                    <a:lnTo>
                      <a:pt x="167" y="107"/>
                    </a:lnTo>
                    <a:lnTo>
                      <a:pt x="170" y="107"/>
                    </a:lnTo>
                    <a:lnTo>
                      <a:pt x="170" y="109"/>
                    </a:lnTo>
                    <a:lnTo>
                      <a:pt x="175" y="109"/>
                    </a:lnTo>
                    <a:lnTo>
                      <a:pt x="176" y="109"/>
                    </a:lnTo>
                    <a:lnTo>
                      <a:pt x="175" y="107"/>
                    </a:lnTo>
                    <a:lnTo>
                      <a:pt x="176" y="107"/>
                    </a:lnTo>
                    <a:lnTo>
                      <a:pt x="175" y="106"/>
                    </a:lnTo>
                    <a:lnTo>
                      <a:pt x="177" y="103"/>
                    </a:lnTo>
                    <a:lnTo>
                      <a:pt x="175" y="101"/>
                    </a:lnTo>
                    <a:lnTo>
                      <a:pt x="174" y="101"/>
                    </a:lnTo>
                    <a:lnTo>
                      <a:pt x="174" y="95"/>
                    </a:lnTo>
                    <a:lnTo>
                      <a:pt x="177" y="94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1" y="92"/>
                    </a:lnTo>
                    <a:lnTo>
                      <a:pt x="182" y="90"/>
                    </a:lnTo>
                    <a:lnTo>
                      <a:pt x="185" y="90"/>
                    </a:lnTo>
                    <a:lnTo>
                      <a:pt x="187" y="93"/>
                    </a:lnTo>
                    <a:lnTo>
                      <a:pt x="188" y="94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90" y="91"/>
                    </a:lnTo>
                    <a:lnTo>
                      <a:pt x="194" y="94"/>
                    </a:lnTo>
                    <a:lnTo>
                      <a:pt x="198" y="95"/>
                    </a:lnTo>
                    <a:lnTo>
                      <a:pt x="198" y="97"/>
                    </a:lnTo>
                    <a:lnTo>
                      <a:pt x="199" y="97"/>
                    </a:lnTo>
                    <a:lnTo>
                      <a:pt x="199" y="98"/>
                    </a:lnTo>
                    <a:lnTo>
                      <a:pt x="200" y="98"/>
                    </a:lnTo>
                    <a:lnTo>
                      <a:pt x="205" y="99"/>
                    </a:lnTo>
                    <a:lnTo>
                      <a:pt x="211" y="99"/>
                    </a:lnTo>
                    <a:lnTo>
                      <a:pt x="211" y="101"/>
                    </a:lnTo>
                    <a:lnTo>
                      <a:pt x="213" y="101"/>
                    </a:lnTo>
                    <a:lnTo>
                      <a:pt x="217" y="102"/>
                    </a:lnTo>
                    <a:lnTo>
                      <a:pt x="218" y="103"/>
                    </a:lnTo>
                    <a:lnTo>
                      <a:pt x="218" y="102"/>
                    </a:lnTo>
                    <a:lnTo>
                      <a:pt x="224" y="102"/>
                    </a:lnTo>
                    <a:lnTo>
                      <a:pt x="225" y="101"/>
                    </a:lnTo>
                    <a:lnTo>
                      <a:pt x="228" y="103"/>
                    </a:lnTo>
                    <a:lnTo>
                      <a:pt x="229" y="100"/>
                    </a:lnTo>
                    <a:lnTo>
                      <a:pt x="229" y="98"/>
                    </a:lnTo>
                    <a:lnTo>
                      <a:pt x="232" y="100"/>
                    </a:lnTo>
                    <a:lnTo>
                      <a:pt x="232" y="101"/>
                    </a:lnTo>
                    <a:lnTo>
                      <a:pt x="233" y="103"/>
                    </a:lnTo>
                    <a:lnTo>
                      <a:pt x="234" y="102"/>
                    </a:lnTo>
                    <a:lnTo>
                      <a:pt x="236" y="104"/>
                    </a:lnTo>
                    <a:lnTo>
                      <a:pt x="236" y="103"/>
                    </a:lnTo>
                    <a:lnTo>
                      <a:pt x="237" y="103"/>
                    </a:lnTo>
                    <a:lnTo>
                      <a:pt x="238" y="101"/>
                    </a:lnTo>
                    <a:lnTo>
                      <a:pt x="243" y="106"/>
                    </a:lnTo>
                    <a:lnTo>
                      <a:pt x="245" y="107"/>
                    </a:lnTo>
                    <a:lnTo>
                      <a:pt x="245" y="108"/>
                    </a:lnTo>
                    <a:lnTo>
                      <a:pt x="246" y="109"/>
                    </a:lnTo>
                    <a:lnTo>
                      <a:pt x="248" y="105"/>
                    </a:lnTo>
                    <a:lnTo>
                      <a:pt x="250" y="103"/>
                    </a:lnTo>
                    <a:lnTo>
                      <a:pt x="250" y="102"/>
                    </a:lnTo>
                    <a:lnTo>
                      <a:pt x="252" y="99"/>
                    </a:lnTo>
                    <a:lnTo>
                      <a:pt x="253" y="99"/>
                    </a:lnTo>
                    <a:lnTo>
                      <a:pt x="255" y="98"/>
                    </a:lnTo>
                    <a:lnTo>
                      <a:pt x="257" y="100"/>
                    </a:lnTo>
                    <a:lnTo>
                      <a:pt x="259" y="101"/>
                    </a:lnTo>
                    <a:lnTo>
                      <a:pt x="260" y="100"/>
                    </a:lnTo>
                    <a:lnTo>
                      <a:pt x="260" y="99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99"/>
                    </a:lnTo>
                    <a:lnTo>
                      <a:pt x="267" y="100"/>
                    </a:lnTo>
                    <a:lnTo>
                      <a:pt x="267" y="98"/>
                    </a:lnTo>
                    <a:lnTo>
                      <a:pt x="268" y="99"/>
                    </a:lnTo>
                    <a:lnTo>
                      <a:pt x="269" y="98"/>
                    </a:lnTo>
                    <a:lnTo>
                      <a:pt x="272" y="99"/>
                    </a:lnTo>
                    <a:lnTo>
                      <a:pt x="273" y="100"/>
                    </a:lnTo>
                    <a:lnTo>
                      <a:pt x="273" y="101"/>
                    </a:lnTo>
                    <a:lnTo>
                      <a:pt x="274" y="101"/>
                    </a:lnTo>
                    <a:lnTo>
                      <a:pt x="274" y="103"/>
                    </a:lnTo>
                    <a:lnTo>
                      <a:pt x="275" y="102"/>
                    </a:lnTo>
                    <a:lnTo>
                      <a:pt x="276" y="103"/>
                    </a:lnTo>
                    <a:lnTo>
                      <a:pt x="275" y="101"/>
                    </a:lnTo>
                    <a:lnTo>
                      <a:pt x="276" y="101"/>
                    </a:lnTo>
                    <a:lnTo>
                      <a:pt x="276" y="102"/>
                    </a:lnTo>
                    <a:lnTo>
                      <a:pt x="276" y="103"/>
                    </a:lnTo>
                    <a:lnTo>
                      <a:pt x="278" y="102"/>
                    </a:lnTo>
                    <a:lnTo>
                      <a:pt x="281" y="98"/>
                    </a:lnTo>
                    <a:lnTo>
                      <a:pt x="280" y="98"/>
                    </a:lnTo>
                    <a:lnTo>
                      <a:pt x="281" y="96"/>
                    </a:lnTo>
                    <a:lnTo>
                      <a:pt x="280" y="96"/>
                    </a:lnTo>
                    <a:lnTo>
                      <a:pt x="281" y="95"/>
                    </a:lnTo>
                    <a:lnTo>
                      <a:pt x="280" y="95"/>
                    </a:lnTo>
                    <a:lnTo>
                      <a:pt x="280" y="94"/>
                    </a:lnTo>
                    <a:lnTo>
                      <a:pt x="280" y="90"/>
                    </a:lnTo>
                    <a:lnTo>
                      <a:pt x="283" y="92"/>
                    </a:lnTo>
                    <a:lnTo>
                      <a:pt x="283" y="86"/>
                    </a:lnTo>
                    <a:lnTo>
                      <a:pt x="283" y="84"/>
                    </a:lnTo>
                    <a:lnTo>
                      <a:pt x="284" y="84"/>
                    </a:lnTo>
                    <a:lnTo>
                      <a:pt x="284" y="82"/>
                    </a:lnTo>
                    <a:lnTo>
                      <a:pt x="283" y="81"/>
                    </a:lnTo>
                    <a:lnTo>
                      <a:pt x="282" y="81"/>
                    </a:lnTo>
                    <a:lnTo>
                      <a:pt x="282" y="78"/>
                    </a:lnTo>
                    <a:lnTo>
                      <a:pt x="281" y="77"/>
                    </a:lnTo>
                    <a:lnTo>
                      <a:pt x="281" y="76"/>
                    </a:lnTo>
                    <a:lnTo>
                      <a:pt x="283" y="75"/>
                    </a:lnTo>
                    <a:lnTo>
                      <a:pt x="283" y="76"/>
                    </a:lnTo>
                    <a:lnTo>
                      <a:pt x="284" y="75"/>
                    </a:lnTo>
                    <a:lnTo>
                      <a:pt x="283" y="74"/>
                    </a:lnTo>
                    <a:lnTo>
                      <a:pt x="283" y="73"/>
                    </a:lnTo>
                    <a:lnTo>
                      <a:pt x="282" y="71"/>
                    </a:lnTo>
                    <a:lnTo>
                      <a:pt x="283" y="70"/>
                    </a:lnTo>
                    <a:lnTo>
                      <a:pt x="283" y="71"/>
                    </a:lnTo>
                    <a:lnTo>
                      <a:pt x="283" y="69"/>
                    </a:lnTo>
                    <a:lnTo>
                      <a:pt x="283" y="68"/>
                    </a:lnTo>
                    <a:lnTo>
                      <a:pt x="281" y="67"/>
                    </a:lnTo>
                    <a:lnTo>
                      <a:pt x="281" y="66"/>
                    </a:lnTo>
                    <a:lnTo>
                      <a:pt x="283" y="65"/>
                    </a:lnTo>
                    <a:lnTo>
                      <a:pt x="284" y="65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90" y="69"/>
                    </a:lnTo>
                    <a:lnTo>
                      <a:pt x="296" y="72"/>
                    </a:lnTo>
                    <a:lnTo>
                      <a:pt x="296" y="71"/>
                    </a:lnTo>
                    <a:lnTo>
                      <a:pt x="297" y="71"/>
                    </a:lnTo>
                    <a:lnTo>
                      <a:pt x="296" y="70"/>
                    </a:lnTo>
                    <a:lnTo>
                      <a:pt x="297" y="69"/>
                    </a:lnTo>
                    <a:lnTo>
                      <a:pt x="297" y="68"/>
                    </a:lnTo>
                    <a:lnTo>
                      <a:pt x="295" y="68"/>
                    </a:lnTo>
                    <a:lnTo>
                      <a:pt x="294" y="67"/>
                    </a:lnTo>
                    <a:lnTo>
                      <a:pt x="296" y="65"/>
                    </a:lnTo>
                    <a:lnTo>
                      <a:pt x="297" y="67"/>
                    </a:lnTo>
                    <a:lnTo>
                      <a:pt x="298" y="65"/>
                    </a:lnTo>
                    <a:lnTo>
                      <a:pt x="297" y="65"/>
                    </a:lnTo>
                    <a:lnTo>
                      <a:pt x="299" y="64"/>
                    </a:lnTo>
                    <a:lnTo>
                      <a:pt x="299" y="58"/>
                    </a:lnTo>
                    <a:lnTo>
                      <a:pt x="303" y="61"/>
                    </a:lnTo>
                    <a:lnTo>
                      <a:pt x="306" y="61"/>
                    </a:lnTo>
                    <a:lnTo>
                      <a:pt x="306" y="58"/>
                    </a:lnTo>
                    <a:lnTo>
                      <a:pt x="309" y="61"/>
                    </a:lnTo>
                    <a:lnTo>
                      <a:pt x="312" y="61"/>
                    </a:lnTo>
                    <a:lnTo>
                      <a:pt x="312" y="57"/>
                    </a:lnTo>
                    <a:lnTo>
                      <a:pt x="313" y="56"/>
                    </a:lnTo>
                    <a:lnTo>
                      <a:pt x="313" y="54"/>
                    </a:lnTo>
                    <a:lnTo>
                      <a:pt x="313" y="52"/>
                    </a:lnTo>
                    <a:lnTo>
                      <a:pt x="312" y="52"/>
                    </a:lnTo>
                    <a:lnTo>
                      <a:pt x="313" y="52"/>
                    </a:lnTo>
                    <a:lnTo>
                      <a:pt x="313" y="48"/>
                    </a:lnTo>
                    <a:lnTo>
                      <a:pt x="310" y="39"/>
                    </a:lnTo>
                    <a:lnTo>
                      <a:pt x="315" y="38"/>
                    </a:lnTo>
                    <a:lnTo>
                      <a:pt x="315" y="34"/>
                    </a:lnTo>
                    <a:lnTo>
                      <a:pt x="319" y="36"/>
                    </a:lnTo>
                    <a:lnTo>
                      <a:pt x="320" y="36"/>
                    </a:lnTo>
                    <a:lnTo>
                      <a:pt x="319" y="39"/>
                    </a:lnTo>
                    <a:lnTo>
                      <a:pt x="321" y="39"/>
                    </a:lnTo>
                    <a:lnTo>
                      <a:pt x="321" y="40"/>
                    </a:lnTo>
                    <a:lnTo>
                      <a:pt x="322" y="42"/>
                    </a:lnTo>
                    <a:lnTo>
                      <a:pt x="323" y="39"/>
                    </a:lnTo>
                    <a:lnTo>
                      <a:pt x="325" y="35"/>
                    </a:lnTo>
                    <a:lnTo>
                      <a:pt x="330" y="35"/>
                    </a:lnTo>
                    <a:lnTo>
                      <a:pt x="329" y="35"/>
                    </a:lnTo>
                    <a:lnTo>
                      <a:pt x="330" y="37"/>
                    </a:lnTo>
                    <a:lnTo>
                      <a:pt x="330" y="41"/>
                    </a:lnTo>
                    <a:lnTo>
                      <a:pt x="331" y="41"/>
                    </a:lnTo>
                    <a:lnTo>
                      <a:pt x="334" y="43"/>
                    </a:lnTo>
                    <a:lnTo>
                      <a:pt x="336" y="43"/>
                    </a:lnTo>
                    <a:lnTo>
                      <a:pt x="337" y="41"/>
                    </a:lnTo>
                    <a:lnTo>
                      <a:pt x="335" y="39"/>
                    </a:lnTo>
                    <a:lnTo>
                      <a:pt x="335" y="38"/>
                    </a:lnTo>
                    <a:lnTo>
                      <a:pt x="339" y="39"/>
                    </a:lnTo>
                    <a:lnTo>
                      <a:pt x="340" y="38"/>
                    </a:lnTo>
                    <a:lnTo>
                      <a:pt x="341" y="36"/>
                    </a:lnTo>
                    <a:lnTo>
                      <a:pt x="343" y="37"/>
                    </a:lnTo>
                    <a:lnTo>
                      <a:pt x="344" y="37"/>
                    </a:lnTo>
                    <a:lnTo>
                      <a:pt x="343" y="38"/>
                    </a:lnTo>
                    <a:lnTo>
                      <a:pt x="343" y="40"/>
                    </a:lnTo>
                    <a:lnTo>
                      <a:pt x="343" y="41"/>
                    </a:lnTo>
                    <a:lnTo>
                      <a:pt x="345" y="43"/>
                    </a:lnTo>
                    <a:lnTo>
                      <a:pt x="344" y="43"/>
                    </a:lnTo>
                    <a:lnTo>
                      <a:pt x="343" y="44"/>
                    </a:lnTo>
                    <a:lnTo>
                      <a:pt x="342" y="46"/>
                    </a:lnTo>
                    <a:lnTo>
                      <a:pt x="343" y="47"/>
                    </a:lnTo>
                    <a:lnTo>
                      <a:pt x="343" y="51"/>
                    </a:lnTo>
                    <a:lnTo>
                      <a:pt x="345" y="54"/>
                    </a:lnTo>
                    <a:lnTo>
                      <a:pt x="346" y="52"/>
                    </a:lnTo>
                    <a:lnTo>
                      <a:pt x="346" y="53"/>
                    </a:lnTo>
                    <a:lnTo>
                      <a:pt x="347" y="52"/>
                    </a:lnTo>
                    <a:lnTo>
                      <a:pt x="347" y="53"/>
                    </a:lnTo>
                    <a:lnTo>
                      <a:pt x="348" y="53"/>
                    </a:lnTo>
                    <a:lnTo>
                      <a:pt x="348" y="54"/>
                    </a:lnTo>
                    <a:lnTo>
                      <a:pt x="349" y="55"/>
                    </a:lnTo>
                    <a:lnTo>
                      <a:pt x="350" y="56"/>
                    </a:lnTo>
                    <a:lnTo>
                      <a:pt x="351" y="55"/>
                    </a:lnTo>
                    <a:lnTo>
                      <a:pt x="351" y="53"/>
                    </a:lnTo>
                    <a:lnTo>
                      <a:pt x="353" y="51"/>
                    </a:lnTo>
                    <a:lnTo>
                      <a:pt x="353" y="52"/>
                    </a:lnTo>
                    <a:lnTo>
                      <a:pt x="355" y="53"/>
                    </a:lnTo>
                    <a:lnTo>
                      <a:pt x="356" y="53"/>
                    </a:lnTo>
                    <a:lnTo>
                      <a:pt x="356" y="51"/>
                    </a:lnTo>
                    <a:lnTo>
                      <a:pt x="358" y="51"/>
                    </a:lnTo>
                    <a:lnTo>
                      <a:pt x="359" y="53"/>
                    </a:lnTo>
                    <a:lnTo>
                      <a:pt x="361" y="54"/>
                    </a:lnTo>
                    <a:lnTo>
                      <a:pt x="361" y="52"/>
                    </a:lnTo>
                    <a:lnTo>
                      <a:pt x="361" y="51"/>
                    </a:lnTo>
                    <a:lnTo>
                      <a:pt x="365" y="52"/>
                    </a:lnTo>
                    <a:lnTo>
                      <a:pt x="368" y="52"/>
                    </a:lnTo>
                    <a:lnTo>
                      <a:pt x="372" y="55"/>
                    </a:lnTo>
                    <a:lnTo>
                      <a:pt x="372" y="54"/>
                    </a:lnTo>
                    <a:lnTo>
                      <a:pt x="372" y="50"/>
                    </a:lnTo>
                    <a:lnTo>
                      <a:pt x="374" y="49"/>
                    </a:lnTo>
                    <a:lnTo>
                      <a:pt x="374" y="48"/>
                    </a:lnTo>
                    <a:lnTo>
                      <a:pt x="378" y="49"/>
                    </a:lnTo>
                    <a:lnTo>
                      <a:pt x="379" y="48"/>
                    </a:lnTo>
                    <a:lnTo>
                      <a:pt x="381" y="48"/>
                    </a:lnTo>
                    <a:lnTo>
                      <a:pt x="383" y="40"/>
                    </a:lnTo>
                    <a:lnTo>
                      <a:pt x="383" y="39"/>
                    </a:lnTo>
                    <a:lnTo>
                      <a:pt x="390" y="41"/>
                    </a:lnTo>
                    <a:lnTo>
                      <a:pt x="391" y="40"/>
                    </a:lnTo>
                    <a:lnTo>
                      <a:pt x="392" y="36"/>
                    </a:lnTo>
                    <a:lnTo>
                      <a:pt x="391" y="27"/>
                    </a:lnTo>
                    <a:lnTo>
                      <a:pt x="392" y="22"/>
                    </a:lnTo>
                    <a:lnTo>
                      <a:pt x="405" y="27"/>
                    </a:lnTo>
                    <a:lnTo>
                      <a:pt x="411" y="34"/>
                    </a:lnTo>
                    <a:lnTo>
                      <a:pt x="418" y="28"/>
                    </a:lnTo>
                    <a:lnTo>
                      <a:pt x="419" y="28"/>
                    </a:lnTo>
                    <a:lnTo>
                      <a:pt x="420" y="27"/>
                    </a:lnTo>
                    <a:lnTo>
                      <a:pt x="421" y="26"/>
                    </a:lnTo>
                    <a:lnTo>
                      <a:pt x="420" y="24"/>
                    </a:lnTo>
                    <a:lnTo>
                      <a:pt x="418" y="22"/>
                    </a:lnTo>
                    <a:lnTo>
                      <a:pt x="419" y="20"/>
                    </a:lnTo>
                    <a:lnTo>
                      <a:pt x="418" y="19"/>
                    </a:lnTo>
                    <a:lnTo>
                      <a:pt x="423" y="18"/>
                    </a:lnTo>
                    <a:lnTo>
                      <a:pt x="426" y="17"/>
                    </a:lnTo>
                    <a:lnTo>
                      <a:pt x="428" y="17"/>
                    </a:lnTo>
                    <a:lnTo>
                      <a:pt x="429" y="17"/>
                    </a:lnTo>
                    <a:lnTo>
                      <a:pt x="430" y="15"/>
                    </a:lnTo>
                    <a:lnTo>
                      <a:pt x="430" y="17"/>
                    </a:lnTo>
                    <a:lnTo>
                      <a:pt x="433" y="15"/>
                    </a:lnTo>
                    <a:lnTo>
                      <a:pt x="435" y="14"/>
                    </a:lnTo>
                    <a:lnTo>
                      <a:pt x="434" y="11"/>
                    </a:lnTo>
                    <a:lnTo>
                      <a:pt x="435" y="11"/>
                    </a:lnTo>
                    <a:lnTo>
                      <a:pt x="434" y="7"/>
                    </a:lnTo>
                    <a:lnTo>
                      <a:pt x="432" y="7"/>
                    </a:lnTo>
                    <a:lnTo>
                      <a:pt x="435" y="6"/>
                    </a:lnTo>
                    <a:lnTo>
                      <a:pt x="435" y="5"/>
                    </a:lnTo>
                    <a:lnTo>
                      <a:pt x="437" y="6"/>
                    </a:lnTo>
                    <a:lnTo>
                      <a:pt x="437" y="5"/>
                    </a:lnTo>
                    <a:lnTo>
                      <a:pt x="438" y="5"/>
                    </a:lnTo>
                    <a:lnTo>
                      <a:pt x="439" y="6"/>
                    </a:lnTo>
                    <a:lnTo>
                      <a:pt x="437" y="0"/>
                    </a:lnTo>
                    <a:lnTo>
                      <a:pt x="439" y="0"/>
                    </a:lnTo>
                    <a:lnTo>
                      <a:pt x="444" y="1"/>
                    </a:lnTo>
                    <a:lnTo>
                      <a:pt x="443" y="1"/>
                    </a:lnTo>
                    <a:lnTo>
                      <a:pt x="444" y="4"/>
                    </a:lnTo>
                    <a:lnTo>
                      <a:pt x="442" y="5"/>
                    </a:lnTo>
                    <a:lnTo>
                      <a:pt x="443" y="6"/>
                    </a:lnTo>
                    <a:lnTo>
                      <a:pt x="444" y="6"/>
                    </a:lnTo>
                    <a:lnTo>
                      <a:pt x="446" y="7"/>
                    </a:lnTo>
                    <a:lnTo>
                      <a:pt x="446" y="6"/>
                    </a:lnTo>
                    <a:lnTo>
                      <a:pt x="447" y="7"/>
                    </a:lnTo>
                    <a:lnTo>
                      <a:pt x="449" y="11"/>
                    </a:lnTo>
                    <a:lnTo>
                      <a:pt x="447" y="11"/>
                    </a:lnTo>
                    <a:lnTo>
                      <a:pt x="448" y="11"/>
                    </a:lnTo>
                    <a:lnTo>
                      <a:pt x="449" y="13"/>
                    </a:lnTo>
                    <a:lnTo>
                      <a:pt x="451" y="13"/>
                    </a:lnTo>
                    <a:lnTo>
                      <a:pt x="452" y="14"/>
                    </a:lnTo>
                    <a:lnTo>
                      <a:pt x="452" y="11"/>
                    </a:lnTo>
                    <a:lnTo>
                      <a:pt x="454" y="11"/>
                    </a:lnTo>
                    <a:lnTo>
                      <a:pt x="454" y="9"/>
                    </a:lnTo>
                    <a:lnTo>
                      <a:pt x="455" y="8"/>
                    </a:lnTo>
                    <a:lnTo>
                      <a:pt x="456" y="9"/>
                    </a:lnTo>
                    <a:lnTo>
                      <a:pt x="455" y="9"/>
                    </a:lnTo>
                    <a:lnTo>
                      <a:pt x="455" y="10"/>
                    </a:lnTo>
                    <a:lnTo>
                      <a:pt x="457" y="10"/>
                    </a:lnTo>
                    <a:lnTo>
                      <a:pt x="457" y="11"/>
                    </a:lnTo>
                    <a:lnTo>
                      <a:pt x="459" y="11"/>
                    </a:lnTo>
                    <a:lnTo>
                      <a:pt x="460" y="11"/>
                    </a:lnTo>
                    <a:lnTo>
                      <a:pt x="463" y="10"/>
                    </a:lnTo>
                    <a:lnTo>
                      <a:pt x="463" y="11"/>
                    </a:lnTo>
                    <a:lnTo>
                      <a:pt x="462" y="13"/>
                    </a:lnTo>
                    <a:lnTo>
                      <a:pt x="463" y="13"/>
                    </a:lnTo>
                    <a:lnTo>
                      <a:pt x="465" y="19"/>
                    </a:lnTo>
                    <a:lnTo>
                      <a:pt x="466" y="19"/>
                    </a:lnTo>
                    <a:lnTo>
                      <a:pt x="468" y="20"/>
                    </a:lnTo>
                    <a:lnTo>
                      <a:pt x="468" y="23"/>
                    </a:lnTo>
                    <a:lnTo>
                      <a:pt x="468" y="22"/>
                    </a:lnTo>
                    <a:lnTo>
                      <a:pt x="470" y="22"/>
                    </a:lnTo>
                    <a:lnTo>
                      <a:pt x="470" y="23"/>
                    </a:lnTo>
                    <a:lnTo>
                      <a:pt x="469" y="25"/>
                    </a:lnTo>
                    <a:lnTo>
                      <a:pt x="470" y="27"/>
                    </a:lnTo>
                    <a:lnTo>
                      <a:pt x="470" y="29"/>
                    </a:lnTo>
                    <a:lnTo>
                      <a:pt x="471" y="28"/>
                    </a:lnTo>
                    <a:lnTo>
                      <a:pt x="472" y="28"/>
                    </a:lnTo>
                    <a:lnTo>
                      <a:pt x="474" y="28"/>
                    </a:lnTo>
                    <a:lnTo>
                      <a:pt x="476" y="28"/>
                    </a:lnTo>
                    <a:lnTo>
                      <a:pt x="477" y="31"/>
                    </a:lnTo>
                    <a:lnTo>
                      <a:pt x="479" y="32"/>
                    </a:lnTo>
                    <a:lnTo>
                      <a:pt x="478" y="34"/>
                    </a:lnTo>
                    <a:lnTo>
                      <a:pt x="480" y="34"/>
                    </a:lnTo>
                    <a:lnTo>
                      <a:pt x="483" y="37"/>
                    </a:lnTo>
                    <a:lnTo>
                      <a:pt x="482" y="38"/>
                    </a:lnTo>
                    <a:lnTo>
                      <a:pt x="482" y="39"/>
                    </a:lnTo>
                    <a:lnTo>
                      <a:pt x="483" y="38"/>
                    </a:lnTo>
                    <a:lnTo>
                      <a:pt x="483" y="40"/>
                    </a:lnTo>
                    <a:lnTo>
                      <a:pt x="483" y="46"/>
                    </a:lnTo>
                    <a:lnTo>
                      <a:pt x="484" y="47"/>
                    </a:lnTo>
                    <a:lnTo>
                      <a:pt x="484" y="48"/>
                    </a:lnTo>
                    <a:lnTo>
                      <a:pt x="487" y="47"/>
                    </a:lnTo>
                    <a:lnTo>
                      <a:pt x="487" y="48"/>
                    </a:lnTo>
                    <a:lnTo>
                      <a:pt x="488" y="48"/>
                    </a:lnTo>
                    <a:lnTo>
                      <a:pt x="488" y="49"/>
                    </a:lnTo>
                    <a:lnTo>
                      <a:pt x="490" y="48"/>
                    </a:lnTo>
                    <a:lnTo>
                      <a:pt x="492" y="49"/>
                    </a:lnTo>
                    <a:lnTo>
                      <a:pt x="494" y="51"/>
                    </a:lnTo>
                    <a:lnTo>
                      <a:pt x="493" y="52"/>
                    </a:lnTo>
                    <a:lnTo>
                      <a:pt x="494" y="52"/>
                    </a:lnTo>
                    <a:lnTo>
                      <a:pt x="494" y="53"/>
                    </a:lnTo>
                    <a:lnTo>
                      <a:pt x="495" y="53"/>
                    </a:lnTo>
                    <a:lnTo>
                      <a:pt x="495" y="54"/>
                    </a:lnTo>
                    <a:lnTo>
                      <a:pt x="494" y="54"/>
                    </a:lnTo>
                    <a:lnTo>
                      <a:pt x="494" y="56"/>
                    </a:lnTo>
                    <a:lnTo>
                      <a:pt x="493" y="56"/>
                    </a:lnTo>
                    <a:lnTo>
                      <a:pt x="493" y="58"/>
                    </a:lnTo>
                    <a:lnTo>
                      <a:pt x="491" y="57"/>
                    </a:lnTo>
                    <a:lnTo>
                      <a:pt x="491" y="58"/>
                    </a:lnTo>
                    <a:lnTo>
                      <a:pt x="487" y="58"/>
                    </a:lnTo>
                    <a:lnTo>
                      <a:pt x="486" y="60"/>
                    </a:lnTo>
                    <a:lnTo>
                      <a:pt x="486" y="63"/>
                    </a:lnTo>
                    <a:lnTo>
                      <a:pt x="486" y="64"/>
                    </a:lnTo>
                    <a:lnTo>
                      <a:pt x="487" y="65"/>
                    </a:lnTo>
                    <a:lnTo>
                      <a:pt x="490" y="69"/>
                    </a:lnTo>
                    <a:lnTo>
                      <a:pt x="490" y="71"/>
                    </a:lnTo>
                    <a:lnTo>
                      <a:pt x="489" y="72"/>
                    </a:lnTo>
                    <a:lnTo>
                      <a:pt x="489" y="73"/>
                    </a:lnTo>
                    <a:lnTo>
                      <a:pt x="490" y="73"/>
                    </a:lnTo>
                    <a:lnTo>
                      <a:pt x="492" y="75"/>
                    </a:lnTo>
                    <a:lnTo>
                      <a:pt x="491" y="76"/>
                    </a:lnTo>
                    <a:lnTo>
                      <a:pt x="491" y="77"/>
                    </a:lnTo>
                    <a:lnTo>
                      <a:pt x="490" y="77"/>
                    </a:lnTo>
                    <a:lnTo>
                      <a:pt x="489" y="77"/>
                    </a:lnTo>
                    <a:lnTo>
                      <a:pt x="490" y="77"/>
                    </a:lnTo>
                    <a:lnTo>
                      <a:pt x="490" y="78"/>
                    </a:lnTo>
                    <a:lnTo>
                      <a:pt x="489" y="80"/>
                    </a:lnTo>
                    <a:lnTo>
                      <a:pt x="490" y="80"/>
                    </a:lnTo>
                    <a:lnTo>
                      <a:pt x="489" y="82"/>
                    </a:lnTo>
                    <a:lnTo>
                      <a:pt x="489" y="84"/>
                    </a:lnTo>
                    <a:lnTo>
                      <a:pt x="487" y="86"/>
                    </a:lnTo>
                    <a:lnTo>
                      <a:pt x="487" y="88"/>
                    </a:lnTo>
                    <a:lnTo>
                      <a:pt x="489" y="88"/>
                    </a:lnTo>
                    <a:lnTo>
                      <a:pt x="489" y="89"/>
                    </a:lnTo>
                    <a:lnTo>
                      <a:pt x="491" y="88"/>
                    </a:lnTo>
                    <a:lnTo>
                      <a:pt x="491" y="89"/>
                    </a:lnTo>
                    <a:lnTo>
                      <a:pt x="493" y="93"/>
                    </a:lnTo>
                    <a:lnTo>
                      <a:pt x="493" y="94"/>
                    </a:lnTo>
                    <a:lnTo>
                      <a:pt x="491" y="94"/>
                    </a:lnTo>
                    <a:lnTo>
                      <a:pt x="491" y="96"/>
                    </a:lnTo>
                    <a:lnTo>
                      <a:pt x="492" y="97"/>
                    </a:lnTo>
                    <a:lnTo>
                      <a:pt x="492" y="98"/>
                    </a:lnTo>
                    <a:lnTo>
                      <a:pt x="495" y="99"/>
                    </a:lnTo>
                    <a:lnTo>
                      <a:pt x="491" y="108"/>
                    </a:lnTo>
                    <a:lnTo>
                      <a:pt x="491" y="107"/>
                    </a:lnTo>
                    <a:lnTo>
                      <a:pt x="490" y="109"/>
                    </a:lnTo>
                    <a:lnTo>
                      <a:pt x="489" y="107"/>
                    </a:lnTo>
                    <a:lnTo>
                      <a:pt x="489" y="109"/>
                    </a:lnTo>
                    <a:lnTo>
                      <a:pt x="486" y="109"/>
                    </a:lnTo>
                    <a:lnTo>
                      <a:pt x="486" y="111"/>
                    </a:lnTo>
                    <a:lnTo>
                      <a:pt x="487" y="111"/>
                    </a:lnTo>
                    <a:lnTo>
                      <a:pt x="487" y="112"/>
                    </a:lnTo>
                    <a:lnTo>
                      <a:pt x="486" y="113"/>
                    </a:lnTo>
                    <a:lnTo>
                      <a:pt x="487" y="115"/>
                    </a:lnTo>
                    <a:lnTo>
                      <a:pt x="487" y="116"/>
                    </a:lnTo>
                    <a:lnTo>
                      <a:pt x="486" y="116"/>
                    </a:lnTo>
                    <a:lnTo>
                      <a:pt x="485" y="117"/>
                    </a:lnTo>
                    <a:lnTo>
                      <a:pt x="484" y="117"/>
                    </a:lnTo>
                    <a:lnTo>
                      <a:pt x="485" y="116"/>
                    </a:lnTo>
                    <a:lnTo>
                      <a:pt x="484" y="116"/>
                    </a:lnTo>
                    <a:lnTo>
                      <a:pt x="483" y="116"/>
                    </a:lnTo>
                    <a:lnTo>
                      <a:pt x="482" y="116"/>
                    </a:lnTo>
                    <a:lnTo>
                      <a:pt x="481" y="115"/>
                    </a:lnTo>
                    <a:lnTo>
                      <a:pt x="479" y="117"/>
                    </a:lnTo>
                    <a:lnTo>
                      <a:pt x="476" y="120"/>
                    </a:lnTo>
                    <a:lnTo>
                      <a:pt x="478" y="123"/>
                    </a:lnTo>
                    <a:lnTo>
                      <a:pt x="479" y="126"/>
                    </a:lnTo>
                    <a:lnTo>
                      <a:pt x="481" y="126"/>
                    </a:lnTo>
                    <a:lnTo>
                      <a:pt x="483" y="128"/>
                    </a:lnTo>
                    <a:lnTo>
                      <a:pt x="482" y="128"/>
                    </a:lnTo>
                    <a:lnTo>
                      <a:pt x="480" y="129"/>
                    </a:lnTo>
                    <a:lnTo>
                      <a:pt x="481" y="133"/>
                    </a:lnTo>
                    <a:lnTo>
                      <a:pt x="481" y="135"/>
                    </a:lnTo>
                    <a:lnTo>
                      <a:pt x="483" y="137"/>
                    </a:lnTo>
                    <a:lnTo>
                      <a:pt x="485" y="139"/>
                    </a:lnTo>
                    <a:lnTo>
                      <a:pt x="487" y="140"/>
                    </a:lnTo>
                    <a:lnTo>
                      <a:pt x="489" y="139"/>
                    </a:lnTo>
                    <a:lnTo>
                      <a:pt x="491" y="136"/>
                    </a:lnTo>
                    <a:lnTo>
                      <a:pt x="492" y="139"/>
                    </a:lnTo>
                    <a:lnTo>
                      <a:pt x="496" y="141"/>
                    </a:lnTo>
                    <a:lnTo>
                      <a:pt x="497" y="141"/>
                    </a:lnTo>
                    <a:lnTo>
                      <a:pt x="496" y="142"/>
                    </a:lnTo>
                    <a:lnTo>
                      <a:pt x="495" y="142"/>
                    </a:lnTo>
                    <a:lnTo>
                      <a:pt x="495" y="146"/>
                    </a:lnTo>
                    <a:lnTo>
                      <a:pt x="496" y="146"/>
                    </a:lnTo>
                    <a:lnTo>
                      <a:pt x="498" y="145"/>
                    </a:lnTo>
                    <a:lnTo>
                      <a:pt x="498" y="146"/>
                    </a:lnTo>
                    <a:lnTo>
                      <a:pt x="499" y="148"/>
                    </a:lnTo>
                    <a:lnTo>
                      <a:pt x="500" y="148"/>
                    </a:lnTo>
                    <a:lnTo>
                      <a:pt x="501" y="150"/>
                    </a:lnTo>
                    <a:lnTo>
                      <a:pt x="502" y="150"/>
                    </a:lnTo>
                    <a:lnTo>
                      <a:pt x="503" y="152"/>
                    </a:lnTo>
                    <a:lnTo>
                      <a:pt x="503" y="154"/>
                    </a:lnTo>
                    <a:lnTo>
                      <a:pt x="502" y="153"/>
                    </a:lnTo>
                    <a:lnTo>
                      <a:pt x="499" y="155"/>
                    </a:lnTo>
                    <a:lnTo>
                      <a:pt x="499" y="156"/>
                    </a:lnTo>
                    <a:lnTo>
                      <a:pt x="501" y="157"/>
                    </a:lnTo>
                    <a:lnTo>
                      <a:pt x="501" y="159"/>
                    </a:lnTo>
                    <a:lnTo>
                      <a:pt x="499" y="161"/>
                    </a:lnTo>
                    <a:lnTo>
                      <a:pt x="501" y="162"/>
                    </a:lnTo>
                    <a:lnTo>
                      <a:pt x="504" y="165"/>
                    </a:lnTo>
                    <a:lnTo>
                      <a:pt x="504" y="166"/>
                    </a:lnTo>
                    <a:lnTo>
                      <a:pt x="505" y="167"/>
                    </a:lnTo>
                    <a:lnTo>
                      <a:pt x="506" y="165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8" y="167"/>
                    </a:lnTo>
                    <a:lnTo>
                      <a:pt x="508" y="165"/>
                    </a:lnTo>
                    <a:lnTo>
                      <a:pt x="512" y="166"/>
                    </a:lnTo>
                    <a:lnTo>
                      <a:pt x="514" y="164"/>
                    </a:lnTo>
                    <a:lnTo>
                      <a:pt x="515" y="164"/>
                    </a:lnTo>
                    <a:lnTo>
                      <a:pt x="515" y="165"/>
                    </a:lnTo>
                    <a:lnTo>
                      <a:pt x="517" y="167"/>
                    </a:lnTo>
                    <a:lnTo>
                      <a:pt x="518" y="167"/>
                    </a:lnTo>
                    <a:lnTo>
                      <a:pt x="519" y="168"/>
                    </a:lnTo>
                    <a:lnTo>
                      <a:pt x="520" y="167"/>
                    </a:lnTo>
                    <a:lnTo>
                      <a:pt x="522" y="169"/>
                    </a:lnTo>
                    <a:lnTo>
                      <a:pt x="525" y="171"/>
                    </a:lnTo>
                    <a:lnTo>
                      <a:pt x="524" y="171"/>
                    </a:lnTo>
                    <a:lnTo>
                      <a:pt x="525" y="173"/>
                    </a:lnTo>
                    <a:lnTo>
                      <a:pt x="526" y="172"/>
                    </a:lnTo>
                    <a:lnTo>
                      <a:pt x="528" y="171"/>
                    </a:lnTo>
                    <a:lnTo>
                      <a:pt x="529" y="168"/>
                    </a:lnTo>
                    <a:lnTo>
                      <a:pt x="532" y="169"/>
                    </a:lnTo>
                    <a:lnTo>
                      <a:pt x="533" y="167"/>
                    </a:lnTo>
                    <a:lnTo>
                      <a:pt x="535" y="167"/>
                    </a:lnTo>
                    <a:lnTo>
                      <a:pt x="536" y="167"/>
                    </a:lnTo>
                    <a:lnTo>
                      <a:pt x="538" y="167"/>
                    </a:lnTo>
                    <a:lnTo>
                      <a:pt x="538" y="165"/>
                    </a:lnTo>
                    <a:lnTo>
                      <a:pt x="538" y="167"/>
                    </a:lnTo>
                    <a:lnTo>
                      <a:pt x="539" y="167"/>
                    </a:lnTo>
                    <a:lnTo>
                      <a:pt x="539" y="170"/>
                    </a:lnTo>
                    <a:lnTo>
                      <a:pt x="540" y="170"/>
                    </a:lnTo>
                    <a:lnTo>
                      <a:pt x="540" y="171"/>
                    </a:lnTo>
                    <a:lnTo>
                      <a:pt x="541" y="171"/>
                    </a:lnTo>
                    <a:lnTo>
                      <a:pt x="543" y="172"/>
                    </a:lnTo>
                    <a:lnTo>
                      <a:pt x="543" y="173"/>
                    </a:lnTo>
                    <a:lnTo>
                      <a:pt x="544" y="173"/>
                    </a:lnTo>
                    <a:lnTo>
                      <a:pt x="545" y="175"/>
                    </a:lnTo>
                    <a:lnTo>
                      <a:pt x="543" y="176"/>
                    </a:lnTo>
                    <a:lnTo>
                      <a:pt x="544" y="178"/>
                    </a:lnTo>
                    <a:lnTo>
                      <a:pt x="544" y="179"/>
                    </a:lnTo>
                    <a:lnTo>
                      <a:pt x="543" y="179"/>
                    </a:lnTo>
                    <a:lnTo>
                      <a:pt x="544" y="182"/>
                    </a:lnTo>
                    <a:lnTo>
                      <a:pt x="543" y="185"/>
                    </a:lnTo>
                    <a:lnTo>
                      <a:pt x="544" y="185"/>
                    </a:lnTo>
                    <a:lnTo>
                      <a:pt x="545" y="188"/>
                    </a:lnTo>
                    <a:lnTo>
                      <a:pt x="543" y="189"/>
                    </a:lnTo>
                    <a:lnTo>
                      <a:pt x="541" y="189"/>
                    </a:lnTo>
                    <a:lnTo>
                      <a:pt x="540" y="190"/>
                    </a:lnTo>
                    <a:lnTo>
                      <a:pt x="541" y="191"/>
                    </a:lnTo>
                    <a:lnTo>
                      <a:pt x="541" y="197"/>
                    </a:lnTo>
                    <a:lnTo>
                      <a:pt x="540" y="200"/>
                    </a:lnTo>
                    <a:lnTo>
                      <a:pt x="542" y="201"/>
                    </a:lnTo>
                    <a:lnTo>
                      <a:pt x="542" y="203"/>
                    </a:lnTo>
                    <a:lnTo>
                      <a:pt x="543" y="203"/>
                    </a:lnTo>
                    <a:lnTo>
                      <a:pt x="545" y="205"/>
                    </a:lnTo>
                    <a:lnTo>
                      <a:pt x="544" y="209"/>
                    </a:lnTo>
                    <a:lnTo>
                      <a:pt x="545" y="207"/>
                    </a:lnTo>
                    <a:lnTo>
                      <a:pt x="545" y="209"/>
                    </a:lnTo>
                    <a:lnTo>
                      <a:pt x="546" y="209"/>
                    </a:lnTo>
                    <a:lnTo>
                      <a:pt x="544" y="211"/>
                    </a:lnTo>
                    <a:lnTo>
                      <a:pt x="547" y="210"/>
                    </a:lnTo>
                    <a:lnTo>
                      <a:pt x="545" y="212"/>
                    </a:lnTo>
                    <a:lnTo>
                      <a:pt x="545" y="215"/>
                    </a:lnTo>
                    <a:lnTo>
                      <a:pt x="544" y="217"/>
                    </a:lnTo>
                    <a:lnTo>
                      <a:pt x="543" y="216"/>
                    </a:lnTo>
                    <a:lnTo>
                      <a:pt x="542" y="218"/>
                    </a:lnTo>
                    <a:lnTo>
                      <a:pt x="543" y="219"/>
                    </a:lnTo>
                    <a:lnTo>
                      <a:pt x="543" y="220"/>
                    </a:lnTo>
                    <a:lnTo>
                      <a:pt x="542" y="222"/>
                    </a:lnTo>
                    <a:lnTo>
                      <a:pt x="541" y="221"/>
                    </a:lnTo>
                    <a:lnTo>
                      <a:pt x="541" y="222"/>
                    </a:lnTo>
                    <a:lnTo>
                      <a:pt x="540" y="223"/>
                    </a:lnTo>
                    <a:lnTo>
                      <a:pt x="539" y="225"/>
                    </a:lnTo>
                    <a:lnTo>
                      <a:pt x="537" y="224"/>
                    </a:lnTo>
                    <a:lnTo>
                      <a:pt x="536" y="227"/>
                    </a:lnTo>
                    <a:lnTo>
                      <a:pt x="536" y="226"/>
                    </a:lnTo>
                    <a:lnTo>
                      <a:pt x="535" y="226"/>
                    </a:lnTo>
                    <a:lnTo>
                      <a:pt x="535" y="228"/>
                    </a:lnTo>
                    <a:lnTo>
                      <a:pt x="534" y="228"/>
                    </a:lnTo>
                    <a:lnTo>
                      <a:pt x="533" y="227"/>
                    </a:lnTo>
                    <a:lnTo>
                      <a:pt x="532" y="229"/>
                    </a:lnTo>
                    <a:lnTo>
                      <a:pt x="534" y="229"/>
                    </a:lnTo>
                    <a:lnTo>
                      <a:pt x="537" y="232"/>
                    </a:lnTo>
                    <a:lnTo>
                      <a:pt x="537" y="233"/>
                    </a:lnTo>
                    <a:lnTo>
                      <a:pt x="533" y="236"/>
                    </a:lnTo>
                    <a:lnTo>
                      <a:pt x="530" y="237"/>
                    </a:lnTo>
                    <a:lnTo>
                      <a:pt x="534" y="239"/>
                    </a:lnTo>
                    <a:lnTo>
                      <a:pt x="538" y="238"/>
                    </a:lnTo>
                    <a:lnTo>
                      <a:pt x="540" y="241"/>
                    </a:lnTo>
                    <a:lnTo>
                      <a:pt x="541" y="243"/>
                    </a:lnTo>
                    <a:lnTo>
                      <a:pt x="543" y="244"/>
                    </a:lnTo>
                    <a:lnTo>
                      <a:pt x="544" y="243"/>
                    </a:lnTo>
                    <a:lnTo>
                      <a:pt x="544" y="241"/>
                    </a:lnTo>
                    <a:lnTo>
                      <a:pt x="545" y="243"/>
                    </a:lnTo>
                    <a:lnTo>
                      <a:pt x="546" y="243"/>
                    </a:lnTo>
                    <a:lnTo>
                      <a:pt x="546" y="244"/>
                    </a:lnTo>
                    <a:lnTo>
                      <a:pt x="550" y="248"/>
                    </a:lnTo>
                    <a:lnTo>
                      <a:pt x="552" y="249"/>
                    </a:lnTo>
                    <a:lnTo>
                      <a:pt x="553" y="249"/>
                    </a:lnTo>
                    <a:lnTo>
                      <a:pt x="555" y="250"/>
                    </a:lnTo>
                    <a:lnTo>
                      <a:pt x="552" y="254"/>
                    </a:lnTo>
                    <a:lnTo>
                      <a:pt x="552" y="257"/>
                    </a:lnTo>
                    <a:lnTo>
                      <a:pt x="551" y="256"/>
                    </a:lnTo>
                    <a:lnTo>
                      <a:pt x="550" y="256"/>
                    </a:lnTo>
                    <a:lnTo>
                      <a:pt x="551" y="260"/>
                    </a:lnTo>
                    <a:lnTo>
                      <a:pt x="548" y="262"/>
                    </a:lnTo>
                    <a:lnTo>
                      <a:pt x="546" y="260"/>
                    </a:lnTo>
                    <a:lnTo>
                      <a:pt x="546" y="258"/>
                    </a:lnTo>
                    <a:lnTo>
                      <a:pt x="545" y="257"/>
                    </a:lnTo>
                    <a:lnTo>
                      <a:pt x="543" y="258"/>
                    </a:lnTo>
                    <a:lnTo>
                      <a:pt x="541" y="262"/>
                    </a:lnTo>
                    <a:lnTo>
                      <a:pt x="543" y="265"/>
                    </a:lnTo>
                    <a:lnTo>
                      <a:pt x="545" y="263"/>
                    </a:lnTo>
                    <a:lnTo>
                      <a:pt x="546" y="267"/>
                    </a:lnTo>
                    <a:lnTo>
                      <a:pt x="548" y="267"/>
                    </a:lnTo>
                    <a:lnTo>
                      <a:pt x="546" y="267"/>
                    </a:lnTo>
                    <a:lnTo>
                      <a:pt x="544" y="266"/>
                    </a:lnTo>
                    <a:lnTo>
                      <a:pt x="543" y="267"/>
                    </a:lnTo>
                    <a:lnTo>
                      <a:pt x="542" y="267"/>
                    </a:lnTo>
                    <a:lnTo>
                      <a:pt x="541" y="267"/>
                    </a:lnTo>
                    <a:lnTo>
                      <a:pt x="542" y="271"/>
                    </a:lnTo>
                    <a:lnTo>
                      <a:pt x="543" y="273"/>
                    </a:lnTo>
                    <a:lnTo>
                      <a:pt x="542" y="279"/>
                    </a:lnTo>
                    <a:lnTo>
                      <a:pt x="540" y="278"/>
                    </a:lnTo>
                    <a:lnTo>
                      <a:pt x="538" y="279"/>
                    </a:lnTo>
                    <a:lnTo>
                      <a:pt x="537" y="278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5" y="279"/>
                    </a:lnTo>
                    <a:lnTo>
                      <a:pt x="534" y="278"/>
                    </a:lnTo>
                    <a:lnTo>
                      <a:pt x="533" y="279"/>
                    </a:lnTo>
                    <a:lnTo>
                      <a:pt x="532" y="280"/>
                    </a:lnTo>
                    <a:lnTo>
                      <a:pt x="533" y="282"/>
                    </a:lnTo>
                    <a:lnTo>
                      <a:pt x="538" y="283"/>
                    </a:lnTo>
                    <a:lnTo>
                      <a:pt x="537" y="284"/>
                    </a:lnTo>
                    <a:lnTo>
                      <a:pt x="539" y="283"/>
                    </a:lnTo>
                    <a:lnTo>
                      <a:pt x="539" y="285"/>
                    </a:lnTo>
                    <a:lnTo>
                      <a:pt x="538" y="286"/>
                    </a:lnTo>
                    <a:lnTo>
                      <a:pt x="538" y="285"/>
                    </a:lnTo>
                    <a:lnTo>
                      <a:pt x="537" y="286"/>
                    </a:lnTo>
                    <a:lnTo>
                      <a:pt x="535" y="284"/>
                    </a:lnTo>
                    <a:lnTo>
                      <a:pt x="535" y="285"/>
                    </a:lnTo>
                    <a:lnTo>
                      <a:pt x="536" y="286"/>
                    </a:lnTo>
                    <a:lnTo>
                      <a:pt x="534" y="284"/>
                    </a:lnTo>
                    <a:lnTo>
                      <a:pt x="533" y="284"/>
                    </a:lnTo>
                    <a:lnTo>
                      <a:pt x="530" y="286"/>
                    </a:lnTo>
                    <a:lnTo>
                      <a:pt x="528" y="286"/>
                    </a:lnTo>
                    <a:lnTo>
                      <a:pt x="530" y="288"/>
                    </a:lnTo>
                    <a:lnTo>
                      <a:pt x="530" y="290"/>
                    </a:lnTo>
                    <a:lnTo>
                      <a:pt x="530" y="292"/>
                    </a:lnTo>
                    <a:lnTo>
                      <a:pt x="532" y="293"/>
                    </a:lnTo>
                    <a:lnTo>
                      <a:pt x="532" y="294"/>
                    </a:lnTo>
                    <a:lnTo>
                      <a:pt x="533" y="294"/>
                    </a:lnTo>
                    <a:lnTo>
                      <a:pt x="533" y="296"/>
                    </a:lnTo>
                    <a:lnTo>
                      <a:pt x="535" y="297"/>
                    </a:lnTo>
                    <a:lnTo>
                      <a:pt x="536" y="298"/>
                    </a:lnTo>
                    <a:lnTo>
                      <a:pt x="537" y="299"/>
                    </a:lnTo>
                    <a:lnTo>
                      <a:pt x="539" y="297"/>
                    </a:lnTo>
                    <a:lnTo>
                      <a:pt x="542" y="298"/>
                    </a:lnTo>
                    <a:lnTo>
                      <a:pt x="541" y="299"/>
                    </a:lnTo>
                    <a:lnTo>
                      <a:pt x="541" y="298"/>
                    </a:lnTo>
                    <a:lnTo>
                      <a:pt x="542" y="300"/>
                    </a:lnTo>
                    <a:lnTo>
                      <a:pt x="543" y="300"/>
                    </a:lnTo>
                    <a:lnTo>
                      <a:pt x="545" y="301"/>
                    </a:lnTo>
                    <a:lnTo>
                      <a:pt x="543" y="302"/>
                    </a:lnTo>
                    <a:lnTo>
                      <a:pt x="542" y="302"/>
                    </a:lnTo>
                    <a:lnTo>
                      <a:pt x="543" y="303"/>
                    </a:lnTo>
                    <a:lnTo>
                      <a:pt x="544" y="304"/>
                    </a:lnTo>
                    <a:lnTo>
                      <a:pt x="545" y="304"/>
                    </a:lnTo>
                    <a:lnTo>
                      <a:pt x="546" y="304"/>
                    </a:lnTo>
                    <a:lnTo>
                      <a:pt x="548" y="306"/>
                    </a:lnTo>
                    <a:lnTo>
                      <a:pt x="552" y="304"/>
                    </a:lnTo>
                    <a:lnTo>
                      <a:pt x="552" y="306"/>
                    </a:lnTo>
                    <a:lnTo>
                      <a:pt x="553" y="307"/>
                    </a:lnTo>
                    <a:lnTo>
                      <a:pt x="552" y="307"/>
                    </a:lnTo>
                    <a:lnTo>
                      <a:pt x="552" y="310"/>
                    </a:lnTo>
                    <a:lnTo>
                      <a:pt x="553" y="310"/>
                    </a:lnTo>
                    <a:lnTo>
                      <a:pt x="555" y="306"/>
                    </a:lnTo>
                    <a:lnTo>
                      <a:pt x="555" y="307"/>
                    </a:lnTo>
                    <a:lnTo>
                      <a:pt x="555" y="309"/>
                    </a:lnTo>
                    <a:lnTo>
                      <a:pt x="556" y="309"/>
                    </a:lnTo>
                    <a:lnTo>
                      <a:pt x="555" y="310"/>
                    </a:lnTo>
                    <a:lnTo>
                      <a:pt x="555" y="313"/>
                    </a:lnTo>
                    <a:lnTo>
                      <a:pt x="552" y="314"/>
                    </a:lnTo>
                    <a:lnTo>
                      <a:pt x="552" y="315"/>
                    </a:lnTo>
                    <a:lnTo>
                      <a:pt x="552" y="316"/>
                    </a:lnTo>
                    <a:lnTo>
                      <a:pt x="555" y="319"/>
                    </a:lnTo>
                    <a:lnTo>
                      <a:pt x="562" y="326"/>
                    </a:lnTo>
                    <a:lnTo>
                      <a:pt x="563" y="325"/>
                    </a:lnTo>
                    <a:lnTo>
                      <a:pt x="564" y="325"/>
                    </a:lnTo>
                    <a:lnTo>
                      <a:pt x="564" y="327"/>
                    </a:lnTo>
                    <a:lnTo>
                      <a:pt x="565" y="326"/>
                    </a:lnTo>
                    <a:lnTo>
                      <a:pt x="566" y="327"/>
                    </a:lnTo>
                    <a:lnTo>
                      <a:pt x="566" y="329"/>
                    </a:lnTo>
                    <a:lnTo>
                      <a:pt x="567" y="330"/>
                    </a:lnTo>
                    <a:lnTo>
                      <a:pt x="568" y="328"/>
                    </a:lnTo>
                    <a:lnTo>
                      <a:pt x="569" y="331"/>
                    </a:lnTo>
                    <a:lnTo>
                      <a:pt x="568" y="333"/>
                    </a:lnTo>
                    <a:lnTo>
                      <a:pt x="569" y="333"/>
                    </a:lnTo>
                    <a:lnTo>
                      <a:pt x="568" y="335"/>
                    </a:lnTo>
                    <a:lnTo>
                      <a:pt x="569" y="337"/>
                    </a:lnTo>
                    <a:lnTo>
                      <a:pt x="568" y="336"/>
                    </a:lnTo>
                    <a:lnTo>
                      <a:pt x="566" y="337"/>
                    </a:lnTo>
                    <a:lnTo>
                      <a:pt x="564" y="339"/>
                    </a:lnTo>
                    <a:lnTo>
                      <a:pt x="567" y="344"/>
                    </a:lnTo>
                    <a:lnTo>
                      <a:pt x="568" y="344"/>
                    </a:lnTo>
                    <a:lnTo>
                      <a:pt x="568" y="345"/>
                    </a:lnTo>
                    <a:lnTo>
                      <a:pt x="568" y="347"/>
                    </a:lnTo>
                    <a:lnTo>
                      <a:pt x="568" y="348"/>
                    </a:lnTo>
                    <a:lnTo>
                      <a:pt x="567" y="348"/>
                    </a:lnTo>
                    <a:lnTo>
                      <a:pt x="566" y="347"/>
                    </a:lnTo>
                    <a:lnTo>
                      <a:pt x="566" y="350"/>
                    </a:lnTo>
                    <a:lnTo>
                      <a:pt x="565" y="350"/>
                    </a:lnTo>
                    <a:lnTo>
                      <a:pt x="564" y="352"/>
                    </a:lnTo>
                    <a:lnTo>
                      <a:pt x="564" y="353"/>
                    </a:lnTo>
                    <a:lnTo>
                      <a:pt x="561" y="356"/>
                    </a:lnTo>
                    <a:lnTo>
                      <a:pt x="563" y="357"/>
                    </a:lnTo>
                    <a:lnTo>
                      <a:pt x="561" y="358"/>
                    </a:lnTo>
                    <a:lnTo>
                      <a:pt x="558" y="359"/>
                    </a:lnTo>
                    <a:lnTo>
                      <a:pt x="557" y="359"/>
                    </a:lnTo>
                    <a:lnTo>
                      <a:pt x="557" y="360"/>
                    </a:lnTo>
                    <a:lnTo>
                      <a:pt x="556" y="361"/>
                    </a:lnTo>
                    <a:lnTo>
                      <a:pt x="558" y="363"/>
                    </a:lnTo>
                    <a:lnTo>
                      <a:pt x="558" y="365"/>
                    </a:lnTo>
                    <a:lnTo>
                      <a:pt x="557" y="367"/>
                    </a:lnTo>
                    <a:lnTo>
                      <a:pt x="558" y="368"/>
                    </a:lnTo>
                    <a:lnTo>
                      <a:pt x="557" y="371"/>
                    </a:lnTo>
                    <a:lnTo>
                      <a:pt x="556" y="371"/>
                    </a:lnTo>
                    <a:lnTo>
                      <a:pt x="556" y="369"/>
                    </a:lnTo>
                    <a:lnTo>
                      <a:pt x="555" y="371"/>
                    </a:lnTo>
                    <a:lnTo>
                      <a:pt x="556" y="373"/>
                    </a:lnTo>
                    <a:lnTo>
                      <a:pt x="556" y="375"/>
                    </a:lnTo>
                    <a:lnTo>
                      <a:pt x="555" y="375"/>
                    </a:lnTo>
                    <a:lnTo>
                      <a:pt x="554" y="376"/>
                    </a:lnTo>
                    <a:lnTo>
                      <a:pt x="554" y="378"/>
                    </a:lnTo>
                    <a:lnTo>
                      <a:pt x="552" y="380"/>
                    </a:lnTo>
                    <a:lnTo>
                      <a:pt x="551" y="378"/>
                    </a:lnTo>
                    <a:lnTo>
                      <a:pt x="548" y="379"/>
                    </a:lnTo>
                    <a:lnTo>
                      <a:pt x="548" y="380"/>
                    </a:lnTo>
                    <a:lnTo>
                      <a:pt x="548" y="382"/>
                    </a:lnTo>
                    <a:lnTo>
                      <a:pt x="546" y="383"/>
                    </a:lnTo>
                    <a:lnTo>
                      <a:pt x="544" y="383"/>
                    </a:lnTo>
                    <a:lnTo>
                      <a:pt x="544" y="384"/>
                    </a:lnTo>
                    <a:lnTo>
                      <a:pt x="543" y="382"/>
                    </a:lnTo>
                    <a:lnTo>
                      <a:pt x="541" y="380"/>
                    </a:lnTo>
                    <a:lnTo>
                      <a:pt x="540" y="381"/>
                    </a:lnTo>
                    <a:lnTo>
                      <a:pt x="535" y="385"/>
                    </a:lnTo>
                    <a:lnTo>
                      <a:pt x="535" y="386"/>
                    </a:lnTo>
                    <a:lnTo>
                      <a:pt x="533" y="386"/>
                    </a:lnTo>
                    <a:lnTo>
                      <a:pt x="532" y="388"/>
                    </a:lnTo>
                    <a:lnTo>
                      <a:pt x="530" y="390"/>
                    </a:lnTo>
                    <a:lnTo>
                      <a:pt x="530" y="392"/>
                    </a:lnTo>
                    <a:lnTo>
                      <a:pt x="531" y="394"/>
                    </a:lnTo>
                    <a:lnTo>
                      <a:pt x="533" y="394"/>
                    </a:lnTo>
                    <a:lnTo>
                      <a:pt x="534" y="394"/>
                    </a:lnTo>
                    <a:lnTo>
                      <a:pt x="533" y="395"/>
                    </a:lnTo>
                    <a:lnTo>
                      <a:pt x="535" y="397"/>
                    </a:lnTo>
                    <a:lnTo>
                      <a:pt x="534" y="399"/>
                    </a:lnTo>
                    <a:lnTo>
                      <a:pt x="536" y="400"/>
                    </a:lnTo>
                    <a:lnTo>
                      <a:pt x="535" y="401"/>
                    </a:lnTo>
                    <a:lnTo>
                      <a:pt x="535" y="402"/>
                    </a:lnTo>
                    <a:lnTo>
                      <a:pt x="533" y="403"/>
                    </a:lnTo>
                    <a:lnTo>
                      <a:pt x="532" y="403"/>
                    </a:lnTo>
                    <a:lnTo>
                      <a:pt x="531" y="405"/>
                    </a:lnTo>
                    <a:lnTo>
                      <a:pt x="530" y="404"/>
                    </a:lnTo>
                    <a:lnTo>
                      <a:pt x="529" y="404"/>
                    </a:lnTo>
                    <a:lnTo>
                      <a:pt x="528" y="403"/>
                    </a:lnTo>
                    <a:lnTo>
                      <a:pt x="527" y="404"/>
                    </a:lnTo>
                    <a:lnTo>
                      <a:pt x="524" y="401"/>
                    </a:lnTo>
                    <a:lnTo>
                      <a:pt x="524" y="403"/>
                    </a:lnTo>
                    <a:lnTo>
                      <a:pt x="523" y="403"/>
                    </a:lnTo>
                    <a:lnTo>
                      <a:pt x="522" y="402"/>
                    </a:lnTo>
                    <a:lnTo>
                      <a:pt x="522" y="399"/>
                    </a:lnTo>
                    <a:lnTo>
                      <a:pt x="521" y="400"/>
                    </a:lnTo>
                    <a:lnTo>
                      <a:pt x="520" y="399"/>
                    </a:lnTo>
                    <a:lnTo>
                      <a:pt x="519" y="402"/>
                    </a:lnTo>
                    <a:lnTo>
                      <a:pt x="517" y="404"/>
                    </a:lnTo>
                    <a:lnTo>
                      <a:pt x="516" y="407"/>
                    </a:lnTo>
                    <a:lnTo>
                      <a:pt x="517" y="407"/>
                    </a:lnTo>
                    <a:lnTo>
                      <a:pt x="515" y="408"/>
                    </a:lnTo>
                    <a:lnTo>
                      <a:pt x="515" y="411"/>
                    </a:lnTo>
                    <a:lnTo>
                      <a:pt x="515" y="409"/>
                    </a:lnTo>
                    <a:lnTo>
                      <a:pt x="513" y="408"/>
                    </a:lnTo>
                    <a:lnTo>
                      <a:pt x="510" y="412"/>
                    </a:lnTo>
                    <a:lnTo>
                      <a:pt x="507" y="409"/>
                    </a:lnTo>
                    <a:lnTo>
                      <a:pt x="504" y="411"/>
                    </a:lnTo>
                    <a:lnTo>
                      <a:pt x="501" y="413"/>
                    </a:lnTo>
                    <a:lnTo>
                      <a:pt x="500" y="412"/>
                    </a:lnTo>
                    <a:lnTo>
                      <a:pt x="499" y="413"/>
                    </a:lnTo>
                    <a:lnTo>
                      <a:pt x="498" y="412"/>
                    </a:lnTo>
                    <a:lnTo>
                      <a:pt x="496" y="412"/>
                    </a:lnTo>
                    <a:lnTo>
                      <a:pt x="496" y="411"/>
                    </a:lnTo>
                    <a:lnTo>
                      <a:pt x="496" y="413"/>
                    </a:lnTo>
                    <a:lnTo>
                      <a:pt x="496" y="412"/>
                    </a:lnTo>
                    <a:lnTo>
                      <a:pt x="495" y="412"/>
                    </a:lnTo>
                    <a:lnTo>
                      <a:pt x="492" y="412"/>
                    </a:lnTo>
                    <a:lnTo>
                      <a:pt x="492" y="415"/>
                    </a:lnTo>
                    <a:lnTo>
                      <a:pt x="491" y="414"/>
                    </a:lnTo>
                    <a:lnTo>
                      <a:pt x="490" y="414"/>
                    </a:lnTo>
                    <a:lnTo>
                      <a:pt x="491" y="416"/>
                    </a:lnTo>
                    <a:lnTo>
                      <a:pt x="487" y="417"/>
                    </a:lnTo>
                    <a:lnTo>
                      <a:pt x="487" y="416"/>
                    </a:lnTo>
                    <a:lnTo>
                      <a:pt x="486" y="418"/>
                    </a:lnTo>
                    <a:lnTo>
                      <a:pt x="486" y="416"/>
                    </a:lnTo>
                    <a:lnTo>
                      <a:pt x="484" y="417"/>
                    </a:lnTo>
                    <a:lnTo>
                      <a:pt x="484" y="416"/>
                    </a:lnTo>
                    <a:lnTo>
                      <a:pt x="482" y="416"/>
                    </a:lnTo>
                    <a:lnTo>
                      <a:pt x="484" y="413"/>
                    </a:lnTo>
                    <a:lnTo>
                      <a:pt x="484" y="412"/>
                    </a:lnTo>
                    <a:lnTo>
                      <a:pt x="483" y="412"/>
                    </a:lnTo>
                    <a:lnTo>
                      <a:pt x="481" y="413"/>
                    </a:lnTo>
                    <a:lnTo>
                      <a:pt x="480" y="412"/>
                    </a:lnTo>
                    <a:lnTo>
                      <a:pt x="479" y="414"/>
                    </a:lnTo>
                    <a:lnTo>
                      <a:pt x="477" y="414"/>
                    </a:lnTo>
                    <a:lnTo>
                      <a:pt x="476" y="414"/>
                    </a:lnTo>
                    <a:lnTo>
                      <a:pt x="475" y="416"/>
                    </a:lnTo>
                    <a:lnTo>
                      <a:pt x="474" y="416"/>
                    </a:lnTo>
                    <a:lnTo>
                      <a:pt x="474" y="418"/>
                    </a:lnTo>
                    <a:lnTo>
                      <a:pt x="475" y="418"/>
                    </a:lnTo>
                    <a:lnTo>
                      <a:pt x="475" y="419"/>
                    </a:lnTo>
                    <a:lnTo>
                      <a:pt x="475" y="420"/>
                    </a:lnTo>
                    <a:lnTo>
                      <a:pt x="472" y="421"/>
                    </a:lnTo>
                    <a:lnTo>
                      <a:pt x="472" y="425"/>
                    </a:lnTo>
                    <a:lnTo>
                      <a:pt x="472" y="428"/>
                    </a:lnTo>
                    <a:lnTo>
                      <a:pt x="467" y="429"/>
                    </a:lnTo>
                    <a:lnTo>
                      <a:pt x="467" y="431"/>
                    </a:lnTo>
                    <a:lnTo>
                      <a:pt x="465" y="434"/>
                    </a:lnTo>
                    <a:lnTo>
                      <a:pt x="464" y="434"/>
                    </a:lnTo>
                    <a:lnTo>
                      <a:pt x="464" y="433"/>
                    </a:lnTo>
                    <a:lnTo>
                      <a:pt x="463" y="433"/>
                    </a:lnTo>
                    <a:lnTo>
                      <a:pt x="462" y="433"/>
                    </a:lnTo>
                    <a:lnTo>
                      <a:pt x="463" y="434"/>
                    </a:lnTo>
                    <a:lnTo>
                      <a:pt x="462" y="434"/>
                    </a:lnTo>
                    <a:lnTo>
                      <a:pt x="462" y="435"/>
                    </a:lnTo>
                    <a:lnTo>
                      <a:pt x="461" y="437"/>
                    </a:lnTo>
                    <a:lnTo>
                      <a:pt x="460" y="438"/>
                    </a:lnTo>
                    <a:lnTo>
                      <a:pt x="460" y="440"/>
                    </a:lnTo>
                    <a:lnTo>
                      <a:pt x="460" y="442"/>
                    </a:lnTo>
                    <a:lnTo>
                      <a:pt x="459" y="446"/>
                    </a:lnTo>
                    <a:lnTo>
                      <a:pt x="460" y="448"/>
                    </a:lnTo>
                    <a:lnTo>
                      <a:pt x="459" y="450"/>
                    </a:lnTo>
                    <a:lnTo>
                      <a:pt x="460" y="451"/>
                    </a:lnTo>
                    <a:lnTo>
                      <a:pt x="460" y="454"/>
                    </a:lnTo>
                    <a:lnTo>
                      <a:pt x="462" y="454"/>
                    </a:lnTo>
                    <a:lnTo>
                      <a:pt x="463" y="452"/>
                    </a:lnTo>
                    <a:lnTo>
                      <a:pt x="466" y="457"/>
                    </a:lnTo>
                    <a:lnTo>
                      <a:pt x="469" y="456"/>
                    </a:lnTo>
                    <a:lnTo>
                      <a:pt x="473" y="457"/>
                    </a:lnTo>
                    <a:lnTo>
                      <a:pt x="473" y="459"/>
                    </a:lnTo>
                    <a:lnTo>
                      <a:pt x="474" y="463"/>
                    </a:lnTo>
                    <a:lnTo>
                      <a:pt x="476" y="468"/>
                    </a:lnTo>
                    <a:lnTo>
                      <a:pt x="476" y="469"/>
                    </a:lnTo>
                    <a:lnTo>
                      <a:pt x="475" y="470"/>
                    </a:lnTo>
                    <a:lnTo>
                      <a:pt x="475" y="471"/>
                    </a:lnTo>
                    <a:lnTo>
                      <a:pt x="476" y="473"/>
                    </a:lnTo>
                    <a:lnTo>
                      <a:pt x="474" y="476"/>
                    </a:lnTo>
                    <a:lnTo>
                      <a:pt x="473" y="475"/>
                    </a:lnTo>
                    <a:lnTo>
                      <a:pt x="473" y="477"/>
                    </a:lnTo>
                    <a:lnTo>
                      <a:pt x="472" y="476"/>
                    </a:lnTo>
                    <a:lnTo>
                      <a:pt x="472" y="477"/>
                    </a:lnTo>
                    <a:lnTo>
                      <a:pt x="471" y="477"/>
                    </a:lnTo>
                    <a:lnTo>
                      <a:pt x="470" y="478"/>
                    </a:lnTo>
                    <a:lnTo>
                      <a:pt x="470" y="480"/>
                    </a:lnTo>
                    <a:lnTo>
                      <a:pt x="467" y="481"/>
                    </a:lnTo>
                    <a:lnTo>
                      <a:pt x="467" y="480"/>
                    </a:lnTo>
                    <a:lnTo>
                      <a:pt x="466" y="480"/>
                    </a:lnTo>
                    <a:lnTo>
                      <a:pt x="464" y="481"/>
                    </a:lnTo>
                    <a:lnTo>
                      <a:pt x="463" y="480"/>
                    </a:lnTo>
                    <a:lnTo>
                      <a:pt x="462" y="481"/>
                    </a:lnTo>
                    <a:lnTo>
                      <a:pt x="462" y="478"/>
                    </a:lnTo>
                    <a:lnTo>
                      <a:pt x="459" y="476"/>
                    </a:lnTo>
                    <a:lnTo>
                      <a:pt x="459" y="478"/>
                    </a:lnTo>
                    <a:lnTo>
                      <a:pt x="457" y="477"/>
                    </a:lnTo>
                    <a:lnTo>
                      <a:pt x="457" y="480"/>
                    </a:lnTo>
                    <a:lnTo>
                      <a:pt x="455" y="481"/>
                    </a:lnTo>
                    <a:lnTo>
                      <a:pt x="454" y="480"/>
                    </a:lnTo>
                    <a:lnTo>
                      <a:pt x="455" y="478"/>
                    </a:lnTo>
                    <a:lnTo>
                      <a:pt x="453" y="478"/>
                    </a:lnTo>
                    <a:lnTo>
                      <a:pt x="453" y="480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2" y="483"/>
                    </a:lnTo>
                    <a:lnTo>
                      <a:pt x="452" y="484"/>
                    </a:lnTo>
                    <a:lnTo>
                      <a:pt x="451" y="485"/>
                    </a:lnTo>
                    <a:lnTo>
                      <a:pt x="451" y="486"/>
                    </a:lnTo>
                    <a:lnTo>
                      <a:pt x="451" y="488"/>
                    </a:lnTo>
                    <a:lnTo>
                      <a:pt x="451" y="489"/>
                    </a:lnTo>
                    <a:lnTo>
                      <a:pt x="447" y="488"/>
                    </a:lnTo>
                    <a:lnTo>
                      <a:pt x="447" y="486"/>
                    </a:lnTo>
                    <a:lnTo>
                      <a:pt x="447" y="484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2" y="483"/>
                    </a:lnTo>
                    <a:lnTo>
                      <a:pt x="441" y="483"/>
                    </a:lnTo>
                    <a:lnTo>
                      <a:pt x="440" y="482"/>
                    </a:lnTo>
                    <a:lnTo>
                      <a:pt x="439" y="481"/>
                    </a:lnTo>
                    <a:lnTo>
                      <a:pt x="439" y="480"/>
                    </a:lnTo>
                    <a:lnTo>
                      <a:pt x="438" y="480"/>
                    </a:lnTo>
                    <a:lnTo>
                      <a:pt x="438" y="478"/>
                    </a:lnTo>
                    <a:lnTo>
                      <a:pt x="439" y="478"/>
                    </a:lnTo>
                    <a:lnTo>
                      <a:pt x="438" y="478"/>
                    </a:lnTo>
                    <a:lnTo>
                      <a:pt x="437" y="479"/>
                    </a:lnTo>
                    <a:lnTo>
                      <a:pt x="436" y="478"/>
                    </a:lnTo>
                    <a:lnTo>
                      <a:pt x="435" y="478"/>
                    </a:lnTo>
                    <a:lnTo>
                      <a:pt x="435" y="482"/>
                    </a:lnTo>
                    <a:lnTo>
                      <a:pt x="433" y="480"/>
                    </a:lnTo>
                    <a:lnTo>
                      <a:pt x="430" y="481"/>
                    </a:lnTo>
                    <a:lnTo>
                      <a:pt x="429" y="481"/>
                    </a:lnTo>
                    <a:lnTo>
                      <a:pt x="429" y="482"/>
                    </a:lnTo>
                    <a:lnTo>
                      <a:pt x="428" y="482"/>
                    </a:lnTo>
                    <a:lnTo>
                      <a:pt x="427" y="481"/>
                    </a:lnTo>
                    <a:lnTo>
                      <a:pt x="426" y="482"/>
                    </a:lnTo>
                    <a:lnTo>
                      <a:pt x="425" y="482"/>
                    </a:lnTo>
                    <a:lnTo>
                      <a:pt x="424" y="482"/>
                    </a:lnTo>
                    <a:lnTo>
                      <a:pt x="421" y="483"/>
                    </a:lnTo>
                    <a:lnTo>
                      <a:pt x="419" y="480"/>
                    </a:lnTo>
                    <a:lnTo>
                      <a:pt x="417" y="480"/>
                    </a:lnTo>
                    <a:lnTo>
                      <a:pt x="416" y="478"/>
                    </a:lnTo>
                    <a:lnTo>
                      <a:pt x="414" y="479"/>
                    </a:lnTo>
                    <a:lnTo>
                      <a:pt x="413" y="480"/>
                    </a:lnTo>
                    <a:lnTo>
                      <a:pt x="412" y="480"/>
                    </a:lnTo>
                    <a:lnTo>
                      <a:pt x="411" y="478"/>
                    </a:lnTo>
                    <a:lnTo>
                      <a:pt x="411" y="479"/>
                    </a:lnTo>
                    <a:lnTo>
                      <a:pt x="409" y="478"/>
                    </a:lnTo>
                    <a:lnTo>
                      <a:pt x="410" y="477"/>
                    </a:lnTo>
                    <a:lnTo>
                      <a:pt x="408" y="475"/>
                    </a:lnTo>
                    <a:lnTo>
                      <a:pt x="403" y="475"/>
                    </a:lnTo>
                    <a:lnTo>
                      <a:pt x="400" y="475"/>
                    </a:lnTo>
                    <a:lnTo>
                      <a:pt x="398" y="479"/>
                    </a:lnTo>
                    <a:lnTo>
                      <a:pt x="399" y="480"/>
                    </a:lnTo>
                    <a:lnTo>
                      <a:pt x="401" y="481"/>
                    </a:lnTo>
                    <a:lnTo>
                      <a:pt x="402" y="484"/>
                    </a:lnTo>
                    <a:lnTo>
                      <a:pt x="402" y="486"/>
                    </a:lnTo>
                    <a:lnTo>
                      <a:pt x="402" y="487"/>
                    </a:lnTo>
                    <a:lnTo>
                      <a:pt x="399" y="488"/>
                    </a:lnTo>
                    <a:lnTo>
                      <a:pt x="395" y="486"/>
                    </a:lnTo>
                    <a:lnTo>
                      <a:pt x="394" y="488"/>
                    </a:lnTo>
                    <a:lnTo>
                      <a:pt x="391" y="486"/>
                    </a:lnTo>
                    <a:lnTo>
                      <a:pt x="389" y="486"/>
                    </a:lnTo>
                    <a:lnTo>
                      <a:pt x="388" y="487"/>
                    </a:lnTo>
                    <a:lnTo>
                      <a:pt x="388" y="489"/>
                    </a:lnTo>
                    <a:lnTo>
                      <a:pt x="387" y="490"/>
                    </a:lnTo>
                    <a:lnTo>
                      <a:pt x="387" y="491"/>
                    </a:lnTo>
                    <a:lnTo>
                      <a:pt x="388" y="492"/>
                    </a:lnTo>
                    <a:lnTo>
                      <a:pt x="389" y="495"/>
                    </a:lnTo>
                    <a:lnTo>
                      <a:pt x="388" y="495"/>
                    </a:lnTo>
                    <a:lnTo>
                      <a:pt x="386" y="495"/>
                    </a:lnTo>
                    <a:lnTo>
                      <a:pt x="386" y="496"/>
                    </a:lnTo>
                    <a:lnTo>
                      <a:pt x="386" y="499"/>
                    </a:lnTo>
                    <a:lnTo>
                      <a:pt x="384" y="499"/>
                    </a:lnTo>
                    <a:lnTo>
                      <a:pt x="383" y="501"/>
                    </a:lnTo>
                    <a:lnTo>
                      <a:pt x="382" y="501"/>
                    </a:lnTo>
                    <a:lnTo>
                      <a:pt x="381" y="499"/>
                    </a:lnTo>
                    <a:lnTo>
                      <a:pt x="379" y="501"/>
                    </a:lnTo>
                    <a:lnTo>
                      <a:pt x="377" y="501"/>
                    </a:lnTo>
                    <a:lnTo>
                      <a:pt x="377" y="498"/>
                    </a:lnTo>
                    <a:lnTo>
                      <a:pt x="374" y="495"/>
                    </a:lnTo>
                    <a:lnTo>
                      <a:pt x="376" y="494"/>
                    </a:lnTo>
                    <a:lnTo>
                      <a:pt x="374" y="493"/>
                    </a:lnTo>
                    <a:lnTo>
                      <a:pt x="373" y="492"/>
                    </a:lnTo>
                    <a:lnTo>
                      <a:pt x="374" y="491"/>
                    </a:lnTo>
                    <a:lnTo>
                      <a:pt x="373" y="490"/>
                    </a:lnTo>
                    <a:lnTo>
                      <a:pt x="373" y="489"/>
                    </a:lnTo>
                    <a:lnTo>
                      <a:pt x="373" y="485"/>
                    </a:lnTo>
                    <a:lnTo>
                      <a:pt x="371" y="486"/>
                    </a:lnTo>
                    <a:lnTo>
                      <a:pt x="372" y="485"/>
                    </a:lnTo>
                    <a:lnTo>
                      <a:pt x="372" y="484"/>
                    </a:lnTo>
                    <a:lnTo>
                      <a:pt x="371" y="484"/>
                    </a:lnTo>
                    <a:lnTo>
                      <a:pt x="372" y="483"/>
                    </a:lnTo>
                    <a:lnTo>
                      <a:pt x="372" y="481"/>
                    </a:lnTo>
                    <a:lnTo>
                      <a:pt x="370" y="480"/>
                    </a:lnTo>
                    <a:lnTo>
                      <a:pt x="371" y="480"/>
                    </a:lnTo>
                    <a:lnTo>
                      <a:pt x="372" y="480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69" y="479"/>
                    </a:lnTo>
                    <a:lnTo>
                      <a:pt x="368" y="479"/>
                    </a:lnTo>
                    <a:lnTo>
                      <a:pt x="367" y="478"/>
                    </a:lnTo>
                    <a:lnTo>
                      <a:pt x="366" y="478"/>
                    </a:lnTo>
                    <a:lnTo>
                      <a:pt x="364" y="482"/>
                    </a:lnTo>
                    <a:lnTo>
                      <a:pt x="365" y="483"/>
                    </a:lnTo>
                    <a:lnTo>
                      <a:pt x="364" y="484"/>
                    </a:lnTo>
                    <a:lnTo>
                      <a:pt x="363" y="483"/>
                    </a:lnTo>
                    <a:lnTo>
                      <a:pt x="363" y="481"/>
                    </a:lnTo>
                    <a:lnTo>
                      <a:pt x="362" y="479"/>
                    </a:lnTo>
                    <a:lnTo>
                      <a:pt x="361" y="479"/>
                    </a:lnTo>
                    <a:lnTo>
                      <a:pt x="359" y="478"/>
                    </a:lnTo>
                    <a:lnTo>
                      <a:pt x="357" y="475"/>
                    </a:lnTo>
                    <a:lnTo>
                      <a:pt x="356" y="470"/>
                    </a:lnTo>
                    <a:lnTo>
                      <a:pt x="355" y="470"/>
                    </a:lnTo>
                    <a:lnTo>
                      <a:pt x="354" y="470"/>
                    </a:lnTo>
                    <a:lnTo>
                      <a:pt x="348" y="468"/>
                    </a:lnTo>
                    <a:lnTo>
                      <a:pt x="347" y="465"/>
                    </a:lnTo>
                    <a:lnTo>
                      <a:pt x="344" y="460"/>
                    </a:lnTo>
                    <a:lnTo>
                      <a:pt x="345" y="459"/>
                    </a:lnTo>
                    <a:lnTo>
                      <a:pt x="344" y="459"/>
                    </a:lnTo>
                    <a:lnTo>
                      <a:pt x="343" y="461"/>
                    </a:lnTo>
                    <a:lnTo>
                      <a:pt x="343" y="464"/>
                    </a:lnTo>
                    <a:lnTo>
                      <a:pt x="340" y="464"/>
                    </a:lnTo>
                    <a:lnTo>
                      <a:pt x="340" y="465"/>
                    </a:lnTo>
                    <a:lnTo>
                      <a:pt x="338" y="465"/>
                    </a:lnTo>
                    <a:lnTo>
                      <a:pt x="338" y="466"/>
                    </a:lnTo>
                    <a:lnTo>
                      <a:pt x="338" y="465"/>
                    </a:lnTo>
                    <a:lnTo>
                      <a:pt x="337" y="467"/>
                    </a:lnTo>
                    <a:lnTo>
                      <a:pt x="337" y="468"/>
                    </a:lnTo>
                    <a:lnTo>
                      <a:pt x="338" y="468"/>
                    </a:lnTo>
                    <a:lnTo>
                      <a:pt x="337" y="471"/>
                    </a:lnTo>
                    <a:lnTo>
                      <a:pt x="333" y="469"/>
                    </a:lnTo>
                    <a:lnTo>
                      <a:pt x="333" y="470"/>
                    </a:lnTo>
                    <a:lnTo>
                      <a:pt x="333" y="471"/>
                    </a:lnTo>
                    <a:lnTo>
                      <a:pt x="332" y="471"/>
                    </a:lnTo>
                    <a:lnTo>
                      <a:pt x="333" y="472"/>
                    </a:lnTo>
                    <a:lnTo>
                      <a:pt x="332" y="472"/>
                    </a:lnTo>
                    <a:lnTo>
                      <a:pt x="333" y="473"/>
                    </a:lnTo>
                    <a:lnTo>
                      <a:pt x="332" y="475"/>
                    </a:lnTo>
                    <a:lnTo>
                      <a:pt x="333" y="476"/>
                    </a:lnTo>
                    <a:lnTo>
                      <a:pt x="332" y="476"/>
                    </a:lnTo>
                    <a:lnTo>
                      <a:pt x="331" y="477"/>
                    </a:lnTo>
                    <a:lnTo>
                      <a:pt x="330" y="477"/>
                    </a:lnTo>
                    <a:lnTo>
                      <a:pt x="330" y="480"/>
                    </a:lnTo>
                    <a:lnTo>
                      <a:pt x="329" y="480"/>
                    </a:lnTo>
                    <a:lnTo>
                      <a:pt x="329" y="481"/>
                    </a:lnTo>
                    <a:lnTo>
                      <a:pt x="329" y="482"/>
                    </a:lnTo>
                    <a:lnTo>
                      <a:pt x="331" y="483"/>
                    </a:lnTo>
                    <a:lnTo>
                      <a:pt x="330" y="486"/>
                    </a:lnTo>
                    <a:lnTo>
                      <a:pt x="330" y="487"/>
                    </a:lnTo>
                    <a:lnTo>
                      <a:pt x="332" y="486"/>
                    </a:lnTo>
                    <a:lnTo>
                      <a:pt x="332" y="488"/>
                    </a:lnTo>
                    <a:lnTo>
                      <a:pt x="331" y="488"/>
                    </a:lnTo>
                    <a:lnTo>
                      <a:pt x="333" y="489"/>
                    </a:lnTo>
                    <a:lnTo>
                      <a:pt x="333" y="490"/>
                    </a:lnTo>
                    <a:lnTo>
                      <a:pt x="331" y="491"/>
                    </a:lnTo>
                    <a:lnTo>
                      <a:pt x="333" y="491"/>
                    </a:lnTo>
                    <a:lnTo>
                      <a:pt x="332" y="492"/>
                    </a:lnTo>
                    <a:lnTo>
                      <a:pt x="330" y="492"/>
                    </a:lnTo>
                    <a:lnTo>
                      <a:pt x="329" y="492"/>
                    </a:lnTo>
                    <a:lnTo>
                      <a:pt x="329" y="493"/>
                    </a:lnTo>
                    <a:lnTo>
                      <a:pt x="325" y="493"/>
                    </a:lnTo>
                    <a:lnTo>
                      <a:pt x="325" y="494"/>
                    </a:lnTo>
                    <a:lnTo>
                      <a:pt x="324" y="494"/>
                    </a:lnTo>
                    <a:lnTo>
                      <a:pt x="324" y="493"/>
                    </a:lnTo>
                    <a:lnTo>
                      <a:pt x="321" y="493"/>
                    </a:lnTo>
                    <a:lnTo>
                      <a:pt x="320" y="492"/>
                    </a:lnTo>
                    <a:lnTo>
                      <a:pt x="320" y="493"/>
                    </a:lnTo>
                    <a:lnTo>
                      <a:pt x="320" y="494"/>
                    </a:lnTo>
                    <a:lnTo>
                      <a:pt x="318" y="494"/>
                    </a:lnTo>
                    <a:lnTo>
                      <a:pt x="317" y="494"/>
                    </a:lnTo>
                    <a:lnTo>
                      <a:pt x="316" y="496"/>
                    </a:lnTo>
                    <a:lnTo>
                      <a:pt x="313" y="499"/>
                    </a:lnTo>
                    <a:lnTo>
                      <a:pt x="312" y="498"/>
                    </a:lnTo>
                    <a:lnTo>
                      <a:pt x="312" y="499"/>
                    </a:lnTo>
                    <a:lnTo>
                      <a:pt x="310" y="499"/>
                    </a:lnTo>
                    <a:lnTo>
                      <a:pt x="308" y="500"/>
                    </a:lnTo>
                    <a:lnTo>
                      <a:pt x="308" y="501"/>
                    </a:lnTo>
                    <a:lnTo>
                      <a:pt x="307" y="501"/>
                    </a:lnTo>
                    <a:lnTo>
                      <a:pt x="308" y="505"/>
                    </a:lnTo>
                    <a:lnTo>
                      <a:pt x="307" y="506"/>
                    </a:lnTo>
                    <a:lnTo>
                      <a:pt x="307" y="509"/>
                    </a:lnTo>
                    <a:lnTo>
                      <a:pt x="306" y="509"/>
                    </a:lnTo>
                    <a:lnTo>
                      <a:pt x="304" y="509"/>
                    </a:lnTo>
                    <a:lnTo>
                      <a:pt x="303" y="507"/>
                    </a:lnTo>
                    <a:lnTo>
                      <a:pt x="304" y="506"/>
                    </a:lnTo>
                    <a:lnTo>
                      <a:pt x="303" y="502"/>
                    </a:lnTo>
                    <a:lnTo>
                      <a:pt x="301" y="501"/>
                    </a:lnTo>
                    <a:lnTo>
                      <a:pt x="296" y="498"/>
                    </a:lnTo>
                    <a:lnTo>
                      <a:pt x="291" y="499"/>
                    </a:lnTo>
                    <a:lnTo>
                      <a:pt x="289" y="499"/>
                    </a:lnTo>
                    <a:lnTo>
                      <a:pt x="289" y="498"/>
                    </a:lnTo>
                    <a:lnTo>
                      <a:pt x="287" y="498"/>
                    </a:lnTo>
                    <a:lnTo>
                      <a:pt x="287" y="496"/>
                    </a:lnTo>
                    <a:lnTo>
                      <a:pt x="288" y="495"/>
                    </a:lnTo>
                    <a:lnTo>
                      <a:pt x="289" y="495"/>
                    </a:lnTo>
                    <a:lnTo>
                      <a:pt x="290" y="493"/>
                    </a:lnTo>
                    <a:lnTo>
                      <a:pt x="291" y="492"/>
                    </a:lnTo>
                    <a:lnTo>
                      <a:pt x="292" y="489"/>
                    </a:lnTo>
                    <a:lnTo>
                      <a:pt x="292" y="488"/>
                    </a:lnTo>
                    <a:lnTo>
                      <a:pt x="291" y="488"/>
                    </a:lnTo>
                    <a:lnTo>
                      <a:pt x="290" y="490"/>
                    </a:lnTo>
                    <a:lnTo>
                      <a:pt x="289" y="491"/>
                    </a:lnTo>
                    <a:lnTo>
                      <a:pt x="287" y="490"/>
                    </a:lnTo>
                    <a:lnTo>
                      <a:pt x="287" y="492"/>
                    </a:lnTo>
                    <a:lnTo>
                      <a:pt x="286" y="492"/>
                    </a:lnTo>
                    <a:lnTo>
                      <a:pt x="286" y="489"/>
                    </a:lnTo>
                    <a:lnTo>
                      <a:pt x="284" y="493"/>
                    </a:lnTo>
                    <a:lnTo>
                      <a:pt x="282" y="492"/>
                    </a:lnTo>
                    <a:lnTo>
                      <a:pt x="283" y="492"/>
                    </a:lnTo>
                    <a:lnTo>
                      <a:pt x="282" y="492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0" y="492"/>
                    </a:lnTo>
                    <a:lnTo>
                      <a:pt x="280" y="491"/>
                    </a:lnTo>
                    <a:lnTo>
                      <a:pt x="278" y="490"/>
                    </a:lnTo>
                    <a:lnTo>
                      <a:pt x="277" y="489"/>
                    </a:lnTo>
                    <a:lnTo>
                      <a:pt x="276" y="489"/>
                    </a:lnTo>
                    <a:lnTo>
                      <a:pt x="275" y="491"/>
                    </a:lnTo>
                    <a:lnTo>
                      <a:pt x="274" y="489"/>
                    </a:lnTo>
                    <a:lnTo>
                      <a:pt x="273" y="489"/>
                    </a:lnTo>
                    <a:lnTo>
                      <a:pt x="273" y="488"/>
                    </a:lnTo>
                    <a:lnTo>
                      <a:pt x="272" y="489"/>
                    </a:lnTo>
                    <a:lnTo>
                      <a:pt x="272" y="488"/>
                    </a:lnTo>
                    <a:lnTo>
                      <a:pt x="270" y="488"/>
                    </a:lnTo>
                    <a:lnTo>
                      <a:pt x="272" y="485"/>
                    </a:lnTo>
                    <a:lnTo>
                      <a:pt x="271" y="484"/>
                    </a:lnTo>
                    <a:lnTo>
                      <a:pt x="269" y="484"/>
                    </a:lnTo>
                    <a:lnTo>
                      <a:pt x="268" y="486"/>
                    </a:lnTo>
                    <a:lnTo>
                      <a:pt x="266" y="485"/>
                    </a:lnTo>
                    <a:lnTo>
                      <a:pt x="263" y="482"/>
                    </a:lnTo>
                    <a:lnTo>
                      <a:pt x="261" y="482"/>
                    </a:lnTo>
                    <a:lnTo>
                      <a:pt x="261" y="483"/>
                    </a:lnTo>
                    <a:lnTo>
                      <a:pt x="260" y="486"/>
                    </a:lnTo>
                    <a:lnTo>
                      <a:pt x="258" y="486"/>
                    </a:lnTo>
                    <a:lnTo>
                      <a:pt x="258" y="488"/>
                    </a:lnTo>
                    <a:lnTo>
                      <a:pt x="260" y="488"/>
                    </a:lnTo>
                    <a:lnTo>
                      <a:pt x="259" y="488"/>
                    </a:lnTo>
                    <a:lnTo>
                      <a:pt x="258" y="488"/>
                    </a:lnTo>
                    <a:lnTo>
                      <a:pt x="257" y="486"/>
                    </a:lnTo>
                    <a:lnTo>
                      <a:pt x="256" y="488"/>
                    </a:lnTo>
                    <a:lnTo>
                      <a:pt x="255" y="486"/>
                    </a:lnTo>
                    <a:lnTo>
                      <a:pt x="255" y="485"/>
                    </a:lnTo>
                    <a:lnTo>
                      <a:pt x="254" y="483"/>
                    </a:lnTo>
                    <a:lnTo>
                      <a:pt x="252" y="483"/>
                    </a:lnTo>
                    <a:lnTo>
                      <a:pt x="252" y="480"/>
                    </a:lnTo>
                    <a:lnTo>
                      <a:pt x="250" y="480"/>
                    </a:lnTo>
                    <a:lnTo>
                      <a:pt x="249" y="481"/>
                    </a:lnTo>
                    <a:lnTo>
                      <a:pt x="248" y="481"/>
                    </a:lnTo>
                    <a:lnTo>
                      <a:pt x="245" y="475"/>
                    </a:lnTo>
                    <a:lnTo>
                      <a:pt x="244" y="475"/>
                    </a:lnTo>
                    <a:lnTo>
                      <a:pt x="243" y="473"/>
                    </a:lnTo>
                    <a:lnTo>
                      <a:pt x="243" y="476"/>
                    </a:lnTo>
                    <a:lnTo>
                      <a:pt x="242" y="475"/>
                    </a:lnTo>
                    <a:lnTo>
                      <a:pt x="241" y="475"/>
                    </a:lnTo>
                    <a:lnTo>
                      <a:pt x="242" y="475"/>
                    </a:lnTo>
                    <a:lnTo>
                      <a:pt x="243" y="479"/>
                    </a:lnTo>
                    <a:lnTo>
                      <a:pt x="242" y="480"/>
                    </a:lnTo>
                    <a:lnTo>
                      <a:pt x="243" y="480"/>
                    </a:lnTo>
                    <a:lnTo>
                      <a:pt x="242" y="482"/>
                    </a:lnTo>
                    <a:lnTo>
                      <a:pt x="242" y="483"/>
                    </a:lnTo>
                    <a:lnTo>
                      <a:pt x="244" y="483"/>
                    </a:lnTo>
                    <a:lnTo>
                      <a:pt x="243" y="484"/>
                    </a:lnTo>
                    <a:lnTo>
                      <a:pt x="242" y="483"/>
                    </a:lnTo>
                    <a:lnTo>
                      <a:pt x="242" y="484"/>
                    </a:lnTo>
                    <a:lnTo>
                      <a:pt x="241" y="481"/>
                    </a:lnTo>
                    <a:lnTo>
                      <a:pt x="240" y="481"/>
                    </a:lnTo>
                    <a:lnTo>
                      <a:pt x="239" y="480"/>
                    </a:lnTo>
                    <a:lnTo>
                      <a:pt x="237" y="480"/>
                    </a:lnTo>
                    <a:lnTo>
                      <a:pt x="236" y="481"/>
                    </a:lnTo>
                    <a:lnTo>
                      <a:pt x="235" y="480"/>
                    </a:lnTo>
                    <a:lnTo>
                      <a:pt x="235" y="481"/>
                    </a:lnTo>
                    <a:lnTo>
                      <a:pt x="234" y="481"/>
                    </a:lnTo>
                    <a:lnTo>
                      <a:pt x="235" y="482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3" y="484"/>
                    </a:lnTo>
                    <a:lnTo>
                      <a:pt x="232" y="482"/>
                    </a:lnTo>
                    <a:lnTo>
                      <a:pt x="232" y="483"/>
                    </a:lnTo>
                    <a:lnTo>
                      <a:pt x="231" y="486"/>
                    </a:lnTo>
                    <a:lnTo>
                      <a:pt x="230" y="486"/>
                    </a:lnTo>
                    <a:lnTo>
                      <a:pt x="231" y="484"/>
                    </a:lnTo>
                    <a:lnTo>
                      <a:pt x="229" y="484"/>
                    </a:lnTo>
                    <a:lnTo>
                      <a:pt x="228" y="485"/>
                    </a:lnTo>
                    <a:lnTo>
                      <a:pt x="227" y="487"/>
                    </a:lnTo>
                    <a:lnTo>
                      <a:pt x="227" y="485"/>
                    </a:lnTo>
                    <a:lnTo>
                      <a:pt x="226" y="485"/>
                    </a:lnTo>
                    <a:lnTo>
                      <a:pt x="226" y="484"/>
                    </a:lnTo>
                    <a:lnTo>
                      <a:pt x="224" y="483"/>
                    </a:lnTo>
                    <a:lnTo>
                      <a:pt x="221" y="485"/>
                    </a:lnTo>
                    <a:lnTo>
                      <a:pt x="220" y="484"/>
                    </a:lnTo>
                    <a:lnTo>
                      <a:pt x="219" y="484"/>
                    </a:lnTo>
                    <a:lnTo>
                      <a:pt x="221" y="484"/>
                    </a:lnTo>
                    <a:lnTo>
                      <a:pt x="221" y="483"/>
                    </a:lnTo>
                    <a:lnTo>
                      <a:pt x="221" y="481"/>
                    </a:lnTo>
                    <a:lnTo>
                      <a:pt x="222" y="480"/>
                    </a:lnTo>
                    <a:lnTo>
                      <a:pt x="222" y="478"/>
                    </a:lnTo>
                    <a:lnTo>
                      <a:pt x="221" y="478"/>
                    </a:lnTo>
                    <a:lnTo>
                      <a:pt x="220" y="478"/>
                    </a:lnTo>
                    <a:lnTo>
                      <a:pt x="219" y="477"/>
                    </a:lnTo>
                    <a:lnTo>
                      <a:pt x="219" y="475"/>
                    </a:lnTo>
                    <a:lnTo>
                      <a:pt x="218" y="476"/>
                    </a:lnTo>
                    <a:lnTo>
                      <a:pt x="216" y="473"/>
                    </a:lnTo>
                    <a:lnTo>
                      <a:pt x="213" y="475"/>
                    </a:lnTo>
                    <a:lnTo>
                      <a:pt x="212" y="473"/>
                    </a:lnTo>
                    <a:lnTo>
                      <a:pt x="212" y="474"/>
                    </a:lnTo>
                    <a:lnTo>
                      <a:pt x="212" y="473"/>
                    </a:lnTo>
                    <a:lnTo>
                      <a:pt x="211" y="472"/>
                    </a:lnTo>
                    <a:lnTo>
                      <a:pt x="212" y="469"/>
                    </a:lnTo>
                    <a:lnTo>
                      <a:pt x="211" y="467"/>
                    </a:lnTo>
                    <a:lnTo>
                      <a:pt x="208" y="466"/>
                    </a:lnTo>
                    <a:lnTo>
                      <a:pt x="208" y="465"/>
                    </a:lnTo>
                    <a:lnTo>
                      <a:pt x="206" y="465"/>
                    </a:lnTo>
                    <a:lnTo>
                      <a:pt x="206" y="463"/>
                    </a:lnTo>
                    <a:lnTo>
                      <a:pt x="203" y="465"/>
                    </a:lnTo>
                    <a:lnTo>
                      <a:pt x="202" y="465"/>
                    </a:lnTo>
                    <a:lnTo>
                      <a:pt x="198" y="465"/>
                    </a:lnTo>
                    <a:lnTo>
                      <a:pt x="197" y="463"/>
                    </a:lnTo>
                    <a:lnTo>
                      <a:pt x="196" y="465"/>
                    </a:lnTo>
                    <a:lnTo>
                      <a:pt x="195" y="465"/>
                    </a:lnTo>
                    <a:lnTo>
                      <a:pt x="194" y="465"/>
                    </a:lnTo>
                    <a:lnTo>
                      <a:pt x="194" y="467"/>
                    </a:lnTo>
                    <a:lnTo>
                      <a:pt x="194" y="470"/>
                    </a:lnTo>
                    <a:lnTo>
                      <a:pt x="192" y="471"/>
                    </a:lnTo>
                    <a:lnTo>
                      <a:pt x="192" y="472"/>
                    </a:lnTo>
                    <a:lnTo>
                      <a:pt x="190" y="473"/>
                    </a:lnTo>
                    <a:lnTo>
                      <a:pt x="189" y="473"/>
                    </a:lnTo>
                    <a:lnTo>
                      <a:pt x="189" y="475"/>
                    </a:lnTo>
                    <a:lnTo>
                      <a:pt x="190" y="474"/>
                    </a:lnTo>
                    <a:lnTo>
                      <a:pt x="188" y="476"/>
                    </a:lnTo>
                    <a:lnTo>
                      <a:pt x="188" y="478"/>
                    </a:lnTo>
                    <a:lnTo>
                      <a:pt x="186" y="477"/>
                    </a:lnTo>
                    <a:lnTo>
                      <a:pt x="186" y="476"/>
                    </a:lnTo>
                    <a:lnTo>
                      <a:pt x="187" y="475"/>
                    </a:lnTo>
                    <a:lnTo>
                      <a:pt x="184" y="475"/>
                    </a:lnTo>
                    <a:lnTo>
                      <a:pt x="181" y="475"/>
                    </a:lnTo>
                    <a:lnTo>
                      <a:pt x="180" y="476"/>
                    </a:lnTo>
                    <a:lnTo>
                      <a:pt x="178" y="475"/>
                    </a:lnTo>
                    <a:lnTo>
                      <a:pt x="177" y="475"/>
                    </a:lnTo>
                    <a:lnTo>
                      <a:pt x="174" y="475"/>
                    </a:lnTo>
                    <a:lnTo>
                      <a:pt x="173" y="475"/>
                    </a:lnTo>
                    <a:lnTo>
                      <a:pt x="172" y="476"/>
                    </a:lnTo>
                    <a:lnTo>
                      <a:pt x="170" y="473"/>
                    </a:lnTo>
                    <a:lnTo>
                      <a:pt x="168" y="473"/>
                    </a:lnTo>
                    <a:lnTo>
                      <a:pt x="165" y="472"/>
                    </a:lnTo>
                    <a:lnTo>
                      <a:pt x="165" y="476"/>
                    </a:lnTo>
                    <a:lnTo>
                      <a:pt x="163" y="475"/>
                    </a:lnTo>
                    <a:lnTo>
                      <a:pt x="161" y="475"/>
                    </a:lnTo>
                    <a:lnTo>
                      <a:pt x="161" y="473"/>
                    </a:lnTo>
                    <a:lnTo>
                      <a:pt x="161" y="472"/>
                    </a:lnTo>
                    <a:lnTo>
                      <a:pt x="161" y="471"/>
                    </a:lnTo>
                    <a:lnTo>
                      <a:pt x="159" y="471"/>
                    </a:lnTo>
                    <a:lnTo>
                      <a:pt x="159" y="473"/>
                    </a:lnTo>
                    <a:lnTo>
                      <a:pt x="158" y="475"/>
                    </a:lnTo>
                    <a:lnTo>
                      <a:pt x="156" y="474"/>
                    </a:lnTo>
                    <a:lnTo>
                      <a:pt x="155" y="475"/>
                    </a:lnTo>
                    <a:lnTo>
                      <a:pt x="155" y="473"/>
                    </a:lnTo>
                    <a:lnTo>
                      <a:pt x="152" y="473"/>
                    </a:lnTo>
                    <a:lnTo>
                      <a:pt x="152" y="472"/>
                    </a:lnTo>
                    <a:lnTo>
                      <a:pt x="151" y="473"/>
                    </a:lnTo>
                    <a:lnTo>
                      <a:pt x="150" y="472"/>
                    </a:lnTo>
                    <a:lnTo>
                      <a:pt x="149" y="469"/>
                    </a:lnTo>
                    <a:lnTo>
                      <a:pt x="150" y="468"/>
                    </a:lnTo>
                    <a:lnTo>
                      <a:pt x="150" y="467"/>
                    </a:lnTo>
                    <a:lnTo>
                      <a:pt x="150" y="464"/>
                    </a:lnTo>
                    <a:lnTo>
                      <a:pt x="150" y="463"/>
                    </a:lnTo>
                    <a:lnTo>
                      <a:pt x="151" y="462"/>
                    </a:lnTo>
                    <a:lnTo>
                      <a:pt x="151" y="461"/>
                    </a:lnTo>
                    <a:lnTo>
                      <a:pt x="153" y="461"/>
                    </a:lnTo>
                    <a:lnTo>
                      <a:pt x="151" y="460"/>
                    </a:lnTo>
                    <a:lnTo>
                      <a:pt x="149" y="458"/>
                    </a:lnTo>
                    <a:lnTo>
                      <a:pt x="145" y="458"/>
                    </a:lnTo>
                    <a:lnTo>
                      <a:pt x="144" y="45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6" name="Freeform 82">
                <a:extLst>
                  <a:ext uri="{FF2B5EF4-FFF2-40B4-BE49-F238E27FC236}">
                    <a16:creationId xmlns:a16="http://schemas.microsoft.com/office/drawing/2014/main" id="{EE038AC3-048B-4494-851B-853718CCD3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" y="2910"/>
                <a:ext cx="569" cy="509"/>
              </a:xfrm>
              <a:custGeom>
                <a:avLst/>
                <a:gdLst>
                  <a:gd name="T0" fmla="*/ 128 w 569"/>
                  <a:gd name="T1" fmla="*/ 470 h 509"/>
                  <a:gd name="T2" fmla="*/ 100 w 569"/>
                  <a:gd name="T3" fmla="*/ 473 h 509"/>
                  <a:gd name="T4" fmla="*/ 79 w 569"/>
                  <a:gd name="T5" fmla="*/ 467 h 509"/>
                  <a:gd name="T6" fmla="*/ 69 w 569"/>
                  <a:gd name="T7" fmla="*/ 420 h 509"/>
                  <a:gd name="T8" fmla="*/ 60 w 569"/>
                  <a:gd name="T9" fmla="*/ 397 h 509"/>
                  <a:gd name="T10" fmla="*/ 56 w 569"/>
                  <a:gd name="T11" fmla="*/ 386 h 509"/>
                  <a:gd name="T12" fmla="*/ 81 w 569"/>
                  <a:gd name="T13" fmla="*/ 368 h 509"/>
                  <a:gd name="T14" fmla="*/ 91 w 569"/>
                  <a:gd name="T15" fmla="*/ 338 h 509"/>
                  <a:gd name="T16" fmla="*/ 106 w 569"/>
                  <a:gd name="T17" fmla="*/ 306 h 509"/>
                  <a:gd name="T18" fmla="*/ 89 w 569"/>
                  <a:gd name="T19" fmla="*/ 267 h 509"/>
                  <a:gd name="T20" fmla="*/ 60 w 569"/>
                  <a:gd name="T21" fmla="*/ 236 h 509"/>
                  <a:gd name="T22" fmla="*/ 33 w 569"/>
                  <a:gd name="T23" fmla="*/ 210 h 509"/>
                  <a:gd name="T24" fmla="*/ 6 w 569"/>
                  <a:gd name="T25" fmla="*/ 198 h 509"/>
                  <a:gd name="T26" fmla="*/ 25 w 569"/>
                  <a:gd name="T27" fmla="*/ 175 h 509"/>
                  <a:gd name="T28" fmla="*/ 41 w 569"/>
                  <a:gd name="T29" fmla="*/ 146 h 509"/>
                  <a:gd name="T30" fmla="*/ 85 w 569"/>
                  <a:gd name="T31" fmla="*/ 126 h 509"/>
                  <a:gd name="T32" fmla="*/ 128 w 569"/>
                  <a:gd name="T33" fmla="*/ 122 h 509"/>
                  <a:gd name="T34" fmla="*/ 164 w 569"/>
                  <a:gd name="T35" fmla="*/ 107 h 509"/>
                  <a:gd name="T36" fmla="*/ 188 w 569"/>
                  <a:gd name="T37" fmla="*/ 92 h 509"/>
                  <a:gd name="T38" fmla="*/ 237 w 569"/>
                  <a:gd name="T39" fmla="*/ 103 h 509"/>
                  <a:gd name="T40" fmla="*/ 273 w 569"/>
                  <a:gd name="T41" fmla="*/ 101 h 509"/>
                  <a:gd name="T42" fmla="*/ 282 w 569"/>
                  <a:gd name="T43" fmla="*/ 78 h 509"/>
                  <a:gd name="T44" fmla="*/ 295 w 569"/>
                  <a:gd name="T45" fmla="*/ 68 h 509"/>
                  <a:gd name="T46" fmla="*/ 321 w 569"/>
                  <a:gd name="T47" fmla="*/ 39 h 509"/>
                  <a:gd name="T48" fmla="*/ 343 w 569"/>
                  <a:gd name="T49" fmla="*/ 44 h 509"/>
                  <a:gd name="T50" fmla="*/ 368 w 569"/>
                  <a:gd name="T51" fmla="*/ 52 h 509"/>
                  <a:gd name="T52" fmla="*/ 423 w 569"/>
                  <a:gd name="T53" fmla="*/ 18 h 509"/>
                  <a:gd name="T54" fmla="*/ 446 w 569"/>
                  <a:gd name="T55" fmla="*/ 7 h 509"/>
                  <a:gd name="T56" fmla="*/ 468 w 569"/>
                  <a:gd name="T57" fmla="*/ 20 h 509"/>
                  <a:gd name="T58" fmla="*/ 488 w 569"/>
                  <a:gd name="T59" fmla="*/ 49 h 509"/>
                  <a:gd name="T60" fmla="*/ 491 w 569"/>
                  <a:gd name="T61" fmla="*/ 77 h 509"/>
                  <a:gd name="T62" fmla="*/ 489 w 569"/>
                  <a:gd name="T63" fmla="*/ 109 h 509"/>
                  <a:gd name="T64" fmla="*/ 483 w 569"/>
                  <a:gd name="T65" fmla="*/ 137 h 509"/>
                  <a:gd name="T66" fmla="*/ 499 w 569"/>
                  <a:gd name="T67" fmla="*/ 161 h 509"/>
                  <a:gd name="T68" fmla="*/ 528 w 569"/>
                  <a:gd name="T69" fmla="*/ 171 h 509"/>
                  <a:gd name="T70" fmla="*/ 541 w 569"/>
                  <a:gd name="T71" fmla="*/ 189 h 509"/>
                  <a:gd name="T72" fmla="*/ 539 w 569"/>
                  <a:gd name="T73" fmla="*/ 225 h 509"/>
                  <a:gd name="T74" fmla="*/ 552 w 569"/>
                  <a:gd name="T75" fmla="*/ 249 h 509"/>
                  <a:gd name="T76" fmla="*/ 542 w 569"/>
                  <a:gd name="T77" fmla="*/ 279 h 509"/>
                  <a:gd name="T78" fmla="*/ 530 w 569"/>
                  <a:gd name="T79" fmla="*/ 288 h 509"/>
                  <a:gd name="T80" fmla="*/ 548 w 569"/>
                  <a:gd name="T81" fmla="*/ 306 h 509"/>
                  <a:gd name="T82" fmla="*/ 567 w 569"/>
                  <a:gd name="T83" fmla="*/ 330 h 509"/>
                  <a:gd name="T84" fmla="*/ 557 w 569"/>
                  <a:gd name="T85" fmla="*/ 360 h 509"/>
                  <a:gd name="T86" fmla="*/ 544 w 569"/>
                  <a:gd name="T87" fmla="*/ 384 h 509"/>
                  <a:gd name="T88" fmla="*/ 524 w 569"/>
                  <a:gd name="T89" fmla="*/ 401 h 509"/>
                  <a:gd name="T90" fmla="*/ 495 w 569"/>
                  <a:gd name="T91" fmla="*/ 412 h 509"/>
                  <a:gd name="T92" fmla="*/ 475 w 569"/>
                  <a:gd name="T93" fmla="*/ 420 h 509"/>
                  <a:gd name="T94" fmla="*/ 469 w 569"/>
                  <a:gd name="T95" fmla="*/ 456 h 509"/>
                  <a:gd name="T96" fmla="*/ 457 w 569"/>
                  <a:gd name="T97" fmla="*/ 480 h 509"/>
                  <a:gd name="T98" fmla="*/ 438 w 569"/>
                  <a:gd name="T99" fmla="*/ 480 h 509"/>
                  <a:gd name="T100" fmla="*/ 411 w 569"/>
                  <a:gd name="T101" fmla="*/ 478 h 509"/>
                  <a:gd name="T102" fmla="*/ 386 w 569"/>
                  <a:gd name="T103" fmla="*/ 495 h 509"/>
                  <a:gd name="T104" fmla="*/ 372 w 569"/>
                  <a:gd name="T105" fmla="*/ 480 h 509"/>
                  <a:gd name="T106" fmla="*/ 340 w 569"/>
                  <a:gd name="T107" fmla="*/ 465 h 509"/>
                  <a:gd name="T108" fmla="*/ 330 w 569"/>
                  <a:gd name="T109" fmla="*/ 486 h 509"/>
                  <a:gd name="T110" fmla="*/ 312 w 569"/>
                  <a:gd name="T111" fmla="*/ 499 h 509"/>
                  <a:gd name="T112" fmla="*/ 291 w 569"/>
                  <a:gd name="T113" fmla="*/ 488 h 509"/>
                  <a:gd name="T114" fmla="*/ 269 w 569"/>
                  <a:gd name="T115" fmla="*/ 484 h 509"/>
                  <a:gd name="T116" fmla="*/ 243 w 569"/>
                  <a:gd name="T117" fmla="*/ 476 h 509"/>
                  <a:gd name="T118" fmla="*/ 233 w 569"/>
                  <a:gd name="T119" fmla="*/ 484 h 509"/>
                  <a:gd name="T120" fmla="*/ 216 w 569"/>
                  <a:gd name="T121" fmla="*/ 473 h 509"/>
                  <a:gd name="T122" fmla="*/ 190 w 569"/>
                  <a:gd name="T123" fmla="*/ 474 h 509"/>
                  <a:gd name="T124" fmla="*/ 158 w 569"/>
                  <a:gd name="T125" fmla="*/ 475 h 5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9"/>
                  <a:gd name="T190" fmla="*/ 0 h 509"/>
                  <a:gd name="T191" fmla="*/ 569 w 569"/>
                  <a:gd name="T192" fmla="*/ 509 h 5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9" h="509">
                    <a:moveTo>
                      <a:pt x="144" y="458"/>
                    </a:moveTo>
                    <a:lnTo>
                      <a:pt x="142" y="460"/>
                    </a:lnTo>
                    <a:lnTo>
                      <a:pt x="142" y="459"/>
                    </a:lnTo>
                    <a:lnTo>
                      <a:pt x="139" y="461"/>
                    </a:lnTo>
                    <a:lnTo>
                      <a:pt x="138" y="461"/>
                    </a:lnTo>
                    <a:lnTo>
                      <a:pt x="136" y="460"/>
                    </a:lnTo>
                    <a:lnTo>
                      <a:pt x="135" y="463"/>
                    </a:lnTo>
                    <a:lnTo>
                      <a:pt x="136" y="465"/>
                    </a:lnTo>
                    <a:lnTo>
                      <a:pt x="135" y="467"/>
                    </a:lnTo>
                    <a:lnTo>
                      <a:pt x="135" y="465"/>
                    </a:lnTo>
                    <a:lnTo>
                      <a:pt x="134" y="468"/>
                    </a:lnTo>
                    <a:lnTo>
                      <a:pt x="134" y="469"/>
                    </a:lnTo>
                    <a:lnTo>
                      <a:pt x="134" y="470"/>
                    </a:lnTo>
                    <a:lnTo>
                      <a:pt x="133" y="470"/>
                    </a:lnTo>
                    <a:lnTo>
                      <a:pt x="133" y="471"/>
                    </a:lnTo>
                    <a:lnTo>
                      <a:pt x="132" y="469"/>
                    </a:lnTo>
                    <a:lnTo>
                      <a:pt x="131" y="469"/>
                    </a:lnTo>
                    <a:lnTo>
                      <a:pt x="131" y="471"/>
                    </a:lnTo>
                    <a:lnTo>
                      <a:pt x="132" y="473"/>
                    </a:lnTo>
                    <a:lnTo>
                      <a:pt x="131" y="473"/>
                    </a:lnTo>
                    <a:lnTo>
                      <a:pt x="131" y="475"/>
                    </a:lnTo>
                    <a:lnTo>
                      <a:pt x="130" y="475"/>
                    </a:lnTo>
                    <a:lnTo>
                      <a:pt x="130" y="472"/>
                    </a:lnTo>
                    <a:lnTo>
                      <a:pt x="128" y="472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6" y="473"/>
                    </a:lnTo>
                    <a:lnTo>
                      <a:pt x="125" y="475"/>
                    </a:lnTo>
                    <a:lnTo>
                      <a:pt x="125" y="476"/>
                    </a:lnTo>
                    <a:lnTo>
                      <a:pt x="125" y="477"/>
                    </a:lnTo>
                    <a:lnTo>
                      <a:pt x="121" y="476"/>
                    </a:lnTo>
                    <a:lnTo>
                      <a:pt x="118" y="475"/>
                    </a:lnTo>
                    <a:lnTo>
                      <a:pt x="118" y="473"/>
                    </a:lnTo>
                    <a:lnTo>
                      <a:pt x="117" y="472"/>
                    </a:lnTo>
                    <a:lnTo>
                      <a:pt x="114" y="475"/>
                    </a:lnTo>
                    <a:lnTo>
                      <a:pt x="114" y="478"/>
                    </a:lnTo>
                    <a:lnTo>
                      <a:pt x="113" y="478"/>
                    </a:lnTo>
                    <a:lnTo>
                      <a:pt x="111" y="480"/>
                    </a:lnTo>
                    <a:lnTo>
                      <a:pt x="111" y="478"/>
                    </a:lnTo>
                    <a:lnTo>
                      <a:pt x="107" y="479"/>
                    </a:lnTo>
                    <a:lnTo>
                      <a:pt x="107" y="478"/>
                    </a:lnTo>
                    <a:lnTo>
                      <a:pt x="105" y="478"/>
                    </a:lnTo>
                    <a:lnTo>
                      <a:pt x="105" y="476"/>
                    </a:lnTo>
                    <a:lnTo>
                      <a:pt x="104" y="475"/>
                    </a:lnTo>
                    <a:lnTo>
                      <a:pt x="103" y="476"/>
                    </a:lnTo>
                    <a:lnTo>
                      <a:pt x="100" y="476"/>
                    </a:lnTo>
                    <a:lnTo>
                      <a:pt x="102" y="475"/>
                    </a:lnTo>
                    <a:lnTo>
                      <a:pt x="102" y="473"/>
                    </a:lnTo>
                    <a:lnTo>
                      <a:pt x="104" y="472"/>
                    </a:lnTo>
                    <a:lnTo>
                      <a:pt x="100" y="472"/>
                    </a:lnTo>
                    <a:lnTo>
                      <a:pt x="100" y="473"/>
                    </a:lnTo>
                    <a:lnTo>
                      <a:pt x="98" y="472"/>
                    </a:lnTo>
                    <a:lnTo>
                      <a:pt x="98" y="470"/>
                    </a:lnTo>
                    <a:lnTo>
                      <a:pt x="98" y="468"/>
                    </a:lnTo>
                    <a:lnTo>
                      <a:pt x="95" y="465"/>
                    </a:lnTo>
                    <a:lnTo>
                      <a:pt x="93" y="466"/>
                    </a:lnTo>
                    <a:lnTo>
                      <a:pt x="93" y="467"/>
                    </a:lnTo>
                    <a:lnTo>
                      <a:pt x="94" y="468"/>
                    </a:lnTo>
                    <a:lnTo>
                      <a:pt x="92" y="468"/>
                    </a:lnTo>
                    <a:lnTo>
                      <a:pt x="90" y="471"/>
                    </a:lnTo>
                    <a:lnTo>
                      <a:pt x="89" y="471"/>
                    </a:lnTo>
                    <a:lnTo>
                      <a:pt x="87" y="472"/>
                    </a:lnTo>
                    <a:lnTo>
                      <a:pt x="87" y="471"/>
                    </a:lnTo>
                    <a:lnTo>
                      <a:pt x="87" y="470"/>
                    </a:lnTo>
                    <a:lnTo>
                      <a:pt x="86" y="471"/>
                    </a:lnTo>
                    <a:lnTo>
                      <a:pt x="85" y="471"/>
                    </a:lnTo>
                    <a:lnTo>
                      <a:pt x="85" y="467"/>
                    </a:lnTo>
                    <a:lnTo>
                      <a:pt x="85" y="468"/>
                    </a:lnTo>
                    <a:lnTo>
                      <a:pt x="84" y="467"/>
                    </a:lnTo>
                    <a:lnTo>
                      <a:pt x="84" y="463"/>
                    </a:lnTo>
                    <a:lnTo>
                      <a:pt x="82" y="463"/>
                    </a:lnTo>
                    <a:lnTo>
                      <a:pt x="83" y="464"/>
                    </a:lnTo>
                    <a:lnTo>
                      <a:pt x="81" y="464"/>
                    </a:lnTo>
                    <a:lnTo>
                      <a:pt x="81" y="467"/>
                    </a:lnTo>
                    <a:lnTo>
                      <a:pt x="79" y="467"/>
                    </a:lnTo>
                    <a:lnTo>
                      <a:pt x="79" y="468"/>
                    </a:lnTo>
                    <a:lnTo>
                      <a:pt x="76" y="466"/>
                    </a:lnTo>
                    <a:lnTo>
                      <a:pt x="74" y="465"/>
                    </a:lnTo>
                    <a:lnTo>
                      <a:pt x="72" y="469"/>
                    </a:lnTo>
                    <a:lnTo>
                      <a:pt x="71" y="469"/>
                    </a:lnTo>
                    <a:lnTo>
                      <a:pt x="68" y="468"/>
                    </a:lnTo>
                    <a:lnTo>
                      <a:pt x="67" y="468"/>
                    </a:lnTo>
                    <a:lnTo>
                      <a:pt x="68" y="465"/>
                    </a:lnTo>
                    <a:lnTo>
                      <a:pt x="68" y="464"/>
                    </a:lnTo>
                    <a:lnTo>
                      <a:pt x="69" y="459"/>
                    </a:lnTo>
                    <a:lnTo>
                      <a:pt x="70" y="456"/>
                    </a:lnTo>
                    <a:lnTo>
                      <a:pt x="68" y="455"/>
                    </a:lnTo>
                    <a:lnTo>
                      <a:pt x="69" y="452"/>
                    </a:lnTo>
                    <a:lnTo>
                      <a:pt x="65" y="448"/>
                    </a:lnTo>
                    <a:lnTo>
                      <a:pt x="64" y="448"/>
                    </a:lnTo>
                    <a:lnTo>
                      <a:pt x="61" y="452"/>
                    </a:lnTo>
                    <a:lnTo>
                      <a:pt x="61" y="451"/>
                    </a:lnTo>
                    <a:lnTo>
                      <a:pt x="63" y="450"/>
                    </a:lnTo>
                    <a:lnTo>
                      <a:pt x="64" y="445"/>
                    </a:lnTo>
                    <a:lnTo>
                      <a:pt x="63" y="444"/>
                    </a:lnTo>
                    <a:lnTo>
                      <a:pt x="63" y="443"/>
                    </a:lnTo>
                    <a:lnTo>
                      <a:pt x="65" y="437"/>
                    </a:lnTo>
                    <a:lnTo>
                      <a:pt x="64" y="433"/>
                    </a:lnTo>
                    <a:lnTo>
                      <a:pt x="66" y="431"/>
                    </a:lnTo>
                    <a:lnTo>
                      <a:pt x="68" y="428"/>
                    </a:lnTo>
                    <a:lnTo>
                      <a:pt x="68" y="421"/>
                    </a:lnTo>
                    <a:lnTo>
                      <a:pt x="69" y="420"/>
                    </a:lnTo>
                    <a:lnTo>
                      <a:pt x="70" y="417"/>
                    </a:lnTo>
                    <a:lnTo>
                      <a:pt x="69" y="415"/>
                    </a:lnTo>
                    <a:lnTo>
                      <a:pt x="67" y="416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3" y="411"/>
                    </a:lnTo>
                    <a:lnTo>
                      <a:pt x="61" y="412"/>
                    </a:lnTo>
                    <a:lnTo>
                      <a:pt x="58" y="411"/>
                    </a:lnTo>
                    <a:lnTo>
                      <a:pt x="58" y="409"/>
                    </a:lnTo>
                    <a:lnTo>
                      <a:pt x="60" y="409"/>
                    </a:lnTo>
                    <a:lnTo>
                      <a:pt x="60" y="408"/>
                    </a:lnTo>
                    <a:lnTo>
                      <a:pt x="57" y="407"/>
                    </a:lnTo>
                    <a:lnTo>
                      <a:pt x="57" y="406"/>
                    </a:lnTo>
                    <a:lnTo>
                      <a:pt x="55" y="406"/>
                    </a:lnTo>
                    <a:lnTo>
                      <a:pt x="53" y="405"/>
                    </a:lnTo>
                    <a:lnTo>
                      <a:pt x="52" y="405"/>
                    </a:lnTo>
                    <a:lnTo>
                      <a:pt x="52" y="402"/>
                    </a:lnTo>
                    <a:lnTo>
                      <a:pt x="50" y="401"/>
                    </a:lnTo>
                    <a:lnTo>
                      <a:pt x="53" y="402"/>
                    </a:lnTo>
                    <a:lnTo>
                      <a:pt x="56" y="405"/>
                    </a:lnTo>
                    <a:lnTo>
                      <a:pt x="59" y="405"/>
                    </a:lnTo>
                    <a:lnTo>
                      <a:pt x="60" y="404"/>
                    </a:lnTo>
                    <a:lnTo>
                      <a:pt x="61" y="404"/>
                    </a:lnTo>
                    <a:lnTo>
                      <a:pt x="63" y="403"/>
                    </a:lnTo>
                    <a:lnTo>
                      <a:pt x="61" y="403"/>
                    </a:lnTo>
                    <a:lnTo>
                      <a:pt x="60" y="397"/>
                    </a:lnTo>
                    <a:lnTo>
                      <a:pt x="56" y="396"/>
                    </a:lnTo>
                    <a:lnTo>
                      <a:pt x="55" y="394"/>
                    </a:lnTo>
                    <a:lnTo>
                      <a:pt x="56" y="392"/>
                    </a:lnTo>
                    <a:lnTo>
                      <a:pt x="55" y="391"/>
                    </a:lnTo>
                    <a:lnTo>
                      <a:pt x="56" y="390"/>
                    </a:lnTo>
                    <a:lnTo>
                      <a:pt x="57" y="391"/>
                    </a:lnTo>
                    <a:lnTo>
                      <a:pt x="57" y="392"/>
                    </a:lnTo>
                    <a:lnTo>
                      <a:pt x="58" y="391"/>
                    </a:lnTo>
                    <a:lnTo>
                      <a:pt x="59" y="391"/>
                    </a:lnTo>
                    <a:lnTo>
                      <a:pt x="60" y="391"/>
                    </a:lnTo>
                    <a:lnTo>
                      <a:pt x="63" y="390"/>
                    </a:lnTo>
                    <a:lnTo>
                      <a:pt x="64" y="391"/>
                    </a:lnTo>
                    <a:lnTo>
                      <a:pt x="67" y="388"/>
                    </a:lnTo>
                    <a:lnTo>
                      <a:pt x="65" y="388"/>
                    </a:lnTo>
                    <a:lnTo>
                      <a:pt x="65" y="386"/>
                    </a:lnTo>
                    <a:lnTo>
                      <a:pt x="63" y="386"/>
                    </a:lnTo>
                    <a:lnTo>
                      <a:pt x="62" y="385"/>
                    </a:lnTo>
                    <a:lnTo>
                      <a:pt x="60" y="386"/>
                    </a:lnTo>
                    <a:lnTo>
                      <a:pt x="61" y="384"/>
                    </a:lnTo>
                    <a:lnTo>
                      <a:pt x="60" y="384"/>
                    </a:lnTo>
                    <a:lnTo>
                      <a:pt x="58" y="385"/>
                    </a:lnTo>
                    <a:lnTo>
                      <a:pt x="58" y="384"/>
                    </a:lnTo>
                    <a:lnTo>
                      <a:pt x="57" y="384"/>
                    </a:lnTo>
                    <a:lnTo>
                      <a:pt x="56" y="386"/>
                    </a:lnTo>
                    <a:lnTo>
                      <a:pt x="55" y="386"/>
                    </a:lnTo>
                    <a:lnTo>
                      <a:pt x="55" y="388"/>
                    </a:lnTo>
                    <a:lnTo>
                      <a:pt x="53" y="387"/>
                    </a:lnTo>
                    <a:lnTo>
                      <a:pt x="52" y="383"/>
                    </a:lnTo>
                    <a:lnTo>
                      <a:pt x="53" y="384"/>
                    </a:lnTo>
                    <a:lnTo>
                      <a:pt x="53" y="383"/>
                    </a:lnTo>
                    <a:lnTo>
                      <a:pt x="52" y="382"/>
                    </a:lnTo>
                    <a:lnTo>
                      <a:pt x="54" y="380"/>
                    </a:lnTo>
                    <a:lnTo>
                      <a:pt x="53" y="378"/>
                    </a:lnTo>
                    <a:lnTo>
                      <a:pt x="54" y="376"/>
                    </a:lnTo>
                    <a:lnTo>
                      <a:pt x="58" y="374"/>
                    </a:lnTo>
                    <a:lnTo>
                      <a:pt x="61" y="368"/>
                    </a:lnTo>
                    <a:lnTo>
                      <a:pt x="71" y="365"/>
                    </a:lnTo>
                    <a:lnTo>
                      <a:pt x="73" y="364"/>
                    </a:lnTo>
                    <a:lnTo>
                      <a:pt x="75" y="364"/>
                    </a:lnTo>
                    <a:lnTo>
                      <a:pt x="74" y="364"/>
                    </a:lnTo>
                    <a:lnTo>
                      <a:pt x="74" y="367"/>
                    </a:lnTo>
                    <a:lnTo>
                      <a:pt x="76" y="368"/>
                    </a:lnTo>
                    <a:lnTo>
                      <a:pt x="77" y="370"/>
                    </a:lnTo>
                    <a:lnTo>
                      <a:pt x="77" y="371"/>
                    </a:lnTo>
                    <a:lnTo>
                      <a:pt x="79" y="371"/>
                    </a:lnTo>
                    <a:lnTo>
                      <a:pt x="80" y="371"/>
                    </a:lnTo>
                    <a:lnTo>
                      <a:pt x="81" y="369"/>
                    </a:lnTo>
                    <a:lnTo>
                      <a:pt x="81" y="368"/>
                    </a:lnTo>
                    <a:lnTo>
                      <a:pt x="82" y="367"/>
                    </a:lnTo>
                    <a:lnTo>
                      <a:pt x="82" y="365"/>
                    </a:lnTo>
                    <a:lnTo>
                      <a:pt x="84" y="364"/>
                    </a:lnTo>
                    <a:lnTo>
                      <a:pt x="85" y="361"/>
                    </a:lnTo>
                    <a:lnTo>
                      <a:pt x="86" y="361"/>
                    </a:lnTo>
                    <a:lnTo>
                      <a:pt x="89" y="361"/>
                    </a:lnTo>
                    <a:lnTo>
                      <a:pt x="89" y="360"/>
                    </a:lnTo>
                    <a:lnTo>
                      <a:pt x="90" y="360"/>
                    </a:lnTo>
                    <a:lnTo>
                      <a:pt x="91" y="360"/>
                    </a:lnTo>
                    <a:lnTo>
                      <a:pt x="93" y="358"/>
                    </a:lnTo>
                    <a:lnTo>
                      <a:pt x="93" y="359"/>
                    </a:lnTo>
                    <a:lnTo>
                      <a:pt x="95" y="356"/>
                    </a:lnTo>
                    <a:lnTo>
                      <a:pt x="95" y="354"/>
                    </a:lnTo>
                    <a:lnTo>
                      <a:pt x="93" y="353"/>
                    </a:lnTo>
                    <a:lnTo>
                      <a:pt x="92" y="352"/>
                    </a:lnTo>
                    <a:lnTo>
                      <a:pt x="91" y="351"/>
                    </a:lnTo>
                    <a:lnTo>
                      <a:pt x="90" y="352"/>
                    </a:lnTo>
                    <a:lnTo>
                      <a:pt x="89" y="352"/>
                    </a:lnTo>
                    <a:lnTo>
                      <a:pt x="87" y="354"/>
                    </a:lnTo>
                    <a:lnTo>
                      <a:pt x="86" y="353"/>
                    </a:lnTo>
                    <a:lnTo>
                      <a:pt x="87" y="350"/>
                    </a:lnTo>
                    <a:lnTo>
                      <a:pt x="90" y="349"/>
                    </a:lnTo>
                    <a:lnTo>
                      <a:pt x="92" y="344"/>
                    </a:lnTo>
                    <a:lnTo>
                      <a:pt x="92" y="341"/>
                    </a:lnTo>
                    <a:lnTo>
                      <a:pt x="91" y="339"/>
                    </a:lnTo>
                    <a:lnTo>
                      <a:pt x="91" y="338"/>
                    </a:lnTo>
                    <a:lnTo>
                      <a:pt x="90" y="335"/>
                    </a:lnTo>
                    <a:lnTo>
                      <a:pt x="91" y="333"/>
                    </a:lnTo>
                    <a:lnTo>
                      <a:pt x="95" y="333"/>
                    </a:lnTo>
                    <a:lnTo>
                      <a:pt x="95" y="331"/>
                    </a:lnTo>
                    <a:lnTo>
                      <a:pt x="97" y="330"/>
                    </a:lnTo>
                    <a:lnTo>
                      <a:pt x="96" y="330"/>
                    </a:lnTo>
                    <a:lnTo>
                      <a:pt x="97" y="326"/>
                    </a:lnTo>
                    <a:lnTo>
                      <a:pt x="95" y="324"/>
                    </a:lnTo>
                    <a:lnTo>
                      <a:pt x="95" y="321"/>
                    </a:lnTo>
                    <a:lnTo>
                      <a:pt x="98" y="318"/>
                    </a:lnTo>
                    <a:lnTo>
                      <a:pt x="97" y="316"/>
                    </a:lnTo>
                    <a:lnTo>
                      <a:pt x="96" y="314"/>
                    </a:lnTo>
                    <a:lnTo>
                      <a:pt x="97" y="313"/>
                    </a:lnTo>
                    <a:lnTo>
                      <a:pt x="98" y="314"/>
                    </a:lnTo>
                    <a:lnTo>
                      <a:pt x="100" y="310"/>
                    </a:lnTo>
                    <a:lnTo>
                      <a:pt x="99" y="308"/>
                    </a:lnTo>
                    <a:lnTo>
                      <a:pt x="100" y="308"/>
                    </a:lnTo>
                    <a:lnTo>
                      <a:pt x="100" y="304"/>
                    </a:lnTo>
                    <a:lnTo>
                      <a:pt x="101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4" y="304"/>
                    </a:lnTo>
                    <a:lnTo>
                      <a:pt x="105" y="304"/>
                    </a:lnTo>
                    <a:lnTo>
                      <a:pt x="106" y="304"/>
                    </a:lnTo>
                    <a:lnTo>
                      <a:pt x="106" y="306"/>
                    </a:lnTo>
                    <a:lnTo>
                      <a:pt x="107" y="305"/>
                    </a:lnTo>
                    <a:lnTo>
                      <a:pt x="107" y="299"/>
                    </a:lnTo>
                    <a:lnTo>
                      <a:pt x="107" y="293"/>
                    </a:lnTo>
                    <a:lnTo>
                      <a:pt x="106" y="291"/>
                    </a:lnTo>
                    <a:lnTo>
                      <a:pt x="107" y="289"/>
                    </a:lnTo>
                    <a:lnTo>
                      <a:pt x="107" y="287"/>
                    </a:lnTo>
                    <a:lnTo>
                      <a:pt x="106" y="287"/>
                    </a:lnTo>
                    <a:lnTo>
                      <a:pt x="105" y="286"/>
                    </a:lnTo>
                    <a:lnTo>
                      <a:pt x="106" y="284"/>
                    </a:lnTo>
                    <a:lnTo>
                      <a:pt x="107" y="283"/>
                    </a:lnTo>
                    <a:lnTo>
                      <a:pt x="107" y="280"/>
                    </a:lnTo>
                    <a:lnTo>
                      <a:pt x="106" y="280"/>
                    </a:lnTo>
                    <a:lnTo>
                      <a:pt x="107" y="278"/>
                    </a:lnTo>
                    <a:lnTo>
                      <a:pt x="110" y="277"/>
                    </a:lnTo>
                    <a:lnTo>
                      <a:pt x="106" y="277"/>
                    </a:lnTo>
                    <a:lnTo>
                      <a:pt x="104" y="276"/>
                    </a:lnTo>
                    <a:lnTo>
                      <a:pt x="100" y="272"/>
                    </a:lnTo>
                    <a:lnTo>
                      <a:pt x="98" y="269"/>
                    </a:lnTo>
                    <a:lnTo>
                      <a:pt x="93" y="268"/>
                    </a:lnTo>
                    <a:lnTo>
                      <a:pt x="92" y="267"/>
                    </a:lnTo>
                    <a:lnTo>
                      <a:pt x="89" y="268"/>
                    </a:lnTo>
                    <a:lnTo>
                      <a:pt x="87" y="267"/>
                    </a:lnTo>
                    <a:lnTo>
                      <a:pt x="87" y="266"/>
                    </a:lnTo>
                    <a:lnTo>
                      <a:pt x="89" y="267"/>
                    </a:lnTo>
                    <a:lnTo>
                      <a:pt x="90" y="262"/>
                    </a:lnTo>
                    <a:lnTo>
                      <a:pt x="90" y="260"/>
                    </a:lnTo>
                    <a:lnTo>
                      <a:pt x="90" y="259"/>
                    </a:lnTo>
                    <a:lnTo>
                      <a:pt x="90" y="256"/>
                    </a:lnTo>
                    <a:lnTo>
                      <a:pt x="87" y="256"/>
                    </a:lnTo>
                    <a:lnTo>
                      <a:pt x="85" y="255"/>
                    </a:lnTo>
                    <a:lnTo>
                      <a:pt x="83" y="254"/>
                    </a:lnTo>
                    <a:lnTo>
                      <a:pt x="79" y="254"/>
                    </a:lnTo>
                    <a:lnTo>
                      <a:pt x="77" y="255"/>
                    </a:lnTo>
                    <a:lnTo>
                      <a:pt x="77" y="252"/>
                    </a:lnTo>
                    <a:lnTo>
                      <a:pt x="76" y="248"/>
                    </a:lnTo>
                    <a:lnTo>
                      <a:pt x="74" y="247"/>
                    </a:lnTo>
                    <a:lnTo>
                      <a:pt x="73" y="248"/>
                    </a:lnTo>
                    <a:lnTo>
                      <a:pt x="73" y="247"/>
                    </a:lnTo>
                    <a:lnTo>
                      <a:pt x="71" y="244"/>
                    </a:lnTo>
                    <a:lnTo>
                      <a:pt x="70" y="244"/>
                    </a:lnTo>
                    <a:lnTo>
                      <a:pt x="70" y="238"/>
                    </a:lnTo>
                    <a:lnTo>
                      <a:pt x="68" y="237"/>
                    </a:lnTo>
                    <a:lnTo>
                      <a:pt x="67" y="235"/>
                    </a:lnTo>
                    <a:lnTo>
                      <a:pt x="66" y="235"/>
                    </a:lnTo>
                    <a:lnTo>
                      <a:pt x="65" y="234"/>
                    </a:lnTo>
                    <a:lnTo>
                      <a:pt x="63" y="236"/>
                    </a:lnTo>
                    <a:lnTo>
                      <a:pt x="62" y="236"/>
                    </a:lnTo>
                    <a:lnTo>
                      <a:pt x="61" y="235"/>
                    </a:lnTo>
                    <a:lnTo>
                      <a:pt x="60" y="236"/>
                    </a:lnTo>
                    <a:lnTo>
                      <a:pt x="61" y="237"/>
                    </a:lnTo>
                    <a:lnTo>
                      <a:pt x="53" y="237"/>
                    </a:lnTo>
                    <a:lnTo>
                      <a:pt x="52" y="236"/>
                    </a:lnTo>
                    <a:lnTo>
                      <a:pt x="43" y="234"/>
                    </a:lnTo>
                    <a:lnTo>
                      <a:pt x="43" y="233"/>
                    </a:lnTo>
                    <a:lnTo>
                      <a:pt x="42" y="232"/>
                    </a:lnTo>
                    <a:lnTo>
                      <a:pt x="42" y="231"/>
                    </a:lnTo>
                    <a:lnTo>
                      <a:pt x="40" y="229"/>
                    </a:lnTo>
                    <a:lnTo>
                      <a:pt x="41" y="228"/>
                    </a:lnTo>
                    <a:lnTo>
                      <a:pt x="40" y="227"/>
                    </a:lnTo>
                    <a:lnTo>
                      <a:pt x="38" y="226"/>
                    </a:lnTo>
                    <a:lnTo>
                      <a:pt x="37" y="224"/>
                    </a:lnTo>
                    <a:lnTo>
                      <a:pt x="36" y="224"/>
                    </a:lnTo>
                    <a:lnTo>
                      <a:pt x="35" y="223"/>
                    </a:lnTo>
                    <a:lnTo>
                      <a:pt x="32" y="223"/>
                    </a:lnTo>
                    <a:lnTo>
                      <a:pt x="31" y="220"/>
                    </a:lnTo>
                    <a:lnTo>
                      <a:pt x="29" y="220"/>
                    </a:lnTo>
                    <a:lnTo>
                      <a:pt x="27" y="219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5"/>
                    </a:lnTo>
                    <a:lnTo>
                      <a:pt x="34" y="215"/>
                    </a:lnTo>
                    <a:lnTo>
                      <a:pt x="37" y="217"/>
                    </a:lnTo>
                    <a:lnTo>
                      <a:pt x="37" y="216"/>
                    </a:lnTo>
                    <a:lnTo>
                      <a:pt x="35" y="215"/>
                    </a:lnTo>
                    <a:lnTo>
                      <a:pt x="34" y="215"/>
                    </a:lnTo>
                    <a:lnTo>
                      <a:pt x="33" y="210"/>
                    </a:lnTo>
                    <a:lnTo>
                      <a:pt x="32" y="210"/>
                    </a:lnTo>
                    <a:lnTo>
                      <a:pt x="27" y="210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22" y="209"/>
                    </a:lnTo>
                    <a:lnTo>
                      <a:pt x="21" y="209"/>
                    </a:lnTo>
                    <a:lnTo>
                      <a:pt x="20" y="207"/>
                    </a:lnTo>
                    <a:lnTo>
                      <a:pt x="19" y="209"/>
                    </a:lnTo>
                    <a:lnTo>
                      <a:pt x="13" y="207"/>
                    </a:lnTo>
                    <a:lnTo>
                      <a:pt x="12" y="210"/>
                    </a:lnTo>
                    <a:lnTo>
                      <a:pt x="11" y="210"/>
                    </a:lnTo>
                    <a:lnTo>
                      <a:pt x="9" y="212"/>
                    </a:lnTo>
                    <a:lnTo>
                      <a:pt x="7" y="212"/>
                    </a:lnTo>
                    <a:lnTo>
                      <a:pt x="7" y="209"/>
                    </a:lnTo>
                    <a:lnTo>
                      <a:pt x="3" y="209"/>
                    </a:lnTo>
                    <a:lnTo>
                      <a:pt x="1" y="209"/>
                    </a:lnTo>
                    <a:lnTo>
                      <a:pt x="0" y="209"/>
                    </a:lnTo>
                    <a:lnTo>
                      <a:pt x="0" y="207"/>
                    </a:lnTo>
                    <a:lnTo>
                      <a:pt x="2" y="205"/>
                    </a:lnTo>
                    <a:lnTo>
                      <a:pt x="2" y="203"/>
                    </a:lnTo>
                    <a:lnTo>
                      <a:pt x="4" y="202"/>
                    </a:lnTo>
                    <a:lnTo>
                      <a:pt x="5" y="202"/>
                    </a:lnTo>
                    <a:lnTo>
                      <a:pt x="4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8" y="197"/>
                    </a:lnTo>
                    <a:lnTo>
                      <a:pt x="11" y="197"/>
                    </a:lnTo>
                    <a:lnTo>
                      <a:pt x="11" y="193"/>
                    </a:lnTo>
                    <a:lnTo>
                      <a:pt x="11" y="190"/>
                    </a:lnTo>
                    <a:lnTo>
                      <a:pt x="9" y="189"/>
                    </a:lnTo>
                    <a:lnTo>
                      <a:pt x="8" y="186"/>
                    </a:lnTo>
                    <a:lnTo>
                      <a:pt x="6" y="188"/>
                    </a:lnTo>
                    <a:lnTo>
                      <a:pt x="6" y="186"/>
                    </a:lnTo>
                    <a:lnTo>
                      <a:pt x="6" y="183"/>
                    </a:lnTo>
                    <a:lnTo>
                      <a:pt x="7" y="180"/>
                    </a:lnTo>
                    <a:lnTo>
                      <a:pt x="6" y="179"/>
                    </a:lnTo>
                    <a:lnTo>
                      <a:pt x="8" y="178"/>
                    </a:lnTo>
                    <a:lnTo>
                      <a:pt x="9" y="179"/>
                    </a:lnTo>
                    <a:lnTo>
                      <a:pt x="11" y="177"/>
                    </a:lnTo>
                    <a:lnTo>
                      <a:pt x="12" y="177"/>
                    </a:lnTo>
                    <a:lnTo>
                      <a:pt x="12" y="175"/>
                    </a:lnTo>
                    <a:lnTo>
                      <a:pt x="16" y="175"/>
                    </a:lnTo>
                    <a:lnTo>
                      <a:pt x="16" y="176"/>
                    </a:lnTo>
                    <a:lnTo>
                      <a:pt x="20" y="178"/>
                    </a:lnTo>
                    <a:lnTo>
                      <a:pt x="22" y="178"/>
                    </a:lnTo>
                    <a:lnTo>
                      <a:pt x="22" y="176"/>
                    </a:lnTo>
                    <a:lnTo>
                      <a:pt x="22" y="175"/>
                    </a:lnTo>
                    <a:lnTo>
                      <a:pt x="22" y="174"/>
                    </a:lnTo>
                    <a:lnTo>
                      <a:pt x="23" y="175"/>
                    </a:lnTo>
                    <a:lnTo>
                      <a:pt x="25" y="175"/>
                    </a:lnTo>
                    <a:lnTo>
                      <a:pt x="25" y="171"/>
                    </a:lnTo>
                    <a:lnTo>
                      <a:pt x="25" y="170"/>
                    </a:lnTo>
                    <a:lnTo>
                      <a:pt x="25" y="166"/>
                    </a:lnTo>
                    <a:lnTo>
                      <a:pt x="25" y="167"/>
                    </a:lnTo>
                    <a:lnTo>
                      <a:pt x="26" y="167"/>
                    </a:lnTo>
                    <a:lnTo>
                      <a:pt x="27" y="169"/>
                    </a:lnTo>
                    <a:lnTo>
                      <a:pt x="28" y="169"/>
                    </a:lnTo>
                    <a:lnTo>
                      <a:pt x="30" y="170"/>
                    </a:lnTo>
                    <a:lnTo>
                      <a:pt x="31" y="168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29" y="162"/>
                    </a:lnTo>
                    <a:lnTo>
                      <a:pt x="33" y="162"/>
                    </a:lnTo>
                    <a:lnTo>
                      <a:pt x="33" y="159"/>
                    </a:lnTo>
                    <a:lnTo>
                      <a:pt x="32" y="155"/>
                    </a:lnTo>
                    <a:lnTo>
                      <a:pt x="33" y="154"/>
                    </a:lnTo>
                    <a:lnTo>
                      <a:pt x="33" y="150"/>
                    </a:lnTo>
                    <a:lnTo>
                      <a:pt x="34" y="152"/>
                    </a:lnTo>
                    <a:lnTo>
                      <a:pt x="37" y="152"/>
                    </a:lnTo>
                    <a:lnTo>
                      <a:pt x="38" y="151"/>
                    </a:lnTo>
                    <a:lnTo>
                      <a:pt x="38" y="150"/>
                    </a:lnTo>
                    <a:lnTo>
                      <a:pt x="40" y="150"/>
                    </a:lnTo>
                    <a:lnTo>
                      <a:pt x="40" y="149"/>
                    </a:lnTo>
                    <a:lnTo>
                      <a:pt x="41" y="149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43" y="146"/>
                    </a:lnTo>
                    <a:lnTo>
                      <a:pt x="43" y="145"/>
                    </a:lnTo>
                    <a:lnTo>
                      <a:pt x="46" y="145"/>
                    </a:lnTo>
                    <a:lnTo>
                      <a:pt x="47" y="142"/>
                    </a:lnTo>
                    <a:lnTo>
                      <a:pt x="50" y="142"/>
                    </a:lnTo>
                    <a:lnTo>
                      <a:pt x="52" y="142"/>
                    </a:lnTo>
                    <a:lnTo>
                      <a:pt x="52" y="141"/>
                    </a:lnTo>
                    <a:lnTo>
                      <a:pt x="53" y="141"/>
                    </a:lnTo>
                    <a:lnTo>
                      <a:pt x="55" y="145"/>
                    </a:lnTo>
                    <a:lnTo>
                      <a:pt x="57" y="146"/>
                    </a:lnTo>
                    <a:lnTo>
                      <a:pt x="58" y="145"/>
                    </a:lnTo>
                    <a:lnTo>
                      <a:pt x="61" y="145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71" y="140"/>
                    </a:lnTo>
                    <a:lnTo>
                      <a:pt x="70" y="137"/>
                    </a:lnTo>
                    <a:lnTo>
                      <a:pt x="73" y="138"/>
                    </a:lnTo>
                    <a:lnTo>
                      <a:pt x="74" y="137"/>
                    </a:lnTo>
                    <a:lnTo>
                      <a:pt x="76" y="134"/>
                    </a:lnTo>
                    <a:lnTo>
                      <a:pt x="76" y="133"/>
                    </a:lnTo>
                    <a:lnTo>
                      <a:pt x="78" y="133"/>
                    </a:lnTo>
                    <a:lnTo>
                      <a:pt x="80" y="132"/>
                    </a:lnTo>
                    <a:lnTo>
                      <a:pt x="85" y="126"/>
                    </a:lnTo>
                    <a:lnTo>
                      <a:pt x="86" y="127"/>
                    </a:lnTo>
                    <a:lnTo>
                      <a:pt x="85" y="128"/>
                    </a:lnTo>
                    <a:lnTo>
                      <a:pt x="85" y="133"/>
                    </a:lnTo>
                    <a:lnTo>
                      <a:pt x="89" y="132"/>
                    </a:lnTo>
                    <a:lnTo>
                      <a:pt x="90" y="133"/>
                    </a:lnTo>
                    <a:lnTo>
                      <a:pt x="92" y="135"/>
                    </a:lnTo>
                    <a:lnTo>
                      <a:pt x="93" y="135"/>
                    </a:lnTo>
                    <a:lnTo>
                      <a:pt x="97" y="133"/>
                    </a:lnTo>
                    <a:lnTo>
                      <a:pt x="104" y="135"/>
                    </a:lnTo>
                    <a:lnTo>
                      <a:pt x="106" y="136"/>
                    </a:lnTo>
                    <a:lnTo>
                      <a:pt x="107" y="133"/>
                    </a:lnTo>
                    <a:lnTo>
                      <a:pt x="108" y="131"/>
                    </a:lnTo>
                    <a:lnTo>
                      <a:pt x="109" y="132"/>
                    </a:lnTo>
                    <a:lnTo>
                      <a:pt x="110" y="129"/>
                    </a:lnTo>
                    <a:lnTo>
                      <a:pt x="111" y="130"/>
                    </a:lnTo>
                    <a:lnTo>
                      <a:pt x="110" y="133"/>
                    </a:lnTo>
                    <a:lnTo>
                      <a:pt x="112" y="133"/>
                    </a:lnTo>
                    <a:lnTo>
                      <a:pt x="113" y="131"/>
                    </a:lnTo>
                    <a:lnTo>
                      <a:pt x="114" y="131"/>
                    </a:lnTo>
                    <a:lnTo>
                      <a:pt x="118" y="127"/>
                    </a:lnTo>
                    <a:lnTo>
                      <a:pt x="120" y="124"/>
                    </a:lnTo>
                    <a:lnTo>
                      <a:pt x="122" y="122"/>
                    </a:lnTo>
                    <a:lnTo>
                      <a:pt x="123" y="122"/>
                    </a:lnTo>
                    <a:lnTo>
                      <a:pt x="125" y="120"/>
                    </a:lnTo>
                    <a:lnTo>
                      <a:pt x="126" y="120"/>
                    </a:lnTo>
                    <a:lnTo>
                      <a:pt x="128" y="123"/>
                    </a:lnTo>
                    <a:lnTo>
                      <a:pt x="128" y="122"/>
                    </a:lnTo>
                    <a:lnTo>
                      <a:pt x="129" y="122"/>
                    </a:lnTo>
                    <a:lnTo>
                      <a:pt x="131" y="128"/>
                    </a:lnTo>
                    <a:lnTo>
                      <a:pt x="130" y="131"/>
                    </a:lnTo>
                    <a:lnTo>
                      <a:pt x="131" y="132"/>
                    </a:lnTo>
                    <a:lnTo>
                      <a:pt x="138" y="132"/>
                    </a:lnTo>
                    <a:lnTo>
                      <a:pt x="138" y="128"/>
                    </a:lnTo>
                    <a:lnTo>
                      <a:pt x="139" y="127"/>
                    </a:lnTo>
                    <a:lnTo>
                      <a:pt x="139" y="124"/>
                    </a:lnTo>
                    <a:lnTo>
                      <a:pt x="141" y="122"/>
                    </a:lnTo>
                    <a:lnTo>
                      <a:pt x="143" y="120"/>
                    </a:lnTo>
                    <a:lnTo>
                      <a:pt x="146" y="120"/>
                    </a:lnTo>
                    <a:lnTo>
                      <a:pt x="152" y="119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6" y="119"/>
                    </a:lnTo>
                    <a:lnTo>
                      <a:pt x="157" y="118"/>
                    </a:lnTo>
                    <a:lnTo>
                      <a:pt x="158" y="118"/>
                    </a:lnTo>
                    <a:lnTo>
                      <a:pt x="161" y="117"/>
                    </a:lnTo>
                    <a:lnTo>
                      <a:pt x="161" y="115"/>
                    </a:lnTo>
                    <a:lnTo>
                      <a:pt x="162" y="115"/>
                    </a:lnTo>
                    <a:lnTo>
                      <a:pt x="162" y="114"/>
                    </a:lnTo>
                    <a:lnTo>
                      <a:pt x="164" y="115"/>
                    </a:lnTo>
                    <a:lnTo>
                      <a:pt x="165" y="113"/>
                    </a:lnTo>
                    <a:lnTo>
                      <a:pt x="166" y="112"/>
                    </a:lnTo>
                    <a:lnTo>
                      <a:pt x="166" y="108"/>
                    </a:lnTo>
                    <a:lnTo>
                      <a:pt x="166" y="107"/>
                    </a:lnTo>
                    <a:lnTo>
                      <a:pt x="164" y="107"/>
                    </a:lnTo>
                    <a:lnTo>
                      <a:pt x="165" y="107"/>
                    </a:lnTo>
                    <a:lnTo>
                      <a:pt x="165" y="106"/>
                    </a:lnTo>
                    <a:lnTo>
                      <a:pt x="167" y="107"/>
                    </a:lnTo>
                    <a:lnTo>
                      <a:pt x="170" y="107"/>
                    </a:lnTo>
                    <a:lnTo>
                      <a:pt x="170" y="109"/>
                    </a:lnTo>
                    <a:lnTo>
                      <a:pt x="175" y="109"/>
                    </a:lnTo>
                    <a:lnTo>
                      <a:pt x="176" y="109"/>
                    </a:lnTo>
                    <a:lnTo>
                      <a:pt x="175" y="107"/>
                    </a:lnTo>
                    <a:lnTo>
                      <a:pt x="176" y="107"/>
                    </a:lnTo>
                    <a:lnTo>
                      <a:pt x="175" y="106"/>
                    </a:lnTo>
                    <a:lnTo>
                      <a:pt x="177" y="103"/>
                    </a:lnTo>
                    <a:lnTo>
                      <a:pt x="175" y="101"/>
                    </a:lnTo>
                    <a:lnTo>
                      <a:pt x="174" y="101"/>
                    </a:lnTo>
                    <a:lnTo>
                      <a:pt x="174" y="95"/>
                    </a:lnTo>
                    <a:lnTo>
                      <a:pt x="177" y="94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1" y="92"/>
                    </a:lnTo>
                    <a:lnTo>
                      <a:pt x="182" y="90"/>
                    </a:lnTo>
                    <a:lnTo>
                      <a:pt x="185" y="90"/>
                    </a:lnTo>
                    <a:lnTo>
                      <a:pt x="187" y="93"/>
                    </a:lnTo>
                    <a:lnTo>
                      <a:pt x="188" y="94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90" y="91"/>
                    </a:lnTo>
                    <a:lnTo>
                      <a:pt x="194" y="94"/>
                    </a:lnTo>
                    <a:lnTo>
                      <a:pt x="198" y="95"/>
                    </a:lnTo>
                    <a:lnTo>
                      <a:pt x="198" y="97"/>
                    </a:lnTo>
                    <a:lnTo>
                      <a:pt x="199" y="97"/>
                    </a:lnTo>
                    <a:lnTo>
                      <a:pt x="199" y="98"/>
                    </a:lnTo>
                    <a:lnTo>
                      <a:pt x="200" y="98"/>
                    </a:lnTo>
                    <a:lnTo>
                      <a:pt x="205" y="99"/>
                    </a:lnTo>
                    <a:lnTo>
                      <a:pt x="211" y="99"/>
                    </a:lnTo>
                    <a:lnTo>
                      <a:pt x="211" y="101"/>
                    </a:lnTo>
                    <a:lnTo>
                      <a:pt x="213" y="101"/>
                    </a:lnTo>
                    <a:lnTo>
                      <a:pt x="217" y="102"/>
                    </a:lnTo>
                    <a:lnTo>
                      <a:pt x="218" y="103"/>
                    </a:lnTo>
                    <a:lnTo>
                      <a:pt x="218" y="102"/>
                    </a:lnTo>
                    <a:lnTo>
                      <a:pt x="224" y="102"/>
                    </a:lnTo>
                    <a:lnTo>
                      <a:pt x="225" y="101"/>
                    </a:lnTo>
                    <a:lnTo>
                      <a:pt x="228" y="103"/>
                    </a:lnTo>
                    <a:lnTo>
                      <a:pt x="229" y="100"/>
                    </a:lnTo>
                    <a:lnTo>
                      <a:pt x="229" y="98"/>
                    </a:lnTo>
                    <a:lnTo>
                      <a:pt x="232" y="100"/>
                    </a:lnTo>
                    <a:lnTo>
                      <a:pt x="232" y="101"/>
                    </a:lnTo>
                    <a:lnTo>
                      <a:pt x="233" y="103"/>
                    </a:lnTo>
                    <a:lnTo>
                      <a:pt x="234" y="102"/>
                    </a:lnTo>
                    <a:lnTo>
                      <a:pt x="236" y="104"/>
                    </a:lnTo>
                    <a:lnTo>
                      <a:pt x="236" y="103"/>
                    </a:lnTo>
                    <a:lnTo>
                      <a:pt x="237" y="103"/>
                    </a:lnTo>
                    <a:lnTo>
                      <a:pt x="238" y="101"/>
                    </a:lnTo>
                    <a:lnTo>
                      <a:pt x="243" y="106"/>
                    </a:lnTo>
                    <a:lnTo>
                      <a:pt x="245" y="107"/>
                    </a:lnTo>
                    <a:lnTo>
                      <a:pt x="245" y="108"/>
                    </a:lnTo>
                    <a:lnTo>
                      <a:pt x="246" y="109"/>
                    </a:lnTo>
                    <a:lnTo>
                      <a:pt x="248" y="105"/>
                    </a:lnTo>
                    <a:lnTo>
                      <a:pt x="250" y="103"/>
                    </a:lnTo>
                    <a:lnTo>
                      <a:pt x="250" y="102"/>
                    </a:lnTo>
                    <a:lnTo>
                      <a:pt x="252" y="99"/>
                    </a:lnTo>
                    <a:lnTo>
                      <a:pt x="253" y="99"/>
                    </a:lnTo>
                    <a:lnTo>
                      <a:pt x="255" y="98"/>
                    </a:lnTo>
                    <a:lnTo>
                      <a:pt x="257" y="100"/>
                    </a:lnTo>
                    <a:lnTo>
                      <a:pt x="259" y="101"/>
                    </a:lnTo>
                    <a:lnTo>
                      <a:pt x="260" y="100"/>
                    </a:lnTo>
                    <a:lnTo>
                      <a:pt x="260" y="99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99"/>
                    </a:lnTo>
                    <a:lnTo>
                      <a:pt x="267" y="100"/>
                    </a:lnTo>
                    <a:lnTo>
                      <a:pt x="267" y="98"/>
                    </a:lnTo>
                    <a:lnTo>
                      <a:pt x="268" y="99"/>
                    </a:lnTo>
                    <a:lnTo>
                      <a:pt x="269" y="98"/>
                    </a:lnTo>
                    <a:lnTo>
                      <a:pt x="272" y="99"/>
                    </a:lnTo>
                    <a:lnTo>
                      <a:pt x="273" y="100"/>
                    </a:lnTo>
                    <a:lnTo>
                      <a:pt x="273" y="101"/>
                    </a:lnTo>
                    <a:lnTo>
                      <a:pt x="274" y="101"/>
                    </a:lnTo>
                    <a:lnTo>
                      <a:pt x="274" y="103"/>
                    </a:lnTo>
                    <a:lnTo>
                      <a:pt x="275" y="102"/>
                    </a:lnTo>
                    <a:lnTo>
                      <a:pt x="276" y="103"/>
                    </a:lnTo>
                    <a:lnTo>
                      <a:pt x="275" y="101"/>
                    </a:lnTo>
                    <a:lnTo>
                      <a:pt x="276" y="101"/>
                    </a:lnTo>
                    <a:lnTo>
                      <a:pt x="276" y="102"/>
                    </a:lnTo>
                    <a:lnTo>
                      <a:pt x="276" y="103"/>
                    </a:lnTo>
                    <a:lnTo>
                      <a:pt x="278" y="102"/>
                    </a:lnTo>
                    <a:lnTo>
                      <a:pt x="281" y="98"/>
                    </a:lnTo>
                    <a:lnTo>
                      <a:pt x="280" y="98"/>
                    </a:lnTo>
                    <a:lnTo>
                      <a:pt x="281" y="96"/>
                    </a:lnTo>
                    <a:lnTo>
                      <a:pt x="280" y="96"/>
                    </a:lnTo>
                    <a:lnTo>
                      <a:pt x="281" y="95"/>
                    </a:lnTo>
                    <a:lnTo>
                      <a:pt x="280" y="95"/>
                    </a:lnTo>
                    <a:lnTo>
                      <a:pt x="280" y="94"/>
                    </a:lnTo>
                    <a:lnTo>
                      <a:pt x="280" y="90"/>
                    </a:lnTo>
                    <a:lnTo>
                      <a:pt x="283" y="92"/>
                    </a:lnTo>
                    <a:lnTo>
                      <a:pt x="283" y="86"/>
                    </a:lnTo>
                    <a:lnTo>
                      <a:pt x="283" y="84"/>
                    </a:lnTo>
                    <a:lnTo>
                      <a:pt x="284" y="84"/>
                    </a:lnTo>
                    <a:lnTo>
                      <a:pt x="284" y="82"/>
                    </a:lnTo>
                    <a:lnTo>
                      <a:pt x="283" y="81"/>
                    </a:lnTo>
                    <a:lnTo>
                      <a:pt x="282" y="81"/>
                    </a:lnTo>
                    <a:lnTo>
                      <a:pt x="282" y="78"/>
                    </a:lnTo>
                    <a:lnTo>
                      <a:pt x="281" y="77"/>
                    </a:lnTo>
                    <a:lnTo>
                      <a:pt x="281" y="76"/>
                    </a:lnTo>
                    <a:lnTo>
                      <a:pt x="283" y="75"/>
                    </a:lnTo>
                    <a:lnTo>
                      <a:pt x="283" y="76"/>
                    </a:lnTo>
                    <a:lnTo>
                      <a:pt x="284" y="75"/>
                    </a:lnTo>
                    <a:lnTo>
                      <a:pt x="283" y="74"/>
                    </a:lnTo>
                    <a:lnTo>
                      <a:pt x="283" y="73"/>
                    </a:lnTo>
                    <a:lnTo>
                      <a:pt x="282" y="71"/>
                    </a:lnTo>
                    <a:lnTo>
                      <a:pt x="283" y="70"/>
                    </a:lnTo>
                    <a:lnTo>
                      <a:pt x="283" y="71"/>
                    </a:lnTo>
                    <a:lnTo>
                      <a:pt x="283" y="69"/>
                    </a:lnTo>
                    <a:lnTo>
                      <a:pt x="283" y="68"/>
                    </a:lnTo>
                    <a:lnTo>
                      <a:pt x="281" y="67"/>
                    </a:lnTo>
                    <a:lnTo>
                      <a:pt x="281" y="66"/>
                    </a:lnTo>
                    <a:lnTo>
                      <a:pt x="283" y="65"/>
                    </a:lnTo>
                    <a:lnTo>
                      <a:pt x="284" y="65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90" y="69"/>
                    </a:lnTo>
                    <a:lnTo>
                      <a:pt x="296" y="72"/>
                    </a:lnTo>
                    <a:lnTo>
                      <a:pt x="296" y="71"/>
                    </a:lnTo>
                    <a:lnTo>
                      <a:pt x="297" y="71"/>
                    </a:lnTo>
                    <a:lnTo>
                      <a:pt x="296" y="70"/>
                    </a:lnTo>
                    <a:lnTo>
                      <a:pt x="297" y="69"/>
                    </a:lnTo>
                    <a:lnTo>
                      <a:pt x="297" y="68"/>
                    </a:lnTo>
                    <a:lnTo>
                      <a:pt x="295" y="68"/>
                    </a:lnTo>
                    <a:lnTo>
                      <a:pt x="294" y="67"/>
                    </a:lnTo>
                    <a:lnTo>
                      <a:pt x="296" y="65"/>
                    </a:lnTo>
                    <a:lnTo>
                      <a:pt x="297" y="67"/>
                    </a:lnTo>
                    <a:lnTo>
                      <a:pt x="298" y="65"/>
                    </a:lnTo>
                    <a:lnTo>
                      <a:pt x="297" y="65"/>
                    </a:lnTo>
                    <a:lnTo>
                      <a:pt x="299" y="64"/>
                    </a:lnTo>
                    <a:lnTo>
                      <a:pt x="299" y="58"/>
                    </a:lnTo>
                    <a:lnTo>
                      <a:pt x="303" y="61"/>
                    </a:lnTo>
                    <a:lnTo>
                      <a:pt x="306" y="61"/>
                    </a:lnTo>
                    <a:lnTo>
                      <a:pt x="306" y="58"/>
                    </a:lnTo>
                    <a:lnTo>
                      <a:pt x="309" y="61"/>
                    </a:lnTo>
                    <a:lnTo>
                      <a:pt x="312" y="61"/>
                    </a:lnTo>
                    <a:lnTo>
                      <a:pt x="312" y="57"/>
                    </a:lnTo>
                    <a:lnTo>
                      <a:pt x="313" y="56"/>
                    </a:lnTo>
                    <a:lnTo>
                      <a:pt x="313" y="54"/>
                    </a:lnTo>
                    <a:lnTo>
                      <a:pt x="313" y="52"/>
                    </a:lnTo>
                    <a:lnTo>
                      <a:pt x="312" y="52"/>
                    </a:lnTo>
                    <a:lnTo>
                      <a:pt x="313" y="52"/>
                    </a:lnTo>
                    <a:lnTo>
                      <a:pt x="313" y="48"/>
                    </a:lnTo>
                    <a:lnTo>
                      <a:pt x="310" y="39"/>
                    </a:lnTo>
                    <a:lnTo>
                      <a:pt x="315" y="38"/>
                    </a:lnTo>
                    <a:lnTo>
                      <a:pt x="315" y="34"/>
                    </a:lnTo>
                    <a:lnTo>
                      <a:pt x="319" y="36"/>
                    </a:lnTo>
                    <a:lnTo>
                      <a:pt x="320" y="36"/>
                    </a:lnTo>
                    <a:lnTo>
                      <a:pt x="319" y="39"/>
                    </a:lnTo>
                    <a:lnTo>
                      <a:pt x="321" y="39"/>
                    </a:lnTo>
                    <a:lnTo>
                      <a:pt x="321" y="40"/>
                    </a:lnTo>
                    <a:lnTo>
                      <a:pt x="322" y="42"/>
                    </a:lnTo>
                    <a:lnTo>
                      <a:pt x="323" y="39"/>
                    </a:lnTo>
                    <a:lnTo>
                      <a:pt x="325" y="35"/>
                    </a:lnTo>
                    <a:lnTo>
                      <a:pt x="330" y="35"/>
                    </a:lnTo>
                    <a:lnTo>
                      <a:pt x="329" y="35"/>
                    </a:lnTo>
                    <a:lnTo>
                      <a:pt x="330" y="37"/>
                    </a:lnTo>
                    <a:lnTo>
                      <a:pt x="330" y="41"/>
                    </a:lnTo>
                    <a:lnTo>
                      <a:pt x="331" y="41"/>
                    </a:lnTo>
                    <a:lnTo>
                      <a:pt x="334" y="43"/>
                    </a:lnTo>
                    <a:lnTo>
                      <a:pt x="336" y="43"/>
                    </a:lnTo>
                    <a:lnTo>
                      <a:pt x="337" y="41"/>
                    </a:lnTo>
                    <a:lnTo>
                      <a:pt x="335" y="39"/>
                    </a:lnTo>
                    <a:lnTo>
                      <a:pt x="335" y="38"/>
                    </a:lnTo>
                    <a:lnTo>
                      <a:pt x="339" y="39"/>
                    </a:lnTo>
                    <a:lnTo>
                      <a:pt x="340" y="38"/>
                    </a:lnTo>
                    <a:lnTo>
                      <a:pt x="341" y="36"/>
                    </a:lnTo>
                    <a:lnTo>
                      <a:pt x="343" y="37"/>
                    </a:lnTo>
                    <a:lnTo>
                      <a:pt x="344" y="37"/>
                    </a:lnTo>
                    <a:lnTo>
                      <a:pt x="343" y="38"/>
                    </a:lnTo>
                    <a:lnTo>
                      <a:pt x="343" y="40"/>
                    </a:lnTo>
                    <a:lnTo>
                      <a:pt x="343" y="41"/>
                    </a:lnTo>
                    <a:lnTo>
                      <a:pt x="345" y="43"/>
                    </a:lnTo>
                    <a:lnTo>
                      <a:pt x="344" y="43"/>
                    </a:lnTo>
                    <a:lnTo>
                      <a:pt x="343" y="44"/>
                    </a:lnTo>
                    <a:lnTo>
                      <a:pt x="342" y="46"/>
                    </a:lnTo>
                    <a:lnTo>
                      <a:pt x="343" y="47"/>
                    </a:lnTo>
                    <a:lnTo>
                      <a:pt x="343" y="51"/>
                    </a:lnTo>
                    <a:lnTo>
                      <a:pt x="345" y="54"/>
                    </a:lnTo>
                    <a:lnTo>
                      <a:pt x="346" y="52"/>
                    </a:lnTo>
                    <a:lnTo>
                      <a:pt x="346" y="53"/>
                    </a:lnTo>
                    <a:lnTo>
                      <a:pt x="347" y="52"/>
                    </a:lnTo>
                    <a:lnTo>
                      <a:pt x="347" y="53"/>
                    </a:lnTo>
                    <a:lnTo>
                      <a:pt x="348" y="53"/>
                    </a:lnTo>
                    <a:lnTo>
                      <a:pt x="348" y="54"/>
                    </a:lnTo>
                    <a:lnTo>
                      <a:pt x="349" y="55"/>
                    </a:lnTo>
                    <a:lnTo>
                      <a:pt x="350" y="56"/>
                    </a:lnTo>
                    <a:lnTo>
                      <a:pt x="351" y="55"/>
                    </a:lnTo>
                    <a:lnTo>
                      <a:pt x="351" y="53"/>
                    </a:lnTo>
                    <a:lnTo>
                      <a:pt x="353" y="51"/>
                    </a:lnTo>
                    <a:lnTo>
                      <a:pt x="353" y="52"/>
                    </a:lnTo>
                    <a:lnTo>
                      <a:pt x="355" y="53"/>
                    </a:lnTo>
                    <a:lnTo>
                      <a:pt x="356" y="53"/>
                    </a:lnTo>
                    <a:lnTo>
                      <a:pt x="356" y="51"/>
                    </a:lnTo>
                    <a:lnTo>
                      <a:pt x="358" y="51"/>
                    </a:lnTo>
                    <a:lnTo>
                      <a:pt x="359" y="53"/>
                    </a:lnTo>
                    <a:lnTo>
                      <a:pt x="361" y="54"/>
                    </a:lnTo>
                    <a:lnTo>
                      <a:pt x="361" y="52"/>
                    </a:lnTo>
                    <a:lnTo>
                      <a:pt x="361" y="51"/>
                    </a:lnTo>
                    <a:lnTo>
                      <a:pt x="365" y="52"/>
                    </a:lnTo>
                    <a:lnTo>
                      <a:pt x="368" y="52"/>
                    </a:lnTo>
                    <a:lnTo>
                      <a:pt x="372" y="55"/>
                    </a:lnTo>
                    <a:lnTo>
                      <a:pt x="372" y="54"/>
                    </a:lnTo>
                    <a:lnTo>
                      <a:pt x="372" y="50"/>
                    </a:lnTo>
                    <a:lnTo>
                      <a:pt x="374" y="49"/>
                    </a:lnTo>
                    <a:lnTo>
                      <a:pt x="374" y="48"/>
                    </a:lnTo>
                    <a:lnTo>
                      <a:pt x="378" y="49"/>
                    </a:lnTo>
                    <a:lnTo>
                      <a:pt x="379" y="48"/>
                    </a:lnTo>
                    <a:lnTo>
                      <a:pt x="381" y="48"/>
                    </a:lnTo>
                    <a:lnTo>
                      <a:pt x="383" y="40"/>
                    </a:lnTo>
                    <a:lnTo>
                      <a:pt x="383" y="39"/>
                    </a:lnTo>
                    <a:lnTo>
                      <a:pt x="390" y="41"/>
                    </a:lnTo>
                    <a:lnTo>
                      <a:pt x="391" y="40"/>
                    </a:lnTo>
                    <a:lnTo>
                      <a:pt x="392" y="36"/>
                    </a:lnTo>
                    <a:lnTo>
                      <a:pt x="391" y="27"/>
                    </a:lnTo>
                    <a:lnTo>
                      <a:pt x="392" y="22"/>
                    </a:lnTo>
                    <a:lnTo>
                      <a:pt x="405" y="27"/>
                    </a:lnTo>
                    <a:lnTo>
                      <a:pt x="411" y="34"/>
                    </a:lnTo>
                    <a:lnTo>
                      <a:pt x="418" y="28"/>
                    </a:lnTo>
                    <a:lnTo>
                      <a:pt x="419" y="28"/>
                    </a:lnTo>
                    <a:lnTo>
                      <a:pt x="420" y="27"/>
                    </a:lnTo>
                    <a:lnTo>
                      <a:pt x="421" y="26"/>
                    </a:lnTo>
                    <a:lnTo>
                      <a:pt x="420" y="24"/>
                    </a:lnTo>
                    <a:lnTo>
                      <a:pt x="418" y="22"/>
                    </a:lnTo>
                    <a:lnTo>
                      <a:pt x="419" y="20"/>
                    </a:lnTo>
                    <a:lnTo>
                      <a:pt x="418" y="19"/>
                    </a:lnTo>
                    <a:lnTo>
                      <a:pt x="423" y="18"/>
                    </a:lnTo>
                    <a:lnTo>
                      <a:pt x="426" y="17"/>
                    </a:lnTo>
                    <a:lnTo>
                      <a:pt x="428" y="17"/>
                    </a:lnTo>
                    <a:lnTo>
                      <a:pt x="429" y="17"/>
                    </a:lnTo>
                    <a:lnTo>
                      <a:pt x="430" y="15"/>
                    </a:lnTo>
                    <a:lnTo>
                      <a:pt x="430" y="17"/>
                    </a:lnTo>
                    <a:lnTo>
                      <a:pt x="433" y="15"/>
                    </a:lnTo>
                    <a:lnTo>
                      <a:pt x="435" y="14"/>
                    </a:lnTo>
                    <a:lnTo>
                      <a:pt x="434" y="11"/>
                    </a:lnTo>
                    <a:lnTo>
                      <a:pt x="435" y="11"/>
                    </a:lnTo>
                    <a:lnTo>
                      <a:pt x="434" y="7"/>
                    </a:lnTo>
                    <a:lnTo>
                      <a:pt x="432" y="7"/>
                    </a:lnTo>
                    <a:lnTo>
                      <a:pt x="435" y="6"/>
                    </a:lnTo>
                    <a:lnTo>
                      <a:pt x="435" y="5"/>
                    </a:lnTo>
                    <a:lnTo>
                      <a:pt x="437" y="6"/>
                    </a:lnTo>
                    <a:lnTo>
                      <a:pt x="437" y="5"/>
                    </a:lnTo>
                    <a:lnTo>
                      <a:pt x="438" y="5"/>
                    </a:lnTo>
                    <a:lnTo>
                      <a:pt x="439" y="6"/>
                    </a:lnTo>
                    <a:lnTo>
                      <a:pt x="437" y="0"/>
                    </a:lnTo>
                    <a:lnTo>
                      <a:pt x="439" y="0"/>
                    </a:lnTo>
                    <a:lnTo>
                      <a:pt x="444" y="1"/>
                    </a:lnTo>
                    <a:lnTo>
                      <a:pt x="443" y="1"/>
                    </a:lnTo>
                    <a:lnTo>
                      <a:pt x="444" y="4"/>
                    </a:lnTo>
                    <a:lnTo>
                      <a:pt x="442" y="5"/>
                    </a:lnTo>
                    <a:lnTo>
                      <a:pt x="443" y="6"/>
                    </a:lnTo>
                    <a:lnTo>
                      <a:pt x="444" y="6"/>
                    </a:lnTo>
                    <a:lnTo>
                      <a:pt x="446" y="7"/>
                    </a:lnTo>
                    <a:lnTo>
                      <a:pt x="446" y="6"/>
                    </a:lnTo>
                    <a:lnTo>
                      <a:pt x="447" y="7"/>
                    </a:lnTo>
                    <a:lnTo>
                      <a:pt x="449" y="11"/>
                    </a:lnTo>
                    <a:lnTo>
                      <a:pt x="447" y="11"/>
                    </a:lnTo>
                    <a:lnTo>
                      <a:pt x="448" y="11"/>
                    </a:lnTo>
                    <a:lnTo>
                      <a:pt x="449" y="13"/>
                    </a:lnTo>
                    <a:lnTo>
                      <a:pt x="451" y="13"/>
                    </a:lnTo>
                    <a:lnTo>
                      <a:pt x="452" y="14"/>
                    </a:lnTo>
                    <a:lnTo>
                      <a:pt x="452" y="11"/>
                    </a:lnTo>
                    <a:lnTo>
                      <a:pt x="454" y="11"/>
                    </a:lnTo>
                    <a:lnTo>
                      <a:pt x="454" y="9"/>
                    </a:lnTo>
                    <a:lnTo>
                      <a:pt x="455" y="8"/>
                    </a:lnTo>
                    <a:lnTo>
                      <a:pt x="456" y="9"/>
                    </a:lnTo>
                    <a:lnTo>
                      <a:pt x="455" y="9"/>
                    </a:lnTo>
                    <a:lnTo>
                      <a:pt x="455" y="10"/>
                    </a:lnTo>
                    <a:lnTo>
                      <a:pt x="457" y="10"/>
                    </a:lnTo>
                    <a:lnTo>
                      <a:pt x="457" y="11"/>
                    </a:lnTo>
                    <a:lnTo>
                      <a:pt x="459" y="11"/>
                    </a:lnTo>
                    <a:lnTo>
                      <a:pt x="460" y="11"/>
                    </a:lnTo>
                    <a:lnTo>
                      <a:pt x="463" y="10"/>
                    </a:lnTo>
                    <a:lnTo>
                      <a:pt x="463" y="11"/>
                    </a:lnTo>
                    <a:lnTo>
                      <a:pt x="462" y="13"/>
                    </a:lnTo>
                    <a:lnTo>
                      <a:pt x="463" y="13"/>
                    </a:lnTo>
                    <a:lnTo>
                      <a:pt x="465" y="19"/>
                    </a:lnTo>
                    <a:lnTo>
                      <a:pt x="466" y="19"/>
                    </a:lnTo>
                    <a:lnTo>
                      <a:pt x="468" y="20"/>
                    </a:lnTo>
                    <a:lnTo>
                      <a:pt x="468" y="23"/>
                    </a:lnTo>
                    <a:lnTo>
                      <a:pt x="468" y="22"/>
                    </a:lnTo>
                    <a:lnTo>
                      <a:pt x="470" y="22"/>
                    </a:lnTo>
                    <a:lnTo>
                      <a:pt x="470" y="23"/>
                    </a:lnTo>
                    <a:lnTo>
                      <a:pt x="469" y="25"/>
                    </a:lnTo>
                    <a:lnTo>
                      <a:pt x="470" y="27"/>
                    </a:lnTo>
                    <a:lnTo>
                      <a:pt x="470" y="29"/>
                    </a:lnTo>
                    <a:lnTo>
                      <a:pt x="471" y="28"/>
                    </a:lnTo>
                    <a:lnTo>
                      <a:pt x="472" y="28"/>
                    </a:lnTo>
                    <a:lnTo>
                      <a:pt x="474" y="28"/>
                    </a:lnTo>
                    <a:lnTo>
                      <a:pt x="476" y="28"/>
                    </a:lnTo>
                    <a:lnTo>
                      <a:pt x="477" y="31"/>
                    </a:lnTo>
                    <a:lnTo>
                      <a:pt x="479" y="32"/>
                    </a:lnTo>
                    <a:lnTo>
                      <a:pt x="478" y="34"/>
                    </a:lnTo>
                    <a:lnTo>
                      <a:pt x="480" y="34"/>
                    </a:lnTo>
                    <a:lnTo>
                      <a:pt x="483" y="37"/>
                    </a:lnTo>
                    <a:lnTo>
                      <a:pt x="482" y="38"/>
                    </a:lnTo>
                    <a:lnTo>
                      <a:pt x="482" y="39"/>
                    </a:lnTo>
                    <a:lnTo>
                      <a:pt x="483" y="38"/>
                    </a:lnTo>
                    <a:lnTo>
                      <a:pt x="483" y="40"/>
                    </a:lnTo>
                    <a:lnTo>
                      <a:pt x="483" y="46"/>
                    </a:lnTo>
                    <a:lnTo>
                      <a:pt x="484" y="47"/>
                    </a:lnTo>
                    <a:lnTo>
                      <a:pt x="484" y="48"/>
                    </a:lnTo>
                    <a:lnTo>
                      <a:pt x="487" y="47"/>
                    </a:lnTo>
                    <a:lnTo>
                      <a:pt x="487" y="48"/>
                    </a:lnTo>
                    <a:lnTo>
                      <a:pt x="488" y="48"/>
                    </a:lnTo>
                    <a:lnTo>
                      <a:pt x="488" y="49"/>
                    </a:lnTo>
                    <a:lnTo>
                      <a:pt x="490" y="48"/>
                    </a:lnTo>
                    <a:lnTo>
                      <a:pt x="492" y="49"/>
                    </a:lnTo>
                    <a:lnTo>
                      <a:pt x="494" y="51"/>
                    </a:lnTo>
                    <a:lnTo>
                      <a:pt x="493" y="52"/>
                    </a:lnTo>
                    <a:lnTo>
                      <a:pt x="494" y="52"/>
                    </a:lnTo>
                    <a:lnTo>
                      <a:pt x="494" y="53"/>
                    </a:lnTo>
                    <a:lnTo>
                      <a:pt x="495" y="53"/>
                    </a:lnTo>
                    <a:lnTo>
                      <a:pt x="495" y="54"/>
                    </a:lnTo>
                    <a:lnTo>
                      <a:pt x="494" y="54"/>
                    </a:lnTo>
                    <a:lnTo>
                      <a:pt x="494" y="56"/>
                    </a:lnTo>
                    <a:lnTo>
                      <a:pt x="493" y="56"/>
                    </a:lnTo>
                    <a:lnTo>
                      <a:pt x="493" y="58"/>
                    </a:lnTo>
                    <a:lnTo>
                      <a:pt x="491" y="57"/>
                    </a:lnTo>
                    <a:lnTo>
                      <a:pt x="491" y="58"/>
                    </a:lnTo>
                    <a:lnTo>
                      <a:pt x="487" y="58"/>
                    </a:lnTo>
                    <a:lnTo>
                      <a:pt x="486" y="60"/>
                    </a:lnTo>
                    <a:lnTo>
                      <a:pt x="486" y="63"/>
                    </a:lnTo>
                    <a:lnTo>
                      <a:pt x="486" y="64"/>
                    </a:lnTo>
                    <a:lnTo>
                      <a:pt x="487" y="65"/>
                    </a:lnTo>
                    <a:lnTo>
                      <a:pt x="490" y="69"/>
                    </a:lnTo>
                    <a:lnTo>
                      <a:pt x="490" y="71"/>
                    </a:lnTo>
                    <a:lnTo>
                      <a:pt x="489" y="72"/>
                    </a:lnTo>
                    <a:lnTo>
                      <a:pt x="489" y="73"/>
                    </a:lnTo>
                    <a:lnTo>
                      <a:pt x="490" y="73"/>
                    </a:lnTo>
                    <a:lnTo>
                      <a:pt x="492" y="75"/>
                    </a:lnTo>
                    <a:lnTo>
                      <a:pt x="491" y="76"/>
                    </a:lnTo>
                    <a:lnTo>
                      <a:pt x="491" y="77"/>
                    </a:lnTo>
                    <a:lnTo>
                      <a:pt x="490" y="77"/>
                    </a:lnTo>
                    <a:lnTo>
                      <a:pt x="489" y="77"/>
                    </a:lnTo>
                    <a:lnTo>
                      <a:pt x="490" y="77"/>
                    </a:lnTo>
                    <a:lnTo>
                      <a:pt x="490" y="78"/>
                    </a:lnTo>
                    <a:lnTo>
                      <a:pt x="489" y="80"/>
                    </a:lnTo>
                    <a:lnTo>
                      <a:pt x="490" y="80"/>
                    </a:lnTo>
                    <a:lnTo>
                      <a:pt x="489" y="82"/>
                    </a:lnTo>
                    <a:lnTo>
                      <a:pt x="489" y="84"/>
                    </a:lnTo>
                    <a:lnTo>
                      <a:pt x="487" y="86"/>
                    </a:lnTo>
                    <a:lnTo>
                      <a:pt x="487" y="88"/>
                    </a:lnTo>
                    <a:lnTo>
                      <a:pt x="489" y="88"/>
                    </a:lnTo>
                    <a:lnTo>
                      <a:pt x="489" y="89"/>
                    </a:lnTo>
                    <a:lnTo>
                      <a:pt x="491" y="88"/>
                    </a:lnTo>
                    <a:lnTo>
                      <a:pt x="491" y="89"/>
                    </a:lnTo>
                    <a:lnTo>
                      <a:pt x="493" y="93"/>
                    </a:lnTo>
                    <a:lnTo>
                      <a:pt x="493" y="94"/>
                    </a:lnTo>
                    <a:lnTo>
                      <a:pt x="491" y="94"/>
                    </a:lnTo>
                    <a:lnTo>
                      <a:pt x="491" y="96"/>
                    </a:lnTo>
                    <a:lnTo>
                      <a:pt x="492" y="97"/>
                    </a:lnTo>
                    <a:lnTo>
                      <a:pt x="492" y="98"/>
                    </a:lnTo>
                    <a:lnTo>
                      <a:pt x="495" y="99"/>
                    </a:lnTo>
                    <a:lnTo>
                      <a:pt x="491" y="108"/>
                    </a:lnTo>
                    <a:lnTo>
                      <a:pt x="491" y="107"/>
                    </a:lnTo>
                    <a:lnTo>
                      <a:pt x="490" y="109"/>
                    </a:lnTo>
                    <a:lnTo>
                      <a:pt x="489" y="107"/>
                    </a:lnTo>
                    <a:lnTo>
                      <a:pt x="489" y="109"/>
                    </a:lnTo>
                    <a:lnTo>
                      <a:pt x="486" y="109"/>
                    </a:lnTo>
                    <a:lnTo>
                      <a:pt x="486" y="111"/>
                    </a:lnTo>
                    <a:lnTo>
                      <a:pt x="487" y="111"/>
                    </a:lnTo>
                    <a:lnTo>
                      <a:pt x="487" y="112"/>
                    </a:lnTo>
                    <a:lnTo>
                      <a:pt x="486" y="113"/>
                    </a:lnTo>
                    <a:lnTo>
                      <a:pt x="487" y="115"/>
                    </a:lnTo>
                    <a:lnTo>
                      <a:pt x="487" y="116"/>
                    </a:lnTo>
                    <a:lnTo>
                      <a:pt x="486" y="116"/>
                    </a:lnTo>
                    <a:lnTo>
                      <a:pt x="485" y="117"/>
                    </a:lnTo>
                    <a:lnTo>
                      <a:pt x="484" y="117"/>
                    </a:lnTo>
                    <a:lnTo>
                      <a:pt x="485" y="116"/>
                    </a:lnTo>
                    <a:lnTo>
                      <a:pt x="484" y="116"/>
                    </a:lnTo>
                    <a:lnTo>
                      <a:pt x="483" y="116"/>
                    </a:lnTo>
                    <a:lnTo>
                      <a:pt x="482" y="116"/>
                    </a:lnTo>
                    <a:lnTo>
                      <a:pt x="481" y="115"/>
                    </a:lnTo>
                    <a:lnTo>
                      <a:pt x="479" y="117"/>
                    </a:lnTo>
                    <a:lnTo>
                      <a:pt x="476" y="120"/>
                    </a:lnTo>
                    <a:lnTo>
                      <a:pt x="478" y="123"/>
                    </a:lnTo>
                    <a:lnTo>
                      <a:pt x="479" y="126"/>
                    </a:lnTo>
                    <a:lnTo>
                      <a:pt x="481" y="126"/>
                    </a:lnTo>
                    <a:lnTo>
                      <a:pt x="483" y="128"/>
                    </a:lnTo>
                    <a:lnTo>
                      <a:pt x="482" y="128"/>
                    </a:lnTo>
                    <a:lnTo>
                      <a:pt x="480" y="129"/>
                    </a:lnTo>
                    <a:lnTo>
                      <a:pt x="481" y="133"/>
                    </a:lnTo>
                    <a:lnTo>
                      <a:pt x="481" y="135"/>
                    </a:lnTo>
                    <a:lnTo>
                      <a:pt x="483" y="137"/>
                    </a:lnTo>
                    <a:lnTo>
                      <a:pt x="485" y="139"/>
                    </a:lnTo>
                    <a:lnTo>
                      <a:pt x="487" y="140"/>
                    </a:lnTo>
                    <a:lnTo>
                      <a:pt x="489" y="139"/>
                    </a:lnTo>
                    <a:lnTo>
                      <a:pt x="491" y="136"/>
                    </a:lnTo>
                    <a:lnTo>
                      <a:pt x="492" y="139"/>
                    </a:lnTo>
                    <a:lnTo>
                      <a:pt x="496" y="141"/>
                    </a:lnTo>
                    <a:lnTo>
                      <a:pt x="497" y="141"/>
                    </a:lnTo>
                    <a:lnTo>
                      <a:pt x="496" y="142"/>
                    </a:lnTo>
                    <a:lnTo>
                      <a:pt x="495" y="142"/>
                    </a:lnTo>
                    <a:lnTo>
                      <a:pt x="495" y="146"/>
                    </a:lnTo>
                    <a:lnTo>
                      <a:pt x="496" y="146"/>
                    </a:lnTo>
                    <a:lnTo>
                      <a:pt x="498" y="145"/>
                    </a:lnTo>
                    <a:lnTo>
                      <a:pt x="498" y="146"/>
                    </a:lnTo>
                    <a:lnTo>
                      <a:pt x="499" y="148"/>
                    </a:lnTo>
                    <a:lnTo>
                      <a:pt x="500" y="148"/>
                    </a:lnTo>
                    <a:lnTo>
                      <a:pt x="501" y="150"/>
                    </a:lnTo>
                    <a:lnTo>
                      <a:pt x="502" y="150"/>
                    </a:lnTo>
                    <a:lnTo>
                      <a:pt x="503" y="152"/>
                    </a:lnTo>
                    <a:lnTo>
                      <a:pt x="503" y="154"/>
                    </a:lnTo>
                    <a:lnTo>
                      <a:pt x="502" y="153"/>
                    </a:lnTo>
                    <a:lnTo>
                      <a:pt x="499" y="155"/>
                    </a:lnTo>
                    <a:lnTo>
                      <a:pt x="499" y="156"/>
                    </a:lnTo>
                    <a:lnTo>
                      <a:pt x="501" y="157"/>
                    </a:lnTo>
                    <a:lnTo>
                      <a:pt x="501" y="159"/>
                    </a:lnTo>
                    <a:lnTo>
                      <a:pt x="499" y="161"/>
                    </a:lnTo>
                    <a:lnTo>
                      <a:pt x="501" y="162"/>
                    </a:lnTo>
                    <a:lnTo>
                      <a:pt x="504" y="165"/>
                    </a:lnTo>
                    <a:lnTo>
                      <a:pt x="504" y="166"/>
                    </a:lnTo>
                    <a:lnTo>
                      <a:pt x="505" y="167"/>
                    </a:lnTo>
                    <a:lnTo>
                      <a:pt x="506" y="165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8" y="167"/>
                    </a:lnTo>
                    <a:lnTo>
                      <a:pt x="508" y="165"/>
                    </a:lnTo>
                    <a:lnTo>
                      <a:pt x="512" y="166"/>
                    </a:lnTo>
                    <a:lnTo>
                      <a:pt x="514" y="164"/>
                    </a:lnTo>
                    <a:lnTo>
                      <a:pt x="515" y="164"/>
                    </a:lnTo>
                    <a:lnTo>
                      <a:pt x="515" y="165"/>
                    </a:lnTo>
                    <a:lnTo>
                      <a:pt x="517" y="167"/>
                    </a:lnTo>
                    <a:lnTo>
                      <a:pt x="518" y="167"/>
                    </a:lnTo>
                    <a:lnTo>
                      <a:pt x="519" y="168"/>
                    </a:lnTo>
                    <a:lnTo>
                      <a:pt x="520" y="167"/>
                    </a:lnTo>
                    <a:lnTo>
                      <a:pt x="522" y="169"/>
                    </a:lnTo>
                    <a:lnTo>
                      <a:pt x="525" y="171"/>
                    </a:lnTo>
                    <a:lnTo>
                      <a:pt x="524" y="171"/>
                    </a:lnTo>
                    <a:lnTo>
                      <a:pt x="525" y="173"/>
                    </a:lnTo>
                    <a:lnTo>
                      <a:pt x="526" y="172"/>
                    </a:lnTo>
                    <a:lnTo>
                      <a:pt x="528" y="171"/>
                    </a:lnTo>
                    <a:lnTo>
                      <a:pt x="529" y="168"/>
                    </a:lnTo>
                    <a:lnTo>
                      <a:pt x="532" y="169"/>
                    </a:lnTo>
                    <a:lnTo>
                      <a:pt x="533" y="167"/>
                    </a:lnTo>
                    <a:lnTo>
                      <a:pt x="535" y="167"/>
                    </a:lnTo>
                    <a:lnTo>
                      <a:pt x="536" y="167"/>
                    </a:lnTo>
                    <a:lnTo>
                      <a:pt x="538" y="167"/>
                    </a:lnTo>
                    <a:lnTo>
                      <a:pt x="538" y="165"/>
                    </a:lnTo>
                    <a:lnTo>
                      <a:pt x="538" y="167"/>
                    </a:lnTo>
                    <a:lnTo>
                      <a:pt x="539" y="167"/>
                    </a:lnTo>
                    <a:lnTo>
                      <a:pt x="539" y="170"/>
                    </a:lnTo>
                    <a:lnTo>
                      <a:pt x="540" y="170"/>
                    </a:lnTo>
                    <a:lnTo>
                      <a:pt x="540" y="171"/>
                    </a:lnTo>
                    <a:lnTo>
                      <a:pt x="541" y="171"/>
                    </a:lnTo>
                    <a:lnTo>
                      <a:pt x="543" y="172"/>
                    </a:lnTo>
                    <a:lnTo>
                      <a:pt x="543" y="173"/>
                    </a:lnTo>
                    <a:lnTo>
                      <a:pt x="544" y="173"/>
                    </a:lnTo>
                    <a:lnTo>
                      <a:pt x="545" y="175"/>
                    </a:lnTo>
                    <a:lnTo>
                      <a:pt x="543" y="176"/>
                    </a:lnTo>
                    <a:lnTo>
                      <a:pt x="544" y="178"/>
                    </a:lnTo>
                    <a:lnTo>
                      <a:pt x="544" y="179"/>
                    </a:lnTo>
                    <a:lnTo>
                      <a:pt x="543" y="179"/>
                    </a:lnTo>
                    <a:lnTo>
                      <a:pt x="544" y="182"/>
                    </a:lnTo>
                    <a:lnTo>
                      <a:pt x="543" y="185"/>
                    </a:lnTo>
                    <a:lnTo>
                      <a:pt x="544" y="185"/>
                    </a:lnTo>
                    <a:lnTo>
                      <a:pt x="545" y="188"/>
                    </a:lnTo>
                    <a:lnTo>
                      <a:pt x="543" y="189"/>
                    </a:lnTo>
                    <a:lnTo>
                      <a:pt x="541" y="189"/>
                    </a:lnTo>
                    <a:lnTo>
                      <a:pt x="540" y="190"/>
                    </a:lnTo>
                    <a:lnTo>
                      <a:pt x="541" y="191"/>
                    </a:lnTo>
                    <a:lnTo>
                      <a:pt x="541" y="197"/>
                    </a:lnTo>
                    <a:lnTo>
                      <a:pt x="540" y="200"/>
                    </a:lnTo>
                    <a:lnTo>
                      <a:pt x="542" y="201"/>
                    </a:lnTo>
                    <a:lnTo>
                      <a:pt x="542" y="203"/>
                    </a:lnTo>
                    <a:lnTo>
                      <a:pt x="543" y="203"/>
                    </a:lnTo>
                    <a:lnTo>
                      <a:pt x="545" y="205"/>
                    </a:lnTo>
                    <a:lnTo>
                      <a:pt x="544" y="209"/>
                    </a:lnTo>
                    <a:lnTo>
                      <a:pt x="545" y="207"/>
                    </a:lnTo>
                    <a:lnTo>
                      <a:pt x="545" y="209"/>
                    </a:lnTo>
                    <a:lnTo>
                      <a:pt x="546" y="209"/>
                    </a:lnTo>
                    <a:lnTo>
                      <a:pt x="544" y="211"/>
                    </a:lnTo>
                    <a:lnTo>
                      <a:pt x="547" y="210"/>
                    </a:lnTo>
                    <a:lnTo>
                      <a:pt x="545" y="212"/>
                    </a:lnTo>
                    <a:lnTo>
                      <a:pt x="545" y="215"/>
                    </a:lnTo>
                    <a:lnTo>
                      <a:pt x="544" y="217"/>
                    </a:lnTo>
                    <a:lnTo>
                      <a:pt x="543" y="216"/>
                    </a:lnTo>
                    <a:lnTo>
                      <a:pt x="542" y="218"/>
                    </a:lnTo>
                    <a:lnTo>
                      <a:pt x="543" y="219"/>
                    </a:lnTo>
                    <a:lnTo>
                      <a:pt x="543" y="220"/>
                    </a:lnTo>
                    <a:lnTo>
                      <a:pt x="542" y="222"/>
                    </a:lnTo>
                    <a:lnTo>
                      <a:pt x="541" y="221"/>
                    </a:lnTo>
                    <a:lnTo>
                      <a:pt x="541" y="222"/>
                    </a:lnTo>
                    <a:lnTo>
                      <a:pt x="540" y="223"/>
                    </a:lnTo>
                    <a:lnTo>
                      <a:pt x="539" y="225"/>
                    </a:lnTo>
                    <a:lnTo>
                      <a:pt x="537" y="224"/>
                    </a:lnTo>
                    <a:lnTo>
                      <a:pt x="536" y="227"/>
                    </a:lnTo>
                    <a:lnTo>
                      <a:pt x="536" y="226"/>
                    </a:lnTo>
                    <a:lnTo>
                      <a:pt x="535" y="226"/>
                    </a:lnTo>
                    <a:lnTo>
                      <a:pt x="535" y="228"/>
                    </a:lnTo>
                    <a:lnTo>
                      <a:pt x="534" y="228"/>
                    </a:lnTo>
                    <a:lnTo>
                      <a:pt x="533" y="227"/>
                    </a:lnTo>
                    <a:lnTo>
                      <a:pt x="532" y="229"/>
                    </a:lnTo>
                    <a:lnTo>
                      <a:pt x="534" y="229"/>
                    </a:lnTo>
                    <a:lnTo>
                      <a:pt x="537" y="232"/>
                    </a:lnTo>
                    <a:lnTo>
                      <a:pt x="537" y="233"/>
                    </a:lnTo>
                    <a:lnTo>
                      <a:pt x="533" y="236"/>
                    </a:lnTo>
                    <a:lnTo>
                      <a:pt x="530" y="237"/>
                    </a:lnTo>
                    <a:lnTo>
                      <a:pt x="534" y="239"/>
                    </a:lnTo>
                    <a:lnTo>
                      <a:pt x="538" y="238"/>
                    </a:lnTo>
                    <a:lnTo>
                      <a:pt x="540" y="241"/>
                    </a:lnTo>
                    <a:lnTo>
                      <a:pt x="541" y="243"/>
                    </a:lnTo>
                    <a:lnTo>
                      <a:pt x="543" y="244"/>
                    </a:lnTo>
                    <a:lnTo>
                      <a:pt x="544" y="243"/>
                    </a:lnTo>
                    <a:lnTo>
                      <a:pt x="544" y="241"/>
                    </a:lnTo>
                    <a:lnTo>
                      <a:pt x="545" y="243"/>
                    </a:lnTo>
                    <a:lnTo>
                      <a:pt x="546" y="243"/>
                    </a:lnTo>
                    <a:lnTo>
                      <a:pt x="546" y="244"/>
                    </a:lnTo>
                    <a:lnTo>
                      <a:pt x="550" y="248"/>
                    </a:lnTo>
                    <a:lnTo>
                      <a:pt x="552" y="249"/>
                    </a:lnTo>
                    <a:lnTo>
                      <a:pt x="553" y="249"/>
                    </a:lnTo>
                    <a:lnTo>
                      <a:pt x="555" y="250"/>
                    </a:lnTo>
                    <a:lnTo>
                      <a:pt x="552" y="254"/>
                    </a:lnTo>
                    <a:lnTo>
                      <a:pt x="552" y="257"/>
                    </a:lnTo>
                    <a:lnTo>
                      <a:pt x="551" y="256"/>
                    </a:lnTo>
                    <a:lnTo>
                      <a:pt x="550" y="256"/>
                    </a:lnTo>
                    <a:lnTo>
                      <a:pt x="551" y="260"/>
                    </a:lnTo>
                    <a:lnTo>
                      <a:pt x="548" y="262"/>
                    </a:lnTo>
                    <a:lnTo>
                      <a:pt x="546" y="260"/>
                    </a:lnTo>
                    <a:lnTo>
                      <a:pt x="546" y="258"/>
                    </a:lnTo>
                    <a:lnTo>
                      <a:pt x="545" y="257"/>
                    </a:lnTo>
                    <a:lnTo>
                      <a:pt x="543" y="258"/>
                    </a:lnTo>
                    <a:lnTo>
                      <a:pt x="541" y="262"/>
                    </a:lnTo>
                    <a:lnTo>
                      <a:pt x="543" y="265"/>
                    </a:lnTo>
                    <a:lnTo>
                      <a:pt x="545" y="263"/>
                    </a:lnTo>
                    <a:lnTo>
                      <a:pt x="546" y="267"/>
                    </a:lnTo>
                    <a:lnTo>
                      <a:pt x="548" y="267"/>
                    </a:lnTo>
                    <a:lnTo>
                      <a:pt x="546" y="267"/>
                    </a:lnTo>
                    <a:lnTo>
                      <a:pt x="544" y="266"/>
                    </a:lnTo>
                    <a:lnTo>
                      <a:pt x="543" y="267"/>
                    </a:lnTo>
                    <a:lnTo>
                      <a:pt x="542" y="267"/>
                    </a:lnTo>
                    <a:lnTo>
                      <a:pt x="541" y="267"/>
                    </a:lnTo>
                    <a:lnTo>
                      <a:pt x="542" y="271"/>
                    </a:lnTo>
                    <a:lnTo>
                      <a:pt x="543" y="273"/>
                    </a:lnTo>
                    <a:lnTo>
                      <a:pt x="542" y="279"/>
                    </a:lnTo>
                    <a:lnTo>
                      <a:pt x="540" y="278"/>
                    </a:lnTo>
                    <a:lnTo>
                      <a:pt x="538" y="279"/>
                    </a:lnTo>
                    <a:lnTo>
                      <a:pt x="537" y="278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5" y="279"/>
                    </a:lnTo>
                    <a:lnTo>
                      <a:pt x="534" y="278"/>
                    </a:lnTo>
                    <a:lnTo>
                      <a:pt x="533" y="279"/>
                    </a:lnTo>
                    <a:lnTo>
                      <a:pt x="532" y="280"/>
                    </a:lnTo>
                    <a:lnTo>
                      <a:pt x="533" y="282"/>
                    </a:lnTo>
                    <a:lnTo>
                      <a:pt x="538" y="283"/>
                    </a:lnTo>
                    <a:lnTo>
                      <a:pt x="537" y="284"/>
                    </a:lnTo>
                    <a:lnTo>
                      <a:pt x="539" y="283"/>
                    </a:lnTo>
                    <a:lnTo>
                      <a:pt x="539" y="285"/>
                    </a:lnTo>
                    <a:lnTo>
                      <a:pt x="538" y="286"/>
                    </a:lnTo>
                    <a:lnTo>
                      <a:pt x="538" y="285"/>
                    </a:lnTo>
                    <a:lnTo>
                      <a:pt x="537" y="286"/>
                    </a:lnTo>
                    <a:lnTo>
                      <a:pt x="535" y="284"/>
                    </a:lnTo>
                    <a:lnTo>
                      <a:pt x="535" y="285"/>
                    </a:lnTo>
                    <a:lnTo>
                      <a:pt x="536" y="286"/>
                    </a:lnTo>
                    <a:lnTo>
                      <a:pt x="534" y="284"/>
                    </a:lnTo>
                    <a:lnTo>
                      <a:pt x="533" y="284"/>
                    </a:lnTo>
                    <a:lnTo>
                      <a:pt x="530" y="286"/>
                    </a:lnTo>
                    <a:lnTo>
                      <a:pt x="528" y="286"/>
                    </a:lnTo>
                    <a:lnTo>
                      <a:pt x="530" y="288"/>
                    </a:lnTo>
                    <a:lnTo>
                      <a:pt x="530" y="290"/>
                    </a:lnTo>
                    <a:lnTo>
                      <a:pt x="530" y="292"/>
                    </a:lnTo>
                    <a:lnTo>
                      <a:pt x="532" y="293"/>
                    </a:lnTo>
                    <a:lnTo>
                      <a:pt x="532" y="294"/>
                    </a:lnTo>
                    <a:lnTo>
                      <a:pt x="533" y="294"/>
                    </a:lnTo>
                    <a:lnTo>
                      <a:pt x="533" y="296"/>
                    </a:lnTo>
                    <a:lnTo>
                      <a:pt x="535" y="297"/>
                    </a:lnTo>
                    <a:lnTo>
                      <a:pt x="536" y="298"/>
                    </a:lnTo>
                    <a:lnTo>
                      <a:pt x="537" y="299"/>
                    </a:lnTo>
                    <a:lnTo>
                      <a:pt x="539" y="297"/>
                    </a:lnTo>
                    <a:lnTo>
                      <a:pt x="542" y="298"/>
                    </a:lnTo>
                    <a:lnTo>
                      <a:pt x="541" y="299"/>
                    </a:lnTo>
                    <a:lnTo>
                      <a:pt x="541" y="298"/>
                    </a:lnTo>
                    <a:lnTo>
                      <a:pt x="542" y="300"/>
                    </a:lnTo>
                    <a:lnTo>
                      <a:pt x="543" y="300"/>
                    </a:lnTo>
                    <a:lnTo>
                      <a:pt x="545" y="301"/>
                    </a:lnTo>
                    <a:lnTo>
                      <a:pt x="543" y="302"/>
                    </a:lnTo>
                    <a:lnTo>
                      <a:pt x="542" y="302"/>
                    </a:lnTo>
                    <a:lnTo>
                      <a:pt x="543" y="303"/>
                    </a:lnTo>
                    <a:lnTo>
                      <a:pt x="544" y="304"/>
                    </a:lnTo>
                    <a:lnTo>
                      <a:pt x="545" y="304"/>
                    </a:lnTo>
                    <a:lnTo>
                      <a:pt x="546" y="304"/>
                    </a:lnTo>
                    <a:lnTo>
                      <a:pt x="548" y="306"/>
                    </a:lnTo>
                    <a:lnTo>
                      <a:pt x="552" y="304"/>
                    </a:lnTo>
                    <a:lnTo>
                      <a:pt x="552" y="306"/>
                    </a:lnTo>
                    <a:lnTo>
                      <a:pt x="553" y="307"/>
                    </a:lnTo>
                    <a:lnTo>
                      <a:pt x="552" y="307"/>
                    </a:lnTo>
                    <a:lnTo>
                      <a:pt x="552" y="310"/>
                    </a:lnTo>
                    <a:lnTo>
                      <a:pt x="553" y="310"/>
                    </a:lnTo>
                    <a:lnTo>
                      <a:pt x="555" y="306"/>
                    </a:lnTo>
                    <a:lnTo>
                      <a:pt x="555" y="307"/>
                    </a:lnTo>
                    <a:lnTo>
                      <a:pt x="555" y="309"/>
                    </a:lnTo>
                    <a:lnTo>
                      <a:pt x="556" y="309"/>
                    </a:lnTo>
                    <a:lnTo>
                      <a:pt x="555" y="310"/>
                    </a:lnTo>
                    <a:lnTo>
                      <a:pt x="555" y="313"/>
                    </a:lnTo>
                    <a:lnTo>
                      <a:pt x="552" y="314"/>
                    </a:lnTo>
                    <a:lnTo>
                      <a:pt x="552" y="315"/>
                    </a:lnTo>
                    <a:lnTo>
                      <a:pt x="552" y="316"/>
                    </a:lnTo>
                    <a:lnTo>
                      <a:pt x="555" y="319"/>
                    </a:lnTo>
                    <a:lnTo>
                      <a:pt x="562" y="326"/>
                    </a:lnTo>
                    <a:lnTo>
                      <a:pt x="563" y="325"/>
                    </a:lnTo>
                    <a:lnTo>
                      <a:pt x="564" y="325"/>
                    </a:lnTo>
                    <a:lnTo>
                      <a:pt x="564" y="327"/>
                    </a:lnTo>
                    <a:lnTo>
                      <a:pt x="565" y="326"/>
                    </a:lnTo>
                    <a:lnTo>
                      <a:pt x="566" y="327"/>
                    </a:lnTo>
                    <a:lnTo>
                      <a:pt x="566" y="329"/>
                    </a:lnTo>
                    <a:lnTo>
                      <a:pt x="567" y="330"/>
                    </a:lnTo>
                    <a:lnTo>
                      <a:pt x="568" y="328"/>
                    </a:lnTo>
                    <a:lnTo>
                      <a:pt x="569" y="331"/>
                    </a:lnTo>
                    <a:lnTo>
                      <a:pt x="568" y="333"/>
                    </a:lnTo>
                    <a:lnTo>
                      <a:pt x="569" y="333"/>
                    </a:lnTo>
                    <a:lnTo>
                      <a:pt x="568" y="335"/>
                    </a:lnTo>
                    <a:lnTo>
                      <a:pt x="569" y="337"/>
                    </a:lnTo>
                    <a:lnTo>
                      <a:pt x="568" y="336"/>
                    </a:lnTo>
                    <a:lnTo>
                      <a:pt x="566" y="337"/>
                    </a:lnTo>
                    <a:lnTo>
                      <a:pt x="564" y="339"/>
                    </a:lnTo>
                    <a:lnTo>
                      <a:pt x="567" y="344"/>
                    </a:lnTo>
                    <a:lnTo>
                      <a:pt x="568" y="344"/>
                    </a:lnTo>
                    <a:lnTo>
                      <a:pt x="568" y="345"/>
                    </a:lnTo>
                    <a:lnTo>
                      <a:pt x="568" y="347"/>
                    </a:lnTo>
                    <a:lnTo>
                      <a:pt x="568" y="348"/>
                    </a:lnTo>
                    <a:lnTo>
                      <a:pt x="567" y="348"/>
                    </a:lnTo>
                    <a:lnTo>
                      <a:pt x="566" y="347"/>
                    </a:lnTo>
                    <a:lnTo>
                      <a:pt x="566" y="350"/>
                    </a:lnTo>
                    <a:lnTo>
                      <a:pt x="565" y="350"/>
                    </a:lnTo>
                    <a:lnTo>
                      <a:pt x="564" y="352"/>
                    </a:lnTo>
                    <a:lnTo>
                      <a:pt x="564" y="353"/>
                    </a:lnTo>
                    <a:lnTo>
                      <a:pt x="561" y="356"/>
                    </a:lnTo>
                    <a:lnTo>
                      <a:pt x="563" y="357"/>
                    </a:lnTo>
                    <a:lnTo>
                      <a:pt x="561" y="358"/>
                    </a:lnTo>
                    <a:lnTo>
                      <a:pt x="558" y="359"/>
                    </a:lnTo>
                    <a:lnTo>
                      <a:pt x="557" y="359"/>
                    </a:lnTo>
                    <a:lnTo>
                      <a:pt x="557" y="360"/>
                    </a:lnTo>
                    <a:lnTo>
                      <a:pt x="556" y="361"/>
                    </a:lnTo>
                    <a:lnTo>
                      <a:pt x="558" y="363"/>
                    </a:lnTo>
                    <a:lnTo>
                      <a:pt x="558" y="365"/>
                    </a:lnTo>
                    <a:lnTo>
                      <a:pt x="557" y="367"/>
                    </a:lnTo>
                    <a:lnTo>
                      <a:pt x="558" y="368"/>
                    </a:lnTo>
                    <a:lnTo>
                      <a:pt x="557" y="371"/>
                    </a:lnTo>
                    <a:lnTo>
                      <a:pt x="556" y="371"/>
                    </a:lnTo>
                    <a:lnTo>
                      <a:pt x="556" y="369"/>
                    </a:lnTo>
                    <a:lnTo>
                      <a:pt x="555" y="371"/>
                    </a:lnTo>
                    <a:lnTo>
                      <a:pt x="556" y="373"/>
                    </a:lnTo>
                    <a:lnTo>
                      <a:pt x="556" y="375"/>
                    </a:lnTo>
                    <a:lnTo>
                      <a:pt x="555" y="375"/>
                    </a:lnTo>
                    <a:lnTo>
                      <a:pt x="554" y="376"/>
                    </a:lnTo>
                    <a:lnTo>
                      <a:pt x="554" y="378"/>
                    </a:lnTo>
                    <a:lnTo>
                      <a:pt x="552" y="380"/>
                    </a:lnTo>
                    <a:lnTo>
                      <a:pt x="551" y="378"/>
                    </a:lnTo>
                    <a:lnTo>
                      <a:pt x="548" y="379"/>
                    </a:lnTo>
                    <a:lnTo>
                      <a:pt x="548" y="380"/>
                    </a:lnTo>
                    <a:lnTo>
                      <a:pt x="548" y="382"/>
                    </a:lnTo>
                    <a:lnTo>
                      <a:pt x="546" y="383"/>
                    </a:lnTo>
                    <a:lnTo>
                      <a:pt x="544" y="383"/>
                    </a:lnTo>
                    <a:lnTo>
                      <a:pt x="544" y="384"/>
                    </a:lnTo>
                    <a:lnTo>
                      <a:pt x="543" y="382"/>
                    </a:lnTo>
                    <a:lnTo>
                      <a:pt x="541" y="380"/>
                    </a:lnTo>
                    <a:lnTo>
                      <a:pt x="540" y="381"/>
                    </a:lnTo>
                    <a:lnTo>
                      <a:pt x="535" y="385"/>
                    </a:lnTo>
                    <a:lnTo>
                      <a:pt x="535" y="386"/>
                    </a:lnTo>
                    <a:lnTo>
                      <a:pt x="533" y="386"/>
                    </a:lnTo>
                    <a:lnTo>
                      <a:pt x="532" y="388"/>
                    </a:lnTo>
                    <a:lnTo>
                      <a:pt x="530" y="390"/>
                    </a:lnTo>
                    <a:lnTo>
                      <a:pt x="530" y="392"/>
                    </a:lnTo>
                    <a:lnTo>
                      <a:pt x="531" y="394"/>
                    </a:lnTo>
                    <a:lnTo>
                      <a:pt x="533" y="394"/>
                    </a:lnTo>
                    <a:lnTo>
                      <a:pt x="534" y="394"/>
                    </a:lnTo>
                    <a:lnTo>
                      <a:pt x="533" y="395"/>
                    </a:lnTo>
                    <a:lnTo>
                      <a:pt x="535" y="397"/>
                    </a:lnTo>
                    <a:lnTo>
                      <a:pt x="534" y="399"/>
                    </a:lnTo>
                    <a:lnTo>
                      <a:pt x="536" y="400"/>
                    </a:lnTo>
                    <a:lnTo>
                      <a:pt x="535" y="401"/>
                    </a:lnTo>
                    <a:lnTo>
                      <a:pt x="535" y="402"/>
                    </a:lnTo>
                    <a:lnTo>
                      <a:pt x="533" y="403"/>
                    </a:lnTo>
                    <a:lnTo>
                      <a:pt x="532" y="403"/>
                    </a:lnTo>
                    <a:lnTo>
                      <a:pt x="531" y="405"/>
                    </a:lnTo>
                    <a:lnTo>
                      <a:pt x="530" y="404"/>
                    </a:lnTo>
                    <a:lnTo>
                      <a:pt x="529" y="404"/>
                    </a:lnTo>
                    <a:lnTo>
                      <a:pt x="528" y="403"/>
                    </a:lnTo>
                    <a:lnTo>
                      <a:pt x="527" y="404"/>
                    </a:lnTo>
                    <a:lnTo>
                      <a:pt x="524" y="401"/>
                    </a:lnTo>
                    <a:lnTo>
                      <a:pt x="524" y="403"/>
                    </a:lnTo>
                    <a:lnTo>
                      <a:pt x="523" y="403"/>
                    </a:lnTo>
                    <a:lnTo>
                      <a:pt x="522" y="402"/>
                    </a:lnTo>
                    <a:lnTo>
                      <a:pt x="522" y="399"/>
                    </a:lnTo>
                    <a:lnTo>
                      <a:pt x="521" y="400"/>
                    </a:lnTo>
                    <a:lnTo>
                      <a:pt x="520" y="399"/>
                    </a:lnTo>
                    <a:lnTo>
                      <a:pt x="519" y="402"/>
                    </a:lnTo>
                    <a:lnTo>
                      <a:pt x="517" y="404"/>
                    </a:lnTo>
                    <a:lnTo>
                      <a:pt x="516" y="407"/>
                    </a:lnTo>
                    <a:lnTo>
                      <a:pt x="517" y="407"/>
                    </a:lnTo>
                    <a:lnTo>
                      <a:pt x="515" y="408"/>
                    </a:lnTo>
                    <a:lnTo>
                      <a:pt x="515" y="411"/>
                    </a:lnTo>
                    <a:lnTo>
                      <a:pt x="515" y="409"/>
                    </a:lnTo>
                    <a:lnTo>
                      <a:pt x="513" y="408"/>
                    </a:lnTo>
                    <a:lnTo>
                      <a:pt x="510" y="412"/>
                    </a:lnTo>
                    <a:lnTo>
                      <a:pt x="507" y="409"/>
                    </a:lnTo>
                    <a:lnTo>
                      <a:pt x="504" y="411"/>
                    </a:lnTo>
                    <a:lnTo>
                      <a:pt x="501" y="413"/>
                    </a:lnTo>
                    <a:lnTo>
                      <a:pt x="500" y="412"/>
                    </a:lnTo>
                    <a:lnTo>
                      <a:pt x="499" y="413"/>
                    </a:lnTo>
                    <a:lnTo>
                      <a:pt x="498" y="412"/>
                    </a:lnTo>
                    <a:lnTo>
                      <a:pt x="496" y="412"/>
                    </a:lnTo>
                    <a:lnTo>
                      <a:pt x="496" y="411"/>
                    </a:lnTo>
                    <a:lnTo>
                      <a:pt x="496" y="413"/>
                    </a:lnTo>
                    <a:lnTo>
                      <a:pt x="496" y="412"/>
                    </a:lnTo>
                    <a:lnTo>
                      <a:pt x="495" y="412"/>
                    </a:lnTo>
                    <a:lnTo>
                      <a:pt x="492" y="412"/>
                    </a:lnTo>
                    <a:lnTo>
                      <a:pt x="492" y="415"/>
                    </a:lnTo>
                    <a:lnTo>
                      <a:pt x="491" y="414"/>
                    </a:lnTo>
                    <a:lnTo>
                      <a:pt x="490" y="414"/>
                    </a:lnTo>
                    <a:lnTo>
                      <a:pt x="491" y="416"/>
                    </a:lnTo>
                    <a:lnTo>
                      <a:pt x="487" y="417"/>
                    </a:lnTo>
                    <a:lnTo>
                      <a:pt x="487" y="416"/>
                    </a:lnTo>
                    <a:lnTo>
                      <a:pt x="486" y="418"/>
                    </a:lnTo>
                    <a:lnTo>
                      <a:pt x="486" y="416"/>
                    </a:lnTo>
                    <a:lnTo>
                      <a:pt x="484" y="417"/>
                    </a:lnTo>
                    <a:lnTo>
                      <a:pt x="484" y="416"/>
                    </a:lnTo>
                    <a:lnTo>
                      <a:pt x="482" y="416"/>
                    </a:lnTo>
                    <a:lnTo>
                      <a:pt x="484" y="413"/>
                    </a:lnTo>
                    <a:lnTo>
                      <a:pt x="484" y="412"/>
                    </a:lnTo>
                    <a:lnTo>
                      <a:pt x="483" y="412"/>
                    </a:lnTo>
                    <a:lnTo>
                      <a:pt x="481" y="413"/>
                    </a:lnTo>
                    <a:lnTo>
                      <a:pt x="480" y="412"/>
                    </a:lnTo>
                    <a:lnTo>
                      <a:pt x="479" y="414"/>
                    </a:lnTo>
                    <a:lnTo>
                      <a:pt x="477" y="414"/>
                    </a:lnTo>
                    <a:lnTo>
                      <a:pt x="476" y="414"/>
                    </a:lnTo>
                    <a:lnTo>
                      <a:pt x="475" y="416"/>
                    </a:lnTo>
                    <a:lnTo>
                      <a:pt x="474" y="416"/>
                    </a:lnTo>
                    <a:lnTo>
                      <a:pt x="474" y="418"/>
                    </a:lnTo>
                    <a:lnTo>
                      <a:pt x="475" y="418"/>
                    </a:lnTo>
                    <a:lnTo>
                      <a:pt x="475" y="419"/>
                    </a:lnTo>
                    <a:lnTo>
                      <a:pt x="475" y="420"/>
                    </a:lnTo>
                    <a:lnTo>
                      <a:pt x="472" y="421"/>
                    </a:lnTo>
                    <a:lnTo>
                      <a:pt x="472" y="425"/>
                    </a:lnTo>
                    <a:lnTo>
                      <a:pt x="472" y="428"/>
                    </a:lnTo>
                    <a:lnTo>
                      <a:pt x="467" y="429"/>
                    </a:lnTo>
                    <a:lnTo>
                      <a:pt x="467" y="431"/>
                    </a:lnTo>
                    <a:lnTo>
                      <a:pt x="465" y="434"/>
                    </a:lnTo>
                    <a:lnTo>
                      <a:pt x="464" y="434"/>
                    </a:lnTo>
                    <a:lnTo>
                      <a:pt x="464" y="433"/>
                    </a:lnTo>
                    <a:lnTo>
                      <a:pt x="463" y="433"/>
                    </a:lnTo>
                    <a:lnTo>
                      <a:pt x="462" y="433"/>
                    </a:lnTo>
                    <a:lnTo>
                      <a:pt x="463" y="434"/>
                    </a:lnTo>
                    <a:lnTo>
                      <a:pt x="462" y="434"/>
                    </a:lnTo>
                    <a:lnTo>
                      <a:pt x="462" y="435"/>
                    </a:lnTo>
                    <a:lnTo>
                      <a:pt x="461" y="437"/>
                    </a:lnTo>
                    <a:lnTo>
                      <a:pt x="460" y="438"/>
                    </a:lnTo>
                    <a:lnTo>
                      <a:pt x="460" y="440"/>
                    </a:lnTo>
                    <a:lnTo>
                      <a:pt x="460" y="442"/>
                    </a:lnTo>
                    <a:lnTo>
                      <a:pt x="459" y="446"/>
                    </a:lnTo>
                    <a:lnTo>
                      <a:pt x="460" y="448"/>
                    </a:lnTo>
                    <a:lnTo>
                      <a:pt x="459" y="450"/>
                    </a:lnTo>
                    <a:lnTo>
                      <a:pt x="460" y="451"/>
                    </a:lnTo>
                    <a:lnTo>
                      <a:pt x="460" y="454"/>
                    </a:lnTo>
                    <a:lnTo>
                      <a:pt x="462" y="454"/>
                    </a:lnTo>
                    <a:lnTo>
                      <a:pt x="463" y="452"/>
                    </a:lnTo>
                    <a:lnTo>
                      <a:pt x="466" y="457"/>
                    </a:lnTo>
                    <a:lnTo>
                      <a:pt x="469" y="456"/>
                    </a:lnTo>
                    <a:lnTo>
                      <a:pt x="473" y="457"/>
                    </a:lnTo>
                    <a:lnTo>
                      <a:pt x="473" y="459"/>
                    </a:lnTo>
                    <a:lnTo>
                      <a:pt x="474" y="463"/>
                    </a:lnTo>
                    <a:lnTo>
                      <a:pt x="476" y="468"/>
                    </a:lnTo>
                    <a:lnTo>
                      <a:pt x="476" y="469"/>
                    </a:lnTo>
                    <a:lnTo>
                      <a:pt x="475" y="470"/>
                    </a:lnTo>
                    <a:lnTo>
                      <a:pt x="475" y="471"/>
                    </a:lnTo>
                    <a:lnTo>
                      <a:pt x="476" y="473"/>
                    </a:lnTo>
                    <a:lnTo>
                      <a:pt x="474" y="476"/>
                    </a:lnTo>
                    <a:lnTo>
                      <a:pt x="473" y="475"/>
                    </a:lnTo>
                    <a:lnTo>
                      <a:pt x="473" y="477"/>
                    </a:lnTo>
                    <a:lnTo>
                      <a:pt x="472" y="476"/>
                    </a:lnTo>
                    <a:lnTo>
                      <a:pt x="472" y="477"/>
                    </a:lnTo>
                    <a:lnTo>
                      <a:pt x="471" y="477"/>
                    </a:lnTo>
                    <a:lnTo>
                      <a:pt x="470" y="478"/>
                    </a:lnTo>
                    <a:lnTo>
                      <a:pt x="470" y="480"/>
                    </a:lnTo>
                    <a:lnTo>
                      <a:pt x="467" y="481"/>
                    </a:lnTo>
                    <a:lnTo>
                      <a:pt x="467" y="480"/>
                    </a:lnTo>
                    <a:lnTo>
                      <a:pt x="466" y="480"/>
                    </a:lnTo>
                    <a:lnTo>
                      <a:pt x="464" y="481"/>
                    </a:lnTo>
                    <a:lnTo>
                      <a:pt x="463" y="480"/>
                    </a:lnTo>
                    <a:lnTo>
                      <a:pt x="462" y="481"/>
                    </a:lnTo>
                    <a:lnTo>
                      <a:pt x="462" y="478"/>
                    </a:lnTo>
                    <a:lnTo>
                      <a:pt x="459" y="476"/>
                    </a:lnTo>
                    <a:lnTo>
                      <a:pt x="459" y="478"/>
                    </a:lnTo>
                    <a:lnTo>
                      <a:pt x="457" y="477"/>
                    </a:lnTo>
                    <a:lnTo>
                      <a:pt x="457" y="480"/>
                    </a:lnTo>
                    <a:lnTo>
                      <a:pt x="455" y="481"/>
                    </a:lnTo>
                    <a:lnTo>
                      <a:pt x="454" y="480"/>
                    </a:lnTo>
                    <a:lnTo>
                      <a:pt x="455" y="478"/>
                    </a:lnTo>
                    <a:lnTo>
                      <a:pt x="453" y="478"/>
                    </a:lnTo>
                    <a:lnTo>
                      <a:pt x="453" y="480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2" y="483"/>
                    </a:lnTo>
                    <a:lnTo>
                      <a:pt x="452" y="484"/>
                    </a:lnTo>
                    <a:lnTo>
                      <a:pt x="451" y="485"/>
                    </a:lnTo>
                    <a:lnTo>
                      <a:pt x="451" y="486"/>
                    </a:lnTo>
                    <a:lnTo>
                      <a:pt x="451" y="488"/>
                    </a:lnTo>
                    <a:lnTo>
                      <a:pt x="451" y="489"/>
                    </a:lnTo>
                    <a:lnTo>
                      <a:pt x="447" y="488"/>
                    </a:lnTo>
                    <a:lnTo>
                      <a:pt x="447" y="486"/>
                    </a:lnTo>
                    <a:lnTo>
                      <a:pt x="447" y="484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2" y="483"/>
                    </a:lnTo>
                    <a:lnTo>
                      <a:pt x="441" y="483"/>
                    </a:lnTo>
                    <a:lnTo>
                      <a:pt x="440" y="482"/>
                    </a:lnTo>
                    <a:lnTo>
                      <a:pt x="439" y="481"/>
                    </a:lnTo>
                    <a:lnTo>
                      <a:pt x="439" y="480"/>
                    </a:lnTo>
                    <a:lnTo>
                      <a:pt x="438" y="480"/>
                    </a:lnTo>
                    <a:lnTo>
                      <a:pt x="438" y="478"/>
                    </a:lnTo>
                    <a:lnTo>
                      <a:pt x="439" y="478"/>
                    </a:lnTo>
                    <a:lnTo>
                      <a:pt x="438" y="478"/>
                    </a:lnTo>
                    <a:lnTo>
                      <a:pt x="437" y="479"/>
                    </a:lnTo>
                    <a:lnTo>
                      <a:pt x="436" y="478"/>
                    </a:lnTo>
                    <a:lnTo>
                      <a:pt x="435" y="478"/>
                    </a:lnTo>
                    <a:lnTo>
                      <a:pt x="435" y="482"/>
                    </a:lnTo>
                    <a:lnTo>
                      <a:pt x="433" y="480"/>
                    </a:lnTo>
                    <a:lnTo>
                      <a:pt x="430" y="481"/>
                    </a:lnTo>
                    <a:lnTo>
                      <a:pt x="429" y="481"/>
                    </a:lnTo>
                    <a:lnTo>
                      <a:pt x="429" y="482"/>
                    </a:lnTo>
                    <a:lnTo>
                      <a:pt x="428" y="482"/>
                    </a:lnTo>
                    <a:lnTo>
                      <a:pt x="427" y="481"/>
                    </a:lnTo>
                    <a:lnTo>
                      <a:pt x="426" y="482"/>
                    </a:lnTo>
                    <a:lnTo>
                      <a:pt x="425" y="482"/>
                    </a:lnTo>
                    <a:lnTo>
                      <a:pt x="424" y="482"/>
                    </a:lnTo>
                    <a:lnTo>
                      <a:pt x="421" y="483"/>
                    </a:lnTo>
                    <a:lnTo>
                      <a:pt x="419" y="480"/>
                    </a:lnTo>
                    <a:lnTo>
                      <a:pt x="417" y="480"/>
                    </a:lnTo>
                    <a:lnTo>
                      <a:pt x="416" y="478"/>
                    </a:lnTo>
                    <a:lnTo>
                      <a:pt x="414" y="479"/>
                    </a:lnTo>
                    <a:lnTo>
                      <a:pt x="413" y="480"/>
                    </a:lnTo>
                    <a:lnTo>
                      <a:pt x="412" y="480"/>
                    </a:lnTo>
                    <a:lnTo>
                      <a:pt x="411" y="478"/>
                    </a:lnTo>
                    <a:lnTo>
                      <a:pt x="411" y="479"/>
                    </a:lnTo>
                    <a:lnTo>
                      <a:pt x="409" y="478"/>
                    </a:lnTo>
                    <a:lnTo>
                      <a:pt x="410" y="477"/>
                    </a:lnTo>
                    <a:lnTo>
                      <a:pt x="408" y="475"/>
                    </a:lnTo>
                    <a:lnTo>
                      <a:pt x="403" y="475"/>
                    </a:lnTo>
                    <a:lnTo>
                      <a:pt x="400" y="475"/>
                    </a:lnTo>
                    <a:lnTo>
                      <a:pt x="398" y="479"/>
                    </a:lnTo>
                    <a:lnTo>
                      <a:pt x="399" y="480"/>
                    </a:lnTo>
                    <a:lnTo>
                      <a:pt x="401" y="481"/>
                    </a:lnTo>
                    <a:lnTo>
                      <a:pt x="402" y="484"/>
                    </a:lnTo>
                    <a:lnTo>
                      <a:pt x="402" y="486"/>
                    </a:lnTo>
                    <a:lnTo>
                      <a:pt x="402" y="487"/>
                    </a:lnTo>
                    <a:lnTo>
                      <a:pt x="399" y="488"/>
                    </a:lnTo>
                    <a:lnTo>
                      <a:pt x="395" y="486"/>
                    </a:lnTo>
                    <a:lnTo>
                      <a:pt x="394" y="488"/>
                    </a:lnTo>
                    <a:lnTo>
                      <a:pt x="391" y="486"/>
                    </a:lnTo>
                    <a:lnTo>
                      <a:pt x="389" y="486"/>
                    </a:lnTo>
                    <a:lnTo>
                      <a:pt x="388" y="487"/>
                    </a:lnTo>
                    <a:lnTo>
                      <a:pt x="388" y="489"/>
                    </a:lnTo>
                    <a:lnTo>
                      <a:pt x="387" y="490"/>
                    </a:lnTo>
                    <a:lnTo>
                      <a:pt x="387" y="491"/>
                    </a:lnTo>
                    <a:lnTo>
                      <a:pt x="388" y="492"/>
                    </a:lnTo>
                    <a:lnTo>
                      <a:pt x="389" y="495"/>
                    </a:lnTo>
                    <a:lnTo>
                      <a:pt x="388" y="495"/>
                    </a:lnTo>
                    <a:lnTo>
                      <a:pt x="386" y="495"/>
                    </a:lnTo>
                    <a:lnTo>
                      <a:pt x="386" y="496"/>
                    </a:lnTo>
                    <a:lnTo>
                      <a:pt x="386" y="499"/>
                    </a:lnTo>
                    <a:lnTo>
                      <a:pt x="384" y="499"/>
                    </a:lnTo>
                    <a:lnTo>
                      <a:pt x="383" y="501"/>
                    </a:lnTo>
                    <a:lnTo>
                      <a:pt x="382" y="501"/>
                    </a:lnTo>
                    <a:lnTo>
                      <a:pt x="381" y="499"/>
                    </a:lnTo>
                    <a:lnTo>
                      <a:pt x="379" y="501"/>
                    </a:lnTo>
                    <a:lnTo>
                      <a:pt x="377" y="501"/>
                    </a:lnTo>
                    <a:lnTo>
                      <a:pt x="377" y="498"/>
                    </a:lnTo>
                    <a:lnTo>
                      <a:pt x="374" y="495"/>
                    </a:lnTo>
                    <a:lnTo>
                      <a:pt x="376" y="494"/>
                    </a:lnTo>
                    <a:lnTo>
                      <a:pt x="374" y="493"/>
                    </a:lnTo>
                    <a:lnTo>
                      <a:pt x="373" y="492"/>
                    </a:lnTo>
                    <a:lnTo>
                      <a:pt x="374" y="491"/>
                    </a:lnTo>
                    <a:lnTo>
                      <a:pt x="373" y="490"/>
                    </a:lnTo>
                    <a:lnTo>
                      <a:pt x="373" y="489"/>
                    </a:lnTo>
                    <a:lnTo>
                      <a:pt x="373" y="485"/>
                    </a:lnTo>
                    <a:lnTo>
                      <a:pt x="371" y="486"/>
                    </a:lnTo>
                    <a:lnTo>
                      <a:pt x="372" y="485"/>
                    </a:lnTo>
                    <a:lnTo>
                      <a:pt x="372" y="484"/>
                    </a:lnTo>
                    <a:lnTo>
                      <a:pt x="371" y="484"/>
                    </a:lnTo>
                    <a:lnTo>
                      <a:pt x="372" y="483"/>
                    </a:lnTo>
                    <a:lnTo>
                      <a:pt x="372" y="481"/>
                    </a:lnTo>
                    <a:lnTo>
                      <a:pt x="370" y="480"/>
                    </a:lnTo>
                    <a:lnTo>
                      <a:pt x="371" y="480"/>
                    </a:lnTo>
                    <a:lnTo>
                      <a:pt x="372" y="480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69" y="479"/>
                    </a:lnTo>
                    <a:lnTo>
                      <a:pt x="368" y="479"/>
                    </a:lnTo>
                    <a:lnTo>
                      <a:pt x="367" y="478"/>
                    </a:lnTo>
                    <a:lnTo>
                      <a:pt x="366" y="478"/>
                    </a:lnTo>
                    <a:lnTo>
                      <a:pt x="364" y="482"/>
                    </a:lnTo>
                    <a:lnTo>
                      <a:pt x="365" y="483"/>
                    </a:lnTo>
                    <a:lnTo>
                      <a:pt x="364" y="484"/>
                    </a:lnTo>
                    <a:lnTo>
                      <a:pt x="363" y="483"/>
                    </a:lnTo>
                    <a:lnTo>
                      <a:pt x="363" y="481"/>
                    </a:lnTo>
                    <a:lnTo>
                      <a:pt x="362" y="479"/>
                    </a:lnTo>
                    <a:lnTo>
                      <a:pt x="361" y="479"/>
                    </a:lnTo>
                    <a:lnTo>
                      <a:pt x="359" y="478"/>
                    </a:lnTo>
                    <a:lnTo>
                      <a:pt x="357" y="475"/>
                    </a:lnTo>
                    <a:lnTo>
                      <a:pt x="356" y="470"/>
                    </a:lnTo>
                    <a:lnTo>
                      <a:pt x="355" y="470"/>
                    </a:lnTo>
                    <a:lnTo>
                      <a:pt x="354" y="470"/>
                    </a:lnTo>
                    <a:lnTo>
                      <a:pt x="348" y="468"/>
                    </a:lnTo>
                    <a:lnTo>
                      <a:pt x="347" y="465"/>
                    </a:lnTo>
                    <a:lnTo>
                      <a:pt x="344" y="460"/>
                    </a:lnTo>
                    <a:lnTo>
                      <a:pt x="345" y="459"/>
                    </a:lnTo>
                    <a:lnTo>
                      <a:pt x="344" y="459"/>
                    </a:lnTo>
                    <a:lnTo>
                      <a:pt x="343" y="461"/>
                    </a:lnTo>
                    <a:lnTo>
                      <a:pt x="343" y="464"/>
                    </a:lnTo>
                    <a:lnTo>
                      <a:pt x="340" y="464"/>
                    </a:lnTo>
                    <a:lnTo>
                      <a:pt x="340" y="465"/>
                    </a:lnTo>
                    <a:lnTo>
                      <a:pt x="338" y="465"/>
                    </a:lnTo>
                    <a:lnTo>
                      <a:pt x="338" y="466"/>
                    </a:lnTo>
                    <a:lnTo>
                      <a:pt x="338" y="465"/>
                    </a:lnTo>
                    <a:lnTo>
                      <a:pt x="337" y="467"/>
                    </a:lnTo>
                    <a:lnTo>
                      <a:pt x="337" y="468"/>
                    </a:lnTo>
                    <a:lnTo>
                      <a:pt x="338" y="468"/>
                    </a:lnTo>
                    <a:lnTo>
                      <a:pt x="337" y="471"/>
                    </a:lnTo>
                    <a:lnTo>
                      <a:pt x="333" y="469"/>
                    </a:lnTo>
                    <a:lnTo>
                      <a:pt x="333" y="470"/>
                    </a:lnTo>
                    <a:lnTo>
                      <a:pt x="333" y="471"/>
                    </a:lnTo>
                    <a:lnTo>
                      <a:pt x="332" y="471"/>
                    </a:lnTo>
                    <a:lnTo>
                      <a:pt x="333" y="472"/>
                    </a:lnTo>
                    <a:lnTo>
                      <a:pt x="332" y="472"/>
                    </a:lnTo>
                    <a:lnTo>
                      <a:pt x="333" y="473"/>
                    </a:lnTo>
                    <a:lnTo>
                      <a:pt x="332" y="475"/>
                    </a:lnTo>
                    <a:lnTo>
                      <a:pt x="333" y="476"/>
                    </a:lnTo>
                    <a:lnTo>
                      <a:pt x="332" y="476"/>
                    </a:lnTo>
                    <a:lnTo>
                      <a:pt x="331" y="477"/>
                    </a:lnTo>
                    <a:lnTo>
                      <a:pt x="330" y="477"/>
                    </a:lnTo>
                    <a:lnTo>
                      <a:pt x="330" y="480"/>
                    </a:lnTo>
                    <a:lnTo>
                      <a:pt x="329" y="480"/>
                    </a:lnTo>
                    <a:lnTo>
                      <a:pt x="329" y="481"/>
                    </a:lnTo>
                    <a:lnTo>
                      <a:pt x="329" y="482"/>
                    </a:lnTo>
                    <a:lnTo>
                      <a:pt x="331" y="483"/>
                    </a:lnTo>
                    <a:lnTo>
                      <a:pt x="330" y="486"/>
                    </a:lnTo>
                    <a:lnTo>
                      <a:pt x="330" y="487"/>
                    </a:lnTo>
                    <a:lnTo>
                      <a:pt x="332" y="486"/>
                    </a:lnTo>
                    <a:lnTo>
                      <a:pt x="332" y="488"/>
                    </a:lnTo>
                    <a:lnTo>
                      <a:pt x="331" y="488"/>
                    </a:lnTo>
                    <a:lnTo>
                      <a:pt x="333" y="489"/>
                    </a:lnTo>
                    <a:lnTo>
                      <a:pt x="333" y="490"/>
                    </a:lnTo>
                    <a:lnTo>
                      <a:pt x="331" y="491"/>
                    </a:lnTo>
                    <a:lnTo>
                      <a:pt x="333" y="491"/>
                    </a:lnTo>
                    <a:lnTo>
                      <a:pt x="332" y="492"/>
                    </a:lnTo>
                    <a:lnTo>
                      <a:pt x="330" y="492"/>
                    </a:lnTo>
                    <a:lnTo>
                      <a:pt x="329" y="492"/>
                    </a:lnTo>
                    <a:lnTo>
                      <a:pt x="329" y="493"/>
                    </a:lnTo>
                    <a:lnTo>
                      <a:pt x="325" y="493"/>
                    </a:lnTo>
                    <a:lnTo>
                      <a:pt x="325" y="494"/>
                    </a:lnTo>
                    <a:lnTo>
                      <a:pt x="324" y="494"/>
                    </a:lnTo>
                    <a:lnTo>
                      <a:pt x="324" y="493"/>
                    </a:lnTo>
                    <a:lnTo>
                      <a:pt x="321" y="493"/>
                    </a:lnTo>
                    <a:lnTo>
                      <a:pt x="320" y="492"/>
                    </a:lnTo>
                    <a:lnTo>
                      <a:pt x="320" y="493"/>
                    </a:lnTo>
                    <a:lnTo>
                      <a:pt x="320" y="494"/>
                    </a:lnTo>
                    <a:lnTo>
                      <a:pt x="318" y="494"/>
                    </a:lnTo>
                    <a:lnTo>
                      <a:pt x="317" y="494"/>
                    </a:lnTo>
                    <a:lnTo>
                      <a:pt x="316" y="496"/>
                    </a:lnTo>
                    <a:lnTo>
                      <a:pt x="313" y="499"/>
                    </a:lnTo>
                    <a:lnTo>
                      <a:pt x="312" y="498"/>
                    </a:lnTo>
                    <a:lnTo>
                      <a:pt x="312" y="499"/>
                    </a:lnTo>
                    <a:lnTo>
                      <a:pt x="310" y="499"/>
                    </a:lnTo>
                    <a:lnTo>
                      <a:pt x="308" y="500"/>
                    </a:lnTo>
                    <a:lnTo>
                      <a:pt x="308" y="501"/>
                    </a:lnTo>
                    <a:lnTo>
                      <a:pt x="307" y="501"/>
                    </a:lnTo>
                    <a:lnTo>
                      <a:pt x="308" y="505"/>
                    </a:lnTo>
                    <a:lnTo>
                      <a:pt x="307" y="506"/>
                    </a:lnTo>
                    <a:lnTo>
                      <a:pt x="307" y="509"/>
                    </a:lnTo>
                    <a:lnTo>
                      <a:pt x="306" y="509"/>
                    </a:lnTo>
                    <a:lnTo>
                      <a:pt x="304" y="509"/>
                    </a:lnTo>
                    <a:lnTo>
                      <a:pt x="303" y="507"/>
                    </a:lnTo>
                    <a:lnTo>
                      <a:pt x="304" y="506"/>
                    </a:lnTo>
                    <a:lnTo>
                      <a:pt x="303" y="502"/>
                    </a:lnTo>
                    <a:lnTo>
                      <a:pt x="301" y="501"/>
                    </a:lnTo>
                    <a:lnTo>
                      <a:pt x="296" y="498"/>
                    </a:lnTo>
                    <a:lnTo>
                      <a:pt x="291" y="499"/>
                    </a:lnTo>
                    <a:lnTo>
                      <a:pt x="289" y="499"/>
                    </a:lnTo>
                    <a:lnTo>
                      <a:pt x="289" y="498"/>
                    </a:lnTo>
                    <a:lnTo>
                      <a:pt x="287" y="498"/>
                    </a:lnTo>
                    <a:lnTo>
                      <a:pt x="287" y="496"/>
                    </a:lnTo>
                    <a:lnTo>
                      <a:pt x="288" y="495"/>
                    </a:lnTo>
                    <a:lnTo>
                      <a:pt x="289" y="495"/>
                    </a:lnTo>
                    <a:lnTo>
                      <a:pt x="290" y="493"/>
                    </a:lnTo>
                    <a:lnTo>
                      <a:pt x="291" y="492"/>
                    </a:lnTo>
                    <a:lnTo>
                      <a:pt x="292" y="489"/>
                    </a:lnTo>
                    <a:lnTo>
                      <a:pt x="292" y="488"/>
                    </a:lnTo>
                    <a:lnTo>
                      <a:pt x="291" y="488"/>
                    </a:lnTo>
                    <a:lnTo>
                      <a:pt x="290" y="490"/>
                    </a:lnTo>
                    <a:lnTo>
                      <a:pt x="289" y="491"/>
                    </a:lnTo>
                    <a:lnTo>
                      <a:pt x="287" y="490"/>
                    </a:lnTo>
                    <a:lnTo>
                      <a:pt x="287" y="492"/>
                    </a:lnTo>
                    <a:lnTo>
                      <a:pt x="286" y="492"/>
                    </a:lnTo>
                    <a:lnTo>
                      <a:pt x="286" y="489"/>
                    </a:lnTo>
                    <a:lnTo>
                      <a:pt x="284" y="493"/>
                    </a:lnTo>
                    <a:lnTo>
                      <a:pt x="282" y="492"/>
                    </a:lnTo>
                    <a:lnTo>
                      <a:pt x="283" y="492"/>
                    </a:lnTo>
                    <a:lnTo>
                      <a:pt x="282" y="492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0" y="492"/>
                    </a:lnTo>
                    <a:lnTo>
                      <a:pt x="280" y="491"/>
                    </a:lnTo>
                    <a:lnTo>
                      <a:pt x="278" y="490"/>
                    </a:lnTo>
                    <a:lnTo>
                      <a:pt x="277" y="489"/>
                    </a:lnTo>
                    <a:lnTo>
                      <a:pt x="276" y="489"/>
                    </a:lnTo>
                    <a:lnTo>
                      <a:pt x="275" y="491"/>
                    </a:lnTo>
                    <a:lnTo>
                      <a:pt x="274" y="489"/>
                    </a:lnTo>
                    <a:lnTo>
                      <a:pt x="273" y="489"/>
                    </a:lnTo>
                    <a:lnTo>
                      <a:pt x="273" y="488"/>
                    </a:lnTo>
                    <a:lnTo>
                      <a:pt x="272" y="489"/>
                    </a:lnTo>
                    <a:lnTo>
                      <a:pt x="272" y="488"/>
                    </a:lnTo>
                    <a:lnTo>
                      <a:pt x="270" y="488"/>
                    </a:lnTo>
                    <a:lnTo>
                      <a:pt x="272" y="485"/>
                    </a:lnTo>
                    <a:lnTo>
                      <a:pt x="271" y="484"/>
                    </a:lnTo>
                    <a:lnTo>
                      <a:pt x="269" y="484"/>
                    </a:lnTo>
                    <a:lnTo>
                      <a:pt x="268" y="486"/>
                    </a:lnTo>
                    <a:lnTo>
                      <a:pt x="266" y="485"/>
                    </a:lnTo>
                    <a:lnTo>
                      <a:pt x="263" y="482"/>
                    </a:lnTo>
                    <a:lnTo>
                      <a:pt x="261" y="482"/>
                    </a:lnTo>
                    <a:lnTo>
                      <a:pt x="261" y="483"/>
                    </a:lnTo>
                    <a:lnTo>
                      <a:pt x="260" y="486"/>
                    </a:lnTo>
                    <a:lnTo>
                      <a:pt x="258" y="486"/>
                    </a:lnTo>
                    <a:lnTo>
                      <a:pt x="258" y="488"/>
                    </a:lnTo>
                    <a:lnTo>
                      <a:pt x="260" y="488"/>
                    </a:lnTo>
                    <a:lnTo>
                      <a:pt x="259" y="488"/>
                    </a:lnTo>
                    <a:lnTo>
                      <a:pt x="258" y="488"/>
                    </a:lnTo>
                    <a:lnTo>
                      <a:pt x="257" y="486"/>
                    </a:lnTo>
                    <a:lnTo>
                      <a:pt x="256" y="488"/>
                    </a:lnTo>
                    <a:lnTo>
                      <a:pt x="255" y="486"/>
                    </a:lnTo>
                    <a:lnTo>
                      <a:pt x="255" y="485"/>
                    </a:lnTo>
                    <a:lnTo>
                      <a:pt x="254" y="483"/>
                    </a:lnTo>
                    <a:lnTo>
                      <a:pt x="252" y="483"/>
                    </a:lnTo>
                    <a:lnTo>
                      <a:pt x="252" y="480"/>
                    </a:lnTo>
                    <a:lnTo>
                      <a:pt x="250" y="480"/>
                    </a:lnTo>
                    <a:lnTo>
                      <a:pt x="249" y="481"/>
                    </a:lnTo>
                    <a:lnTo>
                      <a:pt x="248" y="481"/>
                    </a:lnTo>
                    <a:lnTo>
                      <a:pt x="245" y="475"/>
                    </a:lnTo>
                    <a:lnTo>
                      <a:pt x="244" y="475"/>
                    </a:lnTo>
                    <a:lnTo>
                      <a:pt x="243" y="473"/>
                    </a:lnTo>
                    <a:lnTo>
                      <a:pt x="243" y="476"/>
                    </a:lnTo>
                    <a:lnTo>
                      <a:pt x="242" y="475"/>
                    </a:lnTo>
                    <a:lnTo>
                      <a:pt x="241" y="475"/>
                    </a:lnTo>
                    <a:lnTo>
                      <a:pt x="242" y="475"/>
                    </a:lnTo>
                    <a:lnTo>
                      <a:pt x="243" y="479"/>
                    </a:lnTo>
                    <a:lnTo>
                      <a:pt x="242" y="480"/>
                    </a:lnTo>
                    <a:lnTo>
                      <a:pt x="243" y="480"/>
                    </a:lnTo>
                    <a:lnTo>
                      <a:pt x="242" y="482"/>
                    </a:lnTo>
                    <a:lnTo>
                      <a:pt x="242" y="483"/>
                    </a:lnTo>
                    <a:lnTo>
                      <a:pt x="244" y="483"/>
                    </a:lnTo>
                    <a:lnTo>
                      <a:pt x="243" y="484"/>
                    </a:lnTo>
                    <a:lnTo>
                      <a:pt x="242" y="483"/>
                    </a:lnTo>
                    <a:lnTo>
                      <a:pt x="242" y="484"/>
                    </a:lnTo>
                    <a:lnTo>
                      <a:pt x="241" y="481"/>
                    </a:lnTo>
                    <a:lnTo>
                      <a:pt x="240" y="481"/>
                    </a:lnTo>
                    <a:lnTo>
                      <a:pt x="239" y="480"/>
                    </a:lnTo>
                    <a:lnTo>
                      <a:pt x="237" y="480"/>
                    </a:lnTo>
                    <a:lnTo>
                      <a:pt x="236" y="481"/>
                    </a:lnTo>
                    <a:lnTo>
                      <a:pt x="235" y="480"/>
                    </a:lnTo>
                    <a:lnTo>
                      <a:pt x="235" y="481"/>
                    </a:lnTo>
                    <a:lnTo>
                      <a:pt x="234" y="481"/>
                    </a:lnTo>
                    <a:lnTo>
                      <a:pt x="235" y="482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3" y="484"/>
                    </a:lnTo>
                    <a:lnTo>
                      <a:pt x="232" y="482"/>
                    </a:lnTo>
                    <a:lnTo>
                      <a:pt x="232" y="483"/>
                    </a:lnTo>
                    <a:lnTo>
                      <a:pt x="231" y="486"/>
                    </a:lnTo>
                    <a:lnTo>
                      <a:pt x="230" y="486"/>
                    </a:lnTo>
                    <a:lnTo>
                      <a:pt x="231" y="484"/>
                    </a:lnTo>
                    <a:lnTo>
                      <a:pt x="229" y="484"/>
                    </a:lnTo>
                    <a:lnTo>
                      <a:pt x="228" y="485"/>
                    </a:lnTo>
                    <a:lnTo>
                      <a:pt x="227" y="487"/>
                    </a:lnTo>
                    <a:lnTo>
                      <a:pt x="227" y="485"/>
                    </a:lnTo>
                    <a:lnTo>
                      <a:pt x="226" y="485"/>
                    </a:lnTo>
                    <a:lnTo>
                      <a:pt x="226" y="484"/>
                    </a:lnTo>
                    <a:lnTo>
                      <a:pt x="224" y="483"/>
                    </a:lnTo>
                    <a:lnTo>
                      <a:pt x="221" y="485"/>
                    </a:lnTo>
                    <a:lnTo>
                      <a:pt x="220" y="484"/>
                    </a:lnTo>
                    <a:lnTo>
                      <a:pt x="219" y="484"/>
                    </a:lnTo>
                    <a:lnTo>
                      <a:pt x="221" y="484"/>
                    </a:lnTo>
                    <a:lnTo>
                      <a:pt x="221" y="483"/>
                    </a:lnTo>
                    <a:lnTo>
                      <a:pt x="221" y="481"/>
                    </a:lnTo>
                    <a:lnTo>
                      <a:pt x="222" y="480"/>
                    </a:lnTo>
                    <a:lnTo>
                      <a:pt x="222" y="478"/>
                    </a:lnTo>
                    <a:lnTo>
                      <a:pt x="221" y="478"/>
                    </a:lnTo>
                    <a:lnTo>
                      <a:pt x="220" y="478"/>
                    </a:lnTo>
                    <a:lnTo>
                      <a:pt x="219" y="477"/>
                    </a:lnTo>
                    <a:lnTo>
                      <a:pt x="219" y="475"/>
                    </a:lnTo>
                    <a:lnTo>
                      <a:pt x="218" y="476"/>
                    </a:lnTo>
                    <a:lnTo>
                      <a:pt x="216" y="473"/>
                    </a:lnTo>
                    <a:lnTo>
                      <a:pt x="213" y="475"/>
                    </a:lnTo>
                    <a:lnTo>
                      <a:pt x="212" y="473"/>
                    </a:lnTo>
                    <a:lnTo>
                      <a:pt x="212" y="474"/>
                    </a:lnTo>
                    <a:lnTo>
                      <a:pt x="212" y="473"/>
                    </a:lnTo>
                    <a:lnTo>
                      <a:pt x="211" y="472"/>
                    </a:lnTo>
                    <a:lnTo>
                      <a:pt x="212" y="469"/>
                    </a:lnTo>
                    <a:lnTo>
                      <a:pt x="211" y="467"/>
                    </a:lnTo>
                    <a:lnTo>
                      <a:pt x="208" y="466"/>
                    </a:lnTo>
                    <a:lnTo>
                      <a:pt x="208" y="465"/>
                    </a:lnTo>
                    <a:lnTo>
                      <a:pt x="206" y="465"/>
                    </a:lnTo>
                    <a:lnTo>
                      <a:pt x="206" y="463"/>
                    </a:lnTo>
                    <a:lnTo>
                      <a:pt x="203" y="465"/>
                    </a:lnTo>
                    <a:lnTo>
                      <a:pt x="202" y="465"/>
                    </a:lnTo>
                    <a:lnTo>
                      <a:pt x="198" y="465"/>
                    </a:lnTo>
                    <a:lnTo>
                      <a:pt x="197" y="463"/>
                    </a:lnTo>
                    <a:lnTo>
                      <a:pt x="196" y="465"/>
                    </a:lnTo>
                    <a:lnTo>
                      <a:pt x="195" y="465"/>
                    </a:lnTo>
                    <a:lnTo>
                      <a:pt x="194" y="465"/>
                    </a:lnTo>
                    <a:lnTo>
                      <a:pt x="194" y="467"/>
                    </a:lnTo>
                    <a:lnTo>
                      <a:pt x="194" y="470"/>
                    </a:lnTo>
                    <a:lnTo>
                      <a:pt x="192" y="471"/>
                    </a:lnTo>
                    <a:lnTo>
                      <a:pt x="192" y="472"/>
                    </a:lnTo>
                    <a:lnTo>
                      <a:pt x="190" y="473"/>
                    </a:lnTo>
                    <a:lnTo>
                      <a:pt x="189" y="473"/>
                    </a:lnTo>
                    <a:lnTo>
                      <a:pt x="189" y="475"/>
                    </a:lnTo>
                    <a:lnTo>
                      <a:pt x="190" y="474"/>
                    </a:lnTo>
                    <a:lnTo>
                      <a:pt x="188" y="476"/>
                    </a:lnTo>
                    <a:lnTo>
                      <a:pt x="188" y="478"/>
                    </a:lnTo>
                    <a:lnTo>
                      <a:pt x="186" y="477"/>
                    </a:lnTo>
                    <a:lnTo>
                      <a:pt x="186" y="476"/>
                    </a:lnTo>
                    <a:lnTo>
                      <a:pt x="187" y="475"/>
                    </a:lnTo>
                    <a:lnTo>
                      <a:pt x="184" y="475"/>
                    </a:lnTo>
                    <a:lnTo>
                      <a:pt x="181" y="475"/>
                    </a:lnTo>
                    <a:lnTo>
                      <a:pt x="180" y="476"/>
                    </a:lnTo>
                    <a:lnTo>
                      <a:pt x="178" y="475"/>
                    </a:lnTo>
                    <a:lnTo>
                      <a:pt x="177" y="475"/>
                    </a:lnTo>
                    <a:lnTo>
                      <a:pt x="174" y="475"/>
                    </a:lnTo>
                    <a:lnTo>
                      <a:pt x="173" y="475"/>
                    </a:lnTo>
                    <a:lnTo>
                      <a:pt x="172" y="476"/>
                    </a:lnTo>
                    <a:lnTo>
                      <a:pt x="170" y="473"/>
                    </a:lnTo>
                    <a:lnTo>
                      <a:pt x="168" y="473"/>
                    </a:lnTo>
                    <a:lnTo>
                      <a:pt x="165" y="472"/>
                    </a:lnTo>
                    <a:lnTo>
                      <a:pt x="165" y="476"/>
                    </a:lnTo>
                    <a:lnTo>
                      <a:pt x="163" y="475"/>
                    </a:lnTo>
                    <a:lnTo>
                      <a:pt x="161" y="475"/>
                    </a:lnTo>
                    <a:lnTo>
                      <a:pt x="161" y="473"/>
                    </a:lnTo>
                    <a:lnTo>
                      <a:pt x="161" y="472"/>
                    </a:lnTo>
                    <a:lnTo>
                      <a:pt x="161" y="471"/>
                    </a:lnTo>
                    <a:lnTo>
                      <a:pt x="159" y="471"/>
                    </a:lnTo>
                    <a:lnTo>
                      <a:pt x="159" y="473"/>
                    </a:lnTo>
                    <a:lnTo>
                      <a:pt x="158" y="475"/>
                    </a:lnTo>
                    <a:lnTo>
                      <a:pt x="156" y="474"/>
                    </a:lnTo>
                    <a:lnTo>
                      <a:pt x="155" y="475"/>
                    </a:lnTo>
                    <a:lnTo>
                      <a:pt x="155" y="473"/>
                    </a:lnTo>
                    <a:lnTo>
                      <a:pt x="152" y="473"/>
                    </a:lnTo>
                    <a:lnTo>
                      <a:pt x="152" y="472"/>
                    </a:lnTo>
                    <a:lnTo>
                      <a:pt x="151" y="473"/>
                    </a:lnTo>
                    <a:lnTo>
                      <a:pt x="150" y="472"/>
                    </a:lnTo>
                    <a:lnTo>
                      <a:pt x="149" y="469"/>
                    </a:lnTo>
                    <a:lnTo>
                      <a:pt x="150" y="468"/>
                    </a:lnTo>
                    <a:lnTo>
                      <a:pt x="150" y="467"/>
                    </a:lnTo>
                    <a:lnTo>
                      <a:pt x="150" y="464"/>
                    </a:lnTo>
                    <a:lnTo>
                      <a:pt x="150" y="463"/>
                    </a:lnTo>
                    <a:lnTo>
                      <a:pt x="151" y="462"/>
                    </a:lnTo>
                    <a:lnTo>
                      <a:pt x="151" y="461"/>
                    </a:lnTo>
                    <a:lnTo>
                      <a:pt x="153" y="461"/>
                    </a:lnTo>
                    <a:lnTo>
                      <a:pt x="151" y="460"/>
                    </a:lnTo>
                    <a:lnTo>
                      <a:pt x="149" y="458"/>
                    </a:lnTo>
                    <a:lnTo>
                      <a:pt x="145" y="458"/>
                    </a:lnTo>
                    <a:lnTo>
                      <a:pt x="144" y="458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73" name="Group 86">
              <a:extLst>
                <a:ext uri="{FF2B5EF4-FFF2-40B4-BE49-F238E27FC236}">
                  <a16:creationId xmlns:a16="http://schemas.microsoft.com/office/drawing/2014/main" id="{AB1D2F26-35F9-4A78-9D20-6390853C5C2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1" y="2910"/>
              <a:ext cx="569" cy="509"/>
              <a:chOff x="791" y="2910"/>
              <a:chExt cx="569" cy="509"/>
            </a:xfrm>
          </p:grpSpPr>
          <p:sp>
            <p:nvSpPr>
              <p:cNvPr id="513" name="Freeform 84">
                <a:extLst>
                  <a:ext uri="{FF2B5EF4-FFF2-40B4-BE49-F238E27FC236}">
                    <a16:creationId xmlns:a16="http://schemas.microsoft.com/office/drawing/2014/main" id="{2729354C-9945-4500-8BD3-10780F832F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" y="2910"/>
                <a:ext cx="569" cy="509"/>
              </a:xfrm>
              <a:custGeom>
                <a:avLst/>
                <a:gdLst>
                  <a:gd name="T0" fmla="*/ 128 w 569"/>
                  <a:gd name="T1" fmla="*/ 470 h 509"/>
                  <a:gd name="T2" fmla="*/ 100 w 569"/>
                  <a:gd name="T3" fmla="*/ 473 h 509"/>
                  <a:gd name="T4" fmla="*/ 79 w 569"/>
                  <a:gd name="T5" fmla="*/ 467 h 509"/>
                  <a:gd name="T6" fmla="*/ 69 w 569"/>
                  <a:gd name="T7" fmla="*/ 420 h 509"/>
                  <a:gd name="T8" fmla="*/ 60 w 569"/>
                  <a:gd name="T9" fmla="*/ 397 h 509"/>
                  <a:gd name="T10" fmla="*/ 56 w 569"/>
                  <a:gd name="T11" fmla="*/ 386 h 509"/>
                  <a:gd name="T12" fmla="*/ 81 w 569"/>
                  <a:gd name="T13" fmla="*/ 368 h 509"/>
                  <a:gd name="T14" fmla="*/ 91 w 569"/>
                  <a:gd name="T15" fmla="*/ 338 h 509"/>
                  <a:gd name="T16" fmla="*/ 106 w 569"/>
                  <a:gd name="T17" fmla="*/ 306 h 509"/>
                  <a:gd name="T18" fmla="*/ 89 w 569"/>
                  <a:gd name="T19" fmla="*/ 267 h 509"/>
                  <a:gd name="T20" fmla="*/ 60 w 569"/>
                  <a:gd name="T21" fmla="*/ 236 h 509"/>
                  <a:gd name="T22" fmla="*/ 33 w 569"/>
                  <a:gd name="T23" fmla="*/ 210 h 509"/>
                  <a:gd name="T24" fmla="*/ 6 w 569"/>
                  <a:gd name="T25" fmla="*/ 198 h 509"/>
                  <a:gd name="T26" fmla="*/ 25 w 569"/>
                  <a:gd name="T27" fmla="*/ 175 h 509"/>
                  <a:gd name="T28" fmla="*/ 41 w 569"/>
                  <a:gd name="T29" fmla="*/ 146 h 509"/>
                  <a:gd name="T30" fmla="*/ 85 w 569"/>
                  <a:gd name="T31" fmla="*/ 126 h 509"/>
                  <a:gd name="T32" fmla="*/ 128 w 569"/>
                  <a:gd name="T33" fmla="*/ 122 h 509"/>
                  <a:gd name="T34" fmla="*/ 164 w 569"/>
                  <a:gd name="T35" fmla="*/ 107 h 509"/>
                  <a:gd name="T36" fmla="*/ 188 w 569"/>
                  <a:gd name="T37" fmla="*/ 92 h 509"/>
                  <a:gd name="T38" fmla="*/ 237 w 569"/>
                  <a:gd name="T39" fmla="*/ 103 h 509"/>
                  <a:gd name="T40" fmla="*/ 273 w 569"/>
                  <a:gd name="T41" fmla="*/ 101 h 509"/>
                  <a:gd name="T42" fmla="*/ 282 w 569"/>
                  <a:gd name="T43" fmla="*/ 78 h 509"/>
                  <a:gd name="T44" fmla="*/ 295 w 569"/>
                  <a:gd name="T45" fmla="*/ 68 h 509"/>
                  <a:gd name="T46" fmla="*/ 321 w 569"/>
                  <a:gd name="T47" fmla="*/ 39 h 509"/>
                  <a:gd name="T48" fmla="*/ 343 w 569"/>
                  <a:gd name="T49" fmla="*/ 44 h 509"/>
                  <a:gd name="T50" fmla="*/ 368 w 569"/>
                  <a:gd name="T51" fmla="*/ 52 h 509"/>
                  <a:gd name="T52" fmla="*/ 423 w 569"/>
                  <a:gd name="T53" fmla="*/ 18 h 509"/>
                  <a:gd name="T54" fmla="*/ 446 w 569"/>
                  <a:gd name="T55" fmla="*/ 7 h 509"/>
                  <a:gd name="T56" fmla="*/ 468 w 569"/>
                  <a:gd name="T57" fmla="*/ 20 h 509"/>
                  <a:gd name="T58" fmla="*/ 488 w 569"/>
                  <a:gd name="T59" fmla="*/ 49 h 509"/>
                  <a:gd name="T60" fmla="*/ 491 w 569"/>
                  <a:gd name="T61" fmla="*/ 77 h 509"/>
                  <a:gd name="T62" fmla="*/ 489 w 569"/>
                  <a:gd name="T63" fmla="*/ 109 h 509"/>
                  <a:gd name="T64" fmla="*/ 483 w 569"/>
                  <a:gd name="T65" fmla="*/ 137 h 509"/>
                  <a:gd name="T66" fmla="*/ 499 w 569"/>
                  <a:gd name="T67" fmla="*/ 161 h 509"/>
                  <a:gd name="T68" fmla="*/ 528 w 569"/>
                  <a:gd name="T69" fmla="*/ 171 h 509"/>
                  <a:gd name="T70" fmla="*/ 541 w 569"/>
                  <a:gd name="T71" fmla="*/ 189 h 509"/>
                  <a:gd name="T72" fmla="*/ 539 w 569"/>
                  <a:gd name="T73" fmla="*/ 225 h 509"/>
                  <a:gd name="T74" fmla="*/ 552 w 569"/>
                  <a:gd name="T75" fmla="*/ 249 h 509"/>
                  <a:gd name="T76" fmla="*/ 542 w 569"/>
                  <a:gd name="T77" fmla="*/ 279 h 509"/>
                  <a:gd name="T78" fmla="*/ 530 w 569"/>
                  <a:gd name="T79" fmla="*/ 288 h 509"/>
                  <a:gd name="T80" fmla="*/ 548 w 569"/>
                  <a:gd name="T81" fmla="*/ 306 h 509"/>
                  <a:gd name="T82" fmla="*/ 567 w 569"/>
                  <a:gd name="T83" fmla="*/ 330 h 509"/>
                  <a:gd name="T84" fmla="*/ 557 w 569"/>
                  <a:gd name="T85" fmla="*/ 360 h 509"/>
                  <a:gd name="T86" fmla="*/ 544 w 569"/>
                  <a:gd name="T87" fmla="*/ 384 h 509"/>
                  <a:gd name="T88" fmla="*/ 524 w 569"/>
                  <a:gd name="T89" fmla="*/ 401 h 509"/>
                  <a:gd name="T90" fmla="*/ 495 w 569"/>
                  <a:gd name="T91" fmla="*/ 412 h 509"/>
                  <a:gd name="T92" fmla="*/ 475 w 569"/>
                  <a:gd name="T93" fmla="*/ 420 h 509"/>
                  <a:gd name="T94" fmla="*/ 469 w 569"/>
                  <a:gd name="T95" fmla="*/ 456 h 509"/>
                  <a:gd name="T96" fmla="*/ 457 w 569"/>
                  <a:gd name="T97" fmla="*/ 480 h 509"/>
                  <a:gd name="T98" fmla="*/ 438 w 569"/>
                  <a:gd name="T99" fmla="*/ 480 h 509"/>
                  <a:gd name="T100" fmla="*/ 411 w 569"/>
                  <a:gd name="T101" fmla="*/ 478 h 509"/>
                  <a:gd name="T102" fmla="*/ 386 w 569"/>
                  <a:gd name="T103" fmla="*/ 495 h 509"/>
                  <a:gd name="T104" fmla="*/ 372 w 569"/>
                  <a:gd name="T105" fmla="*/ 480 h 509"/>
                  <a:gd name="T106" fmla="*/ 340 w 569"/>
                  <a:gd name="T107" fmla="*/ 465 h 509"/>
                  <a:gd name="T108" fmla="*/ 330 w 569"/>
                  <a:gd name="T109" fmla="*/ 486 h 509"/>
                  <a:gd name="T110" fmla="*/ 312 w 569"/>
                  <a:gd name="T111" fmla="*/ 499 h 509"/>
                  <a:gd name="T112" fmla="*/ 291 w 569"/>
                  <a:gd name="T113" fmla="*/ 488 h 509"/>
                  <a:gd name="T114" fmla="*/ 269 w 569"/>
                  <a:gd name="T115" fmla="*/ 484 h 509"/>
                  <a:gd name="T116" fmla="*/ 243 w 569"/>
                  <a:gd name="T117" fmla="*/ 476 h 509"/>
                  <a:gd name="T118" fmla="*/ 233 w 569"/>
                  <a:gd name="T119" fmla="*/ 484 h 509"/>
                  <a:gd name="T120" fmla="*/ 216 w 569"/>
                  <a:gd name="T121" fmla="*/ 473 h 509"/>
                  <a:gd name="T122" fmla="*/ 190 w 569"/>
                  <a:gd name="T123" fmla="*/ 474 h 509"/>
                  <a:gd name="T124" fmla="*/ 158 w 569"/>
                  <a:gd name="T125" fmla="*/ 475 h 5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9"/>
                  <a:gd name="T190" fmla="*/ 0 h 509"/>
                  <a:gd name="T191" fmla="*/ 569 w 569"/>
                  <a:gd name="T192" fmla="*/ 509 h 5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9" h="509">
                    <a:moveTo>
                      <a:pt x="144" y="458"/>
                    </a:moveTo>
                    <a:lnTo>
                      <a:pt x="142" y="460"/>
                    </a:lnTo>
                    <a:lnTo>
                      <a:pt x="142" y="459"/>
                    </a:lnTo>
                    <a:lnTo>
                      <a:pt x="139" y="461"/>
                    </a:lnTo>
                    <a:lnTo>
                      <a:pt x="138" y="461"/>
                    </a:lnTo>
                    <a:lnTo>
                      <a:pt x="136" y="460"/>
                    </a:lnTo>
                    <a:lnTo>
                      <a:pt x="135" y="463"/>
                    </a:lnTo>
                    <a:lnTo>
                      <a:pt x="136" y="465"/>
                    </a:lnTo>
                    <a:lnTo>
                      <a:pt x="135" y="467"/>
                    </a:lnTo>
                    <a:lnTo>
                      <a:pt x="135" y="465"/>
                    </a:lnTo>
                    <a:lnTo>
                      <a:pt x="134" y="468"/>
                    </a:lnTo>
                    <a:lnTo>
                      <a:pt x="134" y="469"/>
                    </a:lnTo>
                    <a:lnTo>
                      <a:pt x="134" y="470"/>
                    </a:lnTo>
                    <a:lnTo>
                      <a:pt x="133" y="470"/>
                    </a:lnTo>
                    <a:lnTo>
                      <a:pt x="133" y="471"/>
                    </a:lnTo>
                    <a:lnTo>
                      <a:pt x="132" y="469"/>
                    </a:lnTo>
                    <a:lnTo>
                      <a:pt x="131" y="469"/>
                    </a:lnTo>
                    <a:lnTo>
                      <a:pt x="131" y="471"/>
                    </a:lnTo>
                    <a:lnTo>
                      <a:pt x="132" y="473"/>
                    </a:lnTo>
                    <a:lnTo>
                      <a:pt x="131" y="473"/>
                    </a:lnTo>
                    <a:lnTo>
                      <a:pt x="131" y="475"/>
                    </a:lnTo>
                    <a:lnTo>
                      <a:pt x="130" y="475"/>
                    </a:lnTo>
                    <a:lnTo>
                      <a:pt x="130" y="472"/>
                    </a:lnTo>
                    <a:lnTo>
                      <a:pt x="128" y="472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6" y="473"/>
                    </a:lnTo>
                    <a:lnTo>
                      <a:pt x="125" y="475"/>
                    </a:lnTo>
                    <a:lnTo>
                      <a:pt x="125" y="476"/>
                    </a:lnTo>
                    <a:lnTo>
                      <a:pt x="125" y="477"/>
                    </a:lnTo>
                    <a:lnTo>
                      <a:pt x="121" y="476"/>
                    </a:lnTo>
                    <a:lnTo>
                      <a:pt x="118" y="475"/>
                    </a:lnTo>
                    <a:lnTo>
                      <a:pt x="118" y="473"/>
                    </a:lnTo>
                    <a:lnTo>
                      <a:pt x="117" y="472"/>
                    </a:lnTo>
                    <a:lnTo>
                      <a:pt x="114" y="475"/>
                    </a:lnTo>
                    <a:lnTo>
                      <a:pt x="114" y="478"/>
                    </a:lnTo>
                    <a:lnTo>
                      <a:pt x="113" y="478"/>
                    </a:lnTo>
                    <a:lnTo>
                      <a:pt x="111" y="480"/>
                    </a:lnTo>
                    <a:lnTo>
                      <a:pt x="111" y="478"/>
                    </a:lnTo>
                    <a:lnTo>
                      <a:pt x="107" y="479"/>
                    </a:lnTo>
                    <a:lnTo>
                      <a:pt x="107" y="478"/>
                    </a:lnTo>
                    <a:lnTo>
                      <a:pt x="105" y="478"/>
                    </a:lnTo>
                    <a:lnTo>
                      <a:pt x="105" y="476"/>
                    </a:lnTo>
                    <a:lnTo>
                      <a:pt x="104" y="475"/>
                    </a:lnTo>
                    <a:lnTo>
                      <a:pt x="103" y="476"/>
                    </a:lnTo>
                    <a:lnTo>
                      <a:pt x="100" y="476"/>
                    </a:lnTo>
                    <a:lnTo>
                      <a:pt x="102" y="475"/>
                    </a:lnTo>
                    <a:lnTo>
                      <a:pt x="102" y="473"/>
                    </a:lnTo>
                    <a:lnTo>
                      <a:pt x="104" y="472"/>
                    </a:lnTo>
                    <a:lnTo>
                      <a:pt x="100" y="472"/>
                    </a:lnTo>
                    <a:lnTo>
                      <a:pt x="100" y="473"/>
                    </a:lnTo>
                    <a:lnTo>
                      <a:pt x="98" y="472"/>
                    </a:lnTo>
                    <a:lnTo>
                      <a:pt x="98" y="470"/>
                    </a:lnTo>
                    <a:lnTo>
                      <a:pt x="98" y="468"/>
                    </a:lnTo>
                    <a:lnTo>
                      <a:pt x="95" y="465"/>
                    </a:lnTo>
                    <a:lnTo>
                      <a:pt x="93" y="466"/>
                    </a:lnTo>
                    <a:lnTo>
                      <a:pt x="93" y="467"/>
                    </a:lnTo>
                    <a:lnTo>
                      <a:pt x="94" y="468"/>
                    </a:lnTo>
                    <a:lnTo>
                      <a:pt x="92" y="468"/>
                    </a:lnTo>
                    <a:lnTo>
                      <a:pt x="90" y="471"/>
                    </a:lnTo>
                    <a:lnTo>
                      <a:pt x="89" y="471"/>
                    </a:lnTo>
                    <a:lnTo>
                      <a:pt x="87" y="472"/>
                    </a:lnTo>
                    <a:lnTo>
                      <a:pt x="87" y="471"/>
                    </a:lnTo>
                    <a:lnTo>
                      <a:pt x="87" y="470"/>
                    </a:lnTo>
                    <a:lnTo>
                      <a:pt x="86" y="471"/>
                    </a:lnTo>
                    <a:lnTo>
                      <a:pt x="85" y="471"/>
                    </a:lnTo>
                    <a:lnTo>
                      <a:pt x="85" y="467"/>
                    </a:lnTo>
                    <a:lnTo>
                      <a:pt x="85" y="468"/>
                    </a:lnTo>
                    <a:lnTo>
                      <a:pt x="84" y="467"/>
                    </a:lnTo>
                    <a:lnTo>
                      <a:pt x="84" y="463"/>
                    </a:lnTo>
                    <a:lnTo>
                      <a:pt x="82" y="463"/>
                    </a:lnTo>
                    <a:lnTo>
                      <a:pt x="83" y="464"/>
                    </a:lnTo>
                    <a:lnTo>
                      <a:pt x="81" y="464"/>
                    </a:lnTo>
                    <a:lnTo>
                      <a:pt x="81" y="467"/>
                    </a:lnTo>
                    <a:lnTo>
                      <a:pt x="79" y="467"/>
                    </a:lnTo>
                    <a:lnTo>
                      <a:pt x="79" y="468"/>
                    </a:lnTo>
                    <a:lnTo>
                      <a:pt x="76" y="466"/>
                    </a:lnTo>
                    <a:lnTo>
                      <a:pt x="74" y="465"/>
                    </a:lnTo>
                    <a:lnTo>
                      <a:pt x="72" y="469"/>
                    </a:lnTo>
                    <a:lnTo>
                      <a:pt x="71" y="469"/>
                    </a:lnTo>
                    <a:lnTo>
                      <a:pt x="68" y="468"/>
                    </a:lnTo>
                    <a:lnTo>
                      <a:pt x="67" y="468"/>
                    </a:lnTo>
                    <a:lnTo>
                      <a:pt x="68" y="465"/>
                    </a:lnTo>
                    <a:lnTo>
                      <a:pt x="68" y="464"/>
                    </a:lnTo>
                    <a:lnTo>
                      <a:pt x="69" y="459"/>
                    </a:lnTo>
                    <a:lnTo>
                      <a:pt x="70" y="456"/>
                    </a:lnTo>
                    <a:lnTo>
                      <a:pt x="68" y="455"/>
                    </a:lnTo>
                    <a:lnTo>
                      <a:pt x="69" y="452"/>
                    </a:lnTo>
                    <a:lnTo>
                      <a:pt x="65" y="448"/>
                    </a:lnTo>
                    <a:lnTo>
                      <a:pt x="64" y="448"/>
                    </a:lnTo>
                    <a:lnTo>
                      <a:pt x="61" y="452"/>
                    </a:lnTo>
                    <a:lnTo>
                      <a:pt x="61" y="451"/>
                    </a:lnTo>
                    <a:lnTo>
                      <a:pt x="63" y="450"/>
                    </a:lnTo>
                    <a:lnTo>
                      <a:pt x="64" y="445"/>
                    </a:lnTo>
                    <a:lnTo>
                      <a:pt x="63" y="444"/>
                    </a:lnTo>
                    <a:lnTo>
                      <a:pt x="63" y="443"/>
                    </a:lnTo>
                    <a:lnTo>
                      <a:pt x="65" y="437"/>
                    </a:lnTo>
                    <a:lnTo>
                      <a:pt x="64" y="433"/>
                    </a:lnTo>
                    <a:lnTo>
                      <a:pt x="66" y="431"/>
                    </a:lnTo>
                    <a:lnTo>
                      <a:pt x="68" y="428"/>
                    </a:lnTo>
                    <a:lnTo>
                      <a:pt x="68" y="421"/>
                    </a:lnTo>
                    <a:lnTo>
                      <a:pt x="69" y="420"/>
                    </a:lnTo>
                    <a:lnTo>
                      <a:pt x="70" y="417"/>
                    </a:lnTo>
                    <a:lnTo>
                      <a:pt x="69" y="415"/>
                    </a:lnTo>
                    <a:lnTo>
                      <a:pt x="67" y="416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3" y="411"/>
                    </a:lnTo>
                    <a:lnTo>
                      <a:pt x="61" y="412"/>
                    </a:lnTo>
                    <a:lnTo>
                      <a:pt x="58" y="411"/>
                    </a:lnTo>
                    <a:lnTo>
                      <a:pt x="58" y="409"/>
                    </a:lnTo>
                    <a:lnTo>
                      <a:pt x="60" y="409"/>
                    </a:lnTo>
                    <a:lnTo>
                      <a:pt x="60" y="408"/>
                    </a:lnTo>
                    <a:lnTo>
                      <a:pt x="57" y="407"/>
                    </a:lnTo>
                    <a:lnTo>
                      <a:pt x="57" y="406"/>
                    </a:lnTo>
                    <a:lnTo>
                      <a:pt x="55" y="406"/>
                    </a:lnTo>
                    <a:lnTo>
                      <a:pt x="53" y="405"/>
                    </a:lnTo>
                    <a:lnTo>
                      <a:pt x="52" y="405"/>
                    </a:lnTo>
                    <a:lnTo>
                      <a:pt x="52" y="402"/>
                    </a:lnTo>
                    <a:lnTo>
                      <a:pt x="50" y="401"/>
                    </a:lnTo>
                    <a:lnTo>
                      <a:pt x="53" y="402"/>
                    </a:lnTo>
                    <a:lnTo>
                      <a:pt x="56" y="405"/>
                    </a:lnTo>
                    <a:lnTo>
                      <a:pt x="59" y="405"/>
                    </a:lnTo>
                    <a:lnTo>
                      <a:pt x="60" y="404"/>
                    </a:lnTo>
                    <a:lnTo>
                      <a:pt x="61" y="404"/>
                    </a:lnTo>
                    <a:lnTo>
                      <a:pt x="63" y="403"/>
                    </a:lnTo>
                    <a:lnTo>
                      <a:pt x="61" y="403"/>
                    </a:lnTo>
                    <a:lnTo>
                      <a:pt x="60" y="397"/>
                    </a:lnTo>
                    <a:lnTo>
                      <a:pt x="56" y="396"/>
                    </a:lnTo>
                    <a:lnTo>
                      <a:pt x="55" y="394"/>
                    </a:lnTo>
                    <a:lnTo>
                      <a:pt x="56" y="392"/>
                    </a:lnTo>
                    <a:lnTo>
                      <a:pt x="55" y="391"/>
                    </a:lnTo>
                    <a:lnTo>
                      <a:pt x="56" y="390"/>
                    </a:lnTo>
                    <a:lnTo>
                      <a:pt x="57" y="391"/>
                    </a:lnTo>
                    <a:lnTo>
                      <a:pt x="57" y="392"/>
                    </a:lnTo>
                    <a:lnTo>
                      <a:pt x="58" y="391"/>
                    </a:lnTo>
                    <a:lnTo>
                      <a:pt x="59" y="391"/>
                    </a:lnTo>
                    <a:lnTo>
                      <a:pt x="60" y="391"/>
                    </a:lnTo>
                    <a:lnTo>
                      <a:pt x="63" y="390"/>
                    </a:lnTo>
                    <a:lnTo>
                      <a:pt x="64" y="391"/>
                    </a:lnTo>
                    <a:lnTo>
                      <a:pt x="67" y="388"/>
                    </a:lnTo>
                    <a:lnTo>
                      <a:pt x="65" y="388"/>
                    </a:lnTo>
                    <a:lnTo>
                      <a:pt x="65" y="386"/>
                    </a:lnTo>
                    <a:lnTo>
                      <a:pt x="63" y="386"/>
                    </a:lnTo>
                    <a:lnTo>
                      <a:pt x="62" y="385"/>
                    </a:lnTo>
                    <a:lnTo>
                      <a:pt x="60" y="386"/>
                    </a:lnTo>
                    <a:lnTo>
                      <a:pt x="61" y="384"/>
                    </a:lnTo>
                    <a:lnTo>
                      <a:pt x="60" y="384"/>
                    </a:lnTo>
                    <a:lnTo>
                      <a:pt x="58" y="385"/>
                    </a:lnTo>
                    <a:lnTo>
                      <a:pt x="58" y="384"/>
                    </a:lnTo>
                    <a:lnTo>
                      <a:pt x="57" y="384"/>
                    </a:lnTo>
                    <a:lnTo>
                      <a:pt x="56" y="386"/>
                    </a:lnTo>
                    <a:lnTo>
                      <a:pt x="55" y="386"/>
                    </a:lnTo>
                    <a:lnTo>
                      <a:pt x="55" y="388"/>
                    </a:lnTo>
                    <a:lnTo>
                      <a:pt x="53" y="387"/>
                    </a:lnTo>
                    <a:lnTo>
                      <a:pt x="52" y="383"/>
                    </a:lnTo>
                    <a:lnTo>
                      <a:pt x="53" y="384"/>
                    </a:lnTo>
                    <a:lnTo>
                      <a:pt x="53" y="383"/>
                    </a:lnTo>
                    <a:lnTo>
                      <a:pt x="52" y="382"/>
                    </a:lnTo>
                    <a:lnTo>
                      <a:pt x="54" y="380"/>
                    </a:lnTo>
                    <a:lnTo>
                      <a:pt x="53" y="378"/>
                    </a:lnTo>
                    <a:lnTo>
                      <a:pt x="54" y="376"/>
                    </a:lnTo>
                    <a:lnTo>
                      <a:pt x="58" y="374"/>
                    </a:lnTo>
                    <a:lnTo>
                      <a:pt x="61" y="368"/>
                    </a:lnTo>
                    <a:lnTo>
                      <a:pt x="71" y="365"/>
                    </a:lnTo>
                    <a:lnTo>
                      <a:pt x="73" y="364"/>
                    </a:lnTo>
                    <a:lnTo>
                      <a:pt x="75" y="364"/>
                    </a:lnTo>
                    <a:lnTo>
                      <a:pt x="74" y="364"/>
                    </a:lnTo>
                    <a:lnTo>
                      <a:pt x="74" y="367"/>
                    </a:lnTo>
                    <a:lnTo>
                      <a:pt x="76" y="368"/>
                    </a:lnTo>
                    <a:lnTo>
                      <a:pt x="77" y="370"/>
                    </a:lnTo>
                    <a:lnTo>
                      <a:pt x="77" y="371"/>
                    </a:lnTo>
                    <a:lnTo>
                      <a:pt x="79" y="371"/>
                    </a:lnTo>
                    <a:lnTo>
                      <a:pt x="80" y="371"/>
                    </a:lnTo>
                    <a:lnTo>
                      <a:pt x="81" y="369"/>
                    </a:lnTo>
                    <a:lnTo>
                      <a:pt x="81" y="368"/>
                    </a:lnTo>
                    <a:lnTo>
                      <a:pt x="82" y="367"/>
                    </a:lnTo>
                    <a:lnTo>
                      <a:pt x="82" y="365"/>
                    </a:lnTo>
                    <a:lnTo>
                      <a:pt x="84" y="364"/>
                    </a:lnTo>
                    <a:lnTo>
                      <a:pt x="85" y="361"/>
                    </a:lnTo>
                    <a:lnTo>
                      <a:pt x="86" y="361"/>
                    </a:lnTo>
                    <a:lnTo>
                      <a:pt x="89" y="361"/>
                    </a:lnTo>
                    <a:lnTo>
                      <a:pt x="89" y="360"/>
                    </a:lnTo>
                    <a:lnTo>
                      <a:pt x="90" y="360"/>
                    </a:lnTo>
                    <a:lnTo>
                      <a:pt x="91" y="360"/>
                    </a:lnTo>
                    <a:lnTo>
                      <a:pt x="93" y="358"/>
                    </a:lnTo>
                    <a:lnTo>
                      <a:pt x="93" y="359"/>
                    </a:lnTo>
                    <a:lnTo>
                      <a:pt x="95" y="356"/>
                    </a:lnTo>
                    <a:lnTo>
                      <a:pt x="95" y="354"/>
                    </a:lnTo>
                    <a:lnTo>
                      <a:pt x="93" y="353"/>
                    </a:lnTo>
                    <a:lnTo>
                      <a:pt x="92" y="352"/>
                    </a:lnTo>
                    <a:lnTo>
                      <a:pt x="91" y="351"/>
                    </a:lnTo>
                    <a:lnTo>
                      <a:pt x="90" y="352"/>
                    </a:lnTo>
                    <a:lnTo>
                      <a:pt x="89" y="352"/>
                    </a:lnTo>
                    <a:lnTo>
                      <a:pt x="87" y="354"/>
                    </a:lnTo>
                    <a:lnTo>
                      <a:pt x="86" y="353"/>
                    </a:lnTo>
                    <a:lnTo>
                      <a:pt x="87" y="350"/>
                    </a:lnTo>
                    <a:lnTo>
                      <a:pt x="90" y="349"/>
                    </a:lnTo>
                    <a:lnTo>
                      <a:pt x="92" y="344"/>
                    </a:lnTo>
                    <a:lnTo>
                      <a:pt x="92" y="341"/>
                    </a:lnTo>
                    <a:lnTo>
                      <a:pt x="91" y="339"/>
                    </a:lnTo>
                    <a:lnTo>
                      <a:pt x="91" y="338"/>
                    </a:lnTo>
                    <a:lnTo>
                      <a:pt x="90" y="335"/>
                    </a:lnTo>
                    <a:lnTo>
                      <a:pt x="91" y="333"/>
                    </a:lnTo>
                    <a:lnTo>
                      <a:pt x="95" y="333"/>
                    </a:lnTo>
                    <a:lnTo>
                      <a:pt x="95" y="331"/>
                    </a:lnTo>
                    <a:lnTo>
                      <a:pt x="97" y="330"/>
                    </a:lnTo>
                    <a:lnTo>
                      <a:pt x="96" y="330"/>
                    </a:lnTo>
                    <a:lnTo>
                      <a:pt x="97" y="326"/>
                    </a:lnTo>
                    <a:lnTo>
                      <a:pt x="95" y="324"/>
                    </a:lnTo>
                    <a:lnTo>
                      <a:pt x="95" y="321"/>
                    </a:lnTo>
                    <a:lnTo>
                      <a:pt x="98" y="318"/>
                    </a:lnTo>
                    <a:lnTo>
                      <a:pt x="97" y="316"/>
                    </a:lnTo>
                    <a:lnTo>
                      <a:pt x="96" y="314"/>
                    </a:lnTo>
                    <a:lnTo>
                      <a:pt x="97" y="313"/>
                    </a:lnTo>
                    <a:lnTo>
                      <a:pt x="98" y="314"/>
                    </a:lnTo>
                    <a:lnTo>
                      <a:pt x="100" y="310"/>
                    </a:lnTo>
                    <a:lnTo>
                      <a:pt x="99" y="308"/>
                    </a:lnTo>
                    <a:lnTo>
                      <a:pt x="100" y="308"/>
                    </a:lnTo>
                    <a:lnTo>
                      <a:pt x="100" y="304"/>
                    </a:lnTo>
                    <a:lnTo>
                      <a:pt x="101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4" y="304"/>
                    </a:lnTo>
                    <a:lnTo>
                      <a:pt x="105" y="304"/>
                    </a:lnTo>
                    <a:lnTo>
                      <a:pt x="106" y="304"/>
                    </a:lnTo>
                    <a:lnTo>
                      <a:pt x="106" y="306"/>
                    </a:lnTo>
                    <a:lnTo>
                      <a:pt x="107" y="305"/>
                    </a:lnTo>
                    <a:lnTo>
                      <a:pt x="107" y="299"/>
                    </a:lnTo>
                    <a:lnTo>
                      <a:pt x="107" y="293"/>
                    </a:lnTo>
                    <a:lnTo>
                      <a:pt x="106" y="291"/>
                    </a:lnTo>
                    <a:lnTo>
                      <a:pt x="107" y="289"/>
                    </a:lnTo>
                    <a:lnTo>
                      <a:pt x="107" y="287"/>
                    </a:lnTo>
                    <a:lnTo>
                      <a:pt x="106" y="287"/>
                    </a:lnTo>
                    <a:lnTo>
                      <a:pt x="105" y="286"/>
                    </a:lnTo>
                    <a:lnTo>
                      <a:pt x="106" y="284"/>
                    </a:lnTo>
                    <a:lnTo>
                      <a:pt x="107" y="283"/>
                    </a:lnTo>
                    <a:lnTo>
                      <a:pt x="107" y="280"/>
                    </a:lnTo>
                    <a:lnTo>
                      <a:pt x="106" y="280"/>
                    </a:lnTo>
                    <a:lnTo>
                      <a:pt x="107" y="278"/>
                    </a:lnTo>
                    <a:lnTo>
                      <a:pt x="110" y="277"/>
                    </a:lnTo>
                    <a:lnTo>
                      <a:pt x="106" y="277"/>
                    </a:lnTo>
                    <a:lnTo>
                      <a:pt x="104" y="276"/>
                    </a:lnTo>
                    <a:lnTo>
                      <a:pt x="100" y="272"/>
                    </a:lnTo>
                    <a:lnTo>
                      <a:pt x="98" y="269"/>
                    </a:lnTo>
                    <a:lnTo>
                      <a:pt x="93" y="268"/>
                    </a:lnTo>
                    <a:lnTo>
                      <a:pt x="92" y="267"/>
                    </a:lnTo>
                    <a:lnTo>
                      <a:pt x="89" y="268"/>
                    </a:lnTo>
                    <a:lnTo>
                      <a:pt x="87" y="267"/>
                    </a:lnTo>
                    <a:lnTo>
                      <a:pt x="87" y="266"/>
                    </a:lnTo>
                    <a:lnTo>
                      <a:pt x="89" y="267"/>
                    </a:lnTo>
                    <a:lnTo>
                      <a:pt x="90" y="262"/>
                    </a:lnTo>
                    <a:lnTo>
                      <a:pt x="90" y="260"/>
                    </a:lnTo>
                    <a:lnTo>
                      <a:pt x="90" y="259"/>
                    </a:lnTo>
                    <a:lnTo>
                      <a:pt x="90" y="256"/>
                    </a:lnTo>
                    <a:lnTo>
                      <a:pt x="87" y="256"/>
                    </a:lnTo>
                    <a:lnTo>
                      <a:pt x="85" y="255"/>
                    </a:lnTo>
                    <a:lnTo>
                      <a:pt x="83" y="254"/>
                    </a:lnTo>
                    <a:lnTo>
                      <a:pt x="79" y="254"/>
                    </a:lnTo>
                    <a:lnTo>
                      <a:pt x="77" y="255"/>
                    </a:lnTo>
                    <a:lnTo>
                      <a:pt x="77" y="252"/>
                    </a:lnTo>
                    <a:lnTo>
                      <a:pt x="76" y="248"/>
                    </a:lnTo>
                    <a:lnTo>
                      <a:pt x="74" y="247"/>
                    </a:lnTo>
                    <a:lnTo>
                      <a:pt x="73" y="248"/>
                    </a:lnTo>
                    <a:lnTo>
                      <a:pt x="73" y="247"/>
                    </a:lnTo>
                    <a:lnTo>
                      <a:pt x="71" y="244"/>
                    </a:lnTo>
                    <a:lnTo>
                      <a:pt x="70" y="244"/>
                    </a:lnTo>
                    <a:lnTo>
                      <a:pt x="70" y="238"/>
                    </a:lnTo>
                    <a:lnTo>
                      <a:pt x="68" y="237"/>
                    </a:lnTo>
                    <a:lnTo>
                      <a:pt x="67" y="235"/>
                    </a:lnTo>
                    <a:lnTo>
                      <a:pt x="66" y="235"/>
                    </a:lnTo>
                    <a:lnTo>
                      <a:pt x="65" y="234"/>
                    </a:lnTo>
                    <a:lnTo>
                      <a:pt x="63" y="236"/>
                    </a:lnTo>
                    <a:lnTo>
                      <a:pt x="62" y="236"/>
                    </a:lnTo>
                    <a:lnTo>
                      <a:pt x="61" y="235"/>
                    </a:lnTo>
                    <a:lnTo>
                      <a:pt x="60" y="236"/>
                    </a:lnTo>
                    <a:lnTo>
                      <a:pt x="61" y="237"/>
                    </a:lnTo>
                    <a:lnTo>
                      <a:pt x="53" y="237"/>
                    </a:lnTo>
                    <a:lnTo>
                      <a:pt x="52" y="236"/>
                    </a:lnTo>
                    <a:lnTo>
                      <a:pt x="43" y="234"/>
                    </a:lnTo>
                    <a:lnTo>
                      <a:pt x="43" y="233"/>
                    </a:lnTo>
                    <a:lnTo>
                      <a:pt x="42" y="232"/>
                    </a:lnTo>
                    <a:lnTo>
                      <a:pt x="42" y="231"/>
                    </a:lnTo>
                    <a:lnTo>
                      <a:pt x="40" y="229"/>
                    </a:lnTo>
                    <a:lnTo>
                      <a:pt x="41" y="228"/>
                    </a:lnTo>
                    <a:lnTo>
                      <a:pt x="40" y="227"/>
                    </a:lnTo>
                    <a:lnTo>
                      <a:pt x="38" y="226"/>
                    </a:lnTo>
                    <a:lnTo>
                      <a:pt x="37" y="224"/>
                    </a:lnTo>
                    <a:lnTo>
                      <a:pt x="36" y="224"/>
                    </a:lnTo>
                    <a:lnTo>
                      <a:pt x="35" y="223"/>
                    </a:lnTo>
                    <a:lnTo>
                      <a:pt x="32" y="223"/>
                    </a:lnTo>
                    <a:lnTo>
                      <a:pt x="31" y="220"/>
                    </a:lnTo>
                    <a:lnTo>
                      <a:pt x="29" y="220"/>
                    </a:lnTo>
                    <a:lnTo>
                      <a:pt x="27" y="219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5"/>
                    </a:lnTo>
                    <a:lnTo>
                      <a:pt x="34" y="215"/>
                    </a:lnTo>
                    <a:lnTo>
                      <a:pt x="37" y="217"/>
                    </a:lnTo>
                    <a:lnTo>
                      <a:pt x="37" y="216"/>
                    </a:lnTo>
                    <a:lnTo>
                      <a:pt x="35" y="215"/>
                    </a:lnTo>
                    <a:lnTo>
                      <a:pt x="34" y="215"/>
                    </a:lnTo>
                    <a:lnTo>
                      <a:pt x="33" y="210"/>
                    </a:lnTo>
                    <a:lnTo>
                      <a:pt x="32" y="210"/>
                    </a:lnTo>
                    <a:lnTo>
                      <a:pt x="27" y="210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22" y="209"/>
                    </a:lnTo>
                    <a:lnTo>
                      <a:pt x="21" y="209"/>
                    </a:lnTo>
                    <a:lnTo>
                      <a:pt x="20" y="207"/>
                    </a:lnTo>
                    <a:lnTo>
                      <a:pt x="19" y="209"/>
                    </a:lnTo>
                    <a:lnTo>
                      <a:pt x="13" y="207"/>
                    </a:lnTo>
                    <a:lnTo>
                      <a:pt x="12" y="210"/>
                    </a:lnTo>
                    <a:lnTo>
                      <a:pt x="11" y="210"/>
                    </a:lnTo>
                    <a:lnTo>
                      <a:pt x="9" y="212"/>
                    </a:lnTo>
                    <a:lnTo>
                      <a:pt x="7" y="212"/>
                    </a:lnTo>
                    <a:lnTo>
                      <a:pt x="7" y="209"/>
                    </a:lnTo>
                    <a:lnTo>
                      <a:pt x="3" y="209"/>
                    </a:lnTo>
                    <a:lnTo>
                      <a:pt x="1" y="209"/>
                    </a:lnTo>
                    <a:lnTo>
                      <a:pt x="0" y="209"/>
                    </a:lnTo>
                    <a:lnTo>
                      <a:pt x="0" y="207"/>
                    </a:lnTo>
                    <a:lnTo>
                      <a:pt x="2" y="205"/>
                    </a:lnTo>
                    <a:lnTo>
                      <a:pt x="2" y="203"/>
                    </a:lnTo>
                    <a:lnTo>
                      <a:pt x="4" y="202"/>
                    </a:lnTo>
                    <a:lnTo>
                      <a:pt x="5" y="202"/>
                    </a:lnTo>
                    <a:lnTo>
                      <a:pt x="4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8" y="197"/>
                    </a:lnTo>
                    <a:lnTo>
                      <a:pt x="11" y="197"/>
                    </a:lnTo>
                    <a:lnTo>
                      <a:pt x="11" y="193"/>
                    </a:lnTo>
                    <a:lnTo>
                      <a:pt x="11" y="190"/>
                    </a:lnTo>
                    <a:lnTo>
                      <a:pt x="9" y="189"/>
                    </a:lnTo>
                    <a:lnTo>
                      <a:pt x="8" y="186"/>
                    </a:lnTo>
                    <a:lnTo>
                      <a:pt x="6" y="188"/>
                    </a:lnTo>
                    <a:lnTo>
                      <a:pt x="6" y="186"/>
                    </a:lnTo>
                    <a:lnTo>
                      <a:pt x="6" y="183"/>
                    </a:lnTo>
                    <a:lnTo>
                      <a:pt x="7" y="180"/>
                    </a:lnTo>
                    <a:lnTo>
                      <a:pt x="6" y="179"/>
                    </a:lnTo>
                    <a:lnTo>
                      <a:pt x="8" y="178"/>
                    </a:lnTo>
                    <a:lnTo>
                      <a:pt x="9" y="179"/>
                    </a:lnTo>
                    <a:lnTo>
                      <a:pt x="11" y="177"/>
                    </a:lnTo>
                    <a:lnTo>
                      <a:pt x="12" y="177"/>
                    </a:lnTo>
                    <a:lnTo>
                      <a:pt x="12" y="175"/>
                    </a:lnTo>
                    <a:lnTo>
                      <a:pt x="16" y="175"/>
                    </a:lnTo>
                    <a:lnTo>
                      <a:pt x="16" y="176"/>
                    </a:lnTo>
                    <a:lnTo>
                      <a:pt x="20" y="178"/>
                    </a:lnTo>
                    <a:lnTo>
                      <a:pt x="22" y="178"/>
                    </a:lnTo>
                    <a:lnTo>
                      <a:pt x="22" y="176"/>
                    </a:lnTo>
                    <a:lnTo>
                      <a:pt x="22" y="175"/>
                    </a:lnTo>
                    <a:lnTo>
                      <a:pt x="22" y="174"/>
                    </a:lnTo>
                    <a:lnTo>
                      <a:pt x="23" y="175"/>
                    </a:lnTo>
                    <a:lnTo>
                      <a:pt x="25" y="175"/>
                    </a:lnTo>
                    <a:lnTo>
                      <a:pt x="25" y="171"/>
                    </a:lnTo>
                    <a:lnTo>
                      <a:pt x="25" y="170"/>
                    </a:lnTo>
                    <a:lnTo>
                      <a:pt x="25" y="166"/>
                    </a:lnTo>
                    <a:lnTo>
                      <a:pt x="25" y="167"/>
                    </a:lnTo>
                    <a:lnTo>
                      <a:pt x="26" y="167"/>
                    </a:lnTo>
                    <a:lnTo>
                      <a:pt x="27" y="169"/>
                    </a:lnTo>
                    <a:lnTo>
                      <a:pt x="28" y="169"/>
                    </a:lnTo>
                    <a:lnTo>
                      <a:pt x="30" y="170"/>
                    </a:lnTo>
                    <a:lnTo>
                      <a:pt x="31" y="168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29" y="162"/>
                    </a:lnTo>
                    <a:lnTo>
                      <a:pt x="33" y="162"/>
                    </a:lnTo>
                    <a:lnTo>
                      <a:pt x="33" y="159"/>
                    </a:lnTo>
                    <a:lnTo>
                      <a:pt x="32" y="155"/>
                    </a:lnTo>
                    <a:lnTo>
                      <a:pt x="33" y="154"/>
                    </a:lnTo>
                    <a:lnTo>
                      <a:pt x="33" y="150"/>
                    </a:lnTo>
                    <a:lnTo>
                      <a:pt x="34" y="152"/>
                    </a:lnTo>
                    <a:lnTo>
                      <a:pt x="37" y="152"/>
                    </a:lnTo>
                    <a:lnTo>
                      <a:pt x="38" y="151"/>
                    </a:lnTo>
                    <a:lnTo>
                      <a:pt x="38" y="150"/>
                    </a:lnTo>
                    <a:lnTo>
                      <a:pt x="40" y="150"/>
                    </a:lnTo>
                    <a:lnTo>
                      <a:pt x="40" y="149"/>
                    </a:lnTo>
                    <a:lnTo>
                      <a:pt x="41" y="149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43" y="146"/>
                    </a:lnTo>
                    <a:lnTo>
                      <a:pt x="43" y="145"/>
                    </a:lnTo>
                    <a:lnTo>
                      <a:pt x="46" y="145"/>
                    </a:lnTo>
                    <a:lnTo>
                      <a:pt x="47" y="142"/>
                    </a:lnTo>
                    <a:lnTo>
                      <a:pt x="50" y="142"/>
                    </a:lnTo>
                    <a:lnTo>
                      <a:pt x="52" y="142"/>
                    </a:lnTo>
                    <a:lnTo>
                      <a:pt x="52" y="141"/>
                    </a:lnTo>
                    <a:lnTo>
                      <a:pt x="53" y="141"/>
                    </a:lnTo>
                    <a:lnTo>
                      <a:pt x="55" y="145"/>
                    </a:lnTo>
                    <a:lnTo>
                      <a:pt x="57" y="146"/>
                    </a:lnTo>
                    <a:lnTo>
                      <a:pt x="58" y="145"/>
                    </a:lnTo>
                    <a:lnTo>
                      <a:pt x="61" y="145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71" y="140"/>
                    </a:lnTo>
                    <a:lnTo>
                      <a:pt x="70" y="137"/>
                    </a:lnTo>
                    <a:lnTo>
                      <a:pt x="73" y="138"/>
                    </a:lnTo>
                    <a:lnTo>
                      <a:pt x="74" y="137"/>
                    </a:lnTo>
                    <a:lnTo>
                      <a:pt x="76" y="134"/>
                    </a:lnTo>
                    <a:lnTo>
                      <a:pt x="76" y="133"/>
                    </a:lnTo>
                    <a:lnTo>
                      <a:pt x="78" y="133"/>
                    </a:lnTo>
                    <a:lnTo>
                      <a:pt x="80" y="132"/>
                    </a:lnTo>
                    <a:lnTo>
                      <a:pt x="85" y="126"/>
                    </a:lnTo>
                    <a:lnTo>
                      <a:pt x="86" y="127"/>
                    </a:lnTo>
                    <a:lnTo>
                      <a:pt x="85" y="128"/>
                    </a:lnTo>
                    <a:lnTo>
                      <a:pt x="85" y="133"/>
                    </a:lnTo>
                    <a:lnTo>
                      <a:pt x="89" y="132"/>
                    </a:lnTo>
                    <a:lnTo>
                      <a:pt x="90" y="133"/>
                    </a:lnTo>
                    <a:lnTo>
                      <a:pt x="92" y="135"/>
                    </a:lnTo>
                    <a:lnTo>
                      <a:pt x="93" y="135"/>
                    </a:lnTo>
                    <a:lnTo>
                      <a:pt x="97" y="133"/>
                    </a:lnTo>
                    <a:lnTo>
                      <a:pt x="104" y="135"/>
                    </a:lnTo>
                    <a:lnTo>
                      <a:pt x="106" y="136"/>
                    </a:lnTo>
                    <a:lnTo>
                      <a:pt x="107" y="133"/>
                    </a:lnTo>
                    <a:lnTo>
                      <a:pt x="108" y="131"/>
                    </a:lnTo>
                    <a:lnTo>
                      <a:pt x="109" y="132"/>
                    </a:lnTo>
                    <a:lnTo>
                      <a:pt x="110" y="129"/>
                    </a:lnTo>
                    <a:lnTo>
                      <a:pt x="111" y="130"/>
                    </a:lnTo>
                    <a:lnTo>
                      <a:pt x="110" y="133"/>
                    </a:lnTo>
                    <a:lnTo>
                      <a:pt x="112" y="133"/>
                    </a:lnTo>
                    <a:lnTo>
                      <a:pt x="113" y="131"/>
                    </a:lnTo>
                    <a:lnTo>
                      <a:pt x="114" y="131"/>
                    </a:lnTo>
                    <a:lnTo>
                      <a:pt x="118" y="127"/>
                    </a:lnTo>
                    <a:lnTo>
                      <a:pt x="120" y="124"/>
                    </a:lnTo>
                    <a:lnTo>
                      <a:pt x="122" y="122"/>
                    </a:lnTo>
                    <a:lnTo>
                      <a:pt x="123" y="122"/>
                    </a:lnTo>
                    <a:lnTo>
                      <a:pt x="125" y="120"/>
                    </a:lnTo>
                    <a:lnTo>
                      <a:pt x="126" y="120"/>
                    </a:lnTo>
                    <a:lnTo>
                      <a:pt x="128" y="123"/>
                    </a:lnTo>
                    <a:lnTo>
                      <a:pt x="128" y="122"/>
                    </a:lnTo>
                    <a:lnTo>
                      <a:pt x="129" y="122"/>
                    </a:lnTo>
                    <a:lnTo>
                      <a:pt x="131" y="128"/>
                    </a:lnTo>
                    <a:lnTo>
                      <a:pt x="130" y="131"/>
                    </a:lnTo>
                    <a:lnTo>
                      <a:pt x="131" y="132"/>
                    </a:lnTo>
                    <a:lnTo>
                      <a:pt x="138" y="132"/>
                    </a:lnTo>
                    <a:lnTo>
                      <a:pt x="138" y="128"/>
                    </a:lnTo>
                    <a:lnTo>
                      <a:pt x="139" y="127"/>
                    </a:lnTo>
                    <a:lnTo>
                      <a:pt x="139" y="124"/>
                    </a:lnTo>
                    <a:lnTo>
                      <a:pt x="141" y="122"/>
                    </a:lnTo>
                    <a:lnTo>
                      <a:pt x="143" y="120"/>
                    </a:lnTo>
                    <a:lnTo>
                      <a:pt x="146" y="120"/>
                    </a:lnTo>
                    <a:lnTo>
                      <a:pt x="152" y="119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6" y="119"/>
                    </a:lnTo>
                    <a:lnTo>
                      <a:pt x="157" y="118"/>
                    </a:lnTo>
                    <a:lnTo>
                      <a:pt x="158" y="118"/>
                    </a:lnTo>
                    <a:lnTo>
                      <a:pt x="161" y="117"/>
                    </a:lnTo>
                    <a:lnTo>
                      <a:pt x="161" y="115"/>
                    </a:lnTo>
                    <a:lnTo>
                      <a:pt x="162" y="115"/>
                    </a:lnTo>
                    <a:lnTo>
                      <a:pt x="162" y="114"/>
                    </a:lnTo>
                    <a:lnTo>
                      <a:pt x="164" y="115"/>
                    </a:lnTo>
                    <a:lnTo>
                      <a:pt x="165" y="113"/>
                    </a:lnTo>
                    <a:lnTo>
                      <a:pt x="166" y="112"/>
                    </a:lnTo>
                    <a:lnTo>
                      <a:pt x="166" y="108"/>
                    </a:lnTo>
                    <a:lnTo>
                      <a:pt x="166" y="107"/>
                    </a:lnTo>
                    <a:lnTo>
                      <a:pt x="164" y="107"/>
                    </a:lnTo>
                    <a:lnTo>
                      <a:pt x="165" y="107"/>
                    </a:lnTo>
                    <a:lnTo>
                      <a:pt x="165" y="106"/>
                    </a:lnTo>
                    <a:lnTo>
                      <a:pt x="167" y="107"/>
                    </a:lnTo>
                    <a:lnTo>
                      <a:pt x="170" y="107"/>
                    </a:lnTo>
                    <a:lnTo>
                      <a:pt x="170" y="109"/>
                    </a:lnTo>
                    <a:lnTo>
                      <a:pt x="175" y="109"/>
                    </a:lnTo>
                    <a:lnTo>
                      <a:pt x="176" y="109"/>
                    </a:lnTo>
                    <a:lnTo>
                      <a:pt x="175" y="107"/>
                    </a:lnTo>
                    <a:lnTo>
                      <a:pt x="176" y="107"/>
                    </a:lnTo>
                    <a:lnTo>
                      <a:pt x="175" y="106"/>
                    </a:lnTo>
                    <a:lnTo>
                      <a:pt x="177" y="103"/>
                    </a:lnTo>
                    <a:lnTo>
                      <a:pt x="175" y="101"/>
                    </a:lnTo>
                    <a:lnTo>
                      <a:pt x="174" y="101"/>
                    </a:lnTo>
                    <a:lnTo>
                      <a:pt x="174" y="95"/>
                    </a:lnTo>
                    <a:lnTo>
                      <a:pt x="177" y="94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1" y="92"/>
                    </a:lnTo>
                    <a:lnTo>
                      <a:pt x="182" y="90"/>
                    </a:lnTo>
                    <a:lnTo>
                      <a:pt x="185" y="90"/>
                    </a:lnTo>
                    <a:lnTo>
                      <a:pt x="187" y="93"/>
                    </a:lnTo>
                    <a:lnTo>
                      <a:pt x="188" y="94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90" y="91"/>
                    </a:lnTo>
                    <a:lnTo>
                      <a:pt x="194" y="94"/>
                    </a:lnTo>
                    <a:lnTo>
                      <a:pt x="198" y="95"/>
                    </a:lnTo>
                    <a:lnTo>
                      <a:pt x="198" y="97"/>
                    </a:lnTo>
                    <a:lnTo>
                      <a:pt x="199" y="97"/>
                    </a:lnTo>
                    <a:lnTo>
                      <a:pt x="199" y="98"/>
                    </a:lnTo>
                    <a:lnTo>
                      <a:pt x="200" y="98"/>
                    </a:lnTo>
                    <a:lnTo>
                      <a:pt x="205" y="99"/>
                    </a:lnTo>
                    <a:lnTo>
                      <a:pt x="211" y="99"/>
                    </a:lnTo>
                    <a:lnTo>
                      <a:pt x="211" y="101"/>
                    </a:lnTo>
                    <a:lnTo>
                      <a:pt x="213" y="101"/>
                    </a:lnTo>
                    <a:lnTo>
                      <a:pt x="217" y="102"/>
                    </a:lnTo>
                    <a:lnTo>
                      <a:pt x="218" y="103"/>
                    </a:lnTo>
                    <a:lnTo>
                      <a:pt x="218" y="102"/>
                    </a:lnTo>
                    <a:lnTo>
                      <a:pt x="224" y="102"/>
                    </a:lnTo>
                    <a:lnTo>
                      <a:pt x="225" y="101"/>
                    </a:lnTo>
                    <a:lnTo>
                      <a:pt x="228" y="103"/>
                    </a:lnTo>
                    <a:lnTo>
                      <a:pt x="229" y="100"/>
                    </a:lnTo>
                    <a:lnTo>
                      <a:pt x="229" y="98"/>
                    </a:lnTo>
                    <a:lnTo>
                      <a:pt x="232" y="100"/>
                    </a:lnTo>
                    <a:lnTo>
                      <a:pt x="232" y="101"/>
                    </a:lnTo>
                    <a:lnTo>
                      <a:pt x="233" y="103"/>
                    </a:lnTo>
                    <a:lnTo>
                      <a:pt x="234" y="102"/>
                    </a:lnTo>
                    <a:lnTo>
                      <a:pt x="236" y="104"/>
                    </a:lnTo>
                    <a:lnTo>
                      <a:pt x="236" y="103"/>
                    </a:lnTo>
                    <a:lnTo>
                      <a:pt x="237" y="103"/>
                    </a:lnTo>
                    <a:lnTo>
                      <a:pt x="238" y="101"/>
                    </a:lnTo>
                    <a:lnTo>
                      <a:pt x="243" y="106"/>
                    </a:lnTo>
                    <a:lnTo>
                      <a:pt x="245" y="107"/>
                    </a:lnTo>
                    <a:lnTo>
                      <a:pt x="245" y="108"/>
                    </a:lnTo>
                    <a:lnTo>
                      <a:pt x="246" y="109"/>
                    </a:lnTo>
                    <a:lnTo>
                      <a:pt x="248" y="105"/>
                    </a:lnTo>
                    <a:lnTo>
                      <a:pt x="250" y="103"/>
                    </a:lnTo>
                    <a:lnTo>
                      <a:pt x="250" y="102"/>
                    </a:lnTo>
                    <a:lnTo>
                      <a:pt x="252" y="99"/>
                    </a:lnTo>
                    <a:lnTo>
                      <a:pt x="253" y="99"/>
                    </a:lnTo>
                    <a:lnTo>
                      <a:pt x="255" y="98"/>
                    </a:lnTo>
                    <a:lnTo>
                      <a:pt x="257" y="100"/>
                    </a:lnTo>
                    <a:lnTo>
                      <a:pt x="259" y="101"/>
                    </a:lnTo>
                    <a:lnTo>
                      <a:pt x="260" y="100"/>
                    </a:lnTo>
                    <a:lnTo>
                      <a:pt x="260" y="99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99"/>
                    </a:lnTo>
                    <a:lnTo>
                      <a:pt x="267" y="100"/>
                    </a:lnTo>
                    <a:lnTo>
                      <a:pt x="267" y="98"/>
                    </a:lnTo>
                    <a:lnTo>
                      <a:pt x="268" y="99"/>
                    </a:lnTo>
                    <a:lnTo>
                      <a:pt x="269" y="98"/>
                    </a:lnTo>
                    <a:lnTo>
                      <a:pt x="272" y="99"/>
                    </a:lnTo>
                    <a:lnTo>
                      <a:pt x="273" y="100"/>
                    </a:lnTo>
                    <a:lnTo>
                      <a:pt x="273" y="101"/>
                    </a:lnTo>
                    <a:lnTo>
                      <a:pt x="274" y="101"/>
                    </a:lnTo>
                    <a:lnTo>
                      <a:pt x="274" y="103"/>
                    </a:lnTo>
                    <a:lnTo>
                      <a:pt x="275" y="102"/>
                    </a:lnTo>
                    <a:lnTo>
                      <a:pt x="276" y="103"/>
                    </a:lnTo>
                    <a:lnTo>
                      <a:pt x="275" y="101"/>
                    </a:lnTo>
                    <a:lnTo>
                      <a:pt x="276" y="101"/>
                    </a:lnTo>
                    <a:lnTo>
                      <a:pt x="276" y="102"/>
                    </a:lnTo>
                    <a:lnTo>
                      <a:pt x="276" y="103"/>
                    </a:lnTo>
                    <a:lnTo>
                      <a:pt x="278" y="102"/>
                    </a:lnTo>
                    <a:lnTo>
                      <a:pt x="281" y="98"/>
                    </a:lnTo>
                    <a:lnTo>
                      <a:pt x="280" y="98"/>
                    </a:lnTo>
                    <a:lnTo>
                      <a:pt x="281" y="96"/>
                    </a:lnTo>
                    <a:lnTo>
                      <a:pt x="280" y="96"/>
                    </a:lnTo>
                    <a:lnTo>
                      <a:pt x="281" y="95"/>
                    </a:lnTo>
                    <a:lnTo>
                      <a:pt x="280" y="95"/>
                    </a:lnTo>
                    <a:lnTo>
                      <a:pt x="280" y="94"/>
                    </a:lnTo>
                    <a:lnTo>
                      <a:pt x="280" y="90"/>
                    </a:lnTo>
                    <a:lnTo>
                      <a:pt x="283" y="92"/>
                    </a:lnTo>
                    <a:lnTo>
                      <a:pt x="283" y="86"/>
                    </a:lnTo>
                    <a:lnTo>
                      <a:pt x="283" y="84"/>
                    </a:lnTo>
                    <a:lnTo>
                      <a:pt x="284" y="84"/>
                    </a:lnTo>
                    <a:lnTo>
                      <a:pt x="284" y="82"/>
                    </a:lnTo>
                    <a:lnTo>
                      <a:pt x="283" y="81"/>
                    </a:lnTo>
                    <a:lnTo>
                      <a:pt x="282" y="81"/>
                    </a:lnTo>
                    <a:lnTo>
                      <a:pt x="282" y="78"/>
                    </a:lnTo>
                    <a:lnTo>
                      <a:pt x="281" y="77"/>
                    </a:lnTo>
                    <a:lnTo>
                      <a:pt x="281" y="76"/>
                    </a:lnTo>
                    <a:lnTo>
                      <a:pt x="283" y="75"/>
                    </a:lnTo>
                    <a:lnTo>
                      <a:pt x="283" y="76"/>
                    </a:lnTo>
                    <a:lnTo>
                      <a:pt x="284" y="75"/>
                    </a:lnTo>
                    <a:lnTo>
                      <a:pt x="283" y="74"/>
                    </a:lnTo>
                    <a:lnTo>
                      <a:pt x="283" y="73"/>
                    </a:lnTo>
                    <a:lnTo>
                      <a:pt x="282" y="71"/>
                    </a:lnTo>
                    <a:lnTo>
                      <a:pt x="283" y="70"/>
                    </a:lnTo>
                    <a:lnTo>
                      <a:pt x="283" y="71"/>
                    </a:lnTo>
                    <a:lnTo>
                      <a:pt x="283" y="69"/>
                    </a:lnTo>
                    <a:lnTo>
                      <a:pt x="283" y="68"/>
                    </a:lnTo>
                    <a:lnTo>
                      <a:pt x="281" y="67"/>
                    </a:lnTo>
                    <a:lnTo>
                      <a:pt x="281" y="66"/>
                    </a:lnTo>
                    <a:lnTo>
                      <a:pt x="283" y="65"/>
                    </a:lnTo>
                    <a:lnTo>
                      <a:pt x="284" y="65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90" y="69"/>
                    </a:lnTo>
                    <a:lnTo>
                      <a:pt x="296" y="72"/>
                    </a:lnTo>
                    <a:lnTo>
                      <a:pt x="296" y="71"/>
                    </a:lnTo>
                    <a:lnTo>
                      <a:pt x="297" y="71"/>
                    </a:lnTo>
                    <a:lnTo>
                      <a:pt x="296" y="70"/>
                    </a:lnTo>
                    <a:lnTo>
                      <a:pt x="297" y="69"/>
                    </a:lnTo>
                    <a:lnTo>
                      <a:pt x="297" y="68"/>
                    </a:lnTo>
                    <a:lnTo>
                      <a:pt x="295" y="68"/>
                    </a:lnTo>
                    <a:lnTo>
                      <a:pt x="294" y="67"/>
                    </a:lnTo>
                    <a:lnTo>
                      <a:pt x="296" y="65"/>
                    </a:lnTo>
                    <a:lnTo>
                      <a:pt x="297" y="67"/>
                    </a:lnTo>
                    <a:lnTo>
                      <a:pt x="298" y="65"/>
                    </a:lnTo>
                    <a:lnTo>
                      <a:pt x="297" y="65"/>
                    </a:lnTo>
                    <a:lnTo>
                      <a:pt x="299" y="64"/>
                    </a:lnTo>
                    <a:lnTo>
                      <a:pt x="299" y="58"/>
                    </a:lnTo>
                    <a:lnTo>
                      <a:pt x="303" y="61"/>
                    </a:lnTo>
                    <a:lnTo>
                      <a:pt x="306" y="61"/>
                    </a:lnTo>
                    <a:lnTo>
                      <a:pt x="306" y="58"/>
                    </a:lnTo>
                    <a:lnTo>
                      <a:pt x="309" y="61"/>
                    </a:lnTo>
                    <a:lnTo>
                      <a:pt x="312" y="61"/>
                    </a:lnTo>
                    <a:lnTo>
                      <a:pt x="312" y="57"/>
                    </a:lnTo>
                    <a:lnTo>
                      <a:pt x="313" y="56"/>
                    </a:lnTo>
                    <a:lnTo>
                      <a:pt x="313" y="54"/>
                    </a:lnTo>
                    <a:lnTo>
                      <a:pt x="313" y="52"/>
                    </a:lnTo>
                    <a:lnTo>
                      <a:pt x="312" y="52"/>
                    </a:lnTo>
                    <a:lnTo>
                      <a:pt x="313" y="52"/>
                    </a:lnTo>
                    <a:lnTo>
                      <a:pt x="313" y="48"/>
                    </a:lnTo>
                    <a:lnTo>
                      <a:pt x="310" y="39"/>
                    </a:lnTo>
                    <a:lnTo>
                      <a:pt x="315" y="38"/>
                    </a:lnTo>
                    <a:lnTo>
                      <a:pt x="315" y="34"/>
                    </a:lnTo>
                    <a:lnTo>
                      <a:pt x="319" y="36"/>
                    </a:lnTo>
                    <a:lnTo>
                      <a:pt x="320" y="36"/>
                    </a:lnTo>
                    <a:lnTo>
                      <a:pt x="319" y="39"/>
                    </a:lnTo>
                    <a:lnTo>
                      <a:pt x="321" y="39"/>
                    </a:lnTo>
                    <a:lnTo>
                      <a:pt x="321" y="40"/>
                    </a:lnTo>
                    <a:lnTo>
                      <a:pt x="322" y="42"/>
                    </a:lnTo>
                    <a:lnTo>
                      <a:pt x="323" y="39"/>
                    </a:lnTo>
                    <a:lnTo>
                      <a:pt x="325" y="35"/>
                    </a:lnTo>
                    <a:lnTo>
                      <a:pt x="330" y="35"/>
                    </a:lnTo>
                    <a:lnTo>
                      <a:pt x="329" y="35"/>
                    </a:lnTo>
                    <a:lnTo>
                      <a:pt x="330" y="37"/>
                    </a:lnTo>
                    <a:lnTo>
                      <a:pt x="330" y="41"/>
                    </a:lnTo>
                    <a:lnTo>
                      <a:pt x="331" y="41"/>
                    </a:lnTo>
                    <a:lnTo>
                      <a:pt x="334" y="43"/>
                    </a:lnTo>
                    <a:lnTo>
                      <a:pt x="336" y="43"/>
                    </a:lnTo>
                    <a:lnTo>
                      <a:pt x="337" y="41"/>
                    </a:lnTo>
                    <a:lnTo>
                      <a:pt x="335" y="39"/>
                    </a:lnTo>
                    <a:lnTo>
                      <a:pt x="335" y="38"/>
                    </a:lnTo>
                    <a:lnTo>
                      <a:pt x="339" y="39"/>
                    </a:lnTo>
                    <a:lnTo>
                      <a:pt x="340" y="38"/>
                    </a:lnTo>
                    <a:lnTo>
                      <a:pt x="341" y="36"/>
                    </a:lnTo>
                    <a:lnTo>
                      <a:pt x="343" y="37"/>
                    </a:lnTo>
                    <a:lnTo>
                      <a:pt x="344" y="37"/>
                    </a:lnTo>
                    <a:lnTo>
                      <a:pt x="343" y="38"/>
                    </a:lnTo>
                    <a:lnTo>
                      <a:pt x="343" y="40"/>
                    </a:lnTo>
                    <a:lnTo>
                      <a:pt x="343" y="41"/>
                    </a:lnTo>
                    <a:lnTo>
                      <a:pt x="345" y="43"/>
                    </a:lnTo>
                    <a:lnTo>
                      <a:pt x="344" y="43"/>
                    </a:lnTo>
                    <a:lnTo>
                      <a:pt x="343" y="44"/>
                    </a:lnTo>
                    <a:lnTo>
                      <a:pt x="342" y="46"/>
                    </a:lnTo>
                    <a:lnTo>
                      <a:pt x="343" y="47"/>
                    </a:lnTo>
                    <a:lnTo>
                      <a:pt x="343" y="51"/>
                    </a:lnTo>
                    <a:lnTo>
                      <a:pt x="345" y="54"/>
                    </a:lnTo>
                    <a:lnTo>
                      <a:pt x="346" y="52"/>
                    </a:lnTo>
                    <a:lnTo>
                      <a:pt x="346" y="53"/>
                    </a:lnTo>
                    <a:lnTo>
                      <a:pt x="347" y="52"/>
                    </a:lnTo>
                    <a:lnTo>
                      <a:pt x="347" y="53"/>
                    </a:lnTo>
                    <a:lnTo>
                      <a:pt x="348" y="53"/>
                    </a:lnTo>
                    <a:lnTo>
                      <a:pt x="348" y="54"/>
                    </a:lnTo>
                    <a:lnTo>
                      <a:pt x="349" y="55"/>
                    </a:lnTo>
                    <a:lnTo>
                      <a:pt x="350" y="56"/>
                    </a:lnTo>
                    <a:lnTo>
                      <a:pt x="351" y="55"/>
                    </a:lnTo>
                    <a:lnTo>
                      <a:pt x="351" y="53"/>
                    </a:lnTo>
                    <a:lnTo>
                      <a:pt x="353" y="51"/>
                    </a:lnTo>
                    <a:lnTo>
                      <a:pt x="353" y="52"/>
                    </a:lnTo>
                    <a:lnTo>
                      <a:pt x="355" y="53"/>
                    </a:lnTo>
                    <a:lnTo>
                      <a:pt x="356" y="53"/>
                    </a:lnTo>
                    <a:lnTo>
                      <a:pt x="356" y="51"/>
                    </a:lnTo>
                    <a:lnTo>
                      <a:pt x="358" y="51"/>
                    </a:lnTo>
                    <a:lnTo>
                      <a:pt x="359" y="53"/>
                    </a:lnTo>
                    <a:lnTo>
                      <a:pt x="361" y="54"/>
                    </a:lnTo>
                    <a:lnTo>
                      <a:pt x="361" y="52"/>
                    </a:lnTo>
                    <a:lnTo>
                      <a:pt x="361" y="51"/>
                    </a:lnTo>
                    <a:lnTo>
                      <a:pt x="365" y="52"/>
                    </a:lnTo>
                    <a:lnTo>
                      <a:pt x="368" y="52"/>
                    </a:lnTo>
                    <a:lnTo>
                      <a:pt x="372" y="55"/>
                    </a:lnTo>
                    <a:lnTo>
                      <a:pt x="372" y="54"/>
                    </a:lnTo>
                    <a:lnTo>
                      <a:pt x="372" y="50"/>
                    </a:lnTo>
                    <a:lnTo>
                      <a:pt x="374" y="49"/>
                    </a:lnTo>
                    <a:lnTo>
                      <a:pt x="374" y="48"/>
                    </a:lnTo>
                    <a:lnTo>
                      <a:pt x="378" y="49"/>
                    </a:lnTo>
                    <a:lnTo>
                      <a:pt x="379" y="48"/>
                    </a:lnTo>
                    <a:lnTo>
                      <a:pt x="381" y="48"/>
                    </a:lnTo>
                    <a:lnTo>
                      <a:pt x="383" y="40"/>
                    </a:lnTo>
                    <a:lnTo>
                      <a:pt x="383" y="39"/>
                    </a:lnTo>
                    <a:lnTo>
                      <a:pt x="390" y="41"/>
                    </a:lnTo>
                    <a:lnTo>
                      <a:pt x="391" y="40"/>
                    </a:lnTo>
                    <a:lnTo>
                      <a:pt x="392" y="36"/>
                    </a:lnTo>
                    <a:lnTo>
                      <a:pt x="391" y="27"/>
                    </a:lnTo>
                    <a:lnTo>
                      <a:pt x="392" y="22"/>
                    </a:lnTo>
                    <a:lnTo>
                      <a:pt x="405" y="27"/>
                    </a:lnTo>
                    <a:lnTo>
                      <a:pt x="411" y="34"/>
                    </a:lnTo>
                    <a:lnTo>
                      <a:pt x="418" y="28"/>
                    </a:lnTo>
                    <a:lnTo>
                      <a:pt x="419" y="28"/>
                    </a:lnTo>
                    <a:lnTo>
                      <a:pt x="420" y="27"/>
                    </a:lnTo>
                    <a:lnTo>
                      <a:pt x="421" y="26"/>
                    </a:lnTo>
                    <a:lnTo>
                      <a:pt x="420" y="24"/>
                    </a:lnTo>
                    <a:lnTo>
                      <a:pt x="418" y="22"/>
                    </a:lnTo>
                    <a:lnTo>
                      <a:pt x="419" y="20"/>
                    </a:lnTo>
                    <a:lnTo>
                      <a:pt x="418" y="19"/>
                    </a:lnTo>
                    <a:lnTo>
                      <a:pt x="423" y="18"/>
                    </a:lnTo>
                    <a:lnTo>
                      <a:pt x="426" y="17"/>
                    </a:lnTo>
                    <a:lnTo>
                      <a:pt x="428" y="17"/>
                    </a:lnTo>
                    <a:lnTo>
                      <a:pt x="429" y="17"/>
                    </a:lnTo>
                    <a:lnTo>
                      <a:pt x="430" y="15"/>
                    </a:lnTo>
                    <a:lnTo>
                      <a:pt x="430" y="17"/>
                    </a:lnTo>
                    <a:lnTo>
                      <a:pt x="433" y="15"/>
                    </a:lnTo>
                    <a:lnTo>
                      <a:pt x="435" y="14"/>
                    </a:lnTo>
                    <a:lnTo>
                      <a:pt x="434" y="11"/>
                    </a:lnTo>
                    <a:lnTo>
                      <a:pt x="435" y="11"/>
                    </a:lnTo>
                    <a:lnTo>
                      <a:pt x="434" y="7"/>
                    </a:lnTo>
                    <a:lnTo>
                      <a:pt x="432" y="7"/>
                    </a:lnTo>
                    <a:lnTo>
                      <a:pt x="435" y="6"/>
                    </a:lnTo>
                    <a:lnTo>
                      <a:pt x="435" y="5"/>
                    </a:lnTo>
                    <a:lnTo>
                      <a:pt x="437" y="6"/>
                    </a:lnTo>
                    <a:lnTo>
                      <a:pt x="437" y="5"/>
                    </a:lnTo>
                    <a:lnTo>
                      <a:pt x="438" y="5"/>
                    </a:lnTo>
                    <a:lnTo>
                      <a:pt x="439" y="6"/>
                    </a:lnTo>
                    <a:lnTo>
                      <a:pt x="437" y="0"/>
                    </a:lnTo>
                    <a:lnTo>
                      <a:pt x="439" y="0"/>
                    </a:lnTo>
                    <a:lnTo>
                      <a:pt x="444" y="1"/>
                    </a:lnTo>
                    <a:lnTo>
                      <a:pt x="443" y="1"/>
                    </a:lnTo>
                    <a:lnTo>
                      <a:pt x="444" y="4"/>
                    </a:lnTo>
                    <a:lnTo>
                      <a:pt x="442" y="5"/>
                    </a:lnTo>
                    <a:lnTo>
                      <a:pt x="443" y="6"/>
                    </a:lnTo>
                    <a:lnTo>
                      <a:pt x="444" y="6"/>
                    </a:lnTo>
                    <a:lnTo>
                      <a:pt x="446" y="7"/>
                    </a:lnTo>
                    <a:lnTo>
                      <a:pt x="446" y="6"/>
                    </a:lnTo>
                    <a:lnTo>
                      <a:pt x="447" y="7"/>
                    </a:lnTo>
                    <a:lnTo>
                      <a:pt x="449" y="11"/>
                    </a:lnTo>
                    <a:lnTo>
                      <a:pt x="447" y="11"/>
                    </a:lnTo>
                    <a:lnTo>
                      <a:pt x="448" y="11"/>
                    </a:lnTo>
                    <a:lnTo>
                      <a:pt x="449" y="13"/>
                    </a:lnTo>
                    <a:lnTo>
                      <a:pt x="451" y="13"/>
                    </a:lnTo>
                    <a:lnTo>
                      <a:pt x="452" y="14"/>
                    </a:lnTo>
                    <a:lnTo>
                      <a:pt x="452" y="11"/>
                    </a:lnTo>
                    <a:lnTo>
                      <a:pt x="454" y="11"/>
                    </a:lnTo>
                    <a:lnTo>
                      <a:pt x="454" y="9"/>
                    </a:lnTo>
                    <a:lnTo>
                      <a:pt x="455" y="8"/>
                    </a:lnTo>
                    <a:lnTo>
                      <a:pt x="456" y="9"/>
                    </a:lnTo>
                    <a:lnTo>
                      <a:pt x="455" y="9"/>
                    </a:lnTo>
                    <a:lnTo>
                      <a:pt x="455" y="10"/>
                    </a:lnTo>
                    <a:lnTo>
                      <a:pt x="457" y="10"/>
                    </a:lnTo>
                    <a:lnTo>
                      <a:pt x="457" y="11"/>
                    </a:lnTo>
                    <a:lnTo>
                      <a:pt x="459" y="11"/>
                    </a:lnTo>
                    <a:lnTo>
                      <a:pt x="460" y="11"/>
                    </a:lnTo>
                    <a:lnTo>
                      <a:pt x="463" y="10"/>
                    </a:lnTo>
                    <a:lnTo>
                      <a:pt x="463" y="11"/>
                    </a:lnTo>
                    <a:lnTo>
                      <a:pt x="462" y="13"/>
                    </a:lnTo>
                    <a:lnTo>
                      <a:pt x="463" y="13"/>
                    </a:lnTo>
                    <a:lnTo>
                      <a:pt x="465" y="19"/>
                    </a:lnTo>
                    <a:lnTo>
                      <a:pt x="466" y="19"/>
                    </a:lnTo>
                    <a:lnTo>
                      <a:pt x="468" y="20"/>
                    </a:lnTo>
                    <a:lnTo>
                      <a:pt x="468" y="23"/>
                    </a:lnTo>
                    <a:lnTo>
                      <a:pt x="468" y="22"/>
                    </a:lnTo>
                    <a:lnTo>
                      <a:pt x="470" y="22"/>
                    </a:lnTo>
                    <a:lnTo>
                      <a:pt x="470" y="23"/>
                    </a:lnTo>
                    <a:lnTo>
                      <a:pt x="469" y="25"/>
                    </a:lnTo>
                    <a:lnTo>
                      <a:pt x="470" y="27"/>
                    </a:lnTo>
                    <a:lnTo>
                      <a:pt x="470" y="29"/>
                    </a:lnTo>
                    <a:lnTo>
                      <a:pt x="471" y="28"/>
                    </a:lnTo>
                    <a:lnTo>
                      <a:pt x="472" y="28"/>
                    </a:lnTo>
                    <a:lnTo>
                      <a:pt x="474" y="28"/>
                    </a:lnTo>
                    <a:lnTo>
                      <a:pt x="476" y="28"/>
                    </a:lnTo>
                    <a:lnTo>
                      <a:pt x="477" y="31"/>
                    </a:lnTo>
                    <a:lnTo>
                      <a:pt x="479" y="32"/>
                    </a:lnTo>
                    <a:lnTo>
                      <a:pt x="478" y="34"/>
                    </a:lnTo>
                    <a:lnTo>
                      <a:pt x="480" y="34"/>
                    </a:lnTo>
                    <a:lnTo>
                      <a:pt x="483" y="37"/>
                    </a:lnTo>
                    <a:lnTo>
                      <a:pt x="482" y="38"/>
                    </a:lnTo>
                    <a:lnTo>
                      <a:pt x="482" y="39"/>
                    </a:lnTo>
                    <a:lnTo>
                      <a:pt x="483" y="38"/>
                    </a:lnTo>
                    <a:lnTo>
                      <a:pt x="483" y="40"/>
                    </a:lnTo>
                    <a:lnTo>
                      <a:pt x="483" y="46"/>
                    </a:lnTo>
                    <a:lnTo>
                      <a:pt x="484" y="47"/>
                    </a:lnTo>
                    <a:lnTo>
                      <a:pt x="484" y="48"/>
                    </a:lnTo>
                    <a:lnTo>
                      <a:pt x="487" y="47"/>
                    </a:lnTo>
                    <a:lnTo>
                      <a:pt x="487" y="48"/>
                    </a:lnTo>
                    <a:lnTo>
                      <a:pt x="488" y="48"/>
                    </a:lnTo>
                    <a:lnTo>
                      <a:pt x="488" y="49"/>
                    </a:lnTo>
                    <a:lnTo>
                      <a:pt x="490" y="48"/>
                    </a:lnTo>
                    <a:lnTo>
                      <a:pt x="492" y="49"/>
                    </a:lnTo>
                    <a:lnTo>
                      <a:pt x="494" y="51"/>
                    </a:lnTo>
                    <a:lnTo>
                      <a:pt x="493" y="52"/>
                    </a:lnTo>
                    <a:lnTo>
                      <a:pt x="494" y="52"/>
                    </a:lnTo>
                    <a:lnTo>
                      <a:pt x="494" y="53"/>
                    </a:lnTo>
                    <a:lnTo>
                      <a:pt x="495" y="53"/>
                    </a:lnTo>
                    <a:lnTo>
                      <a:pt x="495" y="54"/>
                    </a:lnTo>
                    <a:lnTo>
                      <a:pt x="494" y="54"/>
                    </a:lnTo>
                    <a:lnTo>
                      <a:pt x="494" y="56"/>
                    </a:lnTo>
                    <a:lnTo>
                      <a:pt x="493" y="56"/>
                    </a:lnTo>
                    <a:lnTo>
                      <a:pt x="493" y="58"/>
                    </a:lnTo>
                    <a:lnTo>
                      <a:pt x="491" y="57"/>
                    </a:lnTo>
                    <a:lnTo>
                      <a:pt x="491" y="58"/>
                    </a:lnTo>
                    <a:lnTo>
                      <a:pt x="487" y="58"/>
                    </a:lnTo>
                    <a:lnTo>
                      <a:pt x="486" y="60"/>
                    </a:lnTo>
                    <a:lnTo>
                      <a:pt x="486" y="63"/>
                    </a:lnTo>
                    <a:lnTo>
                      <a:pt x="486" y="64"/>
                    </a:lnTo>
                    <a:lnTo>
                      <a:pt x="487" y="65"/>
                    </a:lnTo>
                    <a:lnTo>
                      <a:pt x="490" y="69"/>
                    </a:lnTo>
                    <a:lnTo>
                      <a:pt x="490" y="71"/>
                    </a:lnTo>
                    <a:lnTo>
                      <a:pt x="489" y="72"/>
                    </a:lnTo>
                    <a:lnTo>
                      <a:pt x="489" y="73"/>
                    </a:lnTo>
                    <a:lnTo>
                      <a:pt x="490" y="73"/>
                    </a:lnTo>
                    <a:lnTo>
                      <a:pt x="492" y="75"/>
                    </a:lnTo>
                    <a:lnTo>
                      <a:pt x="491" y="76"/>
                    </a:lnTo>
                    <a:lnTo>
                      <a:pt x="491" y="77"/>
                    </a:lnTo>
                    <a:lnTo>
                      <a:pt x="490" y="77"/>
                    </a:lnTo>
                    <a:lnTo>
                      <a:pt x="489" y="77"/>
                    </a:lnTo>
                    <a:lnTo>
                      <a:pt x="490" y="77"/>
                    </a:lnTo>
                    <a:lnTo>
                      <a:pt x="490" y="78"/>
                    </a:lnTo>
                    <a:lnTo>
                      <a:pt x="489" y="80"/>
                    </a:lnTo>
                    <a:lnTo>
                      <a:pt x="490" y="80"/>
                    </a:lnTo>
                    <a:lnTo>
                      <a:pt x="489" y="82"/>
                    </a:lnTo>
                    <a:lnTo>
                      <a:pt x="489" y="84"/>
                    </a:lnTo>
                    <a:lnTo>
                      <a:pt x="487" y="86"/>
                    </a:lnTo>
                    <a:lnTo>
                      <a:pt x="487" y="88"/>
                    </a:lnTo>
                    <a:lnTo>
                      <a:pt x="489" y="88"/>
                    </a:lnTo>
                    <a:lnTo>
                      <a:pt x="489" y="89"/>
                    </a:lnTo>
                    <a:lnTo>
                      <a:pt x="491" y="88"/>
                    </a:lnTo>
                    <a:lnTo>
                      <a:pt x="491" y="89"/>
                    </a:lnTo>
                    <a:lnTo>
                      <a:pt x="493" y="93"/>
                    </a:lnTo>
                    <a:lnTo>
                      <a:pt x="493" y="94"/>
                    </a:lnTo>
                    <a:lnTo>
                      <a:pt x="491" y="94"/>
                    </a:lnTo>
                    <a:lnTo>
                      <a:pt x="491" y="96"/>
                    </a:lnTo>
                    <a:lnTo>
                      <a:pt x="492" y="97"/>
                    </a:lnTo>
                    <a:lnTo>
                      <a:pt x="492" y="98"/>
                    </a:lnTo>
                    <a:lnTo>
                      <a:pt x="495" y="99"/>
                    </a:lnTo>
                    <a:lnTo>
                      <a:pt x="491" y="108"/>
                    </a:lnTo>
                    <a:lnTo>
                      <a:pt x="491" y="107"/>
                    </a:lnTo>
                    <a:lnTo>
                      <a:pt x="490" y="109"/>
                    </a:lnTo>
                    <a:lnTo>
                      <a:pt x="489" y="107"/>
                    </a:lnTo>
                    <a:lnTo>
                      <a:pt x="489" y="109"/>
                    </a:lnTo>
                    <a:lnTo>
                      <a:pt x="486" y="109"/>
                    </a:lnTo>
                    <a:lnTo>
                      <a:pt x="486" y="111"/>
                    </a:lnTo>
                    <a:lnTo>
                      <a:pt x="487" y="111"/>
                    </a:lnTo>
                    <a:lnTo>
                      <a:pt x="487" y="112"/>
                    </a:lnTo>
                    <a:lnTo>
                      <a:pt x="486" y="113"/>
                    </a:lnTo>
                    <a:lnTo>
                      <a:pt x="487" y="115"/>
                    </a:lnTo>
                    <a:lnTo>
                      <a:pt x="487" y="116"/>
                    </a:lnTo>
                    <a:lnTo>
                      <a:pt x="486" y="116"/>
                    </a:lnTo>
                    <a:lnTo>
                      <a:pt x="485" y="117"/>
                    </a:lnTo>
                    <a:lnTo>
                      <a:pt x="484" y="117"/>
                    </a:lnTo>
                    <a:lnTo>
                      <a:pt x="485" y="116"/>
                    </a:lnTo>
                    <a:lnTo>
                      <a:pt x="484" y="116"/>
                    </a:lnTo>
                    <a:lnTo>
                      <a:pt x="483" y="116"/>
                    </a:lnTo>
                    <a:lnTo>
                      <a:pt x="482" y="116"/>
                    </a:lnTo>
                    <a:lnTo>
                      <a:pt x="481" y="115"/>
                    </a:lnTo>
                    <a:lnTo>
                      <a:pt x="479" y="117"/>
                    </a:lnTo>
                    <a:lnTo>
                      <a:pt x="476" y="120"/>
                    </a:lnTo>
                    <a:lnTo>
                      <a:pt x="478" y="123"/>
                    </a:lnTo>
                    <a:lnTo>
                      <a:pt x="479" y="126"/>
                    </a:lnTo>
                    <a:lnTo>
                      <a:pt x="481" y="126"/>
                    </a:lnTo>
                    <a:lnTo>
                      <a:pt x="483" y="128"/>
                    </a:lnTo>
                    <a:lnTo>
                      <a:pt x="482" y="128"/>
                    </a:lnTo>
                    <a:lnTo>
                      <a:pt x="480" y="129"/>
                    </a:lnTo>
                    <a:lnTo>
                      <a:pt x="481" y="133"/>
                    </a:lnTo>
                    <a:lnTo>
                      <a:pt x="481" y="135"/>
                    </a:lnTo>
                    <a:lnTo>
                      <a:pt x="483" y="137"/>
                    </a:lnTo>
                    <a:lnTo>
                      <a:pt x="485" y="139"/>
                    </a:lnTo>
                    <a:lnTo>
                      <a:pt x="487" y="140"/>
                    </a:lnTo>
                    <a:lnTo>
                      <a:pt x="489" y="139"/>
                    </a:lnTo>
                    <a:lnTo>
                      <a:pt x="491" y="136"/>
                    </a:lnTo>
                    <a:lnTo>
                      <a:pt x="492" y="139"/>
                    </a:lnTo>
                    <a:lnTo>
                      <a:pt x="496" y="141"/>
                    </a:lnTo>
                    <a:lnTo>
                      <a:pt x="497" y="141"/>
                    </a:lnTo>
                    <a:lnTo>
                      <a:pt x="496" y="142"/>
                    </a:lnTo>
                    <a:lnTo>
                      <a:pt x="495" y="142"/>
                    </a:lnTo>
                    <a:lnTo>
                      <a:pt x="495" y="146"/>
                    </a:lnTo>
                    <a:lnTo>
                      <a:pt x="496" y="146"/>
                    </a:lnTo>
                    <a:lnTo>
                      <a:pt x="498" y="145"/>
                    </a:lnTo>
                    <a:lnTo>
                      <a:pt x="498" y="146"/>
                    </a:lnTo>
                    <a:lnTo>
                      <a:pt x="499" y="148"/>
                    </a:lnTo>
                    <a:lnTo>
                      <a:pt x="500" y="148"/>
                    </a:lnTo>
                    <a:lnTo>
                      <a:pt x="501" y="150"/>
                    </a:lnTo>
                    <a:lnTo>
                      <a:pt x="502" y="150"/>
                    </a:lnTo>
                    <a:lnTo>
                      <a:pt x="503" y="152"/>
                    </a:lnTo>
                    <a:lnTo>
                      <a:pt x="503" y="154"/>
                    </a:lnTo>
                    <a:lnTo>
                      <a:pt x="502" y="153"/>
                    </a:lnTo>
                    <a:lnTo>
                      <a:pt x="499" y="155"/>
                    </a:lnTo>
                    <a:lnTo>
                      <a:pt x="499" y="156"/>
                    </a:lnTo>
                    <a:lnTo>
                      <a:pt x="501" y="157"/>
                    </a:lnTo>
                    <a:lnTo>
                      <a:pt x="501" y="159"/>
                    </a:lnTo>
                    <a:lnTo>
                      <a:pt x="499" y="161"/>
                    </a:lnTo>
                    <a:lnTo>
                      <a:pt x="501" y="162"/>
                    </a:lnTo>
                    <a:lnTo>
                      <a:pt x="504" y="165"/>
                    </a:lnTo>
                    <a:lnTo>
                      <a:pt x="504" y="166"/>
                    </a:lnTo>
                    <a:lnTo>
                      <a:pt x="505" y="167"/>
                    </a:lnTo>
                    <a:lnTo>
                      <a:pt x="506" y="165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8" y="167"/>
                    </a:lnTo>
                    <a:lnTo>
                      <a:pt x="508" y="165"/>
                    </a:lnTo>
                    <a:lnTo>
                      <a:pt x="512" y="166"/>
                    </a:lnTo>
                    <a:lnTo>
                      <a:pt x="514" y="164"/>
                    </a:lnTo>
                    <a:lnTo>
                      <a:pt x="515" y="164"/>
                    </a:lnTo>
                    <a:lnTo>
                      <a:pt x="515" y="165"/>
                    </a:lnTo>
                    <a:lnTo>
                      <a:pt x="517" y="167"/>
                    </a:lnTo>
                    <a:lnTo>
                      <a:pt x="518" y="167"/>
                    </a:lnTo>
                    <a:lnTo>
                      <a:pt x="519" y="168"/>
                    </a:lnTo>
                    <a:lnTo>
                      <a:pt x="520" y="167"/>
                    </a:lnTo>
                    <a:lnTo>
                      <a:pt x="522" y="169"/>
                    </a:lnTo>
                    <a:lnTo>
                      <a:pt x="525" y="171"/>
                    </a:lnTo>
                    <a:lnTo>
                      <a:pt x="524" y="171"/>
                    </a:lnTo>
                    <a:lnTo>
                      <a:pt x="525" y="173"/>
                    </a:lnTo>
                    <a:lnTo>
                      <a:pt x="526" y="172"/>
                    </a:lnTo>
                    <a:lnTo>
                      <a:pt x="528" y="171"/>
                    </a:lnTo>
                    <a:lnTo>
                      <a:pt x="529" y="168"/>
                    </a:lnTo>
                    <a:lnTo>
                      <a:pt x="532" y="169"/>
                    </a:lnTo>
                    <a:lnTo>
                      <a:pt x="533" y="167"/>
                    </a:lnTo>
                    <a:lnTo>
                      <a:pt x="535" y="167"/>
                    </a:lnTo>
                    <a:lnTo>
                      <a:pt x="536" y="167"/>
                    </a:lnTo>
                    <a:lnTo>
                      <a:pt x="538" y="167"/>
                    </a:lnTo>
                    <a:lnTo>
                      <a:pt x="538" y="165"/>
                    </a:lnTo>
                    <a:lnTo>
                      <a:pt x="538" y="167"/>
                    </a:lnTo>
                    <a:lnTo>
                      <a:pt x="539" y="167"/>
                    </a:lnTo>
                    <a:lnTo>
                      <a:pt x="539" y="170"/>
                    </a:lnTo>
                    <a:lnTo>
                      <a:pt x="540" y="170"/>
                    </a:lnTo>
                    <a:lnTo>
                      <a:pt x="540" y="171"/>
                    </a:lnTo>
                    <a:lnTo>
                      <a:pt x="541" y="171"/>
                    </a:lnTo>
                    <a:lnTo>
                      <a:pt x="543" y="172"/>
                    </a:lnTo>
                    <a:lnTo>
                      <a:pt x="543" y="173"/>
                    </a:lnTo>
                    <a:lnTo>
                      <a:pt x="544" y="173"/>
                    </a:lnTo>
                    <a:lnTo>
                      <a:pt x="545" y="175"/>
                    </a:lnTo>
                    <a:lnTo>
                      <a:pt x="543" y="176"/>
                    </a:lnTo>
                    <a:lnTo>
                      <a:pt x="544" y="178"/>
                    </a:lnTo>
                    <a:lnTo>
                      <a:pt x="544" y="179"/>
                    </a:lnTo>
                    <a:lnTo>
                      <a:pt x="543" y="179"/>
                    </a:lnTo>
                    <a:lnTo>
                      <a:pt x="544" y="182"/>
                    </a:lnTo>
                    <a:lnTo>
                      <a:pt x="543" y="185"/>
                    </a:lnTo>
                    <a:lnTo>
                      <a:pt x="544" y="185"/>
                    </a:lnTo>
                    <a:lnTo>
                      <a:pt x="545" y="188"/>
                    </a:lnTo>
                    <a:lnTo>
                      <a:pt x="543" y="189"/>
                    </a:lnTo>
                    <a:lnTo>
                      <a:pt x="541" y="189"/>
                    </a:lnTo>
                    <a:lnTo>
                      <a:pt x="540" y="190"/>
                    </a:lnTo>
                    <a:lnTo>
                      <a:pt x="541" y="191"/>
                    </a:lnTo>
                    <a:lnTo>
                      <a:pt x="541" y="197"/>
                    </a:lnTo>
                    <a:lnTo>
                      <a:pt x="540" y="200"/>
                    </a:lnTo>
                    <a:lnTo>
                      <a:pt x="542" y="201"/>
                    </a:lnTo>
                    <a:lnTo>
                      <a:pt x="542" y="203"/>
                    </a:lnTo>
                    <a:lnTo>
                      <a:pt x="543" y="203"/>
                    </a:lnTo>
                    <a:lnTo>
                      <a:pt x="545" y="205"/>
                    </a:lnTo>
                    <a:lnTo>
                      <a:pt x="544" y="209"/>
                    </a:lnTo>
                    <a:lnTo>
                      <a:pt x="545" y="207"/>
                    </a:lnTo>
                    <a:lnTo>
                      <a:pt x="545" y="209"/>
                    </a:lnTo>
                    <a:lnTo>
                      <a:pt x="546" y="209"/>
                    </a:lnTo>
                    <a:lnTo>
                      <a:pt x="544" y="211"/>
                    </a:lnTo>
                    <a:lnTo>
                      <a:pt x="547" y="210"/>
                    </a:lnTo>
                    <a:lnTo>
                      <a:pt x="545" y="212"/>
                    </a:lnTo>
                    <a:lnTo>
                      <a:pt x="545" y="215"/>
                    </a:lnTo>
                    <a:lnTo>
                      <a:pt x="544" y="217"/>
                    </a:lnTo>
                    <a:lnTo>
                      <a:pt x="543" y="216"/>
                    </a:lnTo>
                    <a:lnTo>
                      <a:pt x="542" y="218"/>
                    </a:lnTo>
                    <a:lnTo>
                      <a:pt x="543" y="219"/>
                    </a:lnTo>
                    <a:lnTo>
                      <a:pt x="543" y="220"/>
                    </a:lnTo>
                    <a:lnTo>
                      <a:pt x="542" y="222"/>
                    </a:lnTo>
                    <a:lnTo>
                      <a:pt x="541" y="221"/>
                    </a:lnTo>
                    <a:lnTo>
                      <a:pt x="541" y="222"/>
                    </a:lnTo>
                    <a:lnTo>
                      <a:pt x="540" y="223"/>
                    </a:lnTo>
                    <a:lnTo>
                      <a:pt x="539" y="225"/>
                    </a:lnTo>
                    <a:lnTo>
                      <a:pt x="537" y="224"/>
                    </a:lnTo>
                    <a:lnTo>
                      <a:pt x="536" y="227"/>
                    </a:lnTo>
                    <a:lnTo>
                      <a:pt x="536" y="226"/>
                    </a:lnTo>
                    <a:lnTo>
                      <a:pt x="535" y="226"/>
                    </a:lnTo>
                    <a:lnTo>
                      <a:pt x="535" y="228"/>
                    </a:lnTo>
                    <a:lnTo>
                      <a:pt x="534" y="228"/>
                    </a:lnTo>
                    <a:lnTo>
                      <a:pt x="533" y="227"/>
                    </a:lnTo>
                    <a:lnTo>
                      <a:pt x="532" y="229"/>
                    </a:lnTo>
                    <a:lnTo>
                      <a:pt x="534" y="229"/>
                    </a:lnTo>
                    <a:lnTo>
                      <a:pt x="537" y="232"/>
                    </a:lnTo>
                    <a:lnTo>
                      <a:pt x="537" y="233"/>
                    </a:lnTo>
                    <a:lnTo>
                      <a:pt x="533" y="236"/>
                    </a:lnTo>
                    <a:lnTo>
                      <a:pt x="530" y="237"/>
                    </a:lnTo>
                    <a:lnTo>
                      <a:pt x="534" y="239"/>
                    </a:lnTo>
                    <a:lnTo>
                      <a:pt x="538" y="238"/>
                    </a:lnTo>
                    <a:lnTo>
                      <a:pt x="540" y="241"/>
                    </a:lnTo>
                    <a:lnTo>
                      <a:pt x="541" y="243"/>
                    </a:lnTo>
                    <a:lnTo>
                      <a:pt x="543" y="244"/>
                    </a:lnTo>
                    <a:lnTo>
                      <a:pt x="544" y="243"/>
                    </a:lnTo>
                    <a:lnTo>
                      <a:pt x="544" y="241"/>
                    </a:lnTo>
                    <a:lnTo>
                      <a:pt x="545" y="243"/>
                    </a:lnTo>
                    <a:lnTo>
                      <a:pt x="546" y="243"/>
                    </a:lnTo>
                    <a:lnTo>
                      <a:pt x="546" y="244"/>
                    </a:lnTo>
                    <a:lnTo>
                      <a:pt x="550" y="248"/>
                    </a:lnTo>
                    <a:lnTo>
                      <a:pt x="552" y="249"/>
                    </a:lnTo>
                    <a:lnTo>
                      <a:pt x="553" y="249"/>
                    </a:lnTo>
                    <a:lnTo>
                      <a:pt x="555" y="250"/>
                    </a:lnTo>
                    <a:lnTo>
                      <a:pt x="552" y="254"/>
                    </a:lnTo>
                    <a:lnTo>
                      <a:pt x="552" y="257"/>
                    </a:lnTo>
                    <a:lnTo>
                      <a:pt x="551" y="256"/>
                    </a:lnTo>
                    <a:lnTo>
                      <a:pt x="550" y="256"/>
                    </a:lnTo>
                    <a:lnTo>
                      <a:pt x="551" y="260"/>
                    </a:lnTo>
                    <a:lnTo>
                      <a:pt x="548" y="262"/>
                    </a:lnTo>
                    <a:lnTo>
                      <a:pt x="546" y="260"/>
                    </a:lnTo>
                    <a:lnTo>
                      <a:pt x="546" y="258"/>
                    </a:lnTo>
                    <a:lnTo>
                      <a:pt x="545" y="257"/>
                    </a:lnTo>
                    <a:lnTo>
                      <a:pt x="543" y="258"/>
                    </a:lnTo>
                    <a:lnTo>
                      <a:pt x="541" y="262"/>
                    </a:lnTo>
                    <a:lnTo>
                      <a:pt x="543" y="265"/>
                    </a:lnTo>
                    <a:lnTo>
                      <a:pt x="545" y="263"/>
                    </a:lnTo>
                    <a:lnTo>
                      <a:pt x="546" y="267"/>
                    </a:lnTo>
                    <a:lnTo>
                      <a:pt x="548" y="267"/>
                    </a:lnTo>
                    <a:lnTo>
                      <a:pt x="546" y="267"/>
                    </a:lnTo>
                    <a:lnTo>
                      <a:pt x="544" y="266"/>
                    </a:lnTo>
                    <a:lnTo>
                      <a:pt x="543" y="267"/>
                    </a:lnTo>
                    <a:lnTo>
                      <a:pt x="542" y="267"/>
                    </a:lnTo>
                    <a:lnTo>
                      <a:pt x="541" y="267"/>
                    </a:lnTo>
                    <a:lnTo>
                      <a:pt x="542" y="271"/>
                    </a:lnTo>
                    <a:lnTo>
                      <a:pt x="543" y="273"/>
                    </a:lnTo>
                    <a:lnTo>
                      <a:pt x="542" y="279"/>
                    </a:lnTo>
                    <a:lnTo>
                      <a:pt x="540" y="278"/>
                    </a:lnTo>
                    <a:lnTo>
                      <a:pt x="538" y="279"/>
                    </a:lnTo>
                    <a:lnTo>
                      <a:pt x="537" y="278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5" y="279"/>
                    </a:lnTo>
                    <a:lnTo>
                      <a:pt x="534" y="278"/>
                    </a:lnTo>
                    <a:lnTo>
                      <a:pt x="533" y="279"/>
                    </a:lnTo>
                    <a:lnTo>
                      <a:pt x="532" y="280"/>
                    </a:lnTo>
                    <a:lnTo>
                      <a:pt x="533" y="282"/>
                    </a:lnTo>
                    <a:lnTo>
                      <a:pt x="538" y="283"/>
                    </a:lnTo>
                    <a:lnTo>
                      <a:pt x="537" y="284"/>
                    </a:lnTo>
                    <a:lnTo>
                      <a:pt x="539" y="283"/>
                    </a:lnTo>
                    <a:lnTo>
                      <a:pt x="539" y="285"/>
                    </a:lnTo>
                    <a:lnTo>
                      <a:pt x="538" y="286"/>
                    </a:lnTo>
                    <a:lnTo>
                      <a:pt x="538" y="285"/>
                    </a:lnTo>
                    <a:lnTo>
                      <a:pt x="537" y="286"/>
                    </a:lnTo>
                    <a:lnTo>
                      <a:pt x="535" y="284"/>
                    </a:lnTo>
                    <a:lnTo>
                      <a:pt x="535" y="285"/>
                    </a:lnTo>
                    <a:lnTo>
                      <a:pt x="536" y="286"/>
                    </a:lnTo>
                    <a:lnTo>
                      <a:pt x="534" y="284"/>
                    </a:lnTo>
                    <a:lnTo>
                      <a:pt x="533" y="284"/>
                    </a:lnTo>
                    <a:lnTo>
                      <a:pt x="530" y="286"/>
                    </a:lnTo>
                    <a:lnTo>
                      <a:pt x="528" y="286"/>
                    </a:lnTo>
                    <a:lnTo>
                      <a:pt x="530" y="288"/>
                    </a:lnTo>
                    <a:lnTo>
                      <a:pt x="530" y="290"/>
                    </a:lnTo>
                    <a:lnTo>
                      <a:pt x="530" y="292"/>
                    </a:lnTo>
                    <a:lnTo>
                      <a:pt x="532" y="293"/>
                    </a:lnTo>
                    <a:lnTo>
                      <a:pt x="532" y="294"/>
                    </a:lnTo>
                    <a:lnTo>
                      <a:pt x="533" y="294"/>
                    </a:lnTo>
                    <a:lnTo>
                      <a:pt x="533" y="296"/>
                    </a:lnTo>
                    <a:lnTo>
                      <a:pt x="535" y="297"/>
                    </a:lnTo>
                    <a:lnTo>
                      <a:pt x="536" y="298"/>
                    </a:lnTo>
                    <a:lnTo>
                      <a:pt x="537" y="299"/>
                    </a:lnTo>
                    <a:lnTo>
                      <a:pt x="539" y="297"/>
                    </a:lnTo>
                    <a:lnTo>
                      <a:pt x="542" y="298"/>
                    </a:lnTo>
                    <a:lnTo>
                      <a:pt x="541" y="299"/>
                    </a:lnTo>
                    <a:lnTo>
                      <a:pt x="541" y="298"/>
                    </a:lnTo>
                    <a:lnTo>
                      <a:pt x="542" y="300"/>
                    </a:lnTo>
                    <a:lnTo>
                      <a:pt x="543" y="300"/>
                    </a:lnTo>
                    <a:lnTo>
                      <a:pt x="545" y="301"/>
                    </a:lnTo>
                    <a:lnTo>
                      <a:pt x="543" y="302"/>
                    </a:lnTo>
                    <a:lnTo>
                      <a:pt x="542" y="302"/>
                    </a:lnTo>
                    <a:lnTo>
                      <a:pt x="543" y="303"/>
                    </a:lnTo>
                    <a:lnTo>
                      <a:pt x="544" y="304"/>
                    </a:lnTo>
                    <a:lnTo>
                      <a:pt x="545" y="304"/>
                    </a:lnTo>
                    <a:lnTo>
                      <a:pt x="546" y="304"/>
                    </a:lnTo>
                    <a:lnTo>
                      <a:pt x="548" y="306"/>
                    </a:lnTo>
                    <a:lnTo>
                      <a:pt x="552" y="304"/>
                    </a:lnTo>
                    <a:lnTo>
                      <a:pt x="552" y="306"/>
                    </a:lnTo>
                    <a:lnTo>
                      <a:pt x="553" y="307"/>
                    </a:lnTo>
                    <a:lnTo>
                      <a:pt x="552" y="307"/>
                    </a:lnTo>
                    <a:lnTo>
                      <a:pt x="552" y="310"/>
                    </a:lnTo>
                    <a:lnTo>
                      <a:pt x="553" y="310"/>
                    </a:lnTo>
                    <a:lnTo>
                      <a:pt x="555" y="306"/>
                    </a:lnTo>
                    <a:lnTo>
                      <a:pt x="555" y="307"/>
                    </a:lnTo>
                    <a:lnTo>
                      <a:pt x="555" y="309"/>
                    </a:lnTo>
                    <a:lnTo>
                      <a:pt x="556" y="309"/>
                    </a:lnTo>
                    <a:lnTo>
                      <a:pt x="555" y="310"/>
                    </a:lnTo>
                    <a:lnTo>
                      <a:pt x="555" y="313"/>
                    </a:lnTo>
                    <a:lnTo>
                      <a:pt x="552" y="314"/>
                    </a:lnTo>
                    <a:lnTo>
                      <a:pt x="552" y="315"/>
                    </a:lnTo>
                    <a:lnTo>
                      <a:pt x="552" y="316"/>
                    </a:lnTo>
                    <a:lnTo>
                      <a:pt x="555" y="319"/>
                    </a:lnTo>
                    <a:lnTo>
                      <a:pt x="562" y="326"/>
                    </a:lnTo>
                    <a:lnTo>
                      <a:pt x="563" y="325"/>
                    </a:lnTo>
                    <a:lnTo>
                      <a:pt x="564" y="325"/>
                    </a:lnTo>
                    <a:lnTo>
                      <a:pt x="564" y="327"/>
                    </a:lnTo>
                    <a:lnTo>
                      <a:pt x="565" y="326"/>
                    </a:lnTo>
                    <a:lnTo>
                      <a:pt x="566" y="327"/>
                    </a:lnTo>
                    <a:lnTo>
                      <a:pt x="566" y="329"/>
                    </a:lnTo>
                    <a:lnTo>
                      <a:pt x="567" y="330"/>
                    </a:lnTo>
                    <a:lnTo>
                      <a:pt x="568" y="328"/>
                    </a:lnTo>
                    <a:lnTo>
                      <a:pt x="569" y="331"/>
                    </a:lnTo>
                    <a:lnTo>
                      <a:pt x="568" y="333"/>
                    </a:lnTo>
                    <a:lnTo>
                      <a:pt x="569" y="333"/>
                    </a:lnTo>
                    <a:lnTo>
                      <a:pt x="568" y="335"/>
                    </a:lnTo>
                    <a:lnTo>
                      <a:pt x="569" y="337"/>
                    </a:lnTo>
                    <a:lnTo>
                      <a:pt x="568" y="336"/>
                    </a:lnTo>
                    <a:lnTo>
                      <a:pt x="566" y="337"/>
                    </a:lnTo>
                    <a:lnTo>
                      <a:pt x="564" y="339"/>
                    </a:lnTo>
                    <a:lnTo>
                      <a:pt x="567" y="344"/>
                    </a:lnTo>
                    <a:lnTo>
                      <a:pt x="568" y="344"/>
                    </a:lnTo>
                    <a:lnTo>
                      <a:pt x="568" y="345"/>
                    </a:lnTo>
                    <a:lnTo>
                      <a:pt x="568" y="347"/>
                    </a:lnTo>
                    <a:lnTo>
                      <a:pt x="568" y="348"/>
                    </a:lnTo>
                    <a:lnTo>
                      <a:pt x="567" y="348"/>
                    </a:lnTo>
                    <a:lnTo>
                      <a:pt x="566" y="347"/>
                    </a:lnTo>
                    <a:lnTo>
                      <a:pt x="566" y="350"/>
                    </a:lnTo>
                    <a:lnTo>
                      <a:pt x="565" y="350"/>
                    </a:lnTo>
                    <a:lnTo>
                      <a:pt x="564" y="352"/>
                    </a:lnTo>
                    <a:lnTo>
                      <a:pt x="564" y="353"/>
                    </a:lnTo>
                    <a:lnTo>
                      <a:pt x="561" y="356"/>
                    </a:lnTo>
                    <a:lnTo>
                      <a:pt x="563" y="357"/>
                    </a:lnTo>
                    <a:lnTo>
                      <a:pt x="561" y="358"/>
                    </a:lnTo>
                    <a:lnTo>
                      <a:pt x="558" y="359"/>
                    </a:lnTo>
                    <a:lnTo>
                      <a:pt x="557" y="359"/>
                    </a:lnTo>
                    <a:lnTo>
                      <a:pt x="557" y="360"/>
                    </a:lnTo>
                    <a:lnTo>
                      <a:pt x="556" y="361"/>
                    </a:lnTo>
                    <a:lnTo>
                      <a:pt x="558" y="363"/>
                    </a:lnTo>
                    <a:lnTo>
                      <a:pt x="558" y="365"/>
                    </a:lnTo>
                    <a:lnTo>
                      <a:pt x="557" y="367"/>
                    </a:lnTo>
                    <a:lnTo>
                      <a:pt x="558" y="368"/>
                    </a:lnTo>
                    <a:lnTo>
                      <a:pt x="557" y="371"/>
                    </a:lnTo>
                    <a:lnTo>
                      <a:pt x="556" y="371"/>
                    </a:lnTo>
                    <a:lnTo>
                      <a:pt x="556" y="369"/>
                    </a:lnTo>
                    <a:lnTo>
                      <a:pt x="555" y="371"/>
                    </a:lnTo>
                    <a:lnTo>
                      <a:pt x="556" y="373"/>
                    </a:lnTo>
                    <a:lnTo>
                      <a:pt x="556" y="375"/>
                    </a:lnTo>
                    <a:lnTo>
                      <a:pt x="555" y="375"/>
                    </a:lnTo>
                    <a:lnTo>
                      <a:pt x="554" y="376"/>
                    </a:lnTo>
                    <a:lnTo>
                      <a:pt x="554" y="378"/>
                    </a:lnTo>
                    <a:lnTo>
                      <a:pt x="552" y="380"/>
                    </a:lnTo>
                    <a:lnTo>
                      <a:pt x="551" y="378"/>
                    </a:lnTo>
                    <a:lnTo>
                      <a:pt x="548" y="379"/>
                    </a:lnTo>
                    <a:lnTo>
                      <a:pt x="548" y="380"/>
                    </a:lnTo>
                    <a:lnTo>
                      <a:pt x="548" y="382"/>
                    </a:lnTo>
                    <a:lnTo>
                      <a:pt x="546" y="383"/>
                    </a:lnTo>
                    <a:lnTo>
                      <a:pt x="544" y="383"/>
                    </a:lnTo>
                    <a:lnTo>
                      <a:pt x="544" y="384"/>
                    </a:lnTo>
                    <a:lnTo>
                      <a:pt x="543" y="382"/>
                    </a:lnTo>
                    <a:lnTo>
                      <a:pt x="541" y="380"/>
                    </a:lnTo>
                    <a:lnTo>
                      <a:pt x="540" y="381"/>
                    </a:lnTo>
                    <a:lnTo>
                      <a:pt x="535" y="385"/>
                    </a:lnTo>
                    <a:lnTo>
                      <a:pt x="535" y="386"/>
                    </a:lnTo>
                    <a:lnTo>
                      <a:pt x="533" y="386"/>
                    </a:lnTo>
                    <a:lnTo>
                      <a:pt x="532" y="388"/>
                    </a:lnTo>
                    <a:lnTo>
                      <a:pt x="530" y="390"/>
                    </a:lnTo>
                    <a:lnTo>
                      <a:pt x="530" y="392"/>
                    </a:lnTo>
                    <a:lnTo>
                      <a:pt x="531" y="394"/>
                    </a:lnTo>
                    <a:lnTo>
                      <a:pt x="533" y="394"/>
                    </a:lnTo>
                    <a:lnTo>
                      <a:pt x="534" y="394"/>
                    </a:lnTo>
                    <a:lnTo>
                      <a:pt x="533" y="395"/>
                    </a:lnTo>
                    <a:lnTo>
                      <a:pt x="535" y="397"/>
                    </a:lnTo>
                    <a:lnTo>
                      <a:pt x="534" y="399"/>
                    </a:lnTo>
                    <a:lnTo>
                      <a:pt x="536" y="400"/>
                    </a:lnTo>
                    <a:lnTo>
                      <a:pt x="535" y="401"/>
                    </a:lnTo>
                    <a:lnTo>
                      <a:pt x="535" y="402"/>
                    </a:lnTo>
                    <a:lnTo>
                      <a:pt x="533" y="403"/>
                    </a:lnTo>
                    <a:lnTo>
                      <a:pt x="532" y="403"/>
                    </a:lnTo>
                    <a:lnTo>
                      <a:pt x="531" y="405"/>
                    </a:lnTo>
                    <a:lnTo>
                      <a:pt x="530" y="404"/>
                    </a:lnTo>
                    <a:lnTo>
                      <a:pt x="529" y="404"/>
                    </a:lnTo>
                    <a:lnTo>
                      <a:pt x="528" y="403"/>
                    </a:lnTo>
                    <a:lnTo>
                      <a:pt x="527" y="404"/>
                    </a:lnTo>
                    <a:lnTo>
                      <a:pt x="524" y="401"/>
                    </a:lnTo>
                    <a:lnTo>
                      <a:pt x="524" y="403"/>
                    </a:lnTo>
                    <a:lnTo>
                      <a:pt x="523" y="403"/>
                    </a:lnTo>
                    <a:lnTo>
                      <a:pt x="522" y="402"/>
                    </a:lnTo>
                    <a:lnTo>
                      <a:pt x="522" y="399"/>
                    </a:lnTo>
                    <a:lnTo>
                      <a:pt x="521" y="400"/>
                    </a:lnTo>
                    <a:lnTo>
                      <a:pt x="520" y="399"/>
                    </a:lnTo>
                    <a:lnTo>
                      <a:pt x="519" y="402"/>
                    </a:lnTo>
                    <a:lnTo>
                      <a:pt x="517" y="404"/>
                    </a:lnTo>
                    <a:lnTo>
                      <a:pt x="516" y="407"/>
                    </a:lnTo>
                    <a:lnTo>
                      <a:pt x="517" y="407"/>
                    </a:lnTo>
                    <a:lnTo>
                      <a:pt x="515" y="408"/>
                    </a:lnTo>
                    <a:lnTo>
                      <a:pt x="515" y="411"/>
                    </a:lnTo>
                    <a:lnTo>
                      <a:pt x="515" y="409"/>
                    </a:lnTo>
                    <a:lnTo>
                      <a:pt x="513" y="408"/>
                    </a:lnTo>
                    <a:lnTo>
                      <a:pt x="510" y="412"/>
                    </a:lnTo>
                    <a:lnTo>
                      <a:pt x="507" y="409"/>
                    </a:lnTo>
                    <a:lnTo>
                      <a:pt x="504" y="411"/>
                    </a:lnTo>
                    <a:lnTo>
                      <a:pt x="501" y="413"/>
                    </a:lnTo>
                    <a:lnTo>
                      <a:pt x="500" y="412"/>
                    </a:lnTo>
                    <a:lnTo>
                      <a:pt x="499" y="413"/>
                    </a:lnTo>
                    <a:lnTo>
                      <a:pt x="498" y="412"/>
                    </a:lnTo>
                    <a:lnTo>
                      <a:pt x="496" y="412"/>
                    </a:lnTo>
                    <a:lnTo>
                      <a:pt x="496" y="411"/>
                    </a:lnTo>
                    <a:lnTo>
                      <a:pt x="496" y="413"/>
                    </a:lnTo>
                    <a:lnTo>
                      <a:pt x="496" y="412"/>
                    </a:lnTo>
                    <a:lnTo>
                      <a:pt x="495" y="412"/>
                    </a:lnTo>
                    <a:lnTo>
                      <a:pt x="492" y="412"/>
                    </a:lnTo>
                    <a:lnTo>
                      <a:pt x="492" y="415"/>
                    </a:lnTo>
                    <a:lnTo>
                      <a:pt x="491" y="414"/>
                    </a:lnTo>
                    <a:lnTo>
                      <a:pt x="490" y="414"/>
                    </a:lnTo>
                    <a:lnTo>
                      <a:pt x="491" y="416"/>
                    </a:lnTo>
                    <a:lnTo>
                      <a:pt x="487" y="417"/>
                    </a:lnTo>
                    <a:lnTo>
                      <a:pt x="487" y="416"/>
                    </a:lnTo>
                    <a:lnTo>
                      <a:pt x="486" y="418"/>
                    </a:lnTo>
                    <a:lnTo>
                      <a:pt x="486" y="416"/>
                    </a:lnTo>
                    <a:lnTo>
                      <a:pt x="484" y="417"/>
                    </a:lnTo>
                    <a:lnTo>
                      <a:pt x="484" y="416"/>
                    </a:lnTo>
                    <a:lnTo>
                      <a:pt x="482" y="416"/>
                    </a:lnTo>
                    <a:lnTo>
                      <a:pt x="484" y="413"/>
                    </a:lnTo>
                    <a:lnTo>
                      <a:pt x="484" y="412"/>
                    </a:lnTo>
                    <a:lnTo>
                      <a:pt x="483" y="412"/>
                    </a:lnTo>
                    <a:lnTo>
                      <a:pt x="481" y="413"/>
                    </a:lnTo>
                    <a:lnTo>
                      <a:pt x="480" y="412"/>
                    </a:lnTo>
                    <a:lnTo>
                      <a:pt x="479" y="414"/>
                    </a:lnTo>
                    <a:lnTo>
                      <a:pt x="477" y="414"/>
                    </a:lnTo>
                    <a:lnTo>
                      <a:pt x="476" y="414"/>
                    </a:lnTo>
                    <a:lnTo>
                      <a:pt x="475" y="416"/>
                    </a:lnTo>
                    <a:lnTo>
                      <a:pt x="474" y="416"/>
                    </a:lnTo>
                    <a:lnTo>
                      <a:pt x="474" y="418"/>
                    </a:lnTo>
                    <a:lnTo>
                      <a:pt x="475" y="418"/>
                    </a:lnTo>
                    <a:lnTo>
                      <a:pt x="475" y="419"/>
                    </a:lnTo>
                    <a:lnTo>
                      <a:pt x="475" y="420"/>
                    </a:lnTo>
                    <a:lnTo>
                      <a:pt x="472" y="421"/>
                    </a:lnTo>
                    <a:lnTo>
                      <a:pt x="472" y="425"/>
                    </a:lnTo>
                    <a:lnTo>
                      <a:pt x="472" y="428"/>
                    </a:lnTo>
                    <a:lnTo>
                      <a:pt x="467" y="429"/>
                    </a:lnTo>
                    <a:lnTo>
                      <a:pt x="467" y="431"/>
                    </a:lnTo>
                    <a:lnTo>
                      <a:pt x="465" y="434"/>
                    </a:lnTo>
                    <a:lnTo>
                      <a:pt x="464" y="434"/>
                    </a:lnTo>
                    <a:lnTo>
                      <a:pt x="464" y="433"/>
                    </a:lnTo>
                    <a:lnTo>
                      <a:pt x="463" y="433"/>
                    </a:lnTo>
                    <a:lnTo>
                      <a:pt x="462" y="433"/>
                    </a:lnTo>
                    <a:lnTo>
                      <a:pt x="463" y="434"/>
                    </a:lnTo>
                    <a:lnTo>
                      <a:pt x="462" y="434"/>
                    </a:lnTo>
                    <a:lnTo>
                      <a:pt x="462" y="435"/>
                    </a:lnTo>
                    <a:lnTo>
                      <a:pt x="461" y="437"/>
                    </a:lnTo>
                    <a:lnTo>
                      <a:pt x="460" y="438"/>
                    </a:lnTo>
                    <a:lnTo>
                      <a:pt x="460" y="440"/>
                    </a:lnTo>
                    <a:lnTo>
                      <a:pt x="460" y="442"/>
                    </a:lnTo>
                    <a:lnTo>
                      <a:pt x="459" y="446"/>
                    </a:lnTo>
                    <a:lnTo>
                      <a:pt x="460" y="448"/>
                    </a:lnTo>
                    <a:lnTo>
                      <a:pt x="459" y="450"/>
                    </a:lnTo>
                    <a:lnTo>
                      <a:pt x="460" y="451"/>
                    </a:lnTo>
                    <a:lnTo>
                      <a:pt x="460" y="454"/>
                    </a:lnTo>
                    <a:lnTo>
                      <a:pt x="462" y="454"/>
                    </a:lnTo>
                    <a:lnTo>
                      <a:pt x="463" y="452"/>
                    </a:lnTo>
                    <a:lnTo>
                      <a:pt x="466" y="457"/>
                    </a:lnTo>
                    <a:lnTo>
                      <a:pt x="469" y="456"/>
                    </a:lnTo>
                    <a:lnTo>
                      <a:pt x="473" y="457"/>
                    </a:lnTo>
                    <a:lnTo>
                      <a:pt x="473" y="459"/>
                    </a:lnTo>
                    <a:lnTo>
                      <a:pt x="474" y="463"/>
                    </a:lnTo>
                    <a:lnTo>
                      <a:pt x="476" y="468"/>
                    </a:lnTo>
                    <a:lnTo>
                      <a:pt x="476" y="469"/>
                    </a:lnTo>
                    <a:lnTo>
                      <a:pt x="475" y="470"/>
                    </a:lnTo>
                    <a:lnTo>
                      <a:pt x="475" y="471"/>
                    </a:lnTo>
                    <a:lnTo>
                      <a:pt x="476" y="473"/>
                    </a:lnTo>
                    <a:lnTo>
                      <a:pt x="474" y="476"/>
                    </a:lnTo>
                    <a:lnTo>
                      <a:pt x="473" y="475"/>
                    </a:lnTo>
                    <a:lnTo>
                      <a:pt x="473" y="477"/>
                    </a:lnTo>
                    <a:lnTo>
                      <a:pt x="472" y="476"/>
                    </a:lnTo>
                    <a:lnTo>
                      <a:pt x="472" y="477"/>
                    </a:lnTo>
                    <a:lnTo>
                      <a:pt x="471" y="477"/>
                    </a:lnTo>
                    <a:lnTo>
                      <a:pt x="470" y="478"/>
                    </a:lnTo>
                    <a:lnTo>
                      <a:pt x="470" y="480"/>
                    </a:lnTo>
                    <a:lnTo>
                      <a:pt x="467" y="481"/>
                    </a:lnTo>
                    <a:lnTo>
                      <a:pt x="467" y="480"/>
                    </a:lnTo>
                    <a:lnTo>
                      <a:pt x="466" y="480"/>
                    </a:lnTo>
                    <a:lnTo>
                      <a:pt x="464" y="481"/>
                    </a:lnTo>
                    <a:lnTo>
                      <a:pt x="463" y="480"/>
                    </a:lnTo>
                    <a:lnTo>
                      <a:pt x="462" y="481"/>
                    </a:lnTo>
                    <a:lnTo>
                      <a:pt x="462" y="478"/>
                    </a:lnTo>
                    <a:lnTo>
                      <a:pt x="459" y="476"/>
                    </a:lnTo>
                    <a:lnTo>
                      <a:pt x="459" y="478"/>
                    </a:lnTo>
                    <a:lnTo>
                      <a:pt x="457" y="477"/>
                    </a:lnTo>
                    <a:lnTo>
                      <a:pt x="457" y="480"/>
                    </a:lnTo>
                    <a:lnTo>
                      <a:pt x="455" y="481"/>
                    </a:lnTo>
                    <a:lnTo>
                      <a:pt x="454" y="480"/>
                    </a:lnTo>
                    <a:lnTo>
                      <a:pt x="455" y="478"/>
                    </a:lnTo>
                    <a:lnTo>
                      <a:pt x="453" y="478"/>
                    </a:lnTo>
                    <a:lnTo>
                      <a:pt x="453" y="480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2" y="483"/>
                    </a:lnTo>
                    <a:lnTo>
                      <a:pt x="452" y="484"/>
                    </a:lnTo>
                    <a:lnTo>
                      <a:pt x="451" y="485"/>
                    </a:lnTo>
                    <a:lnTo>
                      <a:pt x="451" y="486"/>
                    </a:lnTo>
                    <a:lnTo>
                      <a:pt x="451" y="488"/>
                    </a:lnTo>
                    <a:lnTo>
                      <a:pt x="451" y="489"/>
                    </a:lnTo>
                    <a:lnTo>
                      <a:pt x="447" y="488"/>
                    </a:lnTo>
                    <a:lnTo>
                      <a:pt x="447" y="486"/>
                    </a:lnTo>
                    <a:lnTo>
                      <a:pt x="447" y="484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2" y="483"/>
                    </a:lnTo>
                    <a:lnTo>
                      <a:pt x="441" y="483"/>
                    </a:lnTo>
                    <a:lnTo>
                      <a:pt x="440" y="482"/>
                    </a:lnTo>
                    <a:lnTo>
                      <a:pt x="439" y="481"/>
                    </a:lnTo>
                    <a:lnTo>
                      <a:pt x="439" y="480"/>
                    </a:lnTo>
                    <a:lnTo>
                      <a:pt x="438" y="480"/>
                    </a:lnTo>
                    <a:lnTo>
                      <a:pt x="438" y="478"/>
                    </a:lnTo>
                    <a:lnTo>
                      <a:pt x="439" y="478"/>
                    </a:lnTo>
                    <a:lnTo>
                      <a:pt x="438" y="478"/>
                    </a:lnTo>
                    <a:lnTo>
                      <a:pt x="437" y="479"/>
                    </a:lnTo>
                    <a:lnTo>
                      <a:pt x="436" y="478"/>
                    </a:lnTo>
                    <a:lnTo>
                      <a:pt x="435" y="478"/>
                    </a:lnTo>
                    <a:lnTo>
                      <a:pt x="435" y="482"/>
                    </a:lnTo>
                    <a:lnTo>
                      <a:pt x="433" y="480"/>
                    </a:lnTo>
                    <a:lnTo>
                      <a:pt x="430" y="481"/>
                    </a:lnTo>
                    <a:lnTo>
                      <a:pt x="429" y="481"/>
                    </a:lnTo>
                    <a:lnTo>
                      <a:pt x="429" y="482"/>
                    </a:lnTo>
                    <a:lnTo>
                      <a:pt x="428" y="482"/>
                    </a:lnTo>
                    <a:lnTo>
                      <a:pt x="427" y="481"/>
                    </a:lnTo>
                    <a:lnTo>
                      <a:pt x="426" y="482"/>
                    </a:lnTo>
                    <a:lnTo>
                      <a:pt x="425" y="482"/>
                    </a:lnTo>
                    <a:lnTo>
                      <a:pt x="424" y="482"/>
                    </a:lnTo>
                    <a:lnTo>
                      <a:pt x="421" y="483"/>
                    </a:lnTo>
                    <a:lnTo>
                      <a:pt x="419" y="480"/>
                    </a:lnTo>
                    <a:lnTo>
                      <a:pt x="417" y="480"/>
                    </a:lnTo>
                    <a:lnTo>
                      <a:pt x="416" y="478"/>
                    </a:lnTo>
                    <a:lnTo>
                      <a:pt x="414" y="479"/>
                    </a:lnTo>
                    <a:lnTo>
                      <a:pt x="413" y="480"/>
                    </a:lnTo>
                    <a:lnTo>
                      <a:pt x="412" y="480"/>
                    </a:lnTo>
                    <a:lnTo>
                      <a:pt x="411" y="478"/>
                    </a:lnTo>
                    <a:lnTo>
                      <a:pt x="411" y="479"/>
                    </a:lnTo>
                    <a:lnTo>
                      <a:pt x="409" y="478"/>
                    </a:lnTo>
                    <a:lnTo>
                      <a:pt x="410" y="477"/>
                    </a:lnTo>
                    <a:lnTo>
                      <a:pt x="408" y="475"/>
                    </a:lnTo>
                    <a:lnTo>
                      <a:pt x="403" y="475"/>
                    </a:lnTo>
                    <a:lnTo>
                      <a:pt x="400" y="475"/>
                    </a:lnTo>
                    <a:lnTo>
                      <a:pt x="398" y="479"/>
                    </a:lnTo>
                    <a:lnTo>
                      <a:pt x="399" y="480"/>
                    </a:lnTo>
                    <a:lnTo>
                      <a:pt x="401" y="481"/>
                    </a:lnTo>
                    <a:lnTo>
                      <a:pt x="402" y="484"/>
                    </a:lnTo>
                    <a:lnTo>
                      <a:pt x="402" y="486"/>
                    </a:lnTo>
                    <a:lnTo>
                      <a:pt x="402" y="487"/>
                    </a:lnTo>
                    <a:lnTo>
                      <a:pt x="399" y="488"/>
                    </a:lnTo>
                    <a:lnTo>
                      <a:pt x="395" y="486"/>
                    </a:lnTo>
                    <a:lnTo>
                      <a:pt x="394" y="488"/>
                    </a:lnTo>
                    <a:lnTo>
                      <a:pt x="391" y="486"/>
                    </a:lnTo>
                    <a:lnTo>
                      <a:pt x="389" y="486"/>
                    </a:lnTo>
                    <a:lnTo>
                      <a:pt x="388" y="487"/>
                    </a:lnTo>
                    <a:lnTo>
                      <a:pt x="388" y="489"/>
                    </a:lnTo>
                    <a:lnTo>
                      <a:pt x="387" y="490"/>
                    </a:lnTo>
                    <a:lnTo>
                      <a:pt x="387" y="491"/>
                    </a:lnTo>
                    <a:lnTo>
                      <a:pt x="388" y="492"/>
                    </a:lnTo>
                    <a:lnTo>
                      <a:pt x="389" y="495"/>
                    </a:lnTo>
                    <a:lnTo>
                      <a:pt x="388" y="495"/>
                    </a:lnTo>
                    <a:lnTo>
                      <a:pt x="386" y="495"/>
                    </a:lnTo>
                    <a:lnTo>
                      <a:pt x="386" y="496"/>
                    </a:lnTo>
                    <a:lnTo>
                      <a:pt x="386" y="499"/>
                    </a:lnTo>
                    <a:lnTo>
                      <a:pt x="384" y="499"/>
                    </a:lnTo>
                    <a:lnTo>
                      <a:pt x="383" y="501"/>
                    </a:lnTo>
                    <a:lnTo>
                      <a:pt x="382" y="501"/>
                    </a:lnTo>
                    <a:lnTo>
                      <a:pt x="381" y="499"/>
                    </a:lnTo>
                    <a:lnTo>
                      <a:pt x="379" y="501"/>
                    </a:lnTo>
                    <a:lnTo>
                      <a:pt x="377" y="501"/>
                    </a:lnTo>
                    <a:lnTo>
                      <a:pt x="377" y="498"/>
                    </a:lnTo>
                    <a:lnTo>
                      <a:pt x="374" y="495"/>
                    </a:lnTo>
                    <a:lnTo>
                      <a:pt x="376" y="494"/>
                    </a:lnTo>
                    <a:lnTo>
                      <a:pt x="374" y="493"/>
                    </a:lnTo>
                    <a:lnTo>
                      <a:pt x="373" y="492"/>
                    </a:lnTo>
                    <a:lnTo>
                      <a:pt x="374" y="491"/>
                    </a:lnTo>
                    <a:lnTo>
                      <a:pt x="373" y="490"/>
                    </a:lnTo>
                    <a:lnTo>
                      <a:pt x="373" y="489"/>
                    </a:lnTo>
                    <a:lnTo>
                      <a:pt x="373" y="485"/>
                    </a:lnTo>
                    <a:lnTo>
                      <a:pt x="371" y="486"/>
                    </a:lnTo>
                    <a:lnTo>
                      <a:pt x="372" y="485"/>
                    </a:lnTo>
                    <a:lnTo>
                      <a:pt x="372" y="484"/>
                    </a:lnTo>
                    <a:lnTo>
                      <a:pt x="371" y="484"/>
                    </a:lnTo>
                    <a:lnTo>
                      <a:pt x="372" y="483"/>
                    </a:lnTo>
                    <a:lnTo>
                      <a:pt x="372" y="481"/>
                    </a:lnTo>
                    <a:lnTo>
                      <a:pt x="370" y="480"/>
                    </a:lnTo>
                    <a:lnTo>
                      <a:pt x="371" y="480"/>
                    </a:lnTo>
                    <a:lnTo>
                      <a:pt x="372" y="480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69" y="479"/>
                    </a:lnTo>
                    <a:lnTo>
                      <a:pt x="368" y="479"/>
                    </a:lnTo>
                    <a:lnTo>
                      <a:pt x="367" y="478"/>
                    </a:lnTo>
                    <a:lnTo>
                      <a:pt x="366" y="478"/>
                    </a:lnTo>
                    <a:lnTo>
                      <a:pt x="364" y="482"/>
                    </a:lnTo>
                    <a:lnTo>
                      <a:pt x="365" y="483"/>
                    </a:lnTo>
                    <a:lnTo>
                      <a:pt x="364" y="484"/>
                    </a:lnTo>
                    <a:lnTo>
                      <a:pt x="363" y="483"/>
                    </a:lnTo>
                    <a:lnTo>
                      <a:pt x="363" y="481"/>
                    </a:lnTo>
                    <a:lnTo>
                      <a:pt x="362" y="479"/>
                    </a:lnTo>
                    <a:lnTo>
                      <a:pt x="361" y="479"/>
                    </a:lnTo>
                    <a:lnTo>
                      <a:pt x="359" y="478"/>
                    </a:lnTo>
                    <a:lnTo>
                      <a:pt x="357" y="475"/>
                    </a:lnTo>
                    <a:lnTo>
                      <a:pt x="356" y="470"/>
                    </a:lnTo>
                    <a:lnTo>
                      <a:pt x="355" y="470"/>
                    </a:lnTo>
                    <a:lnTo>
                      <a:pt x="354" y="470"/>
                    </a:lnTo>
                    <a:lnTo>
                      <a:pt x="348" y="468"/>
                    </a:lnTo>
                    <a:lnTo>
                      <a:pt x="347" y="465"/>
                    </a:lnTo>
                    <a:lnTo>
                      <a:pt x="344" y="460"/>
                    </a:lnTo>
                    <a:lnTo>
                      <a:pt x="345" y="459"/>
                    </a:lnTo>
                    <a:lnTo>
                      <a:pt x="344" y="459"/>
                    </a:lnTo>
                    <a:lnTo>
                      <a:pt x="343" y="461"/>
                    </a:lnTo>
                    <a:lnTo>
                      <a:pt x="343" y="464"/>
                    </a:lnTo>
                    <a:lnTo>
                      <a:pt x="340" y="464"/>
                    </a:lnTo>
                    <a:lnTo>
                      <a:pt x="340" y="465"/>
                    </a:lnTo>
                    <a:lnTo>
                      <a:pt x="338" y="465"/>
                    </a:lnTo>
                    <a:lnTo>
                      <a:pt x="338" y="466"/>
                    </a:lnTo>
                    <a:lnTo>
                      <a:pt x="338" y="465"/>
                    </a:lnTo>
                    <a:lnTo>
                      <a:pt x="337" y="467"/>
                    </a:lnTo>
                    <a:lnTo>
                      <a:pt x="337" y="468"/>
                    </a:lnTo>
                    <a:lnTo>
                      <a:pt x="338" y="468"/>
                    </a:lnTo>
                    <a:lnTo>
                      <a:pt x="337" y="471"/>
                    </a:lnTo>
                    <a:lnTo>
                      <a:pt x="333" y="469"/>
                    </a:lnTo>
                    <a:lnTo>
                      <a:pt x="333" y="470"/>
                    </a:lnTo>
                    <a:lnTo>
                      <a:pt x="333" y="471"/>
                    </a:lnTo>
                    <a:lnTo>
                      <a:pt x="332" y="471"/>
                    </a:lnTo>
                    <a:lnTo>
                      <a:pt x="333" y="472"/>
                    </a:lnTo>
                    <a:lnTo>
                      <a:pt x="332" y="472"/>
                    </a:lnTo>
                    <a:lnTo>
                      <a:pt x="333" y="473"/>
                    </a:lnTo>
                    <a:lnTo>
                      <a:pt x="332" y="475"/>
                    </a:lnTo>
                    <a:lnTo>
                      <a:pt x="333" y="476"/>
                    </a:lnTo>
                    <a:lnTo>
                      <a:pt x="332" y="476"/>
                    </a:lnTo>
                    <a:lnTo>
                      <a:pt x="331" y="477"/>
                    </a:lnTo>
                    <a:lnTo>
                      <a:pt x="330" y="477"/>
                    </a:lnTo>
                    <a:lnTo>
                      <a:pt x="330" y="480"/>
                    </a:lnTo>
                    <a:lnTo>
                      <a:pt x="329" y="480"/>
                    </a:lnTo>
                    <a:lnTo>
                      <a:pt x="329" y="481"/>
                    </a:lnTo>
                    <a:lnTo>
                      <a:pt x="329" y="482"/>
                    </a:lnTo>
                    <a:lnTo>
                      <a:pt x="331" y="483"/>
                    </a:lnTo>
                    <a:lnTo>
                      <a:pt x="330" y="486"/>
                    </a:lnTo>
                    <a:lnTo>
                      <a:pt x="330" y="487"/>
                    </a:lnTo>
                    <a:lnTo>
                      <a:pt x="332" y="486"/>
                    </a:lnTo>
                    <a:lnTo>
                      <a:pt x="332" y="488"/>
                    </a:lnTo>
                    <a:lnTo>
                      <a:pt x="331" y="488"/>
                    </a:lnTo>
                    <a:lnTo>
                      <a:pt x="333" y="489"/>
                    </a:lnTo>
                    <a:lnTo>
                      <a:pt x="333" y="490"/>
                    </a:lnTo>
                    <a:lnTo>
                      <a:pt x="331" y="491"/>
                    </a:lnTo>
                    <a:lnTo>
                      <a:pt x="333" y="491"/>
                    </a:lnTo>
                    <a:lnTo>
                      <a:pt x="332" y="492"/>
                    </a:lnTo>
                    <a:lnTo>
                      <a:pt x="330" y="492"/>
                    </a:lnTo>
                    <a:lnTo>
                      <a:pt x="329" y="492"/>
                    </a:lnTo>
                    <a:lnTo>
                      <a:pt x="329" y="493"/>
                    </a:lnTo>
                    <a:lnTo>
                      <a:pt x="325" y="493"/>
                    </a:lnTo>
                    <a:lnTo>
                      <a:pt x="325" y="494"/>
                    </a:lnTo>
                    <a:lnTo>
                      <a:pt x="324" y="494"/>
                    </a:lnTo>
                    <a:lnTo>
                      <a:pt x="324" y="493"/>
                    </a:lnTo>
                    <a:lnTo>
                      <a:pt x="321" y="493"/>
                    </a:lnTo>
                    <a:lnTo>
                      <a:pt x="320" y="492"/>
                    </a:lnTo>
                    <a:lnTo>
                      <a:pt x="320" y="493"/>
                    </a:lnTo>
                    <a:lnTo>
                      <a:pt x="320" y="494"/>
                    </a:lnTo>
                    <a:lnTo>
                      <a:pt x="318" y="494"/>
                    </a:lnTo>
                    <a:lnTo>
                      <a:pt x="317" y="494"/>
                    </a:lnTo>
                    <a:lnTo>
                      <a:pt x="316" y="496"/>
                    </a:lnTo>
                    <a:lnTo>
                      <a:pt x="313" y="499"/>
                    </a:lnTo>
                    <a:lnTo>
                      <a:pt x="312" y="498"/>
                    </a:lnTo>
                    <a:lnTo>
                      <a:pt x="312" y="499"/>
                    </a:lnTo>
                    <a:lnTo>
                      <a:pt x="310" y="499"/>
                    </a:lnTo>
                    <a:lnTo>
                      <a:pt x="308" y="500"/>
                    </a:lnTo>
                    <a:lnTo>
                      <a:pt x="308" y="501"/>
                    </a:lnTo>
                    <a:lnTo>
                      <a:pt x="307" y="501"/>
                    </a:lnTo>
                    <a:lnTo>
                      <a:pt x="308" y="505"/>
                    </a:lnTo>
                    <a:lnTo>
                      <a:pt x="307" y="506"/>
                    </a:lnTo>
                    <a:lnTo>
                      <a:pt x="307" y="509"/>
                    </a:lnTo>
                    <a:lnTo>
                      <a:pt x="306" y="509"/>
                    </a:lnTo>
                    <a:lnTo>
                      <a:pt x="304" y="509"/>
                    </a:lnTo>
                    <a:lnTo>
                      <a:pt x="303" y="507"/>
                    </a:lnTo>
                    <a:lnTo>
                      <a:pt x="304" y="506"/>
                    </a:lnTo>
                    <a:lnTo>
                      <a:pt x="303" y="502"/>
                    </a:lnTo>
                    <a:lnTo>
                      <a:pt x="301" y="501"/>
                    </a:lnTo>
                    <a:lnTo>
                      <a:pt x="296" y="498"/>
                    </a:lnTo>
                    <a:lnTo>
                      <a:pt x="291" y="499"/>
                    </a:lnTo>
                    <a:lnTo>
                      <a:pt x="289" y="499"/>
                    </a:lnTo>
                    <a:lnTo>
                      <a:pt x="289" y="498"/>
                    </a:lnTo>
                    <a:lnTo>
                      <a:pt x="287" y="498"/>
                    </a:lnTo>
                    <a:lnTo>
                      <a:pt x="287" y="496"/>
                    </a:lnTo>
                    <a:lnTo>
                      <a:pt x="288" y="495"/>
                    </a:lnTo>
                    <a:lnTo>
                      <a:pt x="289" y="495"/>
                    </a:lnTo>
                    <a:lnTo>
                      <a:pt x="290" y="493"/>
                    </a:lnTo>
                    <a:lnTo>
                      <a:pt x="291" y="492"/>
                    </a:lnTo>
                    <a:lnTo>
                      <a:pt x="292" y="489"/>
                    </a:lnTo>
                    <a:lnTo>
                      <a:pt x="292" y="488"/>
                    </a:lnTo>
                    <a:lnTo>
                      <a:pt x="291" y="488"/>
                    </a:lnTo>
                    <a:lnTo>
                      <a:pt x="290" y="490"/>
                    </a:lnTo>
                    <a:lnTo>
                      <a:pt x="289" y="491"/>
                    </a:lnTo>
                    <a:lnTo>
                      <a:pt x="287" y="490"/>
                    </a:lnTo>
                    <a:lnTo>
                      <a:pt x="287" y="492"/>
                    </a:lnTo>
                    <a:lnTo>
                      <a:pt x="286" y="492"/>
                    </a:lnTo>
                    <a:lnTo>
                      <a:pt x="286" y="489"/>
                    </a:lnTo>
                    <a:lnTo>
                      <a:pt x="284" y="493"/>
                    </a:lnTo>
                    <a:lnTo>
                      <a:pt x="282" y="492"/>
                    </a:lnTo>
                    <a:lnTo>
                      <a:pt x="283" y="492"/>
                    </a:lnTo>
                    <a:lnTo>
                      <a:pt x="282" y="492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0" y="492"/>
                    </a:lnTo>
                    <a:lnTo>
                      <a:pt x="280" y="491"/>
                    </a:lnTo>
                    <a:lnTo>
                      <a:pt x="278" y="490"/>
                    </a:lnTo>
                    <a:lnTo>
                      <a:pt x="277" y="489"/>
                    </a:lnTo>
                    <a:lnTo>
                      <a:pt x="276" y="489"/>
                    </a:lnTo>
                    <a:lnTo>
                      <a:pt x="275" y="491"/>
                    </a:lnTo>
                    <a:lnTo>
                      <a:pt x="274" y="489"/>
                    </a:lnTo>
                    <a:lnTo>
                      <a:pt x="273" y="489"/>
                    </a:lnTo>
                    <a:lnTo>
                      <a:pt x="273" y="488"/>
                    </a:lnTo>
                    <a:lnTo>
                      <a:pt x="272" y="489"/>
                    </a:lnTo>
                    <a:lnTo>
                      <a:pt x="272" y="488"/>
                    </a:lnTo>
                    <a:lnTo>
                      <a:pt x="270" y="488"/>
                    </a:lnTo>
                    <a:lnTo>
                      <a:pt x="272" y="485"/>
                    </a:lnTo>
                    <a:lnTo>
                      <a:pt x="271" y="484"/>
                    </a:lnTo>
                    <a:lnTo>
                      <a:pt x="269" y="484"/>
                    </a:lnTo>
                    <a:lnTo>
                      <a:pt x="268" y="486"/>
                    </a:lnTo>
                    <a:lnTo>
                      <a:pt x="266" y="485"/>
                    </a:lnTo>
                    <a:lnTo>
                      <a:pt x="263" y="482"/>
                    </a:lnTo>
                    <a:lnTo>
                      <a:pt x="261" y="482"/>
                    </a:lnTo>
                    <a:lnTo>
                      <a:pt x="261" y="483"/>
                    </a:lnTo>
                    <a:lnTo>
                      <a:pt x="260" y="486"/>
                    </a:lnTo>
                    <a:lnTo>
                      <a:pt x="258" y="486"/>
                    </a:lnTo>
                    <a:lnTo>
                      <a:pt x="258" y="488"/>
                    </a:lnTo>
                    <a:lnTo>
                      <a:pt x="260" y="488"/>
                    </a:lnTo>
                    <a:lnTo>
                      <a:pt x="259" y="488"/>
                    </a:lnTo>
                    <a:lnTo>
                      <a:pt x="258" y="488"/>
                    </a:lnTo>
                    <a:lnTo>
                      <a:pt x="257" y="486"/>
                    </a:lnTo>
                    <a:lnTo>
                      <a:pt x="256" y="488"/>
                    </a:lnTo>
                    <a:lnTo>
                      <a:pt x="255" y="486"/>
                    </a:lnTo>
                    <a:lnTo>
                      <a:pt x="255" y="485"/>
                    </a:lnTo>
                    <a:lnTo>
                      <a:pt x="254" y="483"/>
                    </a:lnTo>
                    <a:lnTo>
                      <a:pt x="252" y="483"/>
                    </a:lnTo>
                    <a:lnTo>
                      <a:pt x="252" y="480"/>
                    </a:lnTo>
                    <a:lnTo>
                      <a:pt x="250" y="480"/>
                    </a:lnTo>
                    <a:lnTo>
                      <a:pt x="249" y="481"/>
                    </a:lnTo>
                    <a:lnTo>
                      <a:pt x="248" y="481"/>
                    </a:lnTo>
                    <a:lnTo>
                      <a:pt x="245" y="475"/>
                    </a:lnTo>
                    <a:lnTo>
                      <a:pt x="244" y="475"/>
                    </a:lnTo>
                    <a:lnTo>
                      <a:pt x="243" y="473"/>
                    </a:lnTo>
                    <a:lnTo>
                      <a:pt x="243" y="476"/>
                    </a:lnTo>
                    <a:lnTo>
                      <a:pt x="242" y="475"/>
                    </a:lnTo>
                    <a:lnTo>
                      <a:pt x="241" y="475"/>
                    </a:lnTo>
                    <a:lnTo>
                      <a:pt x="242" y="475"/>
                    </a:lnTo>
                    <a:lnTo>
                      <a:pt x="243" y="479"/>
                    </a:lnTo>
                    <a:lnTo>
                      <a:pt x="242" y="480"/>
                    </a:lnTo>
                    <a:lnTo>
                      <a:pt x="243" y="480"/>
                    </a:lnTo>
                    <a:lnTo>
                      <a:pt x="242" y="482"/>
                    </a:lnTo>
                    <a:lnTo>
                      <a:pt x="242" y="483"/>
                    </a:lnTo>
                    <a:lnTo>
                      <a:pt x="244" y="483"/>
                    </a:lnTo>
                    <a:lnTo>
                      <a:pt x="243" y="484"/>
                    </a:lnTo>
                    <a:lnTo>
                      <a:pt x="242" y="483"/>
                    </a:lnTo>
                    <a:lnTo>
                      <a:pt x="242" y="484"/>
                    </a:lnTo>
                    <a:lnTo>
                      <a:pt x="241" y="481"/>
                    </a:lnTo>
                    <a:lnTo>
                      <a:pt x="240" y="481"/>
                    </a:lnTo>
                    <a:lnTo>
                      <a:pt x="239" y="480"/>
                    </a:lnTo>
                    <a:lnTo>
                      <a:pt x="237" y="480"/>
                    </a:lnTo>
                    <a:lnTo>
                      <a:pt x="236" y="481"/>
                    </a:lnTo>
                    <a:lnTo>
                      <a:pt x="235" y="480"/>
                    </a:lnTo>
                    <a:lnTo>
                      <a:pt x="235" y="481"/>
                    </a:lnTo>
                    <a:lnTo>
                      <a:pt x="234" y="481"/>
                    </a:lnTo>
                    <a:lnTo>
                      <a:pt x="235" y="482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3" y="484"/>
                    </a:lnTo>
                    <a:lnTo>
                      <a:pt x="232" y="482"/>
                    </a:lnTo>
                    <a:lnTo>
                      <a:pt x="232" y="483"/>
                    </a:lnTo>
                    <a:lnTo>
                      <a:pt x="231" y="486"/>
                    </a:lnTo>
                    <a:lnTo>
                      <a:pt x="230" y="486"/>
                    </a:lnTo>
                    <a:lnTo>
                      <a:pt x="231" y="484"/>
                    </a:lnTo>
                    <a:lnTo>
                      <a:pt x="229" y="484"/>
                    </a:lnTo>
                    <a:lnTo>
                      <a:pt x="228" y="485"/>
                    </a:lnTo>
                    <a:lnTo>
                      <a:pt x="227" y="487"/>
                    </a:lnTo>
                    <a:lnTo>
                      <a:pt x="227" y="485"/>
                    </a:lnTo>
                    <a:lnTo>
                      <a:pt x="226" y="485"/>
                    </a:lnTo>
                    <a:lnTo>
                      <a:pt x="226" y="484"/>
                    </a:lnTo>
                    <a:lnTo>
                      <a:pt x="224" y="483"/>
                    </a:lnTo>
                    <a:lnTo>
                      <a:pt x="221" y="485"/>
                    </a:lnTo>
                    <a:lnTo>
                      <a:pt x="220" y="484"/>
                    </a:lnTo>
                    <a:lnTo>
                      <a:pt x="219" y="484"/>
                    </a:lnTo>
                    <a:lnTo>
                      <a:pt x="221" y="484"/>
                    </a:lnTo>
                    <a:lnTo>
                      <a:pt x="221" y="483"/>
                    </a:lnTo>
                    <a:lnTo>
                      <a:pt x="221" y="481"/>
                    </a:lnTo>
                    <a:lnTo>
                      <a:pt x="222" y="480"/>
                    </a:lnTo>
                    <a:lnTo>
                      <a:pt x="222" y="478"/>
                    </a:lnTo>
                    <a:lnTo>
                      <a:pt x="221" y="478"/>
                    </a:lnTo>
                    <a:lnTo>
                      <a:pt x="220" y="478"/>
                    </a:lnTo>
                    <a:lnTo>
                      <a:pt x="219" y="477"/>
                    </a:lnTo>
                    <a:lnTo>
                      <a:pt x="219" y="475"/>
                    </a:lnTo>
                    <a:lnTo>
                      <a:pt x="218" y="476"/>
                    </a:lnTo>
                    <a:lnTo>
                      <a:pt x="216" y="473"/>
                    </a:lnTo>
                    <a:lnTo>
                      <a:pt x="213" y="475"/>
                    </a:lnTo>
                    <a:lnTo>
                      <a:pt x="212" y="473"/>
                    </a:lnTo>
                    <a:lnTo>
                      <a:pt x="212" y="474"/>
                    </a:lnTo>
                    <a:lnTo>
                      <a:pt x="212" y="473"/>
                    </a:lnTo>
                    <a:lnTo>
                      <a:pt x="211" y="472"/>
                    </a:lnTo>
                    <a:lnTo>
                      <a:pt x="212" y="469"/>
                    </a:lnTo>
                    <a:lnTo>
                      <a:pt x="211" y="467"/>
                    </a:lnTo>
                    <a:lnTo>
                      <a:pt x="208" y="466"/>
                    </a:lnTo>
                    <a:lnTo>
                      <a:pt x="208" y="465"/>
                    </a:lnTo>
                    <a:lnTo>
                      <a:pt x="206" y="465"/>
                    </a:lnTo>
                    <a:lnTo>
                      <a:pt x="206" y="463"/>
                    </a:lnTo>
                    <a:lnTo>
                      <a:pt x="203" y="465"/>
                    </a:lnTo>
                    <a:lnTo>
                      <a:pt x="202" y="465"/>
                    </a:lnTo>
                    <a:lnTo>
                      <a:pt x="198" y="465"/>
                    </a:lnTo>
                    <a:lnTo>
                      <a:pt x="197" y="463"/>
                    </a:lnTo>
                    <a:lnTo>
                      <a:pt x="196" y="465"/>
                    </a:lnTo>
                    <a:lnTo>
                      <a:pt x="195" y="465"/>
                    </a:lnTo>
                    <a:lnTo>
                      <a:pt x="194" y="465"/>
                    </a:lnTo>
                    <a:lnTo>
                      <a:pt x="194" y="467"/>
                    </a:lnTo>
                    <a:lnTo>
                      <a:pt x="194" y="470"/>
                    </a:lnTo>
                    <a:lnTo>
                      <a:pt x="192" y="471"/>
                    </a:lnTo>
                    <a:lnTo>
                      <a:pt x="192" y="472"/>
                    </a:lnTo>
                    <a:lnTo>
                      <a:pt x="190" y="473"/>
                    </a:lnTo>
                    <a:lnTo>
                      <a:pt x="189" y="473"/>
                    </a:lnTo>
                    <a:lnTo>
                      <a:pt x="189" y="475"/>
                    </a:lnTo>
                    <a:lnTo>
                      <a:pt x="190" y="474"/>
                    </a:lnTo>
                    <a:lnTo>
                      <a:pt x="188" y="476"/>
                    </a:lnTo>
                    <a:lnTo>
                      <a:pt x="188" y="478"/>
                    </a:lnTo>
                    <a:lnTo>
                      <a:pt x="186" y="477"/>
                    </a:lnTo>
                    <a:lnTo>
                      <a:pt x="186" y="476"/>
                    </a:lnTo>
                    <a:lnTo>
                      <a:pt x="187" y="475"/>
                    </a:lnTo>
                    <a:lnTo>
                      <a:pt x="184" y="475"/>
                    </a:lnTo>
                    <a:lnTo>
                      <a:pt x="181" y="475"/>
                    </a:lnTo>
                    <a:lnTo>
                      <a:pt x="180" y="476"/>
                    </a:lnTo>
                    <a:lnTo>
                      <a:pt x="178" y="475"/>
                    </a:lnTo>
                    <a:lnTo>
                      <a:pt x="177" y="475"/>
                    </a:lnTo>
                    <a:lnTo>
                      <a:pt x="174" y="475"/>
                    </a:lnTo>
                    <a:lnTo>
                      <a:pt x="173" y="475"/>
                    </a:lnTo>
                    <a:lnTo>
                      <a:pt x="172" y="476"/>
                    </a:lnTo>
                    <a:lnTo>
                      <a:pt x="170" y="473"/>
                    </a:lnTo>
                    <a:lnTo>
                      <a:pt x="168" y="473"/>
                    </a:lnTo>
                    <a:lnTo>
                      <a:pt x="165" y="472"/>
                    </a:lnTo>
                    <a:lnTo>
                      <a:pt x="165" y="476"/>
                    </a:lnTo>
                    <a:lnTo>
                      <a:pt x="163" y="475"/>
                    </a:lnTo>
                    <a:lnTo>
                      <a:pt x="161" y="475"/>
                    </a:lnTo>
                    <a:lnTo>
                      <a:pt x="161" y="473"/>
                    </a:lnTo>
                    <a:lnTo>
                      <a:pt x="161" y="472"/>
                    </a:lnTo>
                    <a:lnTo>
                      <a:pt x="161" y="471"/>
                    </a:lnTo>
                    <a:lnTo>
                      <a:pt x="159" y="471"/>
                    </a:lnTo>
                    <a:lnTo>
                      <a:pt x="159" y="473"/>
                    </a:lnTo>
                    <a:lnTo>
                      <a:pt x="158" y="475"/>
                    </a:lnTo>
                    <a:lnTo>
                      <a:pt x="156" y="474"/>
                    </a:lnTo>
                    <a:lnTo>
                      <a:pt x="155" y="475"/>
                    </a:lnTo>
                    <a:lnTo>
                      <a:pt x="155" y="473"/>
                    </a:lnTo>
                    <a:lnTo>
                      <a:pt x="152" y="473"/>
                    </a:lnTo>
                    <a:lnTo>
                      <a:pt x="152" y="472"/>
                    </a:lnTo>
                    <a:lnTo>
                      <a:pt x="151" y="473"/>
                    </a:lnTo>
                    <a:lnTo>
                      <a:pt x="150" y="472"/>
                    </a:lnTo>
                    <a:lnTo>
                      <a:pt x="149" y="469"/>
                    </a:lnTo>
                    <a:lnTo>
                      <a:pt x="150" y="468"/>
                    </a:lnTo>
                    <a:lnTo>
                      <a:pt x="150" y="467"/>
                    </a:lnTo>
                    <a:lnTo>
                      <a:pt x="150" y="464"/>
                    </a:lnTo>
                    <a:lnTo>
                      <a:pt x="150" y="463"/>
                    </a:lnTo>
                    <a:lnTo>
                      <a:pt x="151" y="462"/>
                    </a:lnTo>
                    <a:lnTo>
                      <a:pt x="151" y="461"/>
                    </a:lnTo>
                    <a:lnTo>
                      <a:pt x="153" y="461"/>
                    </a:lnTo>
                    <a:lnTo>
                      <a:pt x="151" y="460"/>
                    </a:lnTo>
                    <a:lnTo>
                      <a:pt x="149" y="458"/>
                    </a:lnTo>
                    <a:lnTo>
                      <a:pt x="145" y="458"/>
                    </a:lnTo>
                    <a:lnTo>
                      <a:pt x="144" y="45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4" name="Freeform 85">
                <a:extLst>
                  <a:ext uri="{FF2B5EF4-FFF2-40B4-BE49-F238E27FC236}">
                    <a16:creationId xmlns:a16="http://schemas.microsoft.com/office/drawing/2014/main" id="{6FBF02BA-2AC8-41A8-B75E-188C3A5676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" y="2910"/>
                <a:ext cx="569" cy="509"/>
              </a:xfrm>
              <a:custGeom>
                <a:avLst/>
                <a:gdLst>
                  <a:gd name="T0" fmla="*/ 128 w 569"/>
                  <a:gd name="T1" fmla="*/ 470 h 509"/>
                  <a:gd name="T2" fmla="*/ 100 w 569"/>
                  <a:gd name="T3" fmla="*/ 473 h 509"/>
                  <a:gd name="T4" fmla="*/ 79 w 569"/>
                  <a:gd name="T5" fmla="*/ 467 h 509"/>
                  <a:gd name="T6" fmla="*/ 69 w 569"/>
                  <a:gd name="T7" fmla="*/ 420 h 509"/>
                  <a:gd name="T8" fmla="*/ 60 w 569"/>
                  <a:gd name="T9" fmla="*/ 397 h 509"/>
                  <a:gd name="T10" fmla="*/ 56 w 569"/>
                  <a:gd name="T11" fmla="*/ 386 h 509"/>
                  <a:gd name="T12" fmla="*/ 81 w 569"/>
                  <a:gd name="T13" fmla="*/ 368 h 509"/>
                  <a:gd name="T14" fmla="*/ 91 w 569"/>
                  <a:gd name="T15" fmla="*/ 338 h 509"/>
                  <a:gd name="T16" fmla="*/ 106 w 569"/>
                  <a:gd name="T17" fmla="*/ 306 h 509"/>
                  <a:gd name="T18" fmla="*/ 89 w 569"/>
                  <a:gd name="T19" fmla="*/ 267 h 509"/>
                  <a:gd name="T20" fmla="*/ 60 w 569"/>
                  <a:gd name="T21" fmla="*/ 236 h 509"/>
                  <a:gd name="T22" fmla="*/ 33 w 569"/>
                  <a:gd name="T23" fmla="*/ 210 h 509"/>
                  <a:gd name="T24" fmla="*/ 6 w 569"/>
                  <a:gd name="T25" fmla="*/ 198 h 509"/>
                  <a:gd name="T26" fmla="*/ 25 w 569"/>
                  <a:gd name="T27" fmla="*/ 175 h 509"/>
                  <a:gd name="T28" fmla="*/ 41 w 569"/>
                  <a:gd name="T29" fmla="*/ 146 h 509"/>
                  <a:gd name="T30" fmla="*/ 85 w 569"/>
                  <a:gd name="T31" fmla="*/ 126 h 509"/>
                  <a:gd name="T32" fmla="*/ 128 w 569"/>
                  <a:gd name="T33" fmla="*/ 122 h 509"/>
                  <a:gd name="T34" fmla="*/ 164 w 569"/>
                  <a:gd name="T35" fmla="*/ 107 h 509"/>
                  <a:gd name="T36" fmla="*/ 188 w 569"/>
                  <a:gd name="T37" fmla="*/ 92 h 509"/>
                  <a:gd name="T38" fmla="*/ 237 w 569"/>
                  <a:gd name="T39" fmla="*/ 103 h 509"/>
                  <a:gd name="T40" fmla="*/ 273 w 569"/>
                  <a:gd name="T41" fmla="*/ 101 h 509"/>
                  <a:gd name="T42" fmla="*/ 282 w 569"/>
                  <a:gd name="T43" fmla="*/ 78 h 509"/>
                  <a:gd name="T44" fmla="*/ 295 w 569"/>
                  <a:gd name="T45" fmla="*/ 68 h 509"/>
                  <a:gd name="T46" fmla="*/ 321 w 569"/>
                  <a:gd name="T47" fmla="*/ 39 h 509"/>
                  <a:gd name="T48" fmla="*/ 343 w 569"/>
                  <a:gd name="T49" fmla="*/ 44 h 509"/>
                  <a:gd name="T50" fmla="*/ 368 w 569"/>
                  <a:gd name="T51" fmla="*/ 52 h 509"/>
                  <a:gd name="T52" fmla="*/ 423 w 569"/>
                  <a:gd name="T53" fmla="*/ 18 h 509"/>
                  <a:gd name="T54" fmla="*/ 446 w 569"/>
                  <a:gd name="T55" fmla="*/ 7 h 509"/>
                  <a:gd name="T56" fmla="*/ 468 w 569"/>
                  <a:gd name="T57" fmla="*/ 20 h 509"/>
                  <a:gd name="T58" fmla="*/ 488 w 569"/>
                  <a:gd name="T59" fmla="*/ 49 h 509"/>
                  <a:gd name="T60" fmla="*/ 491 w 569"/>
                  <a:gd name="T61" fmla="*/ 77 h 509"/>
                  <a:gd name="T62" fmla="*/ 489 w 569"/>
                  <a:gd name="T63" fmla="*/ 109 h 509"/>
                  <a:gd name="T64" fmla="*/ 483 w 569"/>
                  <a:gd name="T65" fmla="*/ 137 h 509"/>
                  <a:gd name="T66" fmla="*/ 499 w 569"/>
                  <a:gd name="T67" fmla="*/ 161 h 509"/>
                  <a:gd name="T68" fmla="*/ 528 w 569"/>
                  <a:gd name="T69" fmla="*/ 171 h 509"/>
                  <a:gd name="T70" fmla="*/ 541 w 569"/>
                  <a:gd name="T71" fmla="*/ 189 h 509"/>
                  <a:gd name="T72" fmla="*/ 539 w 569"/>
                  <a:gd name="T73" fmla="*/ 225 h 509"/>
                  <a:gd name="T74" fmla="*/ 552 w 569"/>
                  <a:gd name="T75" fmla="*/ 249 h 509"/>
                  <a:gd name="T76" fmla="*/ 542 w 569"/>
                  <a:gd name="T77" fmla="*/ 279 h 509"/>
                  <a:gd name="T78" fmla="*/ 530 w 569"/>
                  <a:gd name="T79" fmla="*/ 288 h 509"/>
                  <a:gd name="T80" fmla="*/ 548 w 569"/>
                  <a:gd name="T81" fmla="*/ 306 h 509"/>
                  <a:gd name="T82" fmla="*/ 567 w 569"/>
                  <a:gd name="T83" fmla="*/ 330 h 509"/>
                  <a:gd name="T84" fmla="*/ 557 w 569"/>
                  <a:gd name="T85" fmla="*/ 360 h 509"/>
                  <a:gd name="T86" fmla="*/ 544 w 569"/>
                  <a:gd name="T87" fmla="*/ 384 h 509"/>
                  <a:gd name="T88" fmla="*/ 524 w 569"/>
                  <a:gd name="T89" fmla="*/ 401 h 509"/>
                  <a:gd name="T90" fmla="*/ 495 w 569"/>
                  <a:gd name="T91" fmla="*/ 412 h 509"/>
                  <a:gd name="T92" fmla="*/ 475 w 569"/>
                  <a:gd name="T93" fmla="*/ 420 h 509"/>
                  <a:gd name="T94" fmla="*/ 469 w 569"/>
                  <a:gd name="T95" fmla="*/ 456 h 509"/>
                  <a:gd name="T96" fmla="*/ 457 w 569"/>
                  <a:gd name="T97" fmla="*/ 480 h 509"/>
                  <a:gd name="T98" fmla="*/ 438 w 569"/>
                  <a:gd name="T99" fmla="*/ 480 h 509"/>
                  <a:gd name="T100" fmla="*/ 411 w 569"/>
                  <a:gd name="T101" fmla="*/ 478 h 509"/>
                  <a:gd name="T102" fmla="*/ 386 w 569"/>
                  <a:gd name="T103" fmla="*/ 495 h 509"/>
                  <a:gd name="T104" fmla="*/ 372 w 569"/>
                  <a:gd name="T105" fmla="*/ 480 h 509"/>
                  <a:gd name="T106" fmla="*/ 340 w 569"/>
                  <a:gd name="T107" fmla="*/ 465 h 509"/>
                  <a:gd name="T108" fmla="*/ 330 w 569"/>
                  <a:gd name="T109" fmla="*/ 486 h 509"/>
                  <a:gd name="T110" fmla="*/ 312 w 569"/>
                  <a:gd name="T111" fmla="*/ 499 h 509"/>
                  <a:gd name="T112" fmla="*/ 291 w 569"/>
                  <a:gd name="T113" fmla="*/ 488 h 509"/>
                  <a:gd name="T114" fmla="*/ 269 w 569"/>
                  <a:gd name="T115" fmla="*/ 484 h 509"/>
                  <a:gd name="T116" fmla="*/ 243 w 569"/>
                  <a:gd name="T117" fmla="*/ 476 h 509"/>
                  <a:gd name="T118" fmla="*/ 233 w 569"/>
                  <a:gd name="T119" fmla="*/ 484 h 509"/>
                  <a:gd name="T120" fmla="*/ 216 w 569"/>
                  <a:gd name="T121" fmla="*/ 473 h 509"/>
                  <a:gd name="T122" fmla="*/ 190 w 569"/>
                  <a:gd name="T123" fmla="*/ 474 h 509"/>
                  <a:gd name="T124" fmla="*/ 158 w 569"/>
                  <a:gd name="T125" fmla="*/ 475 h 5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9"/>
                  <a:gd name="T190" fmla="*/ 0 h 509"/>
                  <a:gd name="T191" fmla="*/ 569 w 569"/>
                  <a:gd name="T192" fmla="*/ 509 h 5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9" h="509">
                    <a:moveTo>
                      <a:pt x="144" y="458"/>
                    </a:moveTo>
                    <a:lnTo>
                      <a:pt x="142" y="460"/>
                    </a:lnTo>
                    <a:lnTo>
                      <a:pt x="142" y="459"/>
                    </a:lnTo>
                    <a:lnTo>
                      <a:pt x="139" y="461"/>
                    </a:lnTo>
                    <a:lnTo>
                      <a:pt x="138" y="461"/>
                    </a:lnTo>
                    <a:lnTo>
                      <a:pt x="136" y="460"/>
                    </a:lnTo>
                    <a:lnTo>
                      <a:pt x="135" y="463"/>
                    </a:lnTo>
                    <a:lnTo>
                      <a:pt x="136" y="465"/>
                    </a:lnTo>
                    <a:lnTo>
                      <a:pt x="135" y="467"/>
                    </a:lnTo>
                    <a:lnTo>
                      <a:pt x="135" y="465"/>
                    </a:lnTo>
                    <a:lnTo>
                      <a:pt x="134" y="468"/>
                    </a:lnTo>
                    <a:lnTo>
                      <a:pt x="134" y="469"/>
                    </a:lnTo>
                    <a:lnTo>
                      <a:pt x="134" y="470"/>
                    </a:lnTo>
                    <a:lnTo>
                      <a:pt x="133" y="470"/>
                    </a:lnTo>
                    <a:lnTo>
                      <a:pt x="133" y="471"/>
                    </a:lnTo>
                    <a:lnTo>
                      <a:pt x="132" y="469"/>
                    </a:lnTo>
                    <a:lnTo>
                      <a:pt x="131" y="469"/>
                    </a:lnTo>
                    <a:lnTo>
                      <a:pt x="131" y="471"/>
                    </a:lnTo>
                    <a:lnTo>
                      <a:pt x="132" y="473"/>
                    </a:lnTo>
                    <a:lnTo>
                      <a:pt x="131" y="473"/>
                    </a:lnTo>
                    <a:lnTo>
                      <a:pt x="131" y="475"/>
                    </a:lnTo>
                    <a:lnTo>
                      <a:pt x="130" y="475"/>
                    </a:lnTo>
                    <a:lnTo>
                      <a:pt x="130" y="472"/>
                    </a:lnTo>
                    <a:lnTo>
                      <a:pt x="128" y="472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6" y="473"/>
                    </a:lnTo>
                    <a:lnTo>
                      <a:pt x="125" y="475"/>
                    </a:lnTo>
                    <a:lnTo>
                      <a:pt x="125" y="476"/>
                    </a:lnTo>
                    <a:lnTo>
                      <a:pt x="125" y="477"/>
                    </a:lnTo>
                    <a:lnTo>
                      <a:pt x="121" y="476"/>
                    </a:lnTo>
                    <a:lnTo>
                      <a:pt x="118" y="475"/>
                    </a:lnTo>
                    <a:lnTo>
                      <a:pt x="118" y="473"/>
                    </a:lnTo>
                    <a:lnTo>
                      <a:pt x="117" y="472"/>
                    </a:lnTo>
                    <a:lnTo>
                      <a:pt x="114" y="475"/>
                    </a:lnTo>
                    <a:lnTo>
                      <a:pt x="114" y="478"/>
                    </a:lnTo>
                    <a:lnTo>
                      <a:pt x="113" y="478"/>
                    </a:lnTo>
                    <a:lnTo>
                      <a:pt x="111" y="480"/>
                    </a:lnTo>
                    <a:lnTo>
                      <a:pt x="111" y="478"/>
                    </a:lnTo>
                    <a:lnTo>
                      <a:pt x="107" y="479"/>
                    </a:lnTo>
                    <a:lnTo>
                      <a:pt x="107" y="478"/>
                    </a:lnTo>
                    <a:lnTo>
                      <a:pt x="105" y="478"/>
                    </a:lnTo>
                    <a:lnTo>
                      <a:pt x="105" y="476"/>
                    </a:lnTo>
                    <a:lnTo>
                      <a:pt x="104" y="475"/>
                    </a:lnTo>
                    <a:lnTo>
                      <a:pt x="103" y="476"/>
                    </a:lnTo>
                    <a:lnTo>
                      <a:pt x="100" y="476"/>
                    </a:lnTo>
                    <a:lnTo>
                      <a:pt x="102" y="475"/>
                    </a:lnTo>
                    <a:lnTo>
                      <a:pt x="102" y="473"/>
                    </a:lnTo>
                    <a:lnTo>
                      <a:pt x="104" y="472"/>
                    </a:lnTo>
                    <a:lnTo>
                      <a:pt x="100" y="472"/>
                    </a:lnTo>
                    <a:lnTo>
                      <a:pt x="100" y="473"/>
                    </a:lnTo>
                    <a:lnTo>
                      <a:pt x="98" y="472"/>
                    </a:lnTo>
                    <a:lnTo>
                      <a:pt x="98" y="470"/>
                    </a:lnTo>
                    <a:lnTo>
                      <a:pt x="98" y="468"/>
                    </a:lnTo>
                    <a:lnTo>
                      <a:pt x="95" y="465"/>
                    </a:lnTo>
                    <a:lnTo>
                      <a:pt x="93" y="466"/>
                    </a:lnTo>
                    <a:lnTo>
                      <a:pt x="93" y="467"/>
                    </a:lnTo>
                    <a:lnTo>
                      <a:pt x="94" y="468"/>
                    </a:lnTo>
                    <a:lnTo>
                      <a:pt x="92" y="468"/>
                    </a:lnTo>
                    <a:lnTo>
                      <a:pt x="90" y="471"/>
                    </a:lnTo>
                    <a:lnTo>
                      <a:pt x="89" y="471"/>
                    </a:lnTo>
                    <a:lnTo>
                      <a:pt x="87" y="472"/>
                    </a:lnTo>
                    <a:lnTo>
                      <a:pt x="87" y="471"/>
                    </a:lnTo>
                    <a:lnTo>
                      <a:pt x="87" y="470"/>
                    </a:lnTo>
                    <a:lnTo>
                      <a:pt x="86" y="471"/>
                    </a:lnTo>
                    <a:lnTo>
                      <a:pt x="85" y="471"/>
                    </a:lnTo>
                    <a:lnTo>
                      <a:pt x="85" y="467"/>
                    </a:lnTo>
                    <a:lnTo>
                      <a:pt x="85" y="468"/>
                    </a:lnTo>
                    <a:lnTo>
                      <a:pt x="84" y="467"/>
                    </a:lnTo>
                    <a:lnTo>
                      <a:pt x="84" y="463"/>
                    </a:lnTo>
                    <a:lnTo>
                      <a:pt x="82" y="463"/>
                    </a:lnTo>
                    <a:lnTo>
                      <a:pt x="83" y="464"/>
                    </a:lnTo>
                    <a:lnTo>
                      <a:pt x="81" y="464"/>
                    </a:lnTo>
                    <a:lnTo>
                      <a:pt x="81" y="467"/>
                    </a:lnTo>
                    <a:lnTo>
                      <a:pt x="79" y="467"/>
                    </a:lnTo>
                    <a:lnTo>
                      <a:pt x="79" y="468"/>
                    </a:lnTo>
                    <a:lnTo>
                      <a:pt x="76" y="466"/>
                    </a:lnTo>
                    <a:lnTo>
                      <a:pt x="74" y="465"/>
                    </a:lnTo>
                    <a:lnTo>
                      <a:pt x="72" y="469"/>
                    </a:lnTo>
                    <a:lnTo>
                      <a:pt x="71" y="469"/>
                    </a:lnTo>
                    <a:lnTo>
                      <a:pt x="68" y="468"/>
                    </a:lnTo>
                    <a:lnTo>
                      <a:pt x="67" y="468"/>
                    </a:lnTo>
                    <a:lnTo>
                      <a:pt x="68" y="465"/>
                    </a:lnTo>
                    <a:lnTo>
                      <a:pt x="68" y="464"/>
                    </a:lnTo>
                    <a:lnTo>
                      <a:pt x="69" y="459"/>
                    </a:lnTo>
                    <a:lnTo>
                      <a:pt x="70" y="456"/>
                    </a:lnTo>
                    <a:lnTo>
                      <a:pt x="68" y="455"/>
                    </a:lnTo>
                    <a:lnTo>
                      <a:pt x="69" y="452"/>
                    </a:lnTo>
                    <a:lnTo>
                      <a:pt x="65" y="448"/>
                    </a:lnTo>
                    <a:lnTo>
                      <a:pt x="64" y="448"/>
                    </a:lnTo>
                    <a:lnTo>
                      <a:pt x="61" y="452"/>
                    </a:lnTo>
                    <a:lnTo>
                      <a:pt x="61" y="451"/>
                    </a:lnTo>
                    <a:lnTo>
                      <a:pt x="63" y="450"/>
                    </a:lnTo>
                    <a:lnTo>
                      <a:pt x="64" y="445"/>
                    </a:lnTo>
                    <a:lnTo>
                      <a:pt x="63" y="444"/>
                    </a:lnTo>
                    <a:lnTo>
                      <a:pt x="63" y="443"/>
                    </a:lnTo>
                    <a:lnTo>
                      <a:pt x="65" y="437"/>
                    </a:lnTo>
                    <a:lnTo>
                      <a:pt x="64" y="433"/>
                    </a:lnTo>
                    <a:lnTo>
                      <a:pt x="66" y="431"/>
                    </a:lnTo>
                    <a:lnTo>
                      <a:pt x="68" y="428"/>
                    </a:lnTo>
                    <a:lnTo>
                      <a:pt x="68" y="421"/>
                    </a:lnTo>
                    <a:lnTo>
                      <a:pt x="69" y="420"/>
                    </a:lnTo>
                    <a:lnTo>
                      <a:pt x="70" y="417"/>
                    </a:lnTo>
                    <a:lnTo>
                      <a:pt x="69" y="415"/>
                    </a:lnTo>
                    <a:lnTo>
                      <a:pt x="67" y="416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3" y="411"/>
                    </a:lnTo>
                    <a:lnTo>
                      <a:pt x="61" y="412"/>
                    </a:lnTo>
                    <a:lnTo>
                      <a:pt x="58" y="411"/>
                    </a:lnTo>
                    <a:lnTo>
                      <a:pt x="58" y="409"/>
                    </a:lnTo>
                    <a:lnTo>
                      <a:pt x="60" y="409"/>
                    </a:lnTo>
                    <a:lnTo>
                      <a:pt x="60" y="408"/>
                    </a:lnTo>
                    <a:lnTo>
                      <a:pt x="57" y="407"/>
                    </a:lnTo>
                    <a:lnTo>
                      <a:pt x="57" y="406"/>
                    </a:lnTo>
                    <a:lnTo>
                      <a:pt x="55" y="406"/>
                    </a:lnTo>
                    <a:lnTo>
                      <a:pt x="53" y="405"/>
                    </a:lnTo>
                    <a:lnTo>
                      <a:pt x="52" y="405"/>
                    </a:lnTo>
                    <a:lnTo>
                      <a:pt x="52" y="402"/>
                    </a:lnTo>
                    <a:lnTo>
                      <a:pt x="50" y="401"/>
                    </a:lnTo>
                    <a:lnTo>
                      <a:pt x="53" y="402"/>
                    </a:lnTo>
                    <a:lnTo>
                      <a:pt x="56" y="405"/>
                    </a:lnTo>
                    <a:lnTo>
                      <a:pt x="59" y="405"/>
                    </a:lnTo>
                    <a:lnTo>
                      <a:pt x="60" y="404"/>
                    </a:lnTo>
                    <a:lnTo>
                      <a:pt x="61" y="404"/>
                    </a:lnTo>
                    <a:lnTo>
                      <a:pt x="63" y="403"/>
                    </a:lnTo>
                    <a:lnTo>
                      <a:pt x="61" y="403"/>
                    </a:lnTo>
                    <a:lnTo>
                      <a:pt x="60" y="397"/>
                    </a:lnTo>
                    <a:lnTo>
                      <a:pt x="56" y="396"/>
                    </a:lnTo>
                    <a:lnTo>
                      <a:pt x="55" y="394"/>
                    </a:lnTo>
                    <a:lnTo>
                      <a:pt x="56" y="392"/>
                    </a:lnTo>
                    <a:lnTo>
                      <a:pt x="55" y="391"/>
                    </a:lnTo>
                    <a:lnTo>
                      <a:pt x="56" y="390"/>
                    </a:lnTo>
                    <a:lnTo>
                      <a:pt x="57" y="391"/>
                    </a:lnTo>
                    <a:lnTo>
                      <a:pt x="57" y="392"/>
                    </a:lnTo>
                    <a:lnTo>
                      <a:pt x="58" y="391"/>
                    </a:lnTo>
                    <a:lnTo>
                      <a:pt x="59" y="391"/>
                    </a:lnTo>
                    <a:lnTo>
                      <a:pt x="60" y="391"/>
                    </a:lnTo>
                    <a:lnTo>
                      <a:pt x="63" y="390"/>
                    </a:lnTo>
                    <a:lnTo>
                      <a:pt x="64" y="391"/>
                    </a:lnTo>
                    <a:lnTo>
                      <a:pt x="67" y="388"/>
                    </a:lnTo>
                    <a:lnTo>
                      <a:pt x="65" y="388"/>
                    </a:lnTo>
                    <a:lnTo>
                      <a:pt x="65" y="386"/>
                    </a:lnTo>
                    <a:lnTo>
                      <a:pt x="63" y="386"/>
                    </a:lnTo>
                    <a:lnTo>
                      <a:pt x="62" y="385"/>
                    </a:lnTo>
                    <a:lnTo>
                      <a:pt x="60" y="386"/>
                    </a:lnTo>
                    <a:lnTo>
                      <a:pt x="61" y="384"/>
                    </a:lnTo>
                    <a:lnTo>
                      <a:pt x="60" y="384"/>
                    </a:lnTo>
                    <a:lnTo>
                      <a:pt x="58" y="385"/>
                    </a:lnTo>
                    <a:lnTo>
                      <a:pt x="58" y="384"/>
                    </a:lnTo>
                    <a:lnTo>
                      <a:pt x="57" y="384"/>
                    </a:lnTo>
                    <a:lnTo>
                      <a:pt x="56" y="386"/>
                    </a:lnTo>
                    <a:lnTo>
                      <a:pt x="55" y="386"/>
                    </a:lnTo>
                    <a:lnTo>
                      <a:pt x="55" y="388"/>
                    </a:lnTo>
                    <a:lnTo>
                      <a:pt x="53" y="387"/>
                    </a:lnTo>
                    <a:lnTo>
                      <a:pt x="52" y="383"/>
                    </a:lnTo>
                    <a:lnTo>
                      <a:pt x="53" y="384"/>
                    </a:lnTo>
                    <a:lnTo>
                      <a:pt x="53" y="383"/>
                    </a:lnTo>
                    <a:lnTo>
                      <a:pt x="52" y="382"/>
                    </a:lnTo>
                    <a:lnTo>
                      <a:pt x="54" y="380"/>
                    </a:lnTo>
                    <a:lnTo>
                      <a:pt x="53" y="378"/>
                    </a:lnTo>
                    <a:lnTo>
                      <a:pt x="54" y="376"/>
                    </a:lnTo>
                    <a:lnTo>
                      <a:pt x="58" y="374"/>
                    </a:lnTo>
                    <a:lnTo>
                      <a:pt x="61" y="368"/>
                    </a:lnTo>
                    <a:lnTo>
                      <a:pt x="71" y="365"/>
                    </a:lnTo>
                    <a:lnTo>
                      <a:pt x="73" y="364"/>
                    </a:lnTo>
                    <a:lnTo>
                      <a:pt x="75" y="364"/>
                    </a:lnTo>
                    <a:lnTo>
                      <a:pt x="74" y="364"/>
                    </a:lnTo>
                    <a:lnTo>
                      <a:pt x="74" y="367"/>
                    </a:lnTo>
                    <a:lnTo>
                      <a:pt x="76" y="368"/>
                    </a:lnTo>
                    <a:lnTo>
                      <a:pt x="77" y="370"/>
                    </a:lnTo>
                    <a:lnTo>
                      <a:pt x="77" y="371"/>
                    </a:lnTo>
                    <a:lnTo>
                      <a:pt x="79" y="371"/>
                    </a:lnTo>
                    <a:lnTo>
                      <a:pt x="80" y="371"/>
                    </a:lnTo>
                    <a:lnTo>
                      <a:pt x="81" y="369"/>
                    </a:lnTo>
                    <a:lnTo>
                      <a:pt x="81" y="368"/>
                    </a:lnTo>
                    <a:lnTo>
                      <a:pt x="82" y="367"/>
                    </a:lnTo>
                    <a:lnTo>
                      <a:pt x="82" y="365"/>
                    </a:lnTo>
                    <a:lnTo>
                      <a:pt x="84" y="364"/>
                    </a:lnTo>
                    <a:lnTo>
                      <a:pt x="85" y="361"/>
                    </a:lnTo>
                    <a:lnTo>
                      <a:pt x="86" y="361"/>
                    </a:lnTo>
                    <a:lnTo>
                      <a:pt x="89" y="361"/>
                    </a:lnTo>
                    <a:lnTo>
                      <a:pt x="89" y="360"/>
                    </a:lnTo>
                    <a:lnTo>
                      <a:pt x="90" y="360"/>
                    </a:lnTo>
                    <a:lnTo>
                      <a:pt x="91" y="360"/>
                    </a:lnTo>
                    <a:lnTo>
                      <a:pt x="93" y="358"/>
                    </a:lnTo>
                    <a:lnTo>
                      <a:pt x="93" y="359"/>
                    </a:lnTo>
                    <a:lnTo>
                      <a:pt x="95" y="356"/>
                    </a:lnTo>
                    <a:lnTo>
                      <a:pt x="95" y="354"/>
                    </a:lnTo>
                    <a:lnTo>
                      <a:pt x="93" y="353"/>
                    </a:lnTo>
                    <a:lnTo>
                      <a:pt x="92" y="352"/>
                    </a:lnTo>
                    <a:lnTo>
                      <a:pt x="91" y="351"/>
                    </a:lnTo>
                    <a:lnTo>
                      <a:pt x="90" y="352"/>
                    </a:lnTo>
                    <a:lnTo>
                      <a:pt x="89" y="352"/>
                    </a:lnTo>
                    <a:lnTo>
                      <a:pt x="87" y="354"/>
                    </a:lnTo>
                    <a:lnTo>
                      <a:pt x="86" y="353"/>
                    </a:lnTo>
                    <a:lnTo>
                      <a:pt x="87" y="350"/>
                    </a:lnTo>
                    <a:lnTo>
                      <a:pt x="90" y="349"/>
                    </a:lnTo>
                    <a:lnTo>
                      <a:pt x="92" y="344"/>
                    </a:lnTo>
                    <a:lnTo>
                      <a:pt x="92" y="341"/>
                    </a:lnTo>
                    <a:lnTo>
                      <a:pt x="91" y="339"/>
                    </a:lnTo>
                    <a:lnTo>
                      <a:pt x="91" y="338"/>
                    </a:lnTo>
                    <a:lnTo>
                      <a:pt x="90" y="335"/>
                    </a:lnTo>
                    <a:lnTo>
                      <a:pt x="91" y="333"/>
                    </a:lnTo>
                    <a:lnTo>
                      <a:pt x="95" y="333"/>
                    </a:lnTo>
                    <a:lnTo>
                      <a:pt x="95" y="331"/>
                    </a:lnTo>
                    <a:lnTo>
                      <a:pt x="97" y="330"/>
                    </a:lnTo>
                    <a:lnTo>
                      <a:pt x="96" y="330"/>
                    </a:lnTo>
                    <a:lnTo>
                      <a:pt x="97" y="326"/>
                    </a:lnTo>
                    <a:lnTo>
                      <a:pt x="95" y="324"/>
                    </a:lnTo>
                    <a:lnTo>
                      <a:pt x="95" y="321"/>
                    </a:lnTo>
                    <a:lnTo>
                      <a:pt x="98" y="318"/>
                    </a:lnTo>
                    <a:lnTo>
                      <a:pt x="97" y="316"/>
                    </a:lnTo>
                    <a:lnTo>
                      <a:pt x="96" y="314"/>
                    </a:lnTo>
                    <a:lnTo>
                      <a:pt x="97" y="313"/>
                    </a:lnTo>
                    <a:lnTo>
                      <a:pt x="98" y="314"/>
                    </a:lnTo>
                    <a:lnTo>
                      <a:pt x="100" y="310"/>
                    </a:lnTo>
                    <a:lnTo>
                      <a:pt x="99" y="308"/>
                    </a:lnTo>
                    <a:lnTo>
                      <a:pt x="100" y="308"/>
                    </a:lnTo>
                    <a:lnTo>
                      <a:pt x="100" y="304"/>
                    </a:lnTo>
                    <a:lnTo>
                      <a:pt x="101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4" y="304"/>
                    </a:lnTo>
                    <a:lnTo>
                      <a:pt x="105" y="304"/>
                    </a:lnTo>
                    <a:lnTo>
                      <a:pt x="106" y="304"/>
                    </a:lnTo>
                    <a:lnTo>
                      <a:pt x="106" y="306"/>
                    </a:lnTo>
                    <a:lnTo>
                      <a:pt x="107" y="305"/>
                    </a:lnTo>
                    <a:lnTo>
                      <a:pt x="107" y="299"/>
                    </a:lnTo>
                    <a:lnTo>
                      <a:pt x="107" y="293"/>
                    </a:lnTo>
                    <a:lnTo>
                      <a:pt x="106" y="291"/>
                    </a:lnTo>
                    <a:lnTo>
                      <a:pt x="107" y="289"/>
                    </a:lnTo>
                    <a:lnTo>
                      <a:pt x="107" y="287"/>
                    </a:lnTo>
                    <a:lnTo>
                      <a:pt x="106" y="287"/>
                    </a:lnTo>
                    <a:lnTo>
                      <a:pt x="105" y="286"/>
                    </a:lnTo>
                    <a:lnTo>
                      <a:pt x="106" y="284"/>
                    </a:lnTo>
                    <a:lnTo>
                      <a:pt x="107" y="283"/>
                    </a:lnTo>
                    <a:lnTo>
                      <a:pt x="107" y="280"/>
                    </a:lnTo>
                    <a:lnTo>
                      <a:pt x="106" y="280"/>
                    </a:lnTo>
                    <a:lnTo>
                      <a:pt x="107" y="278"/>
                    </a:lnTo>
                    <a:lnTo>
                      <a:pt x="110" y="277"/>
                    </a:lnTo>
                    <a:lnTo>
                      <a:pt x="106" y="277"/>
                    </a:lnTo>
                    <a:lnTo>
                      <a:pt x="104" y="276"/>
                    </a:lnTo>
                    <a:lnTo>
                      <a:pt x="100" y="272"/>
                    </a:lnTo>
                    <a:lnTo>
                      <a:pt x="98" y="269"/>
                    </a:lnTo>
                    <a:lnTo>
                      <a:pt x="93" y="268"/>
                    </a:lnTo>
                    <a:lnTo>
                      <a:pt x="92" y="267"/>
                    </a:lnTo>
                    <a:lnTo>
                      <a:pt x="89" y="268"/>
                    </a:lnTo>
                    <a:lnTo>
                      <a:pt x="87" y="267"/>
                    </a:lnTo>
                    <a:lnTo>
                      <a:pt x="87" y="266"/>
                    </a:lnTo>
                    <a:lnTo>
                      <a:pt x="89" y="267"/>
                    </a:lnTo>
                    <a:lnTo>
                      <a:pt x="90" y="262"/>
                    </a:lnTo>
                    <a:lnTo>
                      <a:pt x="90" y="260"/>
                    </a:lnTo>
                    <a:lnTo>
                      <a:pt x="90" y="259"/>
                    </a:lnTo>
                    <a:lnTo>
                      <a:pt x="90" y="256"/>
                    </a:lnTo>
                    <a:lnTo>
                      <a:pt x="87" y="256"/>
                    </a:lnTo>
                    <a:lnTo>
                      <a:pt x="85" y="255"/>
                    </a:lnTo>
                    <a:lnTo>
                      <a:pt x="83" y="254"/>
                    </a:lnTo>
                    <a:lnTo>
                      <a:pt x="79" y="254"/>
                    </a:lnTo>
                    <a:lnTo>
                      <a:pt x="77" y="255"/>
                    </a:lnTo>
                    <a:lnTo>
                      <a:pt x="77" y="252"/>
                    </a:lnTo>
                    <a:lnTo>
                      <a:pt x="76" y="248"/>
                    </a:lnTo>
                    <a:lnTo>
                      <a:pt x="74" y="247"/>
                    </a:lnTo>
                    <a:lnTo>
                      <a:pt x="73" y="248"/>
                    </a:lnTo>
                    <a:lnTo>
                      <a:pt x="73" y="247"/>
                    </a:lnTo>
                    <a:lnTo>
                      <a:pt x="71" y="244"/>
                    </a:lnTo>
                    <a:lnTo>
                      <a:pt x="70" y="244"/>
                    </a:lnTo>
                    <a:lnTo>
                      <a:pt x="70" y="238"/>
                    </a:lnTo>
                    <a:lnTo>
                      <a:pt x="68" y="237"/>
                    </a:lnTo>
                    <a:lnTo>
                      <a:pt x="67" y="235"/>
                    </a:lnTo>
                    <a:lnTo>
                      <a:pt x="66" y="235"/>
                    </a:lnTo>
                    <a:lnTo>
                      <a:pt x="65" y="234"/>
                    </a:lnTo>
                    <a:lnTo>
                      <a:pt x="63" y="236"/>
                    </a:lnTo>
                    <a:lnTo>
                      <a:pt x="62" y="236"/>
                    </a:lnTo>
                    <a:lnTo>
                      <a:pt x="61" y="235"/>
                    </a:lnTo>
                    <a:lnTo>
                      <a:pt x="60" y="236"/>
                    </a:lnTo>
                    <a:lnTo>
                      <a:pt x="61" y="237"/>
                    </a:lnTo>
                    <a:lnTo>
                      <a:pt x="53" y="237"/>
                    </a:lnTo>
                    <a:lnTo>
                      <a:pt x="52" y="236"/>
                    </a:lnTo>
                    <a:lnTo>
                      <a:pt x="43" y="234"/>
                    </a:lnTo>
                    <a:lnTo>
                      <a:pt x="43" y="233"/>
                    </a:lnTo>
                    <a:lnTo>
                      <a:pt x="42" y="232"/>
                    </a:lnTo>
                    <a:lnTo>
                      <a:pt x="42" y="231"/>
                    </a:lnTo>
                    <a:lnTo>
                      <a:pt x="40" y="229"/>
                    </a:lnTo>
                    <a:lnTo>
                      <a:pt x="41" y="228"/>
                    </a:lnTo>
                    <a:lnTo>
                      <a:pt x="40" y="227"/>
                    </a:lnTo>
                    <a:lnTo>
                      <a:pt x="38" y="226"/>
                    </a:lnTo>
                    <a:lnTo>
                      <a:pt x="37" y="224"/>
                    </a:lnTo>
                    <a:lnTo>
                      <a:pt x="36" y="224"/>
                    </a:lnTo>
                    <a:lnTo>
                      <a:pt x="35" y="223"/>
                    </a:lnTo>
                    <a:lnTo>
                      <a:pt x="32" y="223"/>
                    </a:lnTo>
                    <a:lnTo>
                      <a:pt x="31" y="220"/>
                    </a:lnTo>
                    <a:lnTo>
                      <a:pt x="29" y="220"/>
                    </a:lnTo>
                    <a:lnTo>
                      <a:pt x="27" y="219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5"/>
                    </a:lnTo>
                    <a:lnTo>
                      <a:pt x="34" y="215"/>
                    </a:lnTo>
                    <a:lnTo>
                      <a:pt x="37" y="217"/>
                    </a:lnTo>
                    <a:lnTo>
                      <a:pt x="37" y="216"/>
                    </a:lnTo>
                    <a:lnTo>
                      <a:pt x="35" y="215"/>
                    </a:lnTo>
                    <a:lnTo>
                      <a:pt x="34" y="215"/>
                    </a:lnTo>
                    <a:lnTo>
                      <a:pt x="33" y="210"/>
                    </a:lnTo>
                    <a:lnTo>
                      <a:pt x="32" y="210"/>
                    </a:lnTo>
                    <a:lnTo>
                      <a:pt x="27" y="210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22" y="209"/>
                    </a:lnTo>
                    <a:lnTo>
                      <a:pt x="21" y="209"/>
                    </a:lnTo>
                    <a:lnTo>
                      <a:pt x="20" y="207"/>
                    </a:lnTo>
                    <a:lnTo>
                      <a:pt x="19" y="209"/>
                    </a:lnTo>
                    <a:lnTo>
                      <a:pt x="13" y="207"/>
                    </a:lnTo>
                    <a:lnTo>
                      <a:pt x="12" y="210"/>
                    </a:lnTo>
                    <a:lnTo>
                      <a:pt x="11" y="210"/>
                    </a:lnTo>
                    <a:lnTo>
                      <a:pt x="9" y="212"/>
                    </a:lnTo>
                    <a:lnTo>
                      <a:pt x="7" y="212"/>
                    </a:lnTo>
                    <a:lnTo>
                      <a:pt x="7" y="209"/>
                    </a:lnTo>
                    <a:lnTo>
                      <a:pt x="3" y="209"/>
                    </a:lnTo>
                    <a:lnTo>
                      <a:pt x="1" y="209"/>
                    </a:lnTo>
                    <a:lnTo>
                      <a:pt x="0" y="209"/>
                    </a:lnTo>
                    <a:lnTo>
                      <a:pt x="0" y="207"/>
                    </a:lnTo>
                    <a:lnTo>
                      <a:pt x="2" y="205"/>
                    </a:lnTo>
                    <a:lnTo>
                      <a:pt x="2" y="203"/>
                    </a:lnTo>
                    <a:lnTo>
                      <a:pt x="4" y="202"/>
                    </a:lnTo>
                    <a:lnTo>
                      <a:pt x="5" y="202"/>
                    </a:lnTo>
                    <a:lnTo>
                      <a:pt x="4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8" y="197"/>
                    </a:lnTo>
                    <a:lnTo>
                      <a:pt x="11" y="197"/>
                    </a:lnTo>
                    <a:lnTo>
                      <a:pt x="11" y="193"/>
                    </a:lnTo>
                    <a:lnTo>
                      <a:pt x="11" y="190"/>
                    </a:lnTo>
                    <a:lnTo>
                      <a:pt x="9" y="189"/>
                    </a:lnTo>
                    <a:lnTo>
                      <a:pt x="8" y="186"/>
                    </a:lnTo>
                    <a:lnTo>
                      <a:pt x="6" y="188"/>
                    </a:lnTo>
                    <a:lnTo>
                      <a:pt x="6" y="186"/>
                    </a:lnTo>
                    <a:lnTo>
                      <a:pt x="6" y="183"/>
                    </a:lnTo>
                    <a:lnTo>
                      <a:pt x="7" y="180"/>
                    </a:lnTo>
                    <a:lnTo>
                      <a:pt x="6" y="179"/>
                    </a:lnTo>
                    <a:lnTo>
                      <a:pt x="8" y="178"/>
                    </a:lnTo>
                    <a:lnTo>
                      <a:pt x="9" y="179"/>
                    </a:lnTo>
                    <a:lnTo>
                      <a:pt x="11" y="177"/>
                    </a:lnTo>
                    <a:lnTo>
                      <a:pt x="12" y="177"/>
                    </a:lnTo>
                    <a:lnTo>
                      <a:pt x="12" y="175"/>
                    </a:lnTo>
                    <a:lnTo>
                      <a:pt x="16" y="175"/>
                    </a:lnTo>
                    <a:lnTo>
                      <a:pt x="16" y="176"/>
                    </a:lnTo>
                    <a:lnTo>
                      <a:pt x="20" y="178"/>
                    </a:lnTo>
                    <a:lnTo>
                      <a:pt x="22" y="178"/>
                    </a:lnTo>
                    <a:lnTo>
                      <a:pt x="22" y="176"/>
                    </a:lnTo>
                    <a:lnTo>
                      <a:pt x="22" y="175"/>
                    </a:lnTo>
                    <a:lnTo>
                      <a:pt x="22" y="174"/>
                    </a:lnTo>
                    <a:lnTo>
                      <a:pt x="23" y="175"/>
                    </a:lnTo>
                    <a:lnTo>
                      <a:pt x="25" y="175"/>
                    </a:lnTo>
                    <a:lnTo>
                      <a:pt x="25" y="171"/>
                    </a:lnTo>
                    <a:lnTo>
                      <a:pt x="25" y="170"/>
                    </a:lnTo>
                    <a:lnTo>
                      <a:pt x="25" y="166"/>
                    </a:lnTo>
                    <a:lnTo>
                      <a:pt x="25" y="167"/>
                    </a:lnTo>
                    <a:lnTo>
                      <a:pt x="26" y="167"/>
                    </a:lnTo>
                    <a:lnTo>
                      <a:pt x="27" y="169"/>
                    </a:lnTo>
                    <a:lnTo>
                      <a:pt x="28" y="169"/>
                    </a:lnTo>
                    <a:lnTo>
                      <a:pt x="30" y="170"/>
                    </a:lnTo>
                    <a:lnTo>
                      <a:pt x="31" y="168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29" y="162"/>
                    </a:lnTo>
                    <a:lnTo>
                      <a:pt x="33" y="162"/>
                    </a:lnTo>
                    <a:lnTo>
                      <a:pt x="33" y="159"/>
                    </a:lnTo>
                    <a:lnTo>
                      <a:pt x="32" y="155"/>
                    </a:lnTo>
                    <a:lnTo>
                      <a:pt x="33" y="154"/>
                    </a:lnTo>
                    <a:lnTo>
                      <a:pt x="33" y="150"/>
                    </a:lnTo>
                    <a:lnTo>
                      <a:pt x="34" y="152"/>
                    </a:lnTo>
                    <a:lnTo>
                      <a:pt x="37" y="152"/>
                    </a:lnTo>
                    <a:lnTo>
                      <a:pt x="38" y="151"/>
                    </a:lnTo>
                    <a:lnTo>
                      <a:pt x="38" y="150"/>
                    </a:lnTo>
                    <a:lnTo>
                      <a:pt x="40" y="150"/>
                    </a:lnTo>
                    <a:lnTo>
                      <a:pt x="40" y="149"/>
                    </a:lnTo>
                    <a:lnTo>
                      <a:pt x="41" y="149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43" y="146"/>
                    </a:lnTo>
                    <a:lnTo>
                      <a:pt x="43" y="145"/>
                    </a:lnTo>
                    <a:lnTo>
                      <a:pt x="46" y="145"/>
                    </a:lnTo>
                    <a:lnTo>
                      <a:pt x="47" y="142"/>
                    </a:lnTo>
                    <a:lnTo>
                      <a:pt x="50" y="142"/>
                    </a:lnTo>
                    <a:lnTo>
                      <a:pt x="52" y="142"/>
                    </a:lnTo>
                    <a:lnTo>
                      <a:pt x="52" y="141"/>
                    </a:lnTo>
                    <a:lnTo>
                      <a:pt x="53" y="141"/>
                    </a:lnTo>
                    <a:lnTo>
                      <a:pt x="55" y="145"/>
                    </a:lnTo>
                    <a:lnTo>
                      <a:pt x="57" y="146"/>
                    </a:lnTo>
                    <a:lnTo>
                      <a:pt x="58" y="145"/>
                    </a:lnTo>
                    <a:lnTo>
                      <a:pt x="61" y="145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71" y="140"/>
                    </a:lnTo>
                    <a:lnTo>
                      <a:pt x="70" y="137"/>
                    </a:lnTo>
                    <a:lnTo>
                      <a:pt x="73" y="138"/>
                    </a:lnTo>
                    <a:lnTo>
                      <a:pt x="74" y="137"/>
                    </a:lnTo>
                    <a:lnTo>
                      <a:pt x="76" y="134"/>
                    </a:lnTo>
                    <a:lnTo>
                      <a:pt x="76" y="133"/>
                    </a:lnTo>
                    <a:lnTo>
                      <a:pt x="78" y="133"/>
                    </a:lnTo>
                    <a:lnTo>
                      <a:pt x="80" y="132"/>
                    </a:lnTo>
                    <a:lnTo>
                      <a:pt x="85" y="126"/>
                    </a:lnTo>
                    <a:lnTo>
                      <a:pt x="86" y="127"/>
                    </a:lnTo>
                    <a:lnTo>
                      <a:pt x="85" y="128"/>
                    </a:lnTo>
                    <a:lnTo>
                      <a:pt x="85" y="133"/>
                    </a:lnTo>
                    <a:lnTo>
                      <a:pt x="89" y="132"/>
                    </a:lnTo>
                    <a:lnTo>
                      <a:pt x="90" y="133"/>
                    </a:lnTo>
                    <a:lnTo>
                      <a:pt x="92" y="135"/>
                    </a:lnTo>
                    <a:lnTo>
                      <a:pt x="93" y="135"/>
                    </a:lnTo>
                    <a:lnTo>
                      <a:pt x="97" y="133"/>
                    </a:lnTo>
                    <a:lnTo>
                      <a:pt x="104" y="135"/>
                    </a:lnTo>
                    <a:lnTo>
                      <a:pt x="106" y="136"/>
                    </a:lnTo>
                    <a:lnTo>
                      <a:pt x="107" y="133"/>
                    </a:lnTo>
                    <a:lnTo>
                      <a:pt x="108" y="131"/>
                    </a:lnTo>
                    <a:lnTo>
                      <a:pt x="109" y="132"/>
                    </a:lnTo>
                    <a:lnTo>
                      <a:pt x="110" y="129"/>
                    </a:lnTo>
                    <a:lnTo>
                      <a:pt x="111" y="130"/>
                    </a:lnTo>
                    <a:lnTo>
                      <a:pt x="110" y="133"/>
                    </a:lnTo>
                    <a:lnTo>
                      <a:pt x="112" y="133"/>
                    </a:lnTo>
                    <a:lnTo>
                      <a:pt x="113" y="131"/>
                    </a:lnTo>
                    <a:lnTo>
                      <a:pt x="114" y="131"/>
                    </a:lnTo>
                    <a:lnTo>
                      <a:pt x="118" y="127"/>
                    </a:lnTo>
                    <a:lnTo>
                      <a:pt x="120" y="124"/>
                    </a:lnTo>
                    <a:lnTo>
                      <a:pt x="122" y="122"/>
                    </a:lnTo>
                    <a:lnTo>
                      <a:pt x="123" y="122"/>
                    </a:lnTo>
                    <a:lnTo>
                      <a:pt x="125" y="120"/>
                    </a:lnTo>
                    <a:lnTo>
                      <a:pt x="126" y="120"/>
                    </a:lnTo>
                    <a:lnTo>
                      <a:pt x="128" y="123"/>
                    </a:lnTo>
                    <a:lnTo>
                      <a:pt x="128" y="122"/>
                    </a:lnTo>
                    <a:lnTo>
                      <a:pt x="129" y="122"/>
                    </a:lnTo>
                    <a:lnTo>
                      <a:pt x="131" y="128"/>
                    </a:lnTo>
                    <a:lnTo>
                      <a:pt x="130" y="131"/>
                    </a:lnTo>
                    <a:lnTo>
                      <a:pt x="131" y="132"/>
                    </a:lnTo>
                    <a:lnTo>
                      <a:pt x="138" y="132"/>
                    </a:lnTo>
                    <a:lnTo>
                      <a:pt x="138" y="128"/>
                    </a:lnTo>
                    <a:lnTo>
                      <a:pt x="139" y="127"/>
                    </a:lnTo>
                    <a:lnTo>
                      <a:pt x="139" y="124"/>
                    </a:lnTo>
                    <a:lnTo>
                      <a:pt x="141" y="122"/>
                    </a:lnTo>
                    <a:lnTo>
                      <a:pt x="143" y="120"/>
                    </a:lnTo>
                    <a:lnTo>
                      <a:pt x="146" y="120"/>
                    </a:lnTo>
                    <a:lnTo>
                      <a:pt x="152" y="119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6" y="119"/>
                    </a:lnTo>
                    <a:lnTo>
                      <a:pt x="157" y="118"/>
                    </a:lnTo>
                    <a:lnTo>
                      <a:pt x="158" y="118"/>
                    </a:lnTo>
                    <a:lnTo>
                      <a:pt x="161" y="117"/>
                    </a:lnTo>
                    <a:lnTo>
                      <a:pt x="161" y="115"/>
                    </a:lnTo>
                    <a:lnTo>
                      <a:pt x="162" y="115"/>
                    </a:lnTo>
                    <a:lnTo>
                      <a:pt x="162" y="114"/>
                    </a:lnTo>
                    <a:lnTo>
                      <a:pt x="164" y="115"/>
                    </a:lnTo>
                    <a:lnTo>
                      <a:pt x="165" y="113"/>
                    </a:lnTo>
                    <a:lnTo>
                      <a:pt x="166" y="112"/>
                    </a:lnTo>
                    <a:lnTo>
                      <a:pt x="166" y="108"/>
                    </a:lnTo>
                    <a:lnTo>
                      <a:pt x="166" y="107"/>
                    </a:lnTo>
                    <a:lnTo>
                      <a:pt x="164" y="107"/>
                    </a:lnTo>
                    <a:lnTo>
                      <a:pt x="165" y="107"/>
                    </a:lnTo>
                    <a:lnTo>
                      <a:pt x="165" y="106"/>
                    </a:lnTo>
                    <a:lnTo>
                      <a:pt x="167" y="107"/>
                    </a:lnTo>
                    <a:lnTo>
                      <a:pt x="170" y="107"/>
                    </a:lnTo>
                    <a:lnTo>
                      <a:pt x="170" y="109"/>
                    </a:lnTo>
                    <a:lnTo>
                      <a:pt x="175" y="109"/>
                    </a:lnTo>
                    <a:lnTo>
                      <a:pt x="176" y="109"/>
                    </a:lnTo>
                    <a:lnTo>
                      <a:pt x="175" y="107"/>
                    </a:lnTo>
                    <a:lnTo>
                      <a:pt x="176" y="107"/>
                    </a:lnTo>
                    <a:lnTo>
                      <a:pt x="175" y="106"/>
                    </a:lnTo>
                    <a:lnTo>
                      <a:pt x="177" y="103"/>
                    </a:lnTo>
                    <a:lnTo>
                      <a:pt x="175" y="101"/>
                    </a:lnTo>
                    <a:lnTo>
                      <a:pt x="174" y="101"/>
                    </a:lnTo>
                    <a:lnTo>
                      <a:pt x="174" y="95"/>
                    </a:lnTo>
                    <a:lnTo>
                      <a:pt x="177" y="94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1" y="92"/>
                    </a:lnTo>
                    <a:lnTo>
                      <a:pt x="182" y="90"/>
                    </a:lnTo>
                    <a:lnTo>
                      <a:pt x="185" y="90"/>
                    </a:lnTo>
                    <a:lnTo>
                      <a:pt x="187" y="93"/>
                    </a:lnTo>
                    <a:lnTo>
                      <a:pt x="188" y="94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90" y="91"/>
                    </a:lnTo>
                    <a:lnTo>
                      <a:pt x="194" y="94"/>
                    </a:lnTo>
                    <a:lnTo>
                      <a:pt x="198" y="95"/>
                    </a:lnTo>
                    <a:lnTo>
                      <a:pt x="198" y="97"/>
                    </a:lnTo>
                    <a:lnTo>
                      <a:pt x="199" y="97"/>
                    </a:lnTo>
                    <a:lnTo>
                      <a:pt x="199" y="98"/>
                    </a:lnTo>
                    <a:lnTo>
                      <a:pt x="200" y="98"/>
                    </a:lnTo>
                    <a:lnTo>
                      <a:pt x="205" y="99"/>
                    </a:lnTo>
                    <a:lnTo>
                      <a:pt x="211" y="99"/>
                    </a:lnTo>
                    <a:lnTo>
                      <a:pt x="211" y="101"/>
                    </a:lnTo>
                    <a:lnTo>
                      <a:pt x="213" y="101"/>
                    </a:lnTo>
                    <a:lnTo>
                      <a:pt x="217" y="102"/>
                    </a:lnTo>
                    <a:lnTo>
                      <a:pt x="218" y="103"/>
                    </a:lnTo>
                    <a:lnTo>
                      <a:pt x="218" y="102"/>
                    </a:lnTo>
                    <a:lnTo>
                      <a:pt x="224" y="102"/>
                    </a:lnTo>
                    <a:lnTo>
                      <a:pt x="225" y="101"/>
                    </a:lnTo>
                    <a:lnTo>
                      <a:pt x="228" y="103"/>
                    </a:lnTo>
                    <a:lnTo>
                      <a:pt x="229" y="100"/>
                    </a:lnTo>
                    <a:lnTo>
                      <a:pt x="229" y="98"/>
                    </a:lnTo>
                    <a:lnTo>
                      <a:pt x="232" y="100"/>
                    </a:lnTo>
                    <a:lnTo>
                      <a:pt x="232" y="101"/>
                    </a:lnTo>
                    <a:lnTo>
                      <a:pt x="233" y="103"/>
                    </a:lnTo>
                    <a:lnTo>
                      <a:pt x="234" y="102"/>
                    </a:lnTo>
                    <a:lnTo>
                      <a:pt x="236" y="104"/>
                    </a:lnTo>
                    <a:lnTo>
                      <a:pt x="236" y="103"/>
                    </a:lnTo>
                    <a:lnTo>
                      <a:pt x="237" y="103"/>
                    </a:lnTo>
                    <a:lnTo>
                      <a:pt x="238" y="101"/>
                    </a:lnTo>
                    <a:lnTo>
                      <a:pt x="243" y="106"/>
                    </a:lnTo>
                    <a:lnTo>
                      <a:pt x="245" y="107"/>
                    </a:lnTo>
                    <a:lnTo>
                      <a:pt x="245" y="108"/>
                    </a:lnTo>
                    <a:lnTo>
                      <a:pt x="246" y="109"/>
                    </a:lnTo>
                    <a:lnTo>
                      <a:pt x="248" y="105"/>
                    </a:lnTo>
                    <a:lnTo>
                      <a:pt x="250" y="103"/>
                    </a:lnTo>
                    <a:lnTo>
                      <a:pt x="250" y="102"/>
                    </a:lnTo>
                    <a:lnTo>
                      <a:pt x="252" y="99"/>
                    </a:lnTo>
                    <a:lnTo>
                      <a:pt x="253" y="99"/>
                    </a:lnTo>
                    <a:lnTo>
                      <a:pt x="255" y="98"/>
                    </a:lnTo>
                    <a:lnTo>
                      <a:pt x="257" y="100"/>
                    </a:lnTo>
                    <a:lnTo>
                      <a:pt x="259" y="101"/>
                    </a:lnTo>
                    <a:lnTo>
                      <a:pt x="260" y="100"/>
                    </a:lnTo>
                    <a:lnTo>
                      <a:pt x="260" y="99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99"/>
                    </a:lnTo>
                    <a:lnTo>
                      <a:pt x="267" y="100"/>
                    </a:lnTo>
                    <a:lnTo>
                      <a:pt x="267" y="98"/>
                    </a:lnTo>
                    <a:lnTo>
                      <a:pt x="268" y="99"/>
                    </a:lnTo>
                    <a:lnTo>
                      <a:pt x="269" y="98"/>
                    </a:lnTo>
                    <a:lnTo>
                      <a:pt x="272" y="99"/>
                    </a:lnTo>
                    <a:lnTo>
                      <a:pt x="273" y="100"/>
                    </a:lnTo>
                    <a:lnTo>
                      <a:pt x="273" y="101"/>
                    </a:lnTo>
                    <a:lnTo>
                      <a:pt x="274" y="101"/>
                    </a:lnTo>
                    <a:lnTo>
                      <a:pt x="274" y="103"/>
                    </a:lnTo>
                    <a:lnTo>
                      <a:pt x="275" y="102"/>
                    </a:lnTo>
                    <a:lnTo>
                      <a:pt x="276" y="103"/>
                    </a:lnTo>
                    <a:lnTo>
                      <a:pt x="275" y="101"/>
                    </a:lnTo>
                    <a:lnTo>
                      <a:pt x="276" y="101"/>
                    </a:lnTo>
                    <a:lnTo>
                      <a:pt x="276" y="102"/>
                    </a:lnTo>
                    <a:lnTo>
                      <a:pt x="276" y="103"/>
                    </a:lnTo>
                    <a:lnTo>
                      <a:pt x="278" y="102"/>
                    </a:lnTo>
                    <a:lnTo>
                      <a:pt x="281" y="98"/>
                    </a:lnTo>
                    <a:lnTo>
                      <a:pt x="280" y="98"/>
                    </a:lnTo>
                    <a:lnTo>
                      <a:pt x="281" y="96"/>
                    </a:lnTo>
                    <a:lnTo>
                      <a:pt x="280" y="96"/>
                    </a:lnTo>
                    <a:lnTo>
                      <a:pt x="281" y="95"/>
                    </a:lnTo>
                    <a:lnTo>
                      <a:pt x="280" y="95"/>
                    </a:lnTo>
                    <a:lnTo>
                      <a:pt x="280" y="94"/>
                    </a:lnTo>
                    <a:lnTo>
                      <a:pt x="280" y="90"/>
                    </a:lnTo>
                    <a:lnTo>
                      <a:pt x="283" y="92"/>
                    </a:lnTo>
                    <a:lnTo>
                      <a:pt x="283" y="86"/>
                    </a:lnTo>
                    <a:lnTo>
                      <a:pt x="283" y="84"/>
                    </a:lnTo>
                    <a:lnTo>
                      <a:pt x="284" y="84"/>
                    </a:lnTo>
                    <a:lnTo>
                      <a:pt x="284" y="82"/>
                    </a:lnTo>
                    <a:lnTo>
                      <a:pt x="283" y="81"/>
                    </a:lnTo>
                    <a:lnTo>
                      <a:pt x="282" y="81"/>
                    </a:lnTo>
                    <a:lnTo>
                      <a:pt x="282" y="78"/>
                    </a:lnTo>
                    <a:lnTo>
                      <a:pt x="281" y="77"/>
                    </a:lnTo>
                    <a:lnTo>
                      <a:pt x="281" y="76"/>
                    </a:lnTo>
                    <a:lnTo>
                      <a:pt x="283" y="75"/>
                    </a:lnTo>
                    <a:lnTo>
                      <a:pt x="283" y="76"/>
                    </a:lnTo>
                    <a:lnTo>
                      <a:pt x="284" y="75"/>
                    </a:lnTo>
                    <a:lnTo>
                      <a:pt x="283" y="74"/>
                    </a:lnTo>
                    <a:lnTo>
                      <a:pt x="283" y="73"/>
                    </a:lnTo>
                    <a:lnTo>
                      <a:pt x="282" y="71"/>
                    </a:lnTo>
                    <a:lnTo>
                      <a:pt x="283" y="70"/>
                    </a:lnTo>
                    <a:lnTo>
                      <a:pt x="283" y="71"/>
                    </a:lnTo>
                    <a:lnTo>
                      <a:pt x="283" y="69"/>
                    </a:lnTo>
                    <a:lnTo>
                      <a:pt x="283" y="68"/>
                    </a:lnTo>
                    <a:lnTo>
                      <a:pt x="281" y="67"/>
                    </a:lnTo>
                    <a:lnTo>
                      <a:pt x="281" y="66"/>
                    </a:lnTo>
                    <a:lnTo>
                      <a:pt x="283" y="65"/>
                    </a:lnTo>
                    <a:lnTo>
                      <a:pt x="284" y="65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90" y="69"/>
                    </a:lnTo>
                    <a:lnTo>
                      <a:pt x="296" y="72"/>
                    </a:lnTo>
                    <a:lnTo>
                      <a:pt x="296" y="71"/>
                    </a:lnTo>
                    <a:lnTo>
                      <a:pt x="297" y="71"/>
                    </a:lnTo>
                    <a:lnTo>
                      <a:pt x="296" y="70"/>
                    </a:lnTo>
                    <a:lnTo>
                      <a:pt x="297" y="69"/>
                    </a:lnTo>
                    <a:lnTo>
                      <a:pt x="297" y="68"/>
                    </a:lnTo>
                    <a:lnTo>
                      <a:pt x="295" y="68"/>
                    </a:lnTo>
                    <a:lnTo>
                      <a:pt x="294" y="67"/>
                    </a:lnTo>
                    <a:lnTo>
                      <a:pt x="296" y="65"/>
                    </a:lnTo>
                    <a:lnTo>
                      <a:pt x="297" y="67"/>
                    </a:lnTo>
                    <a:lnTo>
                      <a:pt x="298" y="65"/>
                    </a:lnTo>
                    <a:lnTo>
                      <a:pt x="297" y="65"/>
                    </a:lnTo>
                    <a:lnTo>
                      <a:pt x="299" y="64"/>
                    </a:lnTo>
                    <a:lnTo>
                      <a:pt x="299" y="58"/>
                    </a:lnTo>
                    <a:lnTo>
                      <a:pt x="303" y="61"/>
                    </a:lnTo>
                    <a:lnTo>
                      <a:pt x="306" y="61"/>
                    </a:lnTo>
                    <a:lnTo>
                      <a:pt x="306" y="58"/>
                    </a:lnTo>
                    <a:lnTo>
                      <a:pt x="309" y="61"/>
                    </a:lnTo>
                    <a:lnTo>
                      <a:pt x="312" y="61"/>
                    </a:lnTo>
                    <a:lnTo>
                      <a:pt x="312" y="57"/>
                    </a:lnTo>
                    <a:lnTo>
                      <a:pt x="313" y="56"/>
                    </a:lnTo>
                    <a:lnTo>
                      <a:pt x="313" y="54"/>
                    </a:lnTo>
                    <a:lnTo>
                      <a:pt x="313" y="52"/>
                    </a:lnTo>
                    <a:lnTo>
                      <a:pt x="312" y="52"/>
                    </a:lnTo>
                    <a:lnTo>
                      <a:pt x="313" y="52"/>
                    </a:lnTo>
                    <a:lnTo>
                      <a:pt x="313" y="48"/>
                    </a:lnTo>
                    <a:lnTo>
                      <a:pt x="310" y="39"/>
                    </a:lnTo>
                    <a:lnTo>
                      <a:pt x="315" y="38"/>
                    </a:lnTo>
                    <a:lnTo>
                      <a:pt x="315" y="34"/>
                    </a:lnTo>
                    <a:lnTo>
                      <a:pt x="319" y="36"/>
                    </a:lnTo>
                    <a:lnTo>
                      <a:pt x="320" y="36"/>
                    </a:lnTo>
                    <a:lnTo>
                      <a:pt x="319" y="39"/>
                    </a:lnTo>
                    <a:lnTo>
                      <a:pt x="321" y="39"/>
                    </a:lnTo>
                    <a:lnTo>
                      <a:pt x="321" y="40"/>
                    </a:lnTo>
                    <a:lnTo>
                      <a:pt x="322" y="42"/>
                    </a:lnTo>
                    <a:lnTo>
                      <a:pt x="323" y="39"/>
                    </a:lnTo>
                    <a:lnTo>
                      <a:pt x="325" y="35"/>
                    </a:lnTo>
                    <a:lnTo>
                      <a:pt x="330" y="35"/>
                    </a:lnTo>
                    <a:lnTo>
                      <a:pt x="329" y="35"/>
                    </a:lnTo>
                    <a:lnTo>
                      <a:pt x="330" y="37"/>
                    </a:lnTo>
                    <a:lnTo>
                      <a:pt x="330" y="41"/>
                    </a:lnTo>
                    <a:lnTo>
                      <a:pt x="331" y="41"/>
                    </a:lnTo>
                    <a:lnTo>
                      <a:pt x="334" y="43"/>
                    </a:lnTo>
                    <a:lnTo>
                      <a:pt x="336" y="43"/>
                    </a:lnTo>
                    <a:lnTo>
                      <a:pt x="337" y="41"/>
                    </a:lnTo>
                    <a:lnTo>
                      <a:pt x="335" y="39"/>
                    </a:lnTo>
                    <a:lnTo>
                      <a:pt x="335" y="38"/>
                    </a:lnTo>
                    <a:lnTo>
                      <a:pt x="339" y="39"/>
                    </a:lnTo>
                    <a:lnTo>
                      <a:pt x="340" y="38"/>
                    </a:lnTo>
                    <a:lnTo>
                      <a:pt x="341" y="36"/>
                    </a:lnTo>
                    <a:lnTo>
                      <a:pt x="343" y="37"/>
                    </a:lnTo>
                    <a:lnTo>
                      <a:pt x="344" y="37"/>
                    </a:lnTo>
                    <a:lnTo>
                      <a:pt x="343" y="38"/>
                    </a:lnTo>
                    <a:lnTo>
                      <a:pt x="343" y="40"/>
                    </a:lnTo>
                    <a:lnTo>
                      <a:pt x="343" y="41"/>
                    </a:lnTo>
                    <a:lnTo>
                      <a:pt x="345" y="43"/>
                    </a:lnTo>
                    <a:lnTo>
                      <a:pt x="344" y="43"/>
                    </a:lnTo>
                    <a:lnTo>
                      <a:pt x="343" y="44"/>
                    </a:lnTo>
                    <a:lnTo>
                      <a:pt x="342" y="46"/>
                    </a:lnTo>
                    <a:lnTo>
                      <a:pt x="343" y="47"/>
                    </a:lnTo>
                    <a:lnTo>
                      <a:pt x="343" y="51"/>
                    </a:lnTo>
                    <a:lnTo>
                      <a:pt x="345" y="54"/>
                    </a:lnTo>
                    <a:lnTo>
                      <a:pt x="346" y="52"/>
                    </a:lnTo>
                    <a:lnTo>
                      <a:pt x="346" y="53"/>
                    </a:lnTo>
                    <a:lnTo>
                      <a:pt x="347" y="52"/>
                    </a:lnTo>
                    <a:lnTo>
                      <a:pt x="347" y="53"/>
                    </a:lnTo>
                    <a:lnTo>
                      <a:pt x="348" y="53"/>
                    </a:lnTo>
                    <a:lnTo>
                      <a:pt x="348" y="54"/>
                    </a:lnTo>
                    <a:lnTo>
                      <a:pt x="349" y="55"/>
                    </a:lnTo>
                    <a:lnTo>
                      <a:pt x="350" y="56"/>
                    </a:lnTo>
                    <a:lnTo>
                      <a:pt x="351" y="55"/>
                    </a:lnTo>
                    <a:lnTo>
                      <a:pt x="351" y="53"/>
                    </a:lnTo>
                    <a:lnTo>
                      <a:pt x="353" y="51"/>
                    </a:lnTo>
                    <a:lnTo>
                      <a:pt x="353" y="52"/>
                    </a:lnTo>
                    <a:lnTo>
                      <a:pt x="355" y="53"/>
                    </a:lnTo>
                    <a:lnTo>
                      <a:pt x="356" y="53"/>
                    </a:lnTo>
                    <a:lnTo>
                      <a:pt x="356" y="51"/>
                    </a:lnTo>
                    <a:lnTo>
                      <a:pt x="358" y="51"/>
                    </a:lnTo>
                    <a:lnTo>
                      <a:pt x="359" y="53"/>
                    </a:lnTo>
                    <a:lnTo>
                      <a:pt x="361" y="54"/>
                    </a:lnTo>
                    <a:lnTo>
                      <a:pt x="361" y="52"/>
                    </a:lnTo>
                    <a:lnTo>
                      <a:pt x="361" y="51"/>
                    </a:lnTo>
                    <a:lnTo>
                      <a:pt x="365" y="52"/>
                    </a:lnTo>
                    <a:lnTo>
                      <a:pt x="368" y="52"/>
                    </a:lnTo>
                    <a:lnTo>
                      <a:pt x="372" y="55"/>
                    </a:lnTo>
                    <a:lnTo>
                      <a:pt x="372" y="54"/>
                    </a:lnTo>
                    <a:lnTo>
                      <a:pt x="372" y="50"/>
                    </a:lnTo>
                    <a:lnTo>
                      <a:pt x="374" y="49"/>
                    </a:lnTo>
                    <a:lnTo>
                      <a:pt x="374" y="48"/>
                    </a:lnTo>
                    <a:lnTo>
                      <a:pt x="378" y="49"/>
                    </a:lnTo>
                    <a:lnTo>
                      <a:pt x="379" y="48"/>
                    </a:lnTo>
                    <a:lnTo>
                      <a:pt x="381" y="48"/>
                    </a:lnTo>
                    <a:lnTo>
                      <a:pt x="383" y="40"/>
                    </a:lnTo>
                    <a:lnTo>
                      <a:pt x="383" y="39"/>
                    </a:lnTo>
                    <a:lnTo>
                      <a:pt x="390" y="41"/>
                    </a:lnTo>
                    <a:lnTo>
                      <a:pt x="391" y="40"/>
                    </a:lnTo>
                    <a:lnTo>
                      <a:pt x="392" y="36"/>
                    </a:lnTo>
                    <a:lnTo>
                      <a:pt x="391" y="27"/>
                    </a:lnTo>
                    <a:lnTo>
                      <a:pt x="392" y="22"/>
                    </a:lnTo>
                    <a:lnTo>
                      <a:pt x="405" y="27"/>
                    </a:lnTo>
                    <a:lnTo>
                      <a:pt x="411" y="34"/>
                    </a:lnTo>
                    <a:lnTo>
                      <a:pt x="418" y="28"/>
                    </a:lnTo>
                    <a:lnTo>
                      <a:pt x="419" y="28"/>
                    </a:lnTo>
                    <a:lnTo>
                      <a:pt x="420" y="27"/>
                    </a:lnTo>
                    <a:lnTo>
                      <a:pt x="421" y="26"/>
                    </a:lnTo>
                    <a:lnTo>
                      <a:pt x="420" y="24"/>
                    </a:lnTo>
                    <a:lnTo>
                      <a:pt x="418" y="22"/>
                    </a:lnTo>
                    <a:lnTo>
                      <a:pt x="419" y="20"/>
                    </a:lnTo>
                    <a:lnTo>
                      <a:pt x="418" y="19"/>
                    </a:lnTo>
                    <a:lnTo>
                      <a:pt x="423" y="18"/>
                    </a:lnTo>
                    <a:lnTo>
                      <a:pt x="426" y="17"/>
                    </a:lnTo>
                    <a:lnTo>
                      <a:pt x="428" y="17"/>
                    </a:lnTo>
                    <a:lnTo>
                      <a:pt x="429" y="17"/>
                    </a:lnTo>
                    <a:lnTo>
                      <a:pt x="430" y="15"/>
                    </a:lnTo>
                    <a:lnTo>
                      <a:pt x="430" y="17"/>
                    </a:lnTo>
                    <a:lnTo>
                      <a:pt x="433" y="15"/>
                    </a:lnTo>
                    <a:lnTo>
                      <a:pt x="435" y="14"/>
                    </a:lnTo>
                    <a:lnTo>
                      <a:pt x="434" y="11"/>
                    </a:lnTo>
                    <a:lnTo>
                      <a:pt x="435" y="11"/>
                    </a:lnTo>
                    <a:lnTo>
                      <a:pt x="434" y="7"/>
                    </a:lnTo>
                    <a:lnTo>
                      <a:pt x="432" y="7"/>
                    </a:lnTo>
                    <a:lnTo>
                      <a:pt x="435" y="6"/>
                    </a:lnTo>
                    <a:lnTo>
                      <a:pt x="435" y="5"/>
                    </a:lnTo>
                    <a:lnTo>
                      <a:pt x="437" y="6"/>
                    </a:lnTo>
                    <a:lnTo>
                      <a:pt x="437" y="5"/>
                    </a:lnTo>
                    <a:lnTo>
                      <a:pt x="438" y="5"/>
                    </a:lnTo>
                    <a:lnTo>
                      <a:pt x="439" y="6"/>
                    </a:lnTo>
                    <a:lnTo>
                      <a:pt x="437" y="0"/>
                    </a:lnTo>
                    <a:lnTo>
                      <a:pt x="439" y="0"/>
                    </a:lnTo>
                    <a:lnTo>
                      <a:pt x="444" y="1"/>
                    </a:lnTo>
                    <a:lnTo>
                      <a:pt x="443" y="1"/>
                    </a:lnTo>
                    <a:lnTo>
                      <a:pt x="444" y="4"/>
                    </a:lnTo>
                    <a:lnTo>
                      <a:pt x="442" y="5"/>
                    </a:lnTo>
                    <a:lnTo>
                      <a:pt x="443" y="6"/>
                    </a:lnTo>
                    <a:lnTo>
                      <a:pt x="444" y="6"/>
                    </a:lnTo>
                    <a:lnTo>
                      <a:pt x="446" y="7"/>
                    </a:lnTo>
                    <a:lnTo>
                      <a:pt x="446" y="6"/>
                    </a:lnTo>
                    <a:lnTo>
                      <a:pt x="447" y="7"/>
                    </a:lnTo>
                    <a:lnTo>
                      <a:pt x="449" y="11"/>
                    </a:lnTo>
                    <a:lnTo>
                      <a:pt x="447" y="11"/>
                    </a:lnTo>
                    <a:lnTo>
                      <a:pt x="448" y="11"/>
                    </a:lnTo>
                    <a:lnTo>
                      <a:pt x="449" y="13"/>
                    </a:lnTo>
                    <a:lnTo>
                      <a:pt x="451" y="13"/>
                    </a:lnTo>
                    <a:lnTo>
                      <a:pt x="452" y="14"/>
                    </a:lnTo>
                    <a:lnTo>
                      <a:pt x="452" y="11"/>
                    </a:lnTo>
                    <a:lnTo>
                      <a:pt x="454" y="11"/>
                    </a:lnTo>
                    <a:lnTo>
                      <a:pt x="454" y="9"/>
                    </a:lnTo>
                    <a:lnTo>
                      <a:pt x="455" y="8"/>
                    </a:lnTo>
                    <a:lnTo>
                      <a:pt x="456" y="9"/>
                    </a:lnTo>
                    <a:lnTo>
                      <a:pt x="455" y="9"/>
                    </a:lnTo>
                    <a:lnTo>
                      <a:pt x="455" y="10"/>
                    </a:lnTo>
                    <a:lnTo>
                      <a:pt x="457" y="10"/>
                    </a:lnTo>
                    <a:lnTo>
                      <a:pt x="457" y="11"/>
                    </a:lnTo>
                    <a:lnTo>
                      <a:pt x="459" y="11"/>
                    </a:lnTo>
                    <a:lnTo>
                      <a:pt x="460" y="11"/>
                    </a:lnTo>
                    <a:lnTo>
                      <a:pt x="463" y="10"/>
                    </a:lnTo>
                    <a:lnTo>
                      <a:pt x="463" y="11"/>
                    </a:lnTo>
                    <a:lnTo>
                      <a:pt x="462" y="13"/>
                    </a:lnTo>
                    <a:lnTo>
                      <a:pt x="463" y="13"/>
                    </a:lnTo>
                    <a:lnTo>
                      <a:pt x="465" y="19"/>
                    </a:lnTo>
                    <a:lnTo>
                      <a:pt x="466" y="19"/>
                    </a:lnTo>
                    <a:lnTo>
                      <a:pt x="468" y="20"/>
                    </a:lnTo>
                    <a:lnTo>
                      <a:pt x="468" y="23"/>
                    </a:lnTo>
                    <a:lnTo>
                      <a:pt x="468" y="22"/>
                    </a:lnTo>
                    <a:lnTo>
                      <a:pt x="470" y="22"/>
                    </a:lnTo>
                    <a:lnTo>
                      <a:pt x="470" y="23"/>
                    </a:lnTo>
                    <a:lnTo>
                      <a:pt x="469" y="25"/>
                    </a:lnTo>
                    <a:lnTo>
                      <a:pt x="470" y="27"/>
                    </a:lnTo>
                    <a:lnTo>
                      <a:pt x="470" y="29"/>
                    </a:lnTo>
                    <a:lnTo>
                      <a:pt x="471" y="28"/>
                    </a:lnTo>
                    <a:lnTo>
                      <a:pt x="472" y="28"/>
                    </a:lnTo>
                    <a:lnTo>
                      <a:pt x="474" y="28"/>
                    </a:lnTo>
                    <a:lnTo>
                      <a:pt x="476" y="28"/>
                    </a:lnTo>
                    <a:lnTo>
                      <a:pt x="477" y="31"/>
                    </a:lnTo>
                    <a:lnTo>
                      <a:pt x="479" y="32"/>
                    </a:lnTo>
                    <a:lnTo>
                      <a:pt x="478" y="34"/>
                    </a:lnTo>
                    <a:lnTo>
                      <a:pt x="480" y="34"/>
                    </a:lnTo>
                    <a:lnTo>
                      <a:pt x="483" y="37"/>
                    </a:lnTo>
                    <a:lnTo>
                      <a:pt x="482" y="38"/>
                    </a:lnTo>
                    <a:lnTo>
                      <a:pt x="482" y="39"/>
                    </a:lnTo>
                    <a:lnTo>
                      <a:pt x="483" y="38"/>
                    </a:lnTo>
                    <a:lnTo>
                      <a:pt x="483" y="40"/>
                    </a:lnTo>
                    <a:lnTo>
                      <a:pt x="483" y="46"/>
                    </a:lnTo>
                    <a:lnTo>
                      <a:pt x="484" y="47"/>
                    </a:lnTo>
                    <a:lnTo>
                      <a:pt x="484" y="48"/>
                    </a:lnTo>
                    <a:lnTo>
                      <a:pt x="487" y="47"/>
                    </a:lnTo>
                    <a:lnTo>
                      <a:pt x="487" y="48"/>
                    </a:lnTo>
                    <a:lnTo>
                      <a:pt x="488" y="48"/>
                    </a:lnTo>
                    <a:lnTo>
                      <a:pt x="488" y="49"/>
                    </a:lnTo>
                    <a:lnTo>
                      <a:pt x="490" y="48"/>
                    </a:lnTo>
                    <a:lnTo>
                      <a:pt x="492" y="49"/>
                    </a:lnTo>
                    <a:lnTo>
                      <a:pt x="494" y="51"/>
                    </a:lnTo>
                    <a:lnTo>
                      <a:pt x="493" y="52"/>
                    </a:lnTo>
                    <a:lnTo>
                      <a:pt x="494" y="52"/>
                    </a:lnTo>
                    <a:lnTo>
                      <a:pt x="494" y="53"/>
                    </a:lnTo>
                    <a:lnTo>
                      <a:pt x="495" y="53"/>
                    </a:lnTo>
                    <a:lnTo>
                      <a:pt x="495" y="54"/>
                    </a:lnTo>
                    <a:lnTo>
                      <a:pt x="494" y="54"/>
                    </a:lnTo>
                    <a:lnTo>
                      <a:pt x="494" y="56"/>
                    </a:lnTo>
                    <a:lnTo>
                      <a:pt x="493" y="56"/>
                    </a:lnTo>
                    <a:lnTo>
                      <a:pt x="493" y="58"/>
                    </a:lnTo>
                    <a:lnTo>
                      <a:pt x="491" y="57"/>
                    </a:lnTo>
                    <a:lnTo>
                      <a:pt x="491" y="58"/>
                    </a:lnTo>
                    <a:lnTo>
                      <a:pt x="487" y="58"/>
                    </a:lnTo>
                    <a:lnTo>
                      <a:pt x="486" y="60"/>
                    </a:lnTo>
                    <a:lnTo>
                      <a:pt x="486" y="63"/>
                    </a:lnTo>
                    <a:lnTo>
                      <a:pt x="486" y="64"/>
                    </a:lnTo>
                    <a:lnTo>
                      <a:pt x="487" y="65"/>
                    </a:lnTo>
                    <a:lnTo>
                      <a:pt x="490" y="69"/>
                    </a:lnTo>
                    <a:lnTo>
                      <a:pt x="490" y="71"/>
                    </a:lnTo>
                    <a:lnTo>
                      <a:pt x="489" y="72"/>
                    </a:lnTo>
                    <a:lnTo>
                      <a:pt x="489" y="73"/>
                    </a:lnTo>
                    <a:lnTo>
                      <a:pt x="490" y="73"/>
                    </a:lnTo>
                    <a:lnTo>
                      <a:pt x="492" y="75"/>
                    </a:lnTo>
                    <a:lnTo>
                      <a:pt x="491" y="76"/>
                    </a:lnTo>
                    <a:lnTo>
                      <a:pt x="491" y="77"/>
                    </a:lnTo>
                    <a:lnTo>
                      <a:pt x="490" y="77"/>
                    </a:lnTo>
                    <a:lnTo>
                      <a:pt x="489" y="77"/>
                    </a:lnTo>
                    <a:lnTo>
                      <a:pt x="490" y="77"/>
                    </a:lnTo>
                    <a:lnTo>
                      <a:pt x="490" y="78"/>
                    </a:lnTo>
                    <a:lnTo>
                      <a:pt x="489" y="80"/>
                    </a:lnTo>
                    <a:lnTo>
                      <a:pt x="490" y="80"/>
                    </a:lnTo>
                    <a:lnTo>
                      <a:pt x="489" y="82"/>
                    </a:lnTo>
                    <a:lnTo>
                      <a:pt x="489" y="84"/>
                    </a:lnTo>
                    <a:lnTo>
                      <a:pt x="487" y="86"/>
                    </a:lnTo>
                    <a:lnTo>
                      <a:pt x="487" y="88"/>
                    </a:lnTo>
                    <a:lnTo>
                      <a:pt x="489" y="88"/>
                    </a:lnTo>
                    <a:lnTo>
                      <a:pt x="489" y="89"/>
                    </a:lnTo>
                    <a:lnTo>
                      <a:pt x="491" y="88"/>
                    </a:lnTo>
                    <a:lnTo>
                      <a:pt x="491" y="89"/>
                    </a:lnTo>
                    <a:lnTo>
                      <a:pt x="493" y="93"/>
                    </a:lnTo>
                    <a:lnTo>
                      <a:pt x="493" y="94"/>
                    </a:lnTo>
                    <a:lnTo>
                      <a:pt x="491" y="94"/>
                    </a:lnTo>
                    <a:lnTo>
                      <a:pt x="491" y="96"/>
                    </a:lnTo>
                    <a:lnTo>
                      <a:pt x="492" y="97"/>
                    </a:lnTo>
                    <a:lnTo>
                      <a:pt x="492" y="98"/>
                    </a:lnTo>
                    <a:lnTo>
                      <a:pt x="495" y="99"/>
                    </a:lnTo>
                    <a:lnTo>
                      <a:pt x="491" y="108"/>
                    </a:lnTo>
                    <a:lnTo>
                      <a:pt x="491" y="107"/>
                    </a:lnTo>
                    <a:lnTo>
                      <a:pt x="490" y="109"/>
                    </a:lnTo>
                    <a:lnTo>
                      <a:pt x="489" y="107"/>
                    </a:lnTo>
                    <a:lnTo>
                      <a:pt x="489" y="109"/>
                    </a:lnTo>
                    <a:lnTo>
                      <a:pt x="486" y="109"/>
                    </a:lnTo>
                    <a:lnTo>
                      <a:pt x="486" y="111"/>
                    </a:lnTo>
                    <a:lnTo>
                      <a:pt x="487" y="111"/>
                    </a:lnTo>
                    <a:lnTo>
                      <a:pt x="487" y="112"/>
                    </a:lnTo>
                    <a:lnTo>
                      <a:pt x="486" y="113"/>
                    </a:lnTo>
                    <a:lnTo>
                      <a:pt x="487" y="115"/>
                    </a:lnTo>
                    <a:lnTo>
                      <a:pt x="487" y="116"/>
                    </a:lnTo>
                    <a:lnTo>
                      <a:pt x="486" y="116"/>
                    </a:lnTo>
                    <a:lnTo>
                      <a:pt x="485" y="117"/>
                    </a:lnTo>
                    <a:lnTo>
                      <a:pt x="484" y="117"/>
                    </a:lnTo>
                    <a:lnTo>
                      <a:pt x="485" y="116"/>
                    </a:lnTo>
                    <a:lnTo>
                      <a:pt x="484" y="116"/>
                    </a:lnTo>
                    <a:lnTo>
                      <a:pt x="483" y="116"/>
                    </a:lnTo>
                    <a:lnTo>
                      <a:pt x="482" y="116"/>
                    </a:lnTo>
                    <a:lnTo>
                      <a:pt x="481" y="115"/>
                    </a:lnTo>
                    <a:lnTo>
                      <a:pt x="479" y="117"/>
                    </a:lnTo>
                    <a:lnTo>
                      <a:pt x="476" y="120"/>
                    </a:lnTo>
                    <a:lnTo>
                      <a:pt x="478" y="123"/>
                    </a:lnTo>
                    <a:lnTo>
                      <a:pt x="479" y="126"/>
                    </a:lnTo>
                    <a:lnTo>
                      <a:pt x="481" y="126"/>
                    </a:lnTo>
                    <a:lnTo>
                      <a:pt x="483" y="128"/>
                    </a:lnTo>
                    <a:lnTo>
                      <a:pt x="482" y="128"/>
                    </a:lnTo>
                    <a:lnTo>
                      <a:pt x="480" y="129"/>
                    </a:lnTo>
                    <a:lnTo>
                      <a:pt x="481" y="133"/>
                    </a:lnTo>
                    <a:lnTo>
                      <a:pt x="481" y="135"/>
                    </a:lnTo>
                    <a:lnTo>
                      <a:pt x="483" y="137"/>
                    </a:lnTo>
                    <a:lnTo>
                      <a:pt x="485" y="139"/>
                    </a:lnTo>
                    <a:lnTo>
                      <a:pt x="487" y="140"/>
                    </a:lnTo>
                    <a:lnTo>
                      <a:pt x="489" y="139"/>
                    </a:lnTo>
                    <a:lnTo>
                      <a:pt x="491" y="136"/>
                    </a:lnTo>
                    <a:lnTo>
                      <a:pt x="492" y="139"/>
                    </a:lnTo>
                    <a:lnTo>
                      <a:pt x="496" y="141"/>
                    </a:lnTo>
                    <a:lnTo>
                      <a:pt x="497" y="141"/>
                    </a:lnTo>
                    <a:lnTo>
                      <a:pt x="496" y="142"/>
                    </a:lnTo>
                    <a:lnTo>
                      <a:pt x="495" y="142"/>
                    </a:lnTo>
                    <a:lnTo>
                      <a:pt x="495" y="146"/>
                    </a:lnTo>
                    <a:lnTo>
                      <a:pt x="496" y="146"/>
                    </a:lnTo>
                    <a:lnTo>
                      <a:pt x="498" y="145"/>
                    </a:lnTo>
                    <a:lnTo>
                      <a:pt x="498" y="146"/>
                    </a:lnTo>
                    <a:lnTo>
                      <a:pt x="499" y="148"/>
                    </a:lnTo>
                    <a:lnTo>
                      <a:pt x="500" y="148"/>
                    </a:lnTo>
                    <a:lnTo>
                      <a:pt x="501" y="150"/>
                    </a:lnTo>
                    <a:lnTo>
                      <a:pt x="502" y="150"/>
                    </a:lnTo>
                    <a:lnTo>
                      <a:pt x="503" y="152"/>
                    </a:lnTo>
                    <a:lnTo>
                      <a:pt x="503" y="154"/>
                    </a:lnTo>
                    <a:lnTo>
                      <a:pt x="502" y="153"/>
                    </a:lnTo>
                    <a:lnTo>
                      <a:pt x="499" y="155"/>
                    </a:lnTo>
                    <a:lnTo>
                      <a:pt x="499" y="156"/>
                    </a:lnTo>
                    <a:lnTo>
                      <a:pt x="501" y="157"/>
                    </a:lnTo>
                    <a:lnTo>
                      <a:pt x="501" y="159"/>
                    </a:lnTo>
                    <a:lnTo>
                      <a:pt x="499" y="161"/>
                    </a:lnTo>
                    <a:lnTo>
                      <a:pt x="501" y="162"/>
                    </a:lnTo>
                    <a:lnTo>
                      <a:pt x="504" y="165"/>
                    </a:lnTo>
                    <a:lnTo>
                      <a:pt x="504" y="166"/>
                    </a:lnTo>
                    <a:lnTo>
                      <a:pt x="505" y="167"/>
                    </a:lnTo>
                    <a:lnTo>
                      <a:pt x="506" y="165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8" y="167"/>
                    </a:lnTo>
                    <a:lnTo>
                      <a:pt x="508" y="165"/>
                    </a:lnTo>
                    <a:lnTo>
                      <a:pt x="512" y="166"/>
                    </a:lnTo>
                    <a:lnTo>
                      <a:pt x="514" y="164"/>
                    </a:lnTo>
                    <a:lnTo>
                      <a:pt x="515" y="164"/>
                    </a:lnTo>
                    <a:lnTo>
                      <a:pt x="515" y="165"/>
                    </a:lnTo>
                    <a:lnTo>
                      <a:pt x="517" y="167"/>
                    </a:lnTo>
                    <a:lnTo>
                      <a:pt x="518" y="167"/>
                    </a:lnTo>
                    <a:lnTo>
                      <a:pt x="519" y="168"/>
                    </a:lnTo>
                    <a:lnTo>
                      <a:pt x="520" y="167"/>
                    </a:lnTo>
                    <a:lnTo>
                      <a:pt x="522" y="169"/>
                    </a:lnTo>
                    <a:lnTo>
                      <a:pt x="525" y="171"/>
                    </a:lnTo>
                    <a:lnTo>
                      <a:pt x="524" y="171"/>
                    </a:lnTo>
                    <a:lnTo>
                      <a:pt x="525" y="173"/>
                    </a:lnTo>
                    <a:lnTo>
                      <a:pt x="526" y="172"/>
                    </a:lnTo>
                    <a:lnTo>
                      <a:pt x="528" y="171"/>
                    </a:lnTo>
                    <a:lnTo>
                      <a:pt x="529" y="168"/>
                    </a:lnTo>
                    <a:lnTo>
                      <a:pt x="532" y="169"/>
                    </a:lnTo>
                    <a:lnTo>
                      <a:pt x="533" y="167"/>
                    </a:lnTo>
                    <a:lnTo>
                      <a:pt x="535" y="167"/>
                    </a:lnTo>
                    <a:lnTo>
                      <a:pt x="536" y="167"/>
                    </a:lnTo>
                    <a:lnTo>
                      <a:pt x="538" y="167"/>
                    </a:lnTo>
                    <a:lnTo>
                      <a:pt x="538" y="165"/>
                    </a:lnTo>
                    <a:lnTo>
                      <a:pt x="538" y="167"/>
                    </a:lnTo>
                    <a:lnTo>
                      <a:pt x="539" y="167"/>
                    </a:lnTo>
                    <a:lnTo>
                      <a:pt x="539" y="170"/>
                    </a:lnTo>
                    <a:lnTo>
                      <a:pt x="540" y="170"/>
                    </a:lnTo>
                    <a:lnTo>
                      <a:pt x="540" y="171"/>
                    </a:lnTo>
                    <a:lnTo>
                      <a:pt x="541" y="171"/>
                    </a:lnTo>
                    <a:lnTo>
                      <a:pt x="543" y="172"/>
                    </a:lnTo>
                    <a:lnTo>
                      <a:pt x="543" y="173"/>
                    </a:lnTo>
                    <a:lnTo>
                      <a:pt x="544" y="173"/>
                    </a:lnTo>
                    <a:lnTo>
                      <a:pt x="545" y="175"/>
                    </a:lnTo>
                    <a:lnTo>
                      <a:pt x="543" y="176"/>
                    </a:lnTo>
                    <a:lnTo>
                      <a:pt x="544" y="178"/>
                    </a:lnTo>
                    <a:lnTo>
                      <a:pt x="544" y="179"/>
                    </a:lnTo>
                    <a:lnTo>
                      <a:pt x="543" y="179"/>
                    </a:lnTo>
                    <a:lnTo>
                      <a:pt x="544" y="182"/>
                    </a:lnTo>
                    <a:lnTo>
                      <a:pt x="543" y="185"/>
                    </a:lnTo>
                    <a:lnTo>
                      <a:pt x="544" y="185"/>
                    </a:lnTo>
                    <a:lnTo>
                      <a:pt x="545" y="188"/>
                    </a:lnTo>
                    <a:lnTo>
                      <a:pt x="543" y="189"/>
                    </a:lnTo>
                    <a:lnTo>
                      <a:pt x="541" y="189"/>
                    </a:lnTo>
                    <a:lnTo>
                      <a:pt x="540" y="190"/>
                    </a:lnTo>
                    <a:lnTo>
                      <a:pt x="541" y="191"/>
                    </a:lnTo>
                    <a:lnTo>
                      <a:pt x="541" y="197"/>
                    </a:lnTo>
                    <a:lnTo>
                      <a:pt x="540" y="200"/>
                    </a:lnTo>
                    <a:lnTo>
                      <a:pt x="542" y="201"/>
                    </a:lnTo>
                    <a:lnTo>
                      <a:pt x="542" y="203"/>
                    </a:lnTo>
                    <a:lnTo>
                      <a:pt x="543" y="203"/>
                    </a:lnTo>
                    <a:lnTo>
                      <a:pt x="545" y="205"/>
                    </a:lnTo>
                    <a:lnTo>
                      <a:pt x="544" y="209"/>
                    </a:lnTo>
                    <a:lnTo>
                      <a:pt x="545" y="207"/>
                    </a:lnTo>
                    <a:lnTo>
                      <a:pt x="545" y="209"/>
                    </a:lnTo>
                    <a:lnTo>
                      <a:pt x="546" y="209"/>
                    </a:lnTo>
                    <a:lnTo>
                      <a:pt x="544" y="211"/>
                    </a:lnTo>
                    <a:lnTo>
                      <a:pt x="547" y="210"/>
                    </a:lnTo>
                    <a:lnTo>
                      <a:pt x="545" y="212"/>
                    </a:lnTo>
                    <a:lnTo>
                      <a:pt x="545" y="215"/>
                    </a:lnTo>
                    <a:lnTo>
                      <a:pt x="544" y="217"/>
                    </a:lnTo>
                    <a:lnTo>
                      <a:pt x="543" y="216"/>
                    </a:lnTo>
                    <a:lnTo>
                      <a:pt x="542" y="218"/>
                    </a:lnTo>
                    <a:lnTo>
                      <a:pt x="543" y="219"/>
                    </a:lnTo>
                    <a:lnTo>
                      <a:pt x="543" y="220"/>
                    </a:lnTo>
                    <a:lnTo>
                      <a:pt x="542" y="222"/>
                    </a:lnTo>
                    <a:lnTo>
                      <a:pt x="541" y="221"/>
                    </a:lnTo>
                    <a:lnTo>
                      <a:pt x="541" y="222"/>
                    </a:lnTo>
                    <a:lnTo>
                      <a:pt x="540" y="223"/>
                    </a:lnTo>
                    <a:lnTo>
                      <a:pt x="539" y="225"/>
                    </a:lnTo>
                    <a:lnTo>
                      <a:pt x="537" y="224"/>
                    </a:lnTo>
                    <a:lnTo>
                      <a:pt x="536" y="227"/>
                    </a:lnTo>
                    <a:lnTo>
                      <a:pt x="536" y="226"/>
                    </a:lnTo>
                    <a:lnTo>
                      <a:pt x="535" y="226"/>
                    </a:lnTo>
                    <a:lnTo>
                      <a:pt x="535" y="228"/>
                    </a:lnTo>
                    <a:lnTo>
                      <a:pt x="534" y="228"/>
                    </a:lnTo>
                    <a:lnTo>
                      <a:pt x="533" y="227"/>
                    </a:lnTo>
                    <a:lnTo>
                      <a:pt x="532" y="229"/>
                    </a:lnTo>
                    <a:lnTo>
                      <a:pt x="534" y="229"/>
                    </a:lnTo>
                    <a:lnTo>
                      <a:pt x="537" y="232"/>
                    </a:lnTo>
                    <a:lnTo>
                      <a:pt x="537" y="233"/>
                    </a:lnTo>
                    <a:lnTo>
                      <a:pt x="533" y="236"/>
                    </a:lnTo>
                    <a:lnTo>
                      <a:pt x="530" y="237"/>
                    </a:lnTo>
                    <a:lnTo>
                      <a:pt x="534" y="239"/>
                    </a:lnTo>
                    <a:lnTo>
                      <a:pt x="538" y="238"/>
                    </a:lnTo>
                    <a:lnTo>
                      <a:pt x="540" y="241"/>
                    </a:lnTo>
                    <a:lnTo>
                      <a:pt x="541" y="243"/>
                    </a:lnTo>
                    <a:lnTo>
                      <a:pt x="543" y="244"/>
                    </a:lnTo>
                    <a:lnTo>
                      <a:pt x="544" y="243"/>
                    </a:lnTo>
                    <a:lnTo>
                      <a:pt x="544" y="241"/>
                    </a:lnTo>
                    <a:lnTo>
                      <a:pt x="545" y="243"/>
                    </a:lnTo>
                    <a:lnTo>
                      <a:pt x="546" y="243"/>
                    </a:lnTo>
                    <a:lnTo>
                      <a:pt x="546" y="244"/>
                    </a:lnTo>
                    <a:lnTo>
                      <a:pt x="550" y="248"/>
                    </a:lnTo>
                    <a:lnTo>
                      <a:pt x="552" y="249"/>
                    </a:lnTo>
                    <a:lnTo>
                      <a:pt x="553" y="249"/>
                    </a:lnTo>
                    <a:lnTo>
                      <a:pt x="555" y="250"/>
                    </a:lnTo>
                    <a:lnTo>
                      <a:pt x="552" y="254"/>
                    </a:lnTo>
                    <a:lnTo>
                      <a:pt x="552" y="257"/>
                    </a:lnTo>
                    <a:lnTo>
                      <a:pt x="551" y="256"/>
                    </a:lnTo>
                    <a:lnTo>
                      <a:pt x="550" y="256"/>
                    </a:lnTo>
                    <a:lnTo>
                      <a:pt x="551" y="260"/>
                    </a:lnTo>
                    <a:lnTo>
                      <a:pt x="548" y="262"/>
                    </a:lnTo>
                    <a:lnTo>
                      <a:pt x="546" y="260"/>
                    </a:lnTo>
                    <a:lnTo>
                      <a:pt x="546" y="258"/>
                    </a:lnTo>
                    <a:lnTo>
                      <a:pt x="545" y="257"/>
                    </a:lnTo>
                    <a:lnTo>
                      <a:pt x="543" y="258"/>
                    </a:lnTo>
                    <a:lnTo>
                      <a:pt x="541" y="262"/>
                    </a:lnTo>
                    <a:lnTo>
                      <a:pt x="543" y="265"/>
                    </a:lnTo>
                    <a:lnTo>
                      <a:pt x="545" y="263"/>
                    </a:lnTo>
                    <a:lnTo>
                      <a:pt x="546" y="267"/>
                    </a:lnTo>
                    <a:lnTo>
                      <a:pt x="548" y="267"/>
                    </a:lnTo>
                    <a:lnTo>
                      <a:pt x="546" y="267"/>
                    </a:lnTo>
                    <a:lnTo>
                      <a:pt x="544" y="266"/>
                    </a:lnTo>
                    <a:lnTo>
                      <a:pt x="543" y="267"/>
                    </a:lnTo>
                    <a:lnTo>
                      <a:pt x="542" y="267"/>
                    </a:lnTo>
                    <a:lnTo>
                      <a:pt x="541" y="267"/>
                    </a:lnTo>
                    <a:lnTo>
                      <a:pt x="542" y="271"/>
                    </a:lnTo>
                    <a:lnTo>
                      <a:pt x="543" y="273"/>
                    </a:lnTo>
                    <a:lnTo>
                      <a:pt x="542" y="279"/>
                    </a:lnTo>
                    <a:lnTo>
                      <a:pt x="540" y="278"/>
                    </a:lnTo>
                    <a:lnTo>
                      <a:pt x="538" y="279"/>
                    </a:lnTo>
                    <a:lnTo>
                      <a:pt x="537" y="278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5" y="279"/>
                    </a:lnTo>
                    <a:lnTo>
                      <a:pt x="534" y="278"/>
                    </a:lnTo>
                    <a:lnTo>
                      <a:pt x="533" y="279"/>
                    </a:lnTo>
                    <a:lnTo>
                      <a:pt x="532" y="280"/>
                    </a:lnTo>
                    <a:lnTo>
                      <a:pt x="533" y="282"/>
                    </a:lnTo>
                    <a:lnTo>
                      <a:pt x="538" y="283"/>
                    </a:lnTo>
                    <a:lnTo>
                      <a:pt x="537" y="284"/>
                    </a:lnTo>
                    <a:lnTo>
                      <a:pt x="539" y="283"/>
                    </a:lnTo>
                    <a:lnTo>
                      <a:pt x="539" y="285"/>
                    </a:lnTo>
                    <a:lnTo>
                      <a:pt x="538" y="286"/>
                    </a:lnTo>
                    <a:lnTo>
                      <a:pt x="538" y="285"/>
                    </a:lnTo>
                    <a:lnTo>
                      <a:pt x="537" y="286"/>
                    </a:lnTo>
                    <a:lnTo>
                      <a:pt x="535" y="284"/>
                    </a:lnTo>
                    <a:lnTo>
                      <a:pt x="535" y="285"/>
                    </a:lnTo>
                    <a:lnTo>
                      <a:pt x="536" y="286"/>
                    </a:lnTo>
                    <a:lnTo>
                      <a:pt x="534" y="284"/>
                    </a:lnTo>
                    <a:lnTo>
                      <a:pt x="533" y="284"/>
                    </a:lnTo>
                    <a:lnTo>
                      <a:pt x="530" y="286"/>
                    </a:lnTo>
                    <a:lnTo>
                      <a:pt x="528" y="286"/>
                    </a:lnTo>
                    <a:lnTo>
                      <a:pt x="530" y="288"/>
                    </a:lnTo>
                    <a:lnTo>
                      <a:pt x="530" y="290"/>
                    </a:lnTo>
                    <a:lnTo>
                      <a:pt x="530" y="292"/>
                    </a:lnTo>
                    <a:lnTo>
                      <a:pt x="532" y="293"/>
                    </a:lnTo>
                    <a:lnTo>
                      <a:pt x="532" y="294"/>
                    </a:lnTo>
                    <a:lnTo>
                      <a:pt x="533" y="294"/>
                    </a:lnTo>
                    <a:lnTo>
                      <a:pt x="533" y="296"/>
                    </a:lnTo>
                    <a:lnTo>
                      <a:pt x="535" y="297"/>
                    </a:lnTo>
                    <a:lnTo>
                      <a:pt x="536" y="298"/>
                    </a:lnTo>
                    <a:lnTo>
                      <a:pt x="537" y="299"/>
                    </a:lnTo>
                    <a:lnTo>
                      <a:pt x="539" y="297"/>
                    </a:lnTo>
                    <a:lnTo>
                      <a:pt x="542" y="298"/>
                    </a:lnTo>
                    <a:lnTo>
                      <a:pt x="541" y="299"/>
                    </a:lnTo>
                    <a:lnTo>
                      <a:pt x="541" y="298"/>
                    </a:lnTo>
                    <a:lnTo>
                      <a:pt x="542" y="300"/>
                    </a:lnTo>
                    <a:lnTo>
                      <a:pt x="543" y="300"/>
                    </a:lnTo>
                    <a:lnTo>
                      <a:pt x="545" y="301"/>
                    </a:lnTo>
                    <a:lnTo>
                      <a:pt x="543" y="302"/>
                    </a:lnTo>
                    <a:lnTo>
                      <a:pt x="542" y="302"/>
                    </a:lnTo>
                    <a:lnTo>
                      <a:pt x="543" y="303"/>
                    </a:lnTo>
                    <a:lnTo>
                      <a:pt x="544" y="304"/>
                    </a:lnTo>
                    <a:lnTo>
                      <a:pt x="545" y="304"/>
                    </a:lnTo>
                    <a:lnTo>
                      <a:pt x="546" y="304"/>
                    </a:lnTo>
                    <a:lnTo>
                      <a:pt x="548" y="306"/>
                    </a:lnTo>
                    <a:lnTo>
                      <a:pt x="552" y="304"/>
                    </a:lnTo>
                    <a:lnTo>
                      <a:pt x="552" y="306"/>
                    </a:lnTo>
                    <a:lnTo>
                      <a:pt x="553" y="307"/>
                    </a:lnTo>
                    <a:lnTo>
                      <a:pt x="552" y="307"/>
                    </a:lnTo>
                    <a:lnTo>
                      <a:pt x="552" y="310"/>
                    </a:lnTo>
                    <a:lnTo>
                      <a:pt x="553" y="310"/>
                    </a:lnTo>
                    <a:lnTo>
                      <a:pt x="555" y="306"/>
                    </a:lnTo>
                    <a:lnTo>
                      <a:pt x="555" y="307"/>
                    </a:lnTo>
                    <a:lnTo>
                      <a:pt x="555" y="309"/>
                    </a:lnTo>
                    <a:lnTo>
                      <a:pt x="556" y="309"/>
                    </a:lnTo>
                    <a:lnTo>
                      <a:pt x="555" y="310"/>
                    </a:lnTo>
                    <a:lnTo>
                      <a:pt x="555" y="313"/>
                    </a:lnTo>
                    <a:lnTo>
                      <a:pt x="552" y="314"/>
                    </a:lnTo>
                    <a:lnTo>
                      <a:pt x="552" y="315"/>
                    </a:lnTo>
                    <a:lnTo>
                      <a:pt x="552" y="316"/>
                    </a:lnTo>
                    <a:lnTo>
                      <a:pt x="555" y="319"/>
                    </a:lnTo>
                    <a:lnTo>
                      <a:pt x="562" y="326"/>
                    </a:lnTo>
                    <a:lnTo>
                      <a:pt x="563" y="325"/>
                    </a:lnTo>
                    <a:lnTo>
                      <a:pt x="564" y="325"/>
                    </a:lnTo>
                    <a:lnTo>
                      <a:pt x="564" y="327"/>
                    </a:lnTo>
                    <a:lnTo>
                      <a:pt x="565" y="326"/>
                    </a:lnTo>
                    <a:lnTo>
                      <a:pt x="566" y="327"/>
                    </a:lnTo>
                    <a:lnTo>
                      <a:pt x="566" y="329"/>
                    </a:lnTo>
                    <a:lnTo>
                      <a:pt x="567" y="330"/>
                    </a:lnTo>
                    <a:lnTo>
                      <a:pt x="568" y="328"/>
                    </a:lnTo>
                    <a:lnTo>
                      <a:pt x="569" y="331"/>
                    </a:lnTo>
                    <a:lnTo>
                      <a:pt x="568" y="333"/>
                    </a:lnTo>
                    <a:lnTo>
                      <a:pt x="569" y="333"/>
                    </a:lnTo>
                    <a:lnTo>
                      <a:pt x="568" y="335"/>
                    </a:lnTo>
                    <a:lnTo>
                      <a:pt x="569" y="337"/>
                    </a:lnTo>
                    <a:lnTo>
                      <a:pt x="568" y="336"/>
                    </a:lnTo>
                    <a:lnTo>
                      <a:pt x="566" y="337"/>
                    </a:lnTo>
                    <a:lnTo>
                      <a:pt x="564" y="339"/>
                    </a:lnTo>
                    <a:lnTo>
                      <a:pt x="567" y="344"/>
                    </a:lnTo>
                    <a:lnTo>
                      <a:pt x="568" y="344"/>
                    </a:lnTo>
                    <a:lnTo>
                      <a:pt x="568" y="345"/>
                    </a:lnTo>
                    <a:lnTo>
                      <a:pt x="568" y="347"/>
                    </a:lnTo>
                    <a:lnTo>
                      <a:pt x="568" y="348"/>
                    </a:lnTo>
                    <a:lnTo>
                      <a:pt x="567" y="348"/>
                    </a:lnTo>
                    <a:lnTo>
                      <a:pt x="566" y="347"/>
                    </a:lnTo>
                    <a:lnTo>
                      <a:pt x="566" y="350"/>
                    </a:lnTo>
                    <a:lnTo>
                      <a:pt x="565" y="350"/>
                    </a:lnTo>
                    <a:lnTo>
                      <a:pt x="564" y="352"/>
                    </a:lnTo>
                    <a:lnTo>
                      <a:pt x="564" y="353"/>
                    </a:lnTo>
                    <a:lnTo>
                      <a:pt x="561" y="356"/>
                    </a:lnTo>
                    <a:lnTo>
                      <a:pt x="563" y="357"/>
                    </a:lnTo>
                    <a:lnTo>
                      <a:pt x="561" y="358"/>
                    </a:lnTo>
                    <a:lnTo>
                      <a:pt x="558" y="359"/>
                    </a:lnTo>
                    <a:lnTo>
                      <a:pt x="557" y="359"/>
                    </a:lnTo>
                    <a:lnTo>
                      <a:pt x="557" y="360"/>
                    </a:lnTo>
                    <a:lnTo>
                      <a:pt x="556" y="361"/>
                    </a:lnTo>
                    <a:lnTo>
                      <a:pt x="558" y="363"/>
                    </a:lnTo>
                    <a:lnTo>
                      <a:pt x="558" y="365"/>
                    </a:lnTo>
                    <a:lnTo>
                      <a:pt x="557" y="367"/>
                    </a:lnTo>
                    <a:lnTo>
                      <a:pt x="558" y="368"/>
                    </a:lnTo>
                    <a:lnTo>
                      <a:pt x="557" y="371"/>
                    </a:lnTo>
                    <a:lnTo>
                      <a:pt x="556" y="371"/>
                    </a:lnTo>
                    <a:lnTo>
                      <a:pt x="556" y="369"/>
                    </a:lnTo>
                    <a:lnTo>
                      <a:pt x="555" y="371"/>
                    </a:lnTo>
                    <a:lnTo>
                      <a:pt x="556" y="373"/>
                    </a:lnTo>
                    <a:lnTo>
                      <a:pt x="556" y="375"/>
                    </a:lnTo>
                    <a:lnTo>
                      <a:pt x="555" y="375"/>
                    </a:lnTo>
                    <a:lnTo>
                      <a:pt x="554" y="376"/>
                    </a:lnTo>
                    <a:lnTo>
                      <a:pt x="554" y="378"/>
                    </a:lnTo>
                    <a:lnTo>
                      <a:pt x="552" y="380"/>
                    </a:lnTo>
                    <a:lnTo>
                      <a:pt x="551" y="378"/>
                    </a:lnTo>
                    <a:lnTo>
                      <a:pt x="548" y="379"/>
                    </a:lnTo>
                    <a:lnTo>
                      <a:pt x="548" y="380"/>
                    </a:lnTo>
                    <a:lnTo>
                      <a:pt x="548" y="382"/>
                    </a:lnTo>
                    <a:lnTo>
                      <a:pt x="546" y="383"/>
                    </a:lnTo>
                    <a:lnTo>
                      <a:pt x="544" y="383"/>
                    </a:lnTo>
                    <a:lnTo>
                      <a:pt x="544" y="384"/>
                    </a:lnTo>
                    <a:lnTo>
                      <a:pt x="543" y="382"/>
                    </a:lnTo>
                    <a:lnTo>
                      <a:pt x="541" y="380"/>
                    </a:lnTo>
                    <a:lnTo>
                      <a:pt x="540" y="381"/>
                    </a:lnTo>
                    <a:lnTo>
                      <a:pt x="535" y="385"/>
                    </a:lnTo>
                    <a:lnTo>
                      <a:pt x="535" y="386"/>
                    </a:lnTo>
                    <a:lnTo>
                      <a:pt x="533" y="386"/>
                    </a:lnTo>
                    <a:lnTo>
                      <a:pt x="532" y="388"/>
                    </a:lnTo>
                    <a:lnTo>
                      <a:pt x="530" y="390"/>
                    </a:lnTo>
                    <a:lnTo>
                      <a:pt x="530" y="392"/>
                    </a:lnTo>
                    <a:lnTo>
                      <a:pt x="531" y="394"/>
                    </a:lnTo>
                    <a:lnTo>
                      <a:pt x="533" y="394"/>
                    </a:lnTo>
                    <a:lnTo>
                      <a:pt x="534" y="394"/>
                    </a:lnTo>
                    <a:lnTo>
                      <a:pt x="533" y="395"/>
                    </a:lnTo>
                    <a:lnTo>
                      <a:pt x="535" y="397"/>
                    </a:lnTo>
                    <a:lnTo>
                      <a:pt x="534" y="399"/>
                    </a:lnTo>
                    <a:lnTo>
                      <a:pt x="536" y="400"/>
                    </a:lnTo>
                    <a:lnTo>
                      <a:pt x="535" y="401"/>
                    </a:lnTo>
                    <a:lnTo>
                      <a:pt x="535" y="402"/>
                    </a:lnTo>
                    <a:lnTo>
                      <a:pt x="533" y="403"/>
                    </a:lnTo>
                    <a:lnTo>
                      <a:pt x="532" y="403"/>
                    </a:lnTo>
                    <a:lnTo>
                      <a:pt x="531" y="405"/>
                    </a:lnTo>
                    <a:lnTo>
                      <a:pt x="530" y="404"/>
                    </a:lnTo>
                    <a:lnTo>
                      <a:pt x="529" y="404"/>
                    </a:lnTo>
                    <a:lnTo>
                      <a:pt x="528" y="403"/>
                    </a:lnTo>
                    <a:lnTo>
                      <a:pt x="527" y="404"/>
                    </a:lnTo>
                    <a:lnTo>
                      <a:pt x="524" y="401"/>
                    </a:lnTo>
                    <a:lnTo>
                      <a:pt x="524" y="403"/>
                    </a:lnTo>
                    <a:lnTo>
                      <a:pt x="523" y="403"/>
                    </a:lnTo>
                    <a:lnTo>
                      <a:pt x="522" y="402"/>
                    </a:lnTo>
                    <a:lnTo>
                      <a:pt x="522" y="399"/>
                    </a:lnTo>
                    <a:lnTo>
                      <a:pt x="521" y="400"/>
                    </a:lnTo>
                    <a:lnTo>
                      <a:pt x="520" y="399"/>
                    </a:lnTo>
                    <a:lnTo>
                      <a:pt x="519" y="402"/>
                    </a:lnTo>
                    <a:lnTo>
                      <a:pt x="517" y="404"/>
                    </a:lnTo>
                    <a:lnTo>
                      <a:pt x="516" y="407"/>
                    </a:lnTo>
                    <a:lnTo>
                      <a:pt x="517" y="407"/>
                    </a:lnTo>
                    <a:lnTo>
                      <a:pt x="515" y="408"/>
                    </a:lnTo>
                    <a:lnTo>
                      <a:pt x="515" y="411"/>
                    </a:lnTo>
                    <a:lnTo>
                      <a:pt x="515" y="409"/>
                    </a:lnTo>
                    <a:lnTo>
                      <a:pt x="513" y="408"/>
                    </a:lnTo>
                    <a:lnTo>
                      <a:pt x="510" y="412"/>
                    </a:lnTo>
                    <a:lnTo>
                      <a:pt x="507" y="409"/>
                    </a:lnTo>
                    <a:lnTo>
                      <a:pt x="504" y="411"/>
                    </a:lnTo>
                    <a:lnTo>
                      <a:pt x="501" y="413"/>
                    </a:lnTo>
                    <a:lnTo>
                      <a:pt x="500" y="412"/>
                    </a:lnTo>
                    <a:lnTo>
                      <a:pt x="499" y="413"/>
                    </a:lnTo>
                    <a:lnTo>
                      <a:pt x="498" y="412"/>
                    </a:lnTo>
                    <a:lnTo>
                      <a:pt x="496" y="412"/>
                    </a:lnTo>
                    <a:lnTo>
                      <a:pt x="496" y="411"/>
                    </a:lnTo>
                    <a:lnTo>
                      <a:pt x="496" y="413"/>
                    </a:lnTo>
                    <a:lnTo>
                      <a:pt x="496" y="412"/>
                    </a:lnTo>
                    <a:lnTo>
                      <a:pt x="495" y="412"/>
                    </a:lnTo>
                    <a:lnTo>
                      <a:pt x="492" y="412"/>
                    </a:lnTo>
                    <a:lnTo>
                      <a:pt x="492" y="415"/>
                    </a:lnTo>
                    <a:lnTo>
                      <a:pt x="491" y="414"/>
                    </a:lnTo>
                    <a:lnTo>
                      <a:pt x="490" y="414"/>
                    </a:lnTo>
                    <a:lnTo>
                      <a:pt x="491" y="416"/>
                    </a:lnTo>
                    <a:lnTo>
                      <a:pt x="487" y="417"/>
                    </a:lnTo>
                    <a:lnTo>
                      <a:pt x="487" y="416"/>
                    </a:lnTo>
                    <a:lnTo>
                      <a:pt x="486" y="418"/>
                    </a:lnTo>
                    <a:lnTo>
                      <a:pt x="486" y="416"/>
                    </a:lnTo>
                    <a:lnTo>
                      <a:pt x="484" y="417"/>
                    </a:lnTo>
                    <a:lnTo>
                      <a:pt x="484" y="416"/>
                    </a:lnTo>
                    <a:lnTo>
                      <a:pt x="482" y="416"/>
                    </a:lnTo>
                    <a:lnTo>
                      <a:pt x="484" y="413"/>
                    </a:lnTo>
                    <a:lnTo>
                      <a:pt x="484" y="412"/>
                    </a:lnTo>
                    <a:lnTo>
                      <a:pt x="483" y="412"/>
                    </a:lnTo>
                    <a:lnTo>
                      <a:pt x="481" y="413"/>
                    </a:lnTo>
                    <a:lnTo>
                      <a:pt x="480" y="412"/>
                    </a:lnTo>
                    <a:lnTo>
                      <a:pt x="479" y="414"/>
                    </a:lnTo>
                    <a:lnTo>
                      <a:pt x="477" y="414"/>
                    </a:lnTo>
                    <a:lnTo>
                      <a:pt x="476" y="414"/>
                    </a:lnTo>
                    <a:lnTo>
                      <a:pt x="475" y="416"/>
                    </a:lnTo>
                    <a:lnTo>
                      <a:pt x="474" y="416"/>
                    </a:lnTo>
                    <a:lnTo>
                      <a:pt x="474" y="418"/>
                    </a:lnTo>
                    <a:lnTo>
                      <a:pt x="475" y="418"/>
                    </a:lnTo>
                    <a:lnTo>
                      <a:pt x="475" y="419"/>
                    </a:lnTo>
                    <a:lnTo>
                      <a:pt x="475" y="420"/>
                    </a:lnTo>
                    <a:lnTo>
                      <a:pt x="472" y="421"/>
                    </a:lnTo>
                    <a:lnTo>
                      <a:pt x="472" y="425"/>
                    </a:lnTo>
                    <a:lnTo>
                      <a:pt x="472" y="428"/>
                    </a:lnTo>
                    <a:lnTo>
                      <a:pt x="467" y="429"/>
                    </a:lnTo>
                    <a:lnTo>
                      <a:pt x="467" y="431"/>
                    </a:lnTo>
                    <a:lnTo>
                      <a:pt x="465" y="434"/>
                    </a:lnTo>
                    <a:lnTo>
                      <a:pt x="464" y="434"/>
                    </a:lnTo>
                    <a:lnTo>
                      <a:pt x="464" y="433"/>
                    </a:lnTo>
                    <a:lnTo>
                      <a:pt x="463" y="433"/>
                    </a:lnTo>
                    <a:lnTo>
                      <a:pt x="462" y="433"/>
                    </a:lnTo>
                    <a:lnTo>
                      <a:pt x="463" y="434"/>
                    </a:lnTo>
                    <a:lnTo>
                      <a:pt x="462" y="434"/>
                    </a:lnTo>
                    <a:lnTo>
                      <a:pt x="462" y="435"/>
                    </a:lnTo>
                    <a:lnTo>
                      <a:pt x="461" y="437"/>
                    </a:lnTo>
                    <a:lnTo>
                      <a:pt x="460" y="438"/>
                    </a:lnTo>
                    <a:lnTo>
                      <a:pt x="460" y="440"/>
                    </a:lnTo>
                    <a:lnTo>
                      <a:pt x="460" y="442"/>
                    </a:lnTo>
                    <a:lnTo>
                      <a:pt x="459" y="446"/>
                    </a:lnTo>
                    <a:lnTo>
                      <a:pt x="460" y="448"/>
                    </a:lnTo>
                    <a:lnTo>
                      <a:pt x="459" y="450"/>
                    </a:lnTo>
                    <a:lnTo>
                      <a:pt x="460" y="451"/>
                    </a:lnTo>
                    <a:lnTo>
                      <a:pt x="460" y="454"/>
                    </a:lnTo>
                    <a:lnTo>
                      <a:pt x="462" y="454"/>
                    </a:lnTo>
                    <a:lnTo>
                      <a:pt x="463" y="452"/>
                    </a:lnTo>
                    <a:lnTo>
                      <a:pt x="466" y="457"/>
                    </a:lnTo>
                    <a:lnTo>
                      <a:pt x="469" y="456"/>
                    </a:lnTo>
                    <a:lnTo>
                      <a:pt x="473" y="457"/>
                    </a:lnTo>
                    <a:lnTo>
                      <a:pt x="473" y="459"/>
                    </a:lnTo>
                    <a:lnTo>
                      <a:pt x="474" y="463"/>
                    </a:lnTo>
                    <a:lnTo>
                      <a:pt x="476" y="468"/>
                    </a:lnTo>
                    <a:lnTo>
                      <a:pt x="476" y="469"/>
                    </a:lnTo>
                    <a:lnTo>
                      <a:pt x="475" y="470"/>
                    </a:lnTo>
                    <a:lnTo>
                      <a:pt x="475" y="471"/>
                    </a:lnTo>
                    <a:lnTo>
                      <a:pt x="476" y="473"/>
                    </a:lnTo>
                    <a:lnTo>
                      <a:pt x="474" y="476"/>
                    </a:lnTo>
                    <a:lnTo>
                      <a:pt x="473" y="475"/>
                    </a:lnTo>
                    <a:lnTo>
                      <a:pt x="473" y="477"/>
                    </a:lnTo>
                    <a:lnTo>
                      <a:pt x="472" y="476"/>
                    </a:lnTo>
                    <a:lnTo>
                      <a:pt x="472" y="477"/>
                    </a:lnTo>
                    <a:lnTo>
                      <a:pt x="471" y="477"/>
                    </a:lnTo>
                    <a:lnTo>
                      <a:pt x="470" y="478"/>
                    </a:lnTo>
                    <a:lnTo>
                      <a:pt x="470" y="480"/>
                    </a:lnTo>
                    <a:lnTo>
                      <a:pt x="467" y="481"/>
                    </a:lnTo>
                    <a:lnTo>
                      <a:pt x="467" y="480"/>
                    </a:lnTo>
                    <a:lnTo>
                      <a:pt x="466" y="480"/>
                    </a:lnTo>
                    <a:lnTo>
                      <a:pt x="464" y="481"/>
                    </a:lnTo>
                    <a:lnTo>
                      <a:pt x="463" y="480"/>
                    </a:lnTo>
                    <a:lnTo>
                      <a:pt x="462" y="481"/>
                    </a:lnTo>
                    <a:lnTo>
                      <a:pt x="462" y="478"/>
                    </a:lnTo>
                    <a:lnTo>
                      <a:pt x="459" y="476"/>
                    </a:lnTo>
                    <a:lnTo>
                      <a:pt x="459" y="478"/>
                    </a:lnTo>
                    <a:lnTo>
                      <a:pt x="457" y="477"/>
                    </a:lnTo>
                    <a:lnTo>
                      <a:pt x="457" y="480"/>
                    </a:lnTo>
                    <a:lnTo>
                      <a:pt x="455" y="481"/>
                    </a:lnTo>
                    <a:lnTo>
                      <a:pt x="454" y="480"/>
                    </a:lnTo>
                    <a:lnTo>
                      <a:pt x="455" y="478"/>
                    </a:lnTo>
                    <a:lnTo>
                      <a:pt x="453" y="478"/>
                    </a:lnTo>
                    <a:lnTo>
                      <a:pt x="453" y="480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2" y="483"/>
                    </a:lnTo>
                    <a:lnTo>
                      <a:pt x="452" y="484"/>
                    </a:lnTo>
                    <a:lnTo>
                      <a:pt x="451" y="485"/>
                    </a:lnTo>
                    <a:lnTo>
                      <a:pt x="451" y="486"/>
                    </a:lnTo>
                    <a:lnTo>
                      <a:pt x="451" y="488"/>
                    </a:lnTo>
                    <a:lnTo>
                      <a:pt x="451" y="489"/>
                    </a:lnTo>
                    <a:lnTo>
                      <a:pt x="447" y="488"/>
                    </a:lnTo>
                    <a:lnTo>
                      <a:pt x="447" y="486"/>
                    </a:lnTo>
                    <a:lnTo>
                      <a:pt x="447" y="484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2" y="483"/>
                    </a:lnTo>
                    <a:lnTo>
                      <a:pt x="441" y="483"/>
                    </a:lnTo>
                    <a:lnTo>
                      <a:pt x="440" y="482"/>
                    </a:lnTo>
                    <a:lnTo>
                      <a:pt x="439" y="481"/>
                    </a:lnTo>
                    <a:lnTo>
                      <a:pt x="439" y="480"/>
                    </a:lnTo>
                    <a:lnTo>
                      <a:pt x="438" y="480"/>
                    </a:lnTo>
                    <a:lnTo>
                      <a:pt x="438" y="478"/>
                    </a:lnTo>
                    <a:lnTo>
                      <a:pt x="439" y="478"/>
                    </a:lnTo>
                    <a:lnTo>
                      <a:pt x="438" y="478"/>
                    </a:lnTo>
                    <a:lnTo>
                      <a:pt x="437" y="479"/>
                    </a:lnTo>
                    <a:lnTo>
                      <a:pt x="436" y="478"/>
                    </a:lnTo>
                    <a:lnTo>
                      <a:pt x="435" y="478"/>
                    </a:lnTo>
                    <a:lnTo>
                      <a:pt x="435" y="482"/>
                    </a:lnTo>
                    <a:lnTo>
                      <a:pt x="433" y="480"/>
                    </a:lnTo>
                    <a:lnTo>
                      <a:pt x="430" y="481"/>
                    </a:lnTo>
                    <a:lnTo>
                      <a:pt x="429" y="481"/>
                    </a:lnTo>
                    <a:lnTo>
                      <a:pt x="429" y="482"/>
                    </a:lnTo>
                    <a:lnTo>
                      <a:pt x="428" y="482"/>
                    </a:lnTo>
                    <a:lnTo>
                      <a:pt x="427" y="481"/>
                    </a:lnTo>
                    <a:lnTo>
                      <a:pt x="426" y="482"/>
                    </a:lnTo>
                    <a:lnTo>
                      <a:pt x="425" y="482"/>
                    </a:lnTo>
                    <a:lnTo>
                      <a:pt x="424" y="482"/>
                    </a:lnTo>
                    <a:lnTo>
                      <a:pt x="421" y="483"/>
                    </a:lnTo>
                    <a:lnTo>
                      <a:pt x="419" y="480"/>
                    </a:lnTo>
                    <a:lnTo>
                      <a:pt x="417" y="480"/>
                    </a:lnTo>
                    <a:lnTo>
                      <a:pt x="416" y="478"/>
                    </a:lnTo>
                    <a:lnTo>
                      <a:pt x="414" y="479"/>
                    </a:lnTo>
                    <a:lnTo>
                      <a:pt x="413" y="480"/>
                    </a:lnTo>
                    <a:lnTo>
                      <a:pt x="412" y="480"/>
                    </a:lnTo>
                    <a:lnTo>
                      <a:pt x="411" y="478"/>
                    </a:lnTo>
                    <a:lnTo>
                      <a:pt x="411" y="479"/>
                    </a:lnTo>
                    <a:lnTo>
                      <a:pt x="409" y="478"/>
                    </a:lnTo>
                    <a:lnTo>
                      <a:pt x="410" y="477"/>
                    </a:lnTo>
                    <a:lnTo>
                      <a:pt x="408" y="475"/>
                    </a:lnTo>
                    <a:lnTo>
                      <a:pt x="403" y="475"/>
                    </a:lnTo>
                    <a:lnTo>
                      <a:pt x="400" y="475"/>
                    </a:lnTo>
                    <a:lnTo>
                      <a:pt x="398" y="479"/>
                    </a:lnTo>
                    <a:lnTo>
                      <a:pt x="399" y="480"/>
                    </a:lnTo>
                    <a:lnTo>
                      <a:pt x="401" y="481"/>
                    </a:lnTo>
                    <a:lnTo>
                      <a:pt x="402" y="484"/>
                    </a:lnTo>
                    <a:lnTo>
                      <a:pt x="402" y="486"/>
                    </a:lnTo>
                    <a:lnTo>
                      <a:pt x="402" y="487"/>
                    </a:lnTo>
                    <a:lnTo>
                      <a:pt x="399" y="488"/>
                    </a:lnTo>
                    <a:lnTo>
                      <a:pt x="395" y="486"/>
                    </a:lnTo>
                    <a:lnTo>
                      <a:pt x="394" y="488"/>
                    </a:lnTo>
                    <a:lnTo>
                      <a:pt x="391" y="486"/>
                    </a:lnTo>
                    <a:lnTo>
                      <a:pt x="389" y="486"/>
                    </a:lnTo>
                    <a:lnTo>
                      <a:pt x="388" y="487"/>
                    </a:lnTo>
                    <a:lnTo>
                      <a:pt x="388" y="489"/>
                    </a:lnTo>
                    <a:lnTo>
                      <a:pt x="387" y="490"/>
                    </a:lnTo>
                    <a:lnTo>
                      <a:pt x="387" y="491"/>
                    </a:lnTo>
                    <a:lnTo>
                      <a:pt x="388" y="492"/>
                    </a:lnTo>
                    <a:lnTo>
                      <a:pt x="389" y="495"/>
                    </a:lnTo>
                    <a:lnTo>
                      <a:pt x="388" y="495"/>
                    </a:lnTo>
                    <a:lnTo>
                      <a:pt x="386" y="495"/>
                    </a:lnTo>
                    <a:lnTo>
                      <a:pt x="386" y="496"/>
                    </a:lnTo>
                    <a:lnTo>
                      <a:pt x="386" y="499"/>
                    </a:lnTo>
                    <a:lnTo>
                      <a:pt x="384" y="499"/>
                    </a:lnTo>
                    <a:lnTo>
                      <a:pt x="383" y="501"/>
                    </a:lnTo>
                    <a:lnTo>
                      <a:pt x="382" y="501"/>
                    </a:lnTo>
                    <a:lnTo>
                      <a:pt x="381" y="499"/>
                    </a:lnTo>
                    <a:lnTo>
                      <a:pt x="379" y="501"/>
                    </a:lnTo>
                    <a:lnTo>
                      <a:pt x="377" y="501"/>
                    </a:lnTo>
                    <a:lnTo>
                      <a:pt x="377" y="498"/>
                    </a:lnTo>
                    <a:lnTo>
                      <a:pt x="374" y="495"/>
                    </a:lnTo>
                    <a:lnTo>
                      <a:pt x="376" y="494"/>
                    </a:lnTo>
                    <a:lnTo>
                      <a:pt x="374" y="493"/>
                    </a:lnTo>
                    <a:lnTo>
                      <a:pt x="373" y="492"/>
                    </a:lnTo>
                    <a:lnTo>
                      <a:pt x="374" y="491"/>
                    </a:lnTo>
                    <a:lnTo>
                      <a:pt x="373" y="490"/>
                    </a:lnTo>
                    <a:lnTo>
                      <a:pt x="373" y="489"/>
                    </a:lnTo>
                    <a:lnTo>
                      <a:pt x="373" y="485"/>
                    </a:lnTo>
                    <a:lnTo>
                      <a:pt x="371" y="486"/>
                    </a:lnTo>
                    <a:lnTo>
                      <a:pt x="372" y="485"/>
                    </a:lnTo>
                    <a:lnTo>
                      <a:pt x="372" y="484"/>
                    </a:lnTo>
                    <a:lnTo>
                      <a:pt x="371" y="484"/>
                    </a:lnTo>
                    <a:lnTo>
                      <a:pt x="372" y="483"/>
                    </a:lnTo>
                    <a:lnTo>
                      <a:pt x="372" y="481"/>
                    </a:lnTo>
                    <a:lnTo>
                      <a:pt x="370" y="480"/>
                    </a:lnTo>
                    <a:lnTo>
                      <a:pt x="371" y="480"/>
                    </a:lnTo>
                    <a:lnTo>
                      <a:pt x="372" y="480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69" y="479"/>
                    </a:lnTo>
                    <a:lnTo>
                      <a:pt x="368" y="479"/>
                    </a:lnTo>
                    <a:lnTo>
                      <a:pt x="367" y="478"/>
                    </a:lnTo>
                    <a:lnTo>
                      <a:pt x="366" y="478"/>
                    </a:lnTo>
                    <a:lnTo>
                      <a:pt x="364" y="482"/>
                    </a:lnTo>
                    <a:lnTo>
                      <a:pt x="365" y="483"/>
                    </a:lnTo>
                    <a:lnTo>
                      <a:pt x="364" y="484"/>
                    </a:lnTo>
                    <a:lnTo>
                      <a:pt x="363" y="483"/>
                    </a:lnTo>
                    <a:lnTo>
                      <a:pt x="363" y="481"/>
                    </a:lnTo>
                    <a:lnTo>
                      <a:pt x="362" y="479"/>
                    </a:lnTo>
                    <a:lnTo>
                      <a:pt x="361" y="479"/>
                    </a:lnTo>
                    <a:lnTo>
                      <a:pt x="359" y="478"/>
                    </a:lnTo>
                    <a:lnTo>
                      <a:pt x="357" y="475"/>
                    </a:lnTo>
                    <a:lnTo>
                      <a:pt x="356" y="470"/>
                    </a:lnTo>
                    <a:lnTo>
                      <a:pt x="355" y="470"/>
                    </a:lnTo>
                    <a:lnTo>
                      <a:pt x="354" y="470"/>
                    </a:lnTo>
                    <a:lnTo>
                      <a:pt x="348" y="468"/>
                    </a:lnTo>
                    <a:lnTo>
                      <a:pt x="347" y="465"/>
                    </a:lnTo>
                    <a:lnTo>
                      <a:pt x="344" y="460"/>
                    </a:lnTo>
                    <a:lnTo>
                      <a:pt x="345" y="459"/>
                    </a:lnTo>
                    <a:lnTo>
                      <a:pt x="344" y="459"/>
                    </a:lnTo>
                    <a:lnTo>
                      <a:pt x="343" y="461"/>
                    </a:lnTo>
                    <a:lnTo>
                      <a:pt x="343" y="464"/>
                    </a:lnTo>
                    <a:lnTo>
                      <a:pt x="340" y="464"/>
                    </a:lnTo>
                    <a:lnTo>
                      <a:pt x="340" y="465"/>
                    </a:lnTo>
                    <a:lnTo>
                      <a:pt x="338" y="465"/>
                    </a:lnTo>
                    <a:lnTo>
                      <a:pt x="338" y="466"/>
                    </a:lnTo>
                    <a:lnTo>
                      <a:pt x="338" y="465"/>
                    </a:lnTo>
                    <a:lnTo>
                      <a:pt x="337" y="467"/>
                    </a:lnTo>
                    <a:lnTo>
                      <a:pt x="337" y="468"/>
                    </a:lnTo>
                    <a:lnTo>
                      <a:pt x="338" y="468"/>
                    </a:lnTo>
                    <a:lnTo>
                      <a:pt x="337" y="471"/>
                    </a:lnTo>
                    <a:lnTo>
                      <a:pt x="333" y="469"/>
                    </a:lnTo>
                    <a:lnTo>
                      <a:pt x="333" y="470"/>
                    </a:lnTo>
                    <a:lnTo>
                      <a:pt x="333" y="471"/>
                    </a:lnTo>
                    <a:lnTo>
                      <a:pt x="332" y="471"/>
                    </a:lnTo>
                    <a:lnTo>
                      <a:pt x="333" y="472"/>
                    </a:lnTo>
                    <a:lnTo>
                      <a:pt x="332" y="472"/>
                    </a:lnTo>
                    <a:lnTo>
                      <a:pt x="333" y="473"/>
                    </a:lnTo>
                    <a:lnTo>
                      <a:pt x="332" y="475"/>
                    </a:lnTo>
                    <a:lnTo>
                      <a:pt x="333" y="476"/>
                    </a:lnTo>
                    <a:lnTo>
                      <a:pt x="332" y="476"/>
                    </a:lnTo>
                    <a:lnTo>
                      <a:pt x="331" y="477"/>
                    </a:lnTo>
                    <a:lnTo>
                      <a:pt x="330" y="477"/>
                    </a:lnTo>
                    <a:lnTo>
                      <a:pt x="330" y="480"/>
                    </a:lnTo>
                    <a:lnTo>
                      <a:pt x="329" y="480"/>
                    </a:lnTo>
                    <a:lnTo>
                      <a:pt x="329" y="481"/>
                    </a:lnTo>
                    <a:lnTo>
                      <a:pt x="329" y="482"/>
                    </a:lnTo>
                    <a:lnTo>
                      <a:pt x="331" y="483"/>
                    </a:lnTo>
                    <a:lnTo>
                      <a:pt x="330" y="486"/>
                    </a:lnTo>
                    <a:lnTo>
                      <a:pt x="330" y="487"/>
                    </a:lnTo>
                    <a:lnTo>
                      <a:pt x="332" y="486"/>
                    </a:lnTo>
                    <a:lnTo>
                      <a:pt x="332" y="488"/>
                    </a:lnTo>
                    <a:lnTo>
                      <a:pt x="331" y="488"/>
                    </a:lnTo>
                    <a:lnTo>
                      <a:pt x="333" y="489"/>
                    </a:lnTo>
                    <a:lnTo>
                      <a:pt x="333" y="490"/>
                    </a:lnTo>
                    <a:lnTo>
                      <a:pt x="331" y="491"/>
                    </a:lnTo>
                    <a:lnTo>
                      <a:pt x="333" y="491"/>
                    </a:lnTo>
                    <a:lnTo>
                      <a:pt x="332" y="492"/>
                    </a:lnTo>
                    <a:lnTo>
                      <a:pt x="330" y="492"/>
                    </a:lnTo>
                    <a:lnTo>
                      <a:pt x="329" y="492"/>
                    </a:lnTo>
                    <a:lnTo>
                      <a:pt x="329" y="493"/>
                    </a:lnTo>
                    <a:lnTo>
                      <a:pt x="325" y="493"/>
                    </a:lnTo>
                    <a:lnTo>
                      <a:pt x="325" y="494"/>
                    </a:lnTo>
                    <a:lnTo>
                      <a:pt x="324" y="494"/>
                    </a:lnTo>
                    <a:lnTo>
                      <a:pt x="324" y="493"/>
                    </a:lnTo>
                    <a:lnTo>
                      <a:pt x="321" y="493"/>
                    </a:lnTo>
                    <a:lnTo>
                      <a:pt x="320" y="492"/>
                    </a:lnTo>
                    <a:lnTo>
                      <a:pt x="320" y="493"/>
                    </a:lnTo>
                    <a:lnTo>
                      <a:pt x="320" y="494"/>
                    </a:lnTo>
                    <a:lnTo>
                      <a:pt x="318" y="494"/>
                    </a:lnTo>
                    <a:lnTo>
                      <a:pt x="317" y="494"/>
                    </a:lnTo>
                    <a:lnTo>
                      <a:pt x="316" y="496"/>
                    </a:lnTo>
                    <a:lnTo>
                      <a:pt x="313" y="499"/>
                    </a:lnTo>
                    <a:lnTo>
                      <a:pt x="312" y="498"/>
                    </a:lnTo>
                    <a:lnTo>
                      <a:pt x="312" y="499"/>
                    </a:lnTo>
                    <a:lnTo>
                      <a:pt x="310" y="499"/>
                    </a:lnTo>
                    <a:lnTo>
                      <a:pt x="308" y="500"/>
                    </a:lnTo>
                    <a:lnTo>
                      <a:pt x="308" y="501"/>
                    </a:lnTo>
                    <a:lnTo>
                      <a:pt x="307" y="501"/>
                    </a:lnTo>
                    <a:lnTo>
                      <a:pt x="308" y="505"/>
                    </a:lnTo>
                    <a:lnTo>
                      <a:pt x="307" y="506"/>
                    </a:lnTo>
                    <a:lnTo>
                      <a:pt x="307" y="509"/>
                    </a:lnTo>
                    <a:lnTo>
                      <a:pt x="306" y="509"/>
                    </a:lnTo>
                    <a:lnTo>
                      <a:pt x="304" y="509"/>
                    </a:lnTo>
                    <a:lnTo>
                      <a:pt x="303" y="507"/>
                    </a:lnTo>
                    <a:lnTo>
                      <a:pt x="304" y="506"/>
                    </a:lnTo>
                    <a:lnTo>
                      <a:pt x="303" y="502"/>
                    </a:lnTo>
                    <a:lnTo>
                      <a:pt x="301" y="501"/>
                    </a:lnTo>
                    <a:lnTo>
                      <a:pt x="296" y="498"/>
                    </a:lnTo>
                    <a:lnTo>
                      <a:pt x="291" y="499"/>
                    </a:lnTo>
                    <a:lnTo>
                      <a:pt x="289" y="499"/>
                    </a:lnTo>
                    <a:lnTo>
                      <a:pt x="289" y="498"/>
                    </a:lnTo>
                    <a:lnTo>
                      <a:pt x="287" y="498"/>
                    </a:lnTo>
                    <a:lnTo>
                      <a:pt x="287" y="496"/>
                    </a:lnTo>
                    <a:lnTo>
                      <a:pt x="288" y="495"/>
                    </a:lnTo>
                    <a:lnTo>
                      <a:pt x="289" y="495"/>
                    </a:lnTo>
                    <a:lnTo>
                      <a:pt x="290" y="493"/>
                    </a:lnTo>
                    <a:lnTo>
                      <a:pt x="291" y="492"/>
                    </a:lnTo>
                    <a:lnTo>
                      <a:pt x="292" y="489"/>
                    </a:lnTo>
                    <a:lnTo>
                      <a:pt x="292" y="488"/>
                    </a:lnTo>
                    <a:lnTo>
                      <a:pt x="291" y="488"/>
                    </a:lnTo>
                    <a:lnTo>
                      <a:pt x="290" y="490"/>
                    </a:lnTo>
                    <a:lnTo>
                      <a:pt x="289" y="491"/>
                    </a:lnTo>
                    <a:lnTo>
                      <a:pt x="287" y="490"/>
                    </a:lnTo>
                    <a:lnTo>
                      <a:pt x="287" y="492"/>
                    </a:lnTo>
                    <a:lnTo>
                      <a:pt x="286" y="492"/>
                    </a:lnTo>
                    <a:lnTo>
                      <a:pt x="286" y="489"/>
                    </a:lnTo>
                    <a:lnTo>
                      <a:pt x="284" y="493"/>
                    </a:lnTo>
                    <a:lnTo>
                      <a:pt x="282" y="492"/>
                    </a:lnTo>
                    <a:lnTo>
                      <a:pt x="283" y="492"/>
                    </a:lnTo>
                    <a:lnTo>
                      <a:pt x="282" y="492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0" y="492"/>
                    </a:lnTo>
                    <a:lnTo>
                      <a:pt x="280" y="491"/>
                    </a:lnTo>
                    <a:lnTo>
                      <a:pt x="278" y="490"/>
                    </a:lnTo>
                    <a:lnTo>
                      <a:pt x="277" y="489"/>
                    </a:lnTo>
                    <a:lnTo>
                      <a:pt x="276" y="489"/>
                    </a:lnTo>
                    <a:lnTo>
                      <a:pt x="275" y="491"/>
                    </a:lnTo>
                    <a:lnTo>
                      <a:pt x="274" y="489"/>
                    </a:lnTo>
                    <a:lnTo>
                      <a:pt x="273" y="489"/>
                    </a:lnTo>
                    <a:lnTo>
                      <a:pt x="273" y="488"/>
                    </a:lnTo>
                    <a:lnTo>
                      <a:pt x="272" y="489"/>
                    </a:lnTo>
                    <a:lnTo>
                      <a:pt x="272" y="488"/>
                    </a:lnTo>
                    <a:lnTo>
                      <a:pt x="270" y="488"/>
                    </a:lnTo>
                    <a:lnTo>
                      <a:pt x="272" y="485"/>
                    </a:lnTo>
                    <a:lnTo>
                      <a:pt x="271" y="484"/>
                    </a:lnTo>
                    <a:lnTo>
                      <a:pt x="269" y="484"/>
                    </a:lnTo>
                    <a:lnTo>
                      <a:pt x="268" y="486"/>
                    </a:lnTo>
                    <a:lnTo>
                      <a:pt x="266" y="485"/>
                    </a:lnTo>
                    <a:lnTo>
                      <a:pt x="263" y="482"/>
                    </a:lnTo>
                    <a:lnTo>
                      <a:pt x="261" y="482"/>
                    </a:lnTo>
                    <a:lnTo>
                      <a:pt x="261" y="483"/>
                    </a:lnTo>
                    <a:lnTo>
                      <a:pt x="260" y="486"/>
                    </a:lnTo>
                    <a:lnTo>
                      <a:pt x="258" y="486"/>
                    </a:lnTo>
                    <a:lnTo>
                      <a:pt x="258" y="488"/>
                    </a:lnTo>
                    <a:lnTo>
                      <a:pt x="260" y="488"/>
                    </a:lnTo>
                    <a:lnTo>
                      <a:pt x="259" y="488"/>
                    </a:lnTo>
                    <a:lnTo>
                      <a:pt x="258" y="488"/>
                    </a:lnTo>
                    <a:lnTo>
                      <a:pt x="257" y="486"/>
                    </a:lnTo>
                    <a:lnTo>
                      <a:pt x="256" y="488"/>
                    </a:lnTo>
                    <a:lnTo>
                      <a:pt x="255" y="486"/>
                    </a:lnTo>
                    <a:lnTo>
                      <a:pt x="255" y="485"/>
                    </a:lnTo>
                    <a:lnTo>
                      <a:pt x="254" y="483"/>
                    </a:lnTo>
                    <a:lnTo>
                      <a:pt x="252" y="483"/>
                    </a:lnTo>
                    <a:lnTo>
                      <a:pt x="252" y="480"/>
                    </a:lnTo>
                    <a:lnTo>
                      <a:pt x="250" y="480"/>
                    </a:lnTo>
                    <a:lnTo>
                      <a:pt x="249" y="481"/>
                    </a:lnTo>
                    <a:lnTo>
                      <a:pt x="248" y="481"/>
                    </a:lnTo>
                    <a:lnTo>
                      <a:pt x="245" y="475"/>
                    </a:lnTo>
                    <a:lnTo>
                      <a:pt x="244" y="475"/>
                    </a:lnTo>
                    <a:lnTo>
                      <a:pt x="243" y="473"/>
                    </a:lnTo>
                    <a:lnTo>
                      <a:pt x="243" y="476"/>
                    </a:lnTo>
                    <a:lnTo>
                      <a:pt x="242" y="475"/>
                    </a:lnTo>
                    <a:lnTo>
                      <a:pt x="241" y="475"/>
                    </a:lnTo>
                    <a:lnTo>
                      <a:pt x="242" y="475"/>
                    </a:lnTo>
                    <a:lnTo>
                      <a:pt x="243" y="479"/>
                    </a:lnTo>
                    <a:lnTo>
                      <a:pt x="242" y="480"/>
                    </a:lnTo>
                    <a:lnTo>
                      <a:pt x="243" y="480"/>
                    </a:lnTo>
                    <a:lnTo>
                      <a:pt x="242" y="482"/>
                    </a:lnTo>
                    <a:lnTo>
                      <a:pt x="242" y="483"/>
                    </a:lnTo>
                    <a:lnTo>
                      <a:pt x="244" y="483"/>
                    </a:lnTo>
                    <a:lnTo>
                      <a:pt x="243" y="484"/>
                    </a:lnTo>
                    <a:lnTo>
                      <a:pt x="242" y="483"/>
                    </a:lnTo>
                    <a:lnTo>
                      <a:pt x="242" y="484"/>
                    </a:lnTo>
                    <a:lnTo>
                      <a:pt x="241" y="481"/>
                    </a:lnTo>
                    <a:lnTo>
                      <a:pt x="240" y="481"/>
                    </a:lnTo>
                    <a:lnTo>
                      <a:pt x="239" y="480"/>
                    </a:lnTo>
                    <a:lnTo>
                      <a:pt x="237" y="480"/>
                    </a:lnTo>
                    <a:lnTo>
                      <a:pt x="236" y="481"/>
                    </a:lnTo>
                    <a:lnTo>
                      <a:pt x="235" y="480"/>
                    </a:lnTo>
                    <a:lnTo>
                      <a:pt x="235" y="481"/>
                    </a:lnTo>
                    <a:lnTo>
                      <a:pt x="234" y="481"/>
                    </a:lnTo>
                    <a:lnTo>
                      <a:pt x="235" y="482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3" y="484"/>
                    </a:lnTo>
                    <a:lnTo>
                      <a:pt x="232" y="482"/>
                    </a:lnTo>
                    <a:lnTo>
                      <a:pt x="232" y="483"/>
                    </a:lnTo>
                    <a:lnTo>
                      <a:pt x="231" y="486"/>
                    </a:lnTo>
                    <a:lnTo>
                      <a:pt x="230" y="486"/>
                    </a:lnTo>
                    <a:lnTo>
                      <a:pt x="231" y="484"/>
                    </a:lnTo>
                    <a:lnTo>
                      <a:pt x="229" y="484"/>
                    </a:lnTo>
                    <a:lnTo>
                      <a:pt x="228" y="485"/>
                    </a:lnTo>
                    <a:lnTo>
                      <a:pt x="227" y="487"/>
                    </a:lnTo>
                    <a:lnTo>
                      <a:pt x="227" y="485"/>
                    </a:lnTo>
                    <a:lnTo>
                      <a:pt x="226" y="485"/>
                    </a:lnTo>
                    <a:lnTo>
                      <a:pt x="226" y="484"/>
                    </a:lnTo>
                    <a:lnTo>
                      <a:pt x="224" y="483"/>
                    </a:lnTo>
                    <a:lnTo>
                      <a:pt x="221" y="485"/>
                    </a:lnTo>
                    <a:lnTo>
                      <a:pt x="220" y="484"/>
                    </a:lnTo>
                    <a:lnTo>
                      <a:pt x="219" y="484"/>
                    </a:lnTo>
                    <a:lnTo>
                      <a:pt x="221" y="484"/>
                    </a:lnTo>
                    <a:lnTo>
                      <a:pt x="221" y="483"/>
                    </a:lnTo>
                    <a:lnTo>
                      <a:pt x="221" y="481"/>
                    </a:lnTo>
                    <a:lnTo>
                      <a:pt x="222" y="480"/>
                    </a:lnTo>
                    <a:lnTo>
                      <a:pt x="222" y="478"/>
                    </a:lnTo>
                    <a:lnTo>
                      <a:pt x="221" y="478"/>
                    </a:lnTo>
                    <a:lnTo>
                      <a:pt x="220" y="478"/>
                    </a:lnTo>
                    <a:lnTo>
                      <a:pt x="219" y="477"/>
                    </a:lnTo>
                    <a:lnTo>
                      <a:pt x="219" y="475"/>
                    </a:lnTo>
                    <a:lnTo>
                      <a:pt x="218" y="476"/>
                    </a:lnTo>
                    <a:lnTo>
                      <a:pt x="216" y="473"/>
                    </a:lnTo>
                    <a:lnTo>
                      <a:pt x="213" y="475"/>
                    </a:lnTo>
                    <a:lnTo>
                      <a:pt x="212" y="473"/>
                    </a:lnTo>
                    <a:lnTo>
                      <a:pt x="212" y="474"/>
                    </a:lnTo>
                    <a:lnTo>
                      <a:pt x="212" y="473"/>
                    </a:lnTo>
                    <a:lnTo>
                      <a:pt x="211" y="472"/>
                    </a:lnTo>
                    <a:lnTo>
                      <a:pt x="212" y="469"/>
                    </a:lnTo>
                    <a:lnTo>
                      <a:pt x="211" y="467"/>
                    </a:lnTo>
                    <a:lnTo>
                      <a:pt x="208" y="466"/>
                    </a:lnTo>
                    <a:lnTo>
                      <a:pt x="208" y="465"/>
                    </a:lnTo>
                    <a:lnTo>
                      <a:pt x="206" y="465"/>
                    </a:lnTo>
                    <a:lnTo>
                      <a:pt x="206" y="463"/>
                    </a:lnTo>
                    <a:lnTo>
                      <a:pt x="203" y="465"/>
                    </a:lnTo>
                    <a:lnTo>
                      <a:pt x="202" y="465"/>
                    </a:lnTo>
                    <a:lnTo>
                      <a:pt x="198" y="465"/>
                    </a:lnTo>
                    <a:lnTo>
                      <a:pt x="197" y="463"/>
                    </a:lnTo>
                    <a:lnTo>
                      <a:pt x="196" y="465"/>
                    </a:lnTo>
                    <a:lnTo>
                      <a:pt x="195" y="465"/>
                    </a:lnTo>
                    <a:lnTo>
                      <a:pt x="194" y="465"/>
                    </a:lnTo>
                    <a:lnTo>
                      <a:pt x="194" y="467"/>
                    </a:lnTo>
                    <a:lnTo>
                      <a:pt x="194" y="470"/>
                    </a:lnTo>
                    <a:lnTo>
                      <a:pt x="192" y="471"/>
                    </a:lnTo>
                    <a:lnTo>
                      <a:pt x="192" y="472"/>
                    </a:lnTo>
                    <a:lnTo>
                      <a:pt x="190" y="473"/>
                    </a:lnTo>
                    <a:lnTo>
                      <a:pt x="189" y="473"/>
                    </a:lnTo>
                    <a:lnTo>
                      <a:pt x="189" y="475"/>
                    </a:lnTo>
                    <a:lnTo>
                      <a:pt x="190" y="474"/>
                    </a:lnTo>
                    <a:lnTo>
                      <a:pt x="188" y="476"/>
                    </a:lnTo>
                    <a:lnTo>
                      <a:pt x="188" y="478"/>
                    </a:lnTo>
                    <a:lnTo>
                      <a:pt x="186" y="477"/>
                    </a:lnTo>
                    <a:lnTo>
                      <a:pt x="186" y="476"/>
                    </a:lnTo>
                    <a:lnTo>
                      <a:pt x="187" y="475"/>
                    </a:lnTo>
                    <a:lnTo>
                      <a:pt x="184" y="475"/>
                    </a:lnTo>
                    <a:lnTo>
                      <a:pt x="181" y="475"/>
                    </a:lnTo>
                    <a:lnTo>
                      <a:pt x="180" y="476"/>
                    </a:lnTo>
                    <a:lnTo>
                      <a:pt x="178" y="475"/>
                    </a:lnTo>
                    <a:lnTo>
                      <a:pt x="177" y="475"/>
                    </a:lnTo>
                    <a:lnTo>
                      <a:pt x="174" y="475"/>
                    </a:lnTo>
                    <a:lnTo>
                      <a:pt x="173" y="475"/>
                    </a:lnTo>
                    <a:lnTo>
                      <a:pt x="172" y="476"/>
                    </a:lnTo>
                    <a:lnTo>
                      <a:pt x="170" y="473"/>
                    </a:lnTo>
                    <a:lnTo>
                      <a:pt x="168" y="473"/>
                    </a:lnTo>
                    <a:lnTo>
                      <a:pt x="165" y="472"/>
                    </a:lnTo>
                    <a:lnTo>
                      <a:pt x="165" y="476"/>
                    </a:lnTo>
                    <a:lnTo>
                      <a:pt x="163" y="475"/>
                    </a:lnTo>
                    <a:lnTo>
                      <a:pt x="161" y="475"/>
                    </a:lnTo>
                    <a:lnTo>
                      <a:pt x="161" y="473"/>
                    </a:lnTo>
                    <a:lnTo>
                      <a:pt x="161" y="472"/>
                    </a:lnTo>
                    <a:lnTo>
                      <a:pt x="161" y="471"/>
                    </a:lnTo>
                    <a:lnTo>
                      <a:pt x="159" y="471"/>
                    </a:lnTo>
                    <a:lnTo>
                      <a:pt x="159" y="473"/>
                    </a:lnTo>
                    <a:lnTo>
                      <a:pt x="158" y="475"/>
                    </a:lnTo>
                    <a:lnTo>
                      <a:pt x="156" y="474"/>
                    </a:lnTo>
                    <a:lnTo>
                      <a:pt x="155" y="475"/>
                    </a:lnTo>
                    <a:lnTo>
                      <a:pt x="155" y="473"/>
                    </a:lnTo>
                    <a:lnTo>
                      <a:pt x="152" y="473"/>
                    </a:lnTo>
                    <a:lnTo>
                      <a:pt x="152" y="472"/>
                    </a:lnTo>
                    <a:lnTo>
                      <a:pt x="151" y="473"/>
                    </a:lnTo>
                    <a:lnTo>
                      <a:pt x="150" y="472"/>
                    </a:lnTo>
                    <a:lnTo>
                      <a:pt x="149" y="469"/>
                    </a:lnTo>
                    <a:lnTo>
                      <a:pt x="150" y="468"/>
                    </a:lnTo>
                    <a:lnTo>
                      <a:pt x="150" y="467"/>
                    </a:lnTo>
                    <a:lnTo>
                      <a:pt x="150" y="464"/>
                    </a:lnTo>
                    <a:lnTo>
                      <a:pt x="150" y="463"/>
                    </a:lnTo>
                    <a:lnTo>
                      <a:pt x="151" y="462"/>
                    </a:lnTo>
                    <a:lnTo>
                      <a:pt x="151" y="461"/>
                    </a:lnTo>
                    <a:lnTo>
                      <a:pt x="153" y="461"/>
                    </a:lnTo>
                    <a:lnTo>
                      <a:pt x="151" y="460"/>
                    </a:lnTo>
                    <a:lnTo>
                      <a:pt x="149" y="458"/>
                    </a:lnTo>
                    <a:lnTo>
                      <a:pt x="145" y="458"/>
                    </a:lnTo>
                    <a:lnTo>
                      <a:pt x="144" y="458"/>
                    </a:lnTo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74" name="Group 89">
              <a:extLst>
                <a:ext uri="{FF2B5EF4-FFF2-40B4-BE49-F238E27FC236}">
                  <a16:creationId xmlns:a16="http://schemas.microsoft.com/office/drawing/2014/main" id="{FEBBEF58-BAB0-40C7-87C4-B0C6CC673CD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67" y="3058"/>
              <a:ext cx="321" cy="562"/>
              <a:chOff x="1667" y="3058"/>
              <a:chExt cx="321" cy="562"/>
            </a:xfrm>
          </p:grpSpPr>
          <p:sp>
            <p:nvSpPr>
              <p:cNvPr id="511" name="Freeform 87">
                <a:extLst>
                  <a:ext uri="{FF2B5EF4-FFF2-40B4-BE49-F238E27FC236}">
                    <a16:creationId xmlns:a16="http://schemas.microsoft.com/office/drawing/2014/main" id="{40B6D393-4673-4387-B2C0-99E903713B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7" y="3058"/>
                <a:ext cx="321" cy="562"/>
              </a:xfrm>
              <a:custGeom>
                <a:avLst/>
                <a:gdLst>
                  <a:gd name="T0" fmla="*/ 307 w 321"/>
                  <a:gd name="T1" fmla="*/ 452 h 562"/>
                  <a:gd name="T2" fmla="*/ 304 w 321"/>
                  <a:gd name="T3" fmla="*/ 431 h 562"/>
                  <a:gd name="T4" fmla="*/ 286 w 321"/>
                  <a:gd name="T5" fmla="*/ 405 h 562"/>
                  <a:gd name="T6" fmla="*/ 263 w 321"/>
                  <a:gd name="T7" fmla="*/ 372 h 562"/>
                  <a:gd name="T8" fmla="*/ 259 w 321"/>
                  <a:gd name="T9" fmla="*/ 355 h 562"/>
                  <a:gd name="T10" fmla="*/ 224 w 321"/>
                  <a:gd name="T11" fmla="*/ 345 h 562"/>
                  <a:gd name="T12" fmla="*/ 194 w 321"/>
                  <a:gd name="T13" fmla="*/ 336 h 562"/>
                  <a:gd name="T14" fmla="*/ 170 w 321"/>
                  <a:gd name="T15" fmla="*/ 316 h 562"/>
                  <a:gd name="T16" fmla="*/ 149 w 321"/>
                  <a:gd name="T17" fmla="*/ 302 h 562"/>
                  <a:gd name="T18" fmla="*/ 145 w 321"/>
                  <a:gd name="T19" fmla="*/ 286 h 562"/>
                  <a:gd name="T20" fmla="*/ 125 w 321"/>
                  <a:gd name="T21" fmla="*/ 275 h 562"/>
                  <a:gd name="T22" fmla="*/ 134 w 321"/>
                  <a:gd name="T23" fmla="*/ 254 h 562"/>
                  <a:gd name="T24" fmla="*/ 137 w 321"/>
                  <a:gd name="T25" fmla="*/ 221 h 562"/>
                  <a:gd name="T26" fmla="*/ 162 w 321"/>
                  <a:gd name="T27" fmla="*/ 157 h 562"/>
                  <a:gd name="T28" fmla="*/ 202 w 321"/>
                  <a:gd name="T29" fmla="*/ 121 h 562"/>
                  <a:gd name="T30" fmla="*/ 212 w 321"/>
                  <a:gd name="T31" fmla="*/ 98 h 562"/>
                  <a:gd name="T32" fmla="*/ 196 w 321"/>
                  <a:gd name="T33" fmla="*/ 73 h 562"/>
                  <a:gd name="T34" fmla="*/ 162 w 321"/>
                  <a:gd name="T35" fmla="*/ 40 h 562"/>
                  <a:gd name="T36" fmla="*/ 116 w 321"/>
                  <a:gd name="T37" fmla="*/ 17 h 562"/>
                  <a:gd name="T38" fmla="*/ 76 w 321"/>
                  <a:gd name="T39" fmla="*/ 7 h 562"/>
                  <a:gd name="T40" fmla="*/ 86 w 321"/>
                  <a:gd name="T41" fmla="*/ 48 h 562"/>
                  <a:gd name="T42" fmla="*/ 105 w 321"/>
                  <a:gd name="T43" fmla="*/ 92 h 562"/>
                  <a:gd name="T44" fmla="*/ 90 w 321"/>
                  <a:gd name="T45" fmla="*/ 106 h 562"/>
                  <a:gd name="T46" fmla="*/ 62 w 321"/>
                  <a:gd name="T47" fmla="*/ 123 h 562"/>
                  <a:gd name="T48" fmla="*/ 43 w 321"/>
                  <a:gd name="T49" fmla="*/ 157 h 562"/>
                  <a:gd name="T50" fmla="*/ 33 w 321"/>
                  <a:gd name="T51" fmla="*/ 196 h 562"/>
                  <a:gd name="T52" fmla="*/ 18 w 321"/>
                  <a:gd name="T53" fmla="*/ 221 h 562"/>
                  <a:gd name="T54" fmla="*/ 23 w 321"/>
                  <a:gd name="T55" fmla="*/ 265 h 562"/>
                  <a:gd name="T56" fmla="*/ 17 w 321"/>
                  <a:gd name="T57" fmla="*/ 293 h 562"/>
                  <a:gd name="T58" fmla="*/ 25 w 321"/>
                  <a:gd name="T59" fmla="*/ 332 h 562"/>
                  <a:gd name="T60" fmla="*/ 37 w 321"/>
                  <a:gd name="T61" fmla="*/ 347 h 562"/>
                  <a:gd name="T62" fmla="*/ 24 w 321"/>
                  <a:gd name="T63" fmla="*/ 381 h 562"/>
                  <a:gd name="T64" fmla="*/ 18 w 321"/>
                  <a:gd name="T65" fmla="*/ 398 h 562"/>
                  <a:gd name="T66" fmla="*/ 5 w 321"/>
                  <a:gd name="T67" fmla="*/ 401 h 562"/>
                  <a:gd name="T68" fmla="*/ 2 w 321"/>
                  <a:gd name="T69" fmla="*/ 420 h 562"/>
                  <a:gd name="T70" fmla="*/ 25 w 321"/>
                  <a:gd name="T71" fmla="*/ 427 h 562"/>
                  <a:gd name="T72" fmla="*/ 12 w 321"/>
                  <a:gd name="T73" fmla="*/ 449 h 562"/>
                  <a:gd name="T74" fmla="*/ 19 w 321"/>
                  <a:gd name="T75" fmla="*/ 474 h 562"/>
                  <a:gd name="T76" fmla="*/ 26 w 321"/>
                  <a:gd name="T77" fmla="*/ 499 h 562"/>
                  <a:gd name="T78" fmla="*/ 41 w 321"/>
                  <a:gd name="T79" fmla="*/ 475 h 562"/>
                  <a:gd name="T80" fmla="*/ 35 w 321"/>
                  <a:gd name="T81" fmla="*/ 458 h 562"/>
                  <a:gd name="T82" fmla="*/ 44 w 321"/>
                  <a:gd name="T83" fmla="*/ 446 h 562"/>
                  <a:gd name="T84" fmla="*/ 61 w 321"/>
                  <a:gd name="T85" fmla="*/ 463 h 562"/>
                  <a:gd name="T86" fmla="*/ 62 w 321"/>
                  <a:gd name="T87" fmla="*/ 482 h 562"/>
                  <a:gd name="T88" fmla="*/ 73 w 321"/>
                  <a:gd name="T89" fmla="*/ 500 h 562"/>
                  <a:gd name="T90" fmla="*/ 79 w 321"/>
                  <a:gd name="T91" fmla="*/ 491 h 562"/>
                  <a:gd name="T92" fmla="*/ 80 w 321"/>
                  <a:gd name="T93" fmla="*/ 520 h 562"/>
                  <a:gd name="T94" fmla="*/ 99 w 321"/>
                  <a:gd name="T95" fmla="*/ 538 h 562"/>
                  <a:gd name="T96" fmla="*/ 105 w 321"/>
                  <a:gd name="T97" fmla="*/ 560 h 562"/>
                  <a:gd name="T98" fmla="*/ 118 w 321"/>
                  <a:gd name="T99" fmla="*/ 554 h 562"/>
                  <a:gd name="T100" fmla="*/ 140 w 321"/>
                  <a:gd name="T101" fmla="*/ 549 h 562"/>
                  <a:gd name="T102" fmla="*/ 160 w 321"/>
                  <a:gd name="T103" fmla="*/ 533 h 562"/>
                  <a:gd name="T104" fmla="*/ 160 w 321"/>
                  <a:gd name="T105" fmla="*/ 507 h 562"/>
                  <a:gd name="T106" fmla="*/ 171 w 321"/>
                  <a:gd name="T107" fmla="*/ 516 h 562"/>
                  <a:gd name="T108" fmla="*/ 192 w 321"/>
                  <a:gd name="T109" fmla="*/ 525 h 562"/>
                  <a:gd name="T110" fmla="*/ 208 w 321"/>
                  <a:gd name="T111" fmla="*/ 512 h 562"/>
                  <a:gd name="T112" fmla="*/ 230 w 321"/>
                  <a:gd name="T113" fmla="*/ 514 h 562"/>
                  <a:gd name="T114" fmla="*/ 238 w 321"/>
                  <a:gd name="T115" fmla="*/ 493 h 562"/>
                  <a:gd name="T116" fmla="*/ 255 w 321"/>
                  <a:gd name="T117" fmla="*/ 487 h 562"/>
                  <a:gd name="T118" fmla="*/ 277 w 321"/>
                  <a:gd name="T119" fmla="*/ 500 h 562"/>
                  <a:gd name="T120" fmla="*/ 284 w 321"/>
                  <a:gd name="T121" fmla="*/ 477 h 562"/>
                  <a:gd name="T122" fmla="*/ 302 w 321"/>
                  <a:gd name="T123" fmla="*/ 465 h 56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21"/>
                  <a:gd name="T187" fmla="*/ 0 h 562"/>
                  <a:gd name="T188" fmla="*/ 321 w 321"/>
                  <a:gd name="T189" fmla="*/ 562 h 56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21" h="562">
                    <a:moveTo>
                      <a:pt x="319" y="456"/>
                    </a:moveTo>
                    <a:lnTo>
                      <a:pt x="320" y="453"/>
                    </a:lnTo>
                    <a:lnTo>
                      <a:pt x="319" y="452"/>
                    </a:lnTo>
                    <a:lnTo>
                      <a:pt x="319" y="451"/>
                    </a:lnTo>
                    <a:lnTo>
                      <a:pt x="318" y="451"/>
                    </a:lnTo>
                    <a:lnTo>
                      <a:pt x="320" y="448"/>
                    </a:lnTo>
                    <a:lnTo>
                      <a:pt x="317" y="446"/>
                    </a:lnTo>
                    <a:lnTo>
                      <a:pt x="318" y="444"/>
                    </a:lnTo>
                    <a:lnTo>
                      <a:pt x="318" y="443"/>
                    </a:lnTo>
                    <a:lnTo>
                      <a:pt x="317" y="443"/>
                    </a:lnTo>
                    <a:lnTo>
                      <a:pt x="317" y="445"/>
                    </a:lnTo>
                    <a:lnTo>
                      <a:pt x="313" y="443"/>
                    </a:lnTo>
                    <a:lnTo>
                      <a:pt x="312" y="444"/>
                    </a:lnTo>
                    <a:lnTo>
                      <a:pt x="312" y="446"/>
                    </a:lnTo>
                    <a:lnTo>
                      <a:pt x="310" y="446"/>
                    </a:lnTo>
                    <a:lnTo>
                      <a:pt x="309" y="446"/>
                    </a:lnTo>
                    <a:lnTo>
                      <a:pt x="307" y="452"/>
                    </a:lnTo>
                    <a:lnTo>
                      <a:pt x="304" y="449"/>
                    </a:lnTo>
                    <a:lnTo>
                      <a:pt x="304" y="446"/>
                    </a:lnTo>
                    <a:lnTo>
                      <a:pt x="303" y="444"/>
                    </a:lnTo>
                    <a:lnTo>
                      <a:pt x="302" y="444"/>
                    </a:lnTo>
                    <a:lnTo>
                      <a:pt x="302" y="443"/>
                    </a:lnTo>
                    <a:lnTo>
                      <a:pt x="305" y="440"/>
                    </a:lnTo>
                    <a:lnTo>
                      <a:pt x="307" y="440"/>
                    </a:lnTo>
                    <a:lnTo>
                      <a:pt x="309" y="438"/>
                    </a:lnTo>
                    <a:lnTo>
                      <a:pt x="307" y="437"/>
                    </a:lnTo>
                    <a:lnTo>
                      <a:pt x="308" y="436"/>
                    </a:lnTo>
                    <a:lnTo>
                      <a:pt x="307" y="436"/>
                    </a:lnTo>
                    <a:lnTo>
                      <a:pt x="309" y="435"/>
                    </a:lnTo>
                    <a:lnTo>
                      <a:pt x="307" y="435"/>
                    </a:lnTo>
                    <a:lnTo>
                      <a:pt x="306" y="434"/>
                    </a:lnTo>
                    <a:lnTo>
                      <a:pt x="306" y="431"/>
                    </a:lnTo>
                    <a:lnTo>
                      <a:pt x="304" y="431"/>
                    </a:lnTo>
                    <a:lnTo>
                      <a:pt x="304" y="429"/>
                    </a:lnTo>
                    <a:lnTo>
                      <a:pt x="304" y="427"/>
                    </a:lnTo>
                    <a:lnTo>
                      <a:pt x="302" y="427"/>
                    </a:lnTo>
                    <a:lnTo>
                      <a:pt x="302" y="424"/>
                    </a:lnTo>
                    <a:lnTo>
                      <a:pt x="301" y="423"/>
                    </a:lnTo>
                    <a:lnTo>
                      <a:pt x="300" y="422"/>
                    </a:lnTo>
                    <a:lnTo>
                      <a:pt x="298" y="419"/>
                    </a:lnTo>
                    <a:lnTo>
                      <a:pt x="297" y="414"/>
                    </a:lnTo>
                    <a:lnTo>
                      <a:pt x="294" y="414"/>
                    </a:lnTo>
                    <a:lnTo>
                      <a:pt x="291" y="411"/>
                    </a:lnTo>
                    <a:lnTo>
                      <a:pt x="289" y="408"/>
                    </a:lnTo>
                    <a:lnTo>
                      <a:pt x="288" y="408"/>
                    </a:lnTo>
                    <a:lnTo>
                      <a:pt x="287" y="409"/>
                    </a:lnTo>
                    <a:lnTo>
                      <a:pt x="286" y="409"/>
                    </a:lnTo>
                    <a:lnTo>
                      <a:pt x="286" y="405"/>
                    </a:lnTo>
                    <a:lnTo>
                      <a:pt x="285" y="403"/>
                    </a:lnTo>
                    <a:lnTo>
                      <a:pt x="286" y="399"/>
                    </a:lnTo>
                    <a:lnTo>
                      <a:pt x="282" y="395"/>
                    </a:lnTo>
                    <a:lnTo>
                      <a:pt x="280" y="388"/>
                    </a:lnTo>
                    <a:lnTo>
                      <a:pt x="277" y="385"/>
                    </a:lnTo>
                    <a:lnTo>
                      <a:pt x="276" y="388"/>
                    </a:lnTo>
                    <a:lnTo>
                      <a:pt x="276" y="392"/>
                    </a:lnTo>
                    <a:lnTo>
                      <a:pt x="275" y="392"/>
                    </a:lnTo>
                    <a:lnTo>
                      <a:pt x="274" y="392"/>
                    </a:lnTo>
                    <a:lnTo>
                      <a:pt x="273" y="393"/>
                    </a:lnTo>
                    <a:lnTo>
                      <a:pt x="272" y="393"/>
                    </a:lnTo>
                    <a:lnTo>
                      <a:pt x="272" y="392"/>
                    </a:lnTo>
                    <a:lnTo>
                      <a:pt x="265" y="385"/>
                    </a:lnTo>
                    <a:lnTo>
                      <a:pt x="264" y="383"/>
                    </a:lnTo>
                    <a:lnTo>
                      <a:pt x="264" y="378"/>
                    </a:lnTo>
                    <a:lnTo>
                      <a:pt x="263" y="372"/>
                    </a:lnTo>
                    <a:lnTo>
                      <a:pt x="264" y="371"/>
                    </a:lnTo>
                    <a:lnTo>
                      <a:pt x="267" y="365"/>
                    </a:lnTo>
                    <a:lnTo>
                      <a:pt x="268" y="365"/>
                    </a:lnTo>
                    <a:lnTo>
                      <a:pt x="268" y="363"/>
                    </a:lnTo>
                    <a:lnTo>
                      <a:pt x="269" y="363"/>
                    </a:lnTo>
                    <a:lnTo>
                      <a:pt x="268" y="362"/>
                    </a:lnTo>
                    <a:lnTo>
                      <a:pt x="269" y="359"/>
                    </a:lnTo>
                    <a:lnTo>
                      <a:pt x="268" y="359"/>
                    </a:lnTo>
                    <a:lnTo>
                      <a:pt x="267" y="361"/>
                    </a:lnTo>
                    <a:lnTo>
                      <a:pt x="266" y="361"/>
                    </a:lnTo>
                    <a:lnTo>
                      <a:pt x="265" y="360"/>
                    </a:lnTo>
                    <a:lnTo>
                      <a:pt x="264" y="359"/>
                    </a:lnTo>
                    <a:lnTo>
                      <a:pt x="263" y="359"/>
                    </a:lnTo>
                    <a:lnTo>
                      <a:pt x="264" y="357"/>
                    </a:lnTo>
                    <a:lnTo>
                      <a:pt x="263" y="355"/>
                    </a:lnTo>
                    <a:lnTo>
                      <a:pt x="261" y="355"/>
                    </a:lnTo>
                    <a:lnTo>
                      <a:pt x="259" y="355"/>
                    </a:lnTo>
                    <a:lnTo>
                      <a:pt x="257" y="352"/>
                    </a:lnTo>
                    <a:lnTo>
                      <a:pt x="255" y="352"/>
                    </a:lnTo>
                    <a:lnTo>
                      <a:pt x="252" y="349"/>
                    </a:lnTo>
                    <a:lnTo>
                      <a:pt x="251" y="352"/>
                    </a:lnTo>
                    <a:lnTo>
                      <a:pt x="250" y="351"/>
                    </a:lnTo>
                    <a:lnTo>
                      <a:pt x="248" y="353"/>
                    </a:lnTo>
                    <a:lnTo>
                      <a:pt x="245" y="354"/>
                    </a:lnTo>
                    <a:lnTo>
                      <a:pt x="245" y="356"/>
                    </a:lnTo>
                    <a:lnTo>
                      <a:pt x="240" y="356"/>
                    </a:lnTo>
                    <a:lnTo>
                      <a:pt x="237" y="355"/>
                    </a:lnTo>
                    <a:lnTo>
                      <a:pt x="233" y="347"/>
                    </a:lnTo>
                    <a:lnTo>
                      <a:pt x="230" y="345"/>
                    </a:lnTo>
                    <a:lnTo>
                      <a:pt x="227" y="344"/>
                    </a:lnTo>
                    <a:lnTo>
                      <a:pt x="227" y="342"/>
                    </a:lnTo>
                    <a:lnTo>
                      <a:pt x="225" y="342"/>
                    </a:lnTo>
                    <a:lnTo>
                      <a:pt x="224" y="344"/>
                    </a:lnTo>
                    <a:lnTo>
                      <a:pt x="224" y="345"/>
                    </a:lnTo>
                    <a:lnTo>
                      <a:pt x="224" y="346"/>
                    </a:lnTo>
                    <a:lnTo>
                      <a:pt x="221" y="351"/>
                    </a:lnTo>
                    <a:lnTo>
                      <a:pt x="216" y="349"/>
                    </a:lnTo>
                    <a:lnTo>
                      <a:pt x="214" y="348"/>
                    </a:lnTo>
                    <a:lnTo>
                      <a:pt x="212" y="342"/>
                    </a:lnTo>
                    <a:lnTo>
                      <a:pt x="211" y="341"/>
                    </a:lnTo>
                    <a:lnTo>
                      <a:pt x="209" y="342"/>
                    </a:lnTo>
                    <a:lnTo>
                      <a:pt x="208" y="341"/>
                    </a:lnTo>
                    <a:lnTo>
                      <a:pt x="202" y="338"/>
                    </a:lnTo>
                    <a:lnTo>
                      <a:pt x="199" y="340"/>
                    </a:lnTo>
                    <a:lnTo>
                      <a:pt x="197" y="341"/>
                    </a:lnTo>
                    <a:lnTo>
                      <a:pt x="195" y="341"/>
                    </a:lnTo>
                    <a:lnTo>
                      <a:pt x="195" y="342"/>
                    </a:lnTo>
                    <a:lnTo>
                      <a:pt x="194" y="341"/>
                    </a:lnTo>
                    <a:lnTo>
                      <a:pt x="192" y="338"/>
                    </a:lnTo>
                    <a:lnTo>
                      <a:pt x="194" y="337"/>
                    </a:lnTo>
                    <a:lnTo>
                      <a:pt x="194" y="336"/>
                    </a:lnTo>
                    <a:lnTo>
                      <a:pt x="191" y="333"/>
                    </a:lnTo>
                    <a:lnTo>
                      <a:pt x="191" y="332"/>
                    </a:lnTo>
                    <a:lnTo>
                      <a:pt x="192" y="331"/>
                    </a:lnTo>
                    <a:lnTo>
                      <a:pt x="192" y="329"/>
                    </a:lnTo>
                    <a:lnTo>
                      <a:pt x="189" y="327"/>
                    </a:lnTo>
                    <a:lnTo>
                      <a:pt x="189" y="325"/>
                    </a:lnTo>
                    <a:lnTo>
                      <a:pt x="188" y="325"/>
                    </a:lnTo>
                    <a:lnTo>
                      <a:pt x="187" y="324"/>
                    </a:lnTo>
                    <a:lnTo>
                      <a:pt x="183" y="317"/>
                    </a:lnTo>
                    <a:lnTo>
                      <a:pt x="183" y="315"/>
                    </a:lnTo>
                    <a:lnTo>
                      <a:pt x="182" y="316"/>
                    </a:lnTo>
                    <a:lnTo>
                      <a:pt x="180" y="312"/>
                    </a:lnTo>
                    <a:lnTo>
                      <a:pt x="176" y="314"/>
                    </a:lnTo>
                    <a:lnTo>
                      <a:pt x="173" y="314"/>
                    </a:lnTo>
                    <a:lnTo>
                      <a:pt x="172" y="315"/>
                    </a:lnTo>
                    <a:lnTo>
                      <a:pt x="170" y="318"/>
                    </a:lnTo>
                    <a:lnTo>
                      <a:pt x="170" y="316"/>
                    </a:lnTo>
                    <a:lnTo>
                      <a:pt x="170" y="314"/>
                    </a:lnTo>
                    <a:lnTo>
                      <a:pt x="166" y="312"/>
                    </a:lnTo>
                    <a:lnTo>
                      <a:pt x="164" y="313"/>
                    </a:lnTo>
                    <a:lnTo>
                      <a:pt x="162" y="312"/>
                    </a:lnTo>
                    <a:lnTo>
                      <a:pt x="162" y="311"/>
                    </a:lnTo>
                    <a:lnTo>
                      <a:pt x="160" y="309"/>
                    </a:lnTo>
                    <a:lnTo>
                      <a:pt x="159" y="309"/>
                    </a:lnTo>
                    <a:lnTo>
                      <a:pt x="159" y="310"/>
                    </a:lnTo>
                    <a:lnTo>
                      <a:pt x="159" y="308"/>
                    </a:lnTo>
                    <a:lnTo>
                      <a:pt x="158" y="307"/>
                    </a:lnTo>
                    <a:lnTo>
                      <a:pt x="156" y="308"/>
                    </a:lnTo>
                    <a:lnTo>
                      <a:pt x="155" y="307"/>
                    </a:lnTo>
                    <a:lnTo>
                      <a:pt x="152" y="306"/>
                    </a:lnTo>
                    <a:lnTo>
                      <a:pt x="151" y="303"/>
                    </a:lnTo>
                    <a:lnTo>
                      <a:pt x="151" y="304"/>
                    </a:lnTo>
                    <a:lnTo>
                      <a:pt x="149" y="302"/>
                    </a:lnTo>
                    <a:lnTo>
                      <a:pt x="147" y="303"/>
                    </a:lnTo>
                    <a:lnTo>
                      <a:pt x="147" y="302"/>
                    </a:lnTo>
                    <a:lnTo>
                      <a:pt x="146" y="303"/>
                    </a:lnTo>
                    <a:lnTo>
                      <a:pt x="145" y="303"/>
                    </a:lnTo>
                    <a:lnTo>
                      <a:pt x="145" y="305"/>
                    </a:lnTo>
                    <a:lnTo>
                      <a:pt x="144" y="305"/>
                    </a:lnTo>
                    <a:lnTo>
                      <a:pt x="143" y="304"/>
                    </a:lnTo>
                    <a:lnTo>
                      <a:pt x="142" y="305"/>
                    </a:lnTo>
                    <a:lnTo>
                      <a:pt x="142" y="304"/>
                    </a:lnTo>
                    <a:lnTo>
                      <a:pt x="141" y="303"/>
                    </a:lnTo>
                    <a:lnTo>
                      <a:pt x="141" y="302"/>
                    </a:lnTo>
                    <a:lnTo>
                      <a:pt x="140" y="302"/>
                    </a:lnTo>
                    <a:lnTo>
                      <a:pt x="141" y="299"/>
                    </a:lnTo>
                    <a:lnTo>
                      <a:pt x="144" y="293"/>
                    </a:lnTo>
                    <a:lnTo>
                      <a:pt x="146" y="286"/>
                    </a:lnTo>
                    <a:lnTo>
                      <a:pt x="145" y="286"/>
                    </a:lnTo>
                    <a:lnTo>
                      <a:pt x="143" y="290"/>
                    </a:lnTo>
                    <a:lnTo>
                      <a:pt x="141" y="288"/>
                    </a:lnTo>
                    <a:lnTo>
                      <a:pt x="140" y="289"/>
                    </a:lnTo>
                    <a:lnTo>
                      <a:pt x="140" y="291"/>
                    </a:lnTo>
                    <a:lnTo>
                      <a:pt x="139" y="290"/>
                    </a:lnTo>
                    <a:lnTo>
                      <a:pt x="137" y="290"/>
                    </a:lnTo>
                    <a:lnTo>
                      <a:pt x="134" y="293"/>
                    </a:lnTo>
                    <a:lnTo>
                      <a:pt x="134" y="291"/>
                    </a:lnTo>
                    <a:lnTo>
                      <a:pt x="132" y="290"/>
                    </a:lnTo>
                    <a:lnTo>
                      <a:pt x="131" y="285"/>
                    </a:lnTo>
                    <a:lnTo>
                      <a:pt x="131" y="283"/>
                    </a:lnTo>
                    <a:lnTo>
                      <a:pt x="131" y="282"/>
                    </a:lnTo>
                    <a:lnTo>
                      <a:pt x="129" y="281"/>
                    </a:lnTo>
                    <a:lnTo>
                      <a:pt x="128" y="283"/>
                    </a:lnTo>
                    <a:lnTo>
                      <a:pt x="129" y="280"/>
                    </a:lnTo>
                    <a:lnTo>
                      <a:pt x="128" y="277"/>
                    </a:lnTo>
                    <a:lnTo>
                      <a:pt x="125" y="275"/>
                    </a:lnTo>
                    <a:lnTo>
                      <a:pt x="126" y="273"/>
                    </a:lnTo>
                    <a:lnTo>
                      <a:pt x="127" y="273"/>
                    </a:lnTo>
                    <a:lnTo>
                      <a:pt x="126" y="270"/>
                    </a:lnTo>
                    <a:lnTo>
                      <a:pt x="128" y="270"/>
                    </a:lnTo>
                    <a:lnTo>
                      <a:pt x="129" y="269"/>
                    </a:lnTo>
                    <a:lnTo>
                      <a:pt x="131" y="267"/>
                    </a:lnTo>
                    <a:lnTo>
                      <a:pt x="132" y="264"/>
                    </a:lnTo>
                    <a:lnTo>
                      <a:pt x="132" y="265"/>
                    </a:lnTo>
                    <a:lnTo>
                      <a:pt x="133" y="264"/>
                    </a:lnTo>
                    <a:lnTo>
                      <a:pt x="133" y="263"/>
                    </a:lnTo>
                    <a:lnTo>
                      <a:pt x="134" y="261"/>
                    </a:lnTo>
                    <a:lnTo>
                      <a:pt x="131" y="260"/>
                    </a:lnTo>
                    <a:lnTo>
                      <a:pt x="132" y="258"/>
                    </a:lnTo>
                    <a:lnTo>
                      <a:pt x="131" y="255"/>
                    </a:lnTo>
                    <a:lnTo>
                      <a:pt x="134" y="255"/>
                    </a:lnTo>
                    <a:lnTo>
                      <a:pt x="134" y="254"/>
                    </a:lnTo>
                    <a:lnTo>
                      <a:pt x="136" y="253"/>
                    </a:lnTo>
                    <a:lnTo>
                      <a:pt x="137" y="251"/>
                    </a:lnTo>
                    <a:lnTo>
                      <a:pt x="139" y="251"/>
                    </a:lnTo>
                    <a:lnTo>
                      <a:pt x="140" y="247"/>
                    </a:lnTo>
                    <a:lnTo>
                      <a:pt x="141" y="248"/>
                    </a:lnTo>
                    <a:lnTo>
                      <a:pt x="142" y="246"/>
                    </a:lnTo>
                    <a:lnTo>
                      <a:pt x="142" y="245"/>
                    </a:lnTo>
                    <a:lnTo>
                      <a:pt x="143" y="244"/>
                    </a:lnTo>
                    <a:lnTo>
                      <a:pt x="142" y="241"/>
                    </a:lnTo>
                    <a:lnTo>
                      <a:pt x="142" y="240"/>
                    </a:lnTo>
                    <a:lnTo>
                      <a:pt x="141" y="237"/>
                    </a:lnTo>
                    <a:lnTo>
                      <a:pt x="136" y="231"/>
                    </a:lnTo>
                    <a:lnTo>
                      <a:pt x="133" y="229"/>
                    </a:lnTo>
                    <a:lnTo>
                      <a:pt x="132" y="226"/>
                    </a:lnTo>
                    <a:lnTo>
                      <a:pt x="133" y="226"/>
                    </a:lnTo>
                    <a:lnTo>
                      <a:pt x="137" y="224"/>
                    </a:lnTo>
                    <a:lnTo>
                      <a:pt x="137" y="221"/>
                    </a:lnTo>
                    <a:lnTo>
                      <a:pt x="137" y="219"/>
                    </a:lnTo>
                    <a:lnTo>
                      <a:pt x="137" y="213"/>
                    </a:lnTo>
                    <a:lnTo>
                      <a:pt x="140" y="210"/>
                    </a:lnTo>
                    <a:lnTo>
                      <a:pt x="143" y="204"/>
                    </a:lnTo>
                    <a:lnTo>
                      <a:pt x="146" y="204"/>
                    </a:lnTo>
                    <a:lnTo>
                      <a:pt x="149" y="201"/>
                    </a:lnTo>
                    <a:lnTo>
                      <a:pt x="150" y="199"/>
                    </a:lnTo>
                    <a:lnTo>
                      <a:pt x="153" y="199"/>
                    </a:lnTo>
                    <a:lnTo>
                      <a:pt x="157" y="191"/>
                    </a:lnTo>
                    <a:lnTo>
                      <a:pt x="157" y="188"/>
                    </a:lnTo>
                    <a:lnTo>
                      <a:pt x="156" y="186"/>
                    </a:lnTo>
                    <a:lnTo>
                      <a:pt x="157" y="182"/>
                    </a:lnTo>
                    <a:lnTo>
                      <a:pt x="155" y="172"/>
                    </a:lnTo>
                    <a:lnTo>
                      <a:pt x="162" y="167"/>
                    </a:lnTo>
                    <a:lnTo>
                      <a:pt x="164" y="165"/>
                    </a:lnTo>
                    <a:lnTo>
                      <a:pt x="162" y="162"/>
                    </a:lnTo>
                    <a:lnTo>
                      <a:pt x="162" y="157"/>
                    </a:lnTo>
                    <a:lnTo>
                      <a:pt x="162" y="154"/>
                    </a:lnTo>
                    <a:lnTo>
                      <a:pt x="166" y="152"/>
                    </a:lnTo>
                    <a:lnTo>
                      <a:pt x="167" y="152"/>
                    </a:lnTo>
                    <a:lnTo>
                      <a:pt x="171" y="147"/>
                    </a:lnTo>
                    <a:lnTo>
                      <a:pt x="173" y="145"/>
                    </a:lnTo>
                    <a:lnTo>
                      <a:pt x="175" y="141"/>
                    </a:lnTo>
                    <a:lnTo>
                      <a:pt x="177" y="143"/>
                    </a:lnTo>
                    <a:lnTo>
                      <a:pt x="178" y="142"/>
                    </a:lnTo>
                    <a:lnTo>
                      <a:pt x="180" y="141"/>
                    </a:lnTo>
                    <a:lnTo>
                      <a:pt x="180" y="138"/>
                    </a:lnTo>
                    <a:lnTo>
                      <a:pt x="182" y="136"/>
                    </a:lnTo>
                    <a:lnTo>
                      <a:pt x="184" y="135"/>
                    </a:lnTo>
                    <a:lnTo>
                      <a:pt x="189" y="138"/>
                    </a:lnTo>
                    <a:lnTo>
                      <a:pt x="192" y="136"/>
                    </a:lnTo>
                    <a:lnTo>
                      <a:pt x="196" y="129"/>
                    </a:lnTo>
                    <a:lnTo>
                      <a:pt x="200" y="125"/>
                    </a:lnTo>
                    <a:lnTo>
                      <a:pt x="202" y="121"/>
                    </a:lnTo>
                    <a:lnTo>
                      <a:pt x="203" y="121"/>
                    </a:lnTo>
                    <a:lnTo>
                      <a:pt x="205" y="126"/>
                    </a:lnTo>
                    <a:lnTo>
                      <a:pt x="207" y="128"/>
                    </a:lnTo>
                    <a:lnTo>
                      <a:pt x="208" y="127"/>
                    </a:lnTo>
                    <a:lnTo>
                      <a:pt x="211" y="129"/>
                    </a:lnTo>
                    <a:lnTo>
                      <a:pt x="214" y="127"/>
                    </a:lnTo>
                    <a:lnTo>
                      <a:pt x="214" y="125"/>
                    </a:lnTo>
                    <a:lnTo>
                      <a:pt x="215" y="124"/>
                    </a:lnTo>
                    <a:lnTo>
                      <a:pt x="215" y="121"/>
                    </a:lnTo>
                    <a:lnTo>
                      <a:pt x="216" y="119"/>
                    </a:lnTo>
                    <a:lnTo>
                      <a:pt x="215" y="115"/>
                    </a:lnTo>
                    <a:lnTo>
                      <a:pt x="216" y="112"/>
                    </a:lnTo>
                    <a:lnTo>
                      <a:pt x="217" y="107"/>
                    </a:lnTo>
                    <a:lnTo>
                      <a:pt x="217" y="105"/>
                    </a:lnTo>
                    <a:lnTo>
                      <a:pt x="218" y="104"/>
                    </a:lnTo>
                    <a:lnTo>
                      <a:pt x="216" y="96"/>
                    </a:lnTo>
                    <a:lnTo>
                      <a:pt x="212" y="98"/>
                    </a:lnTo>
                    <a:lnTo>
                      <a:pt x="211" y="95"/>
                    </a:lnTo>
                    <a:lnTo>
                      <a:pt x="208" y="92"/>
                    </a:lnTo>
                    <a:lnTo>
                      <a:pt x="202" y="92"/>
                    </a:lnTo>
                    <a:lnTo>
                      <a:pt x="201" y="93"/>
                    </a:lnTo>
                    <a:lnTo>
                      <a:pt x="200" y="101"/>
                    </a:lnTo>
                    <a:lnTo>
                      <a:pt x="197" y="101"/>
                    </a:lnTo>
                    <a:lnTo>
                      <a:pt x="196" y="99"/>
                    </a:lnTo>
                    <a:lnTo>
                      <a:pt x="195" y="93"/>
                    </a:lnTo>
                    <a:lnTo>
                      <a:pt x="194" y="91"/>
                    </a:lnTo>
                    <a:lnTo>
                      <a:pt x="197" y="90"/>
                    </a:lnTo>
                    <a:lnTo>
                      <a:pt x="196" y="88"/>
                    </a:lnTo>
                    <a:lnTo>
                      <a:pt x="197" y="85"/>
                    </a:lnTo>
                    <a:lnTo>
                      <a:pt x="200" y="80"/>
                    </a:lnTo>
                    <a:lnTo>
                      <a:pt x="198" y="78"/>
                    </a:lnTo>
                    <a:lnTo>
                      <a:pt x="196" y="78"/>
                    </a:lnTo>
                    <a:lnTo>
                      <a:pt x="195" y="77"/>
                    </a:lnTo>
                    <a:lnTo>
                      <a:pt x="196" y="73"/>
                    </a:lnTo>
                    <a:lnTo>
                      <a:pt x="198" y="74"/>
                    </a:lnTo>
                    <a:lnTo>
                      <a:pt x="200" y="72"/>
                    </a:lnTo>
                    <a:lnTo>
                      <a:pt x="199" y="70"/>
                    </a:lnTo>
                    <a:lnTo>
                      <a:pt x="192" y="70"/>
                    </a:lnTo>
                    <a:lnTo>
                      <a:pt x="189" y="73"/>
                    </a:lnTo>
                    <a:lnTo>
                      <a:pt x="186" y="73"/>
                    </a:lnTo>
                    <a:lnTo>
                      <a:pt x="182" y="74"/>
                    </a:lnTo>
                    <a:lnTo>
                      <a:pt x="178" y="71"/>
                    </a:lnTo>
                    <a:lnTo>
                      <a:pt x="176" y="68"/>
                    </a:lnTo>
                    <a:lnTo>
                      <a:pt x="172" y="66"/>
                    </a:lnTo>
                    <a:lnTo>
                      <a:pt x="171" y="63"/>
                    </a:lnTo>
                    <a:lnTo>
                      <a:pt x="168" y="61"/>
                    </a:lnTo>
                    <a:lnTo>
                      <a:pt x="166" y="58"/>
                    </a:lnTo>
                    <a:lnTo>
                      <a:pt x="164" y="54"/>
                    </a:lnTo>
                    <a:lnTo>
                      <a:pt x="160" y="49"/>
                    </a:lnTo>
                    <a:lnTo>
                      <a:pt x="160" y="44"/>
                    </a:lnTo>
                    <a:lnTo>
                      <a:pt x="162" y="40"/>
                    </a:lnTo>
                    <a:lnTo>
                      <a:pt x="160" y="38"/>
                    </a:lnTo>
                    <a:lnTo>
                      <a:pt x="157" y="37"/>
                    </a:lnTo>
                    <a:lnTo>
                      <a:pt x="156" y="38"/>
                    </a:lnTo>
                    <a:lnTo>
                      <a:pt x="151" y="39"/>
                    </a:lnTo>
                    <a:lnTo>
                      <a:pt x="149" y="40"/>
                    </a:lnTo>
                    <a:lnTo>
                      <a:pt x="145" y="40"/>
                    </a:lnTo>
                    <a:lnTo>
                      <a:pt x="141" y="32"/>
                    </a:lnTo>
                    <a:lnTo>
                      <a:pt x="138" y="32"/>
                    </a:lnTo>
                    <a:lnTo>
                      <a:pt x="138" y="27"/>
                    </a:lnTo>
                    <a:lnTo>
                      <a:pt x="136" y="27"/>
                    </a:lnTo>
                    <a:lnTo>
                      <a:pt x="131" y="27"/>
                    </a:lnTo>
                    <a:lnTo>
                      <a:pt x="131" y="28"/>
                    </a:lnTo>
                    <a:lnTo>
                      <a:pt x="123" y="24"/>
                    </a:lnTo>
                    <a:lnTo>
                      <a:pt x="119" y="20"/>
                    </a:lnTo>
                    <a:lnTo>
                      <a:pt x="117" y="20"/>
                    </a:lnTo>
                    <a:lnTo>
                      <a:pt x="116" y="17"/>
                    </a:lnTo>
                    <a:lnTo>
                      <a:pt x="115" y="17"/>
                    </a:lnTo>
                    <a:lnTo>
                      <a:pt x="113" y="18"/>
                    </a:lnTo>
                    <a:lnTo>
                      <a:pt x="111" y="15"/>
                    </a:lnTo>
                    <a:lnTo>
                      <a:pt x="109" y="14"/>
                    </a:lnTo>
                    <a:lnTo>
                      <a:pt x="105" y="17"/>
                    </a:lnTo>
                    <a:lnTo>
                      <a:pt x="102" y="17"/>
                    </a:lnTo>
                    <a:lnTo>
                      <a:pt x="101" y="15"/>
                    </a:lnTo>
                    <a:lnTo>
                      <a:pt x="96" y="10"/>
                    </a:lnTo>
                    <a:lnTo>
                      <a:pt x="90" y="6"/>
                    </a:lnTo>
                    <a:lnTo>
                      <a:pt x="85" y="0"/>
                    </a:lnTo>
                    <a:lnTo>
                      <a:pt x="85" y="1"/>
                    </a:lnTo>
                    <a:lnTo>
                      <a:pt x="83" y="0"/>
                    </a:lnTo>
                    <a:lnTo>
                      <a:pt x="82" y="3"/>
                    </a:lnTo>
                    <a:lnTo>
                      <a:pt x="80" y="2"/>
                    </a:lnTo>
                    <a:lnTo>
                      <a:pt x="78" y="3"/>
                    </a:lnTo>
                    <a:lnTo>
                      <a:pt x="78" y="6"/>
                    </a:lnTo>
                    <a:lnTo>
                      <a:pt x="76" y="7"/>
                    </a:lnTo>
                    <a:lnTo>
                      <a:pt x="76" y="10"/>
                    </a:lnTo>
                    <a:lnTo>
                      <a:pt x="74" y="12"/>
                    </a:lnTo>
                    <a:lnTo>
                      <a:pt x="74" y="15"/>
                    </a:lnTo>
                    <a:lnTo>
                      <a:pt x="72" y="17"/>
                    </a:lnTo>
                    <a:lnTo>
                      <a:pt x="71" y="19"/>
                    </a:lnTo>
                    <a:lnTo>
                      <a:pt x="72" y="19"/>
                    </a:lnTo>
                    <a:lnTo>
                      <a:pt x="75" y="22"/>
                    </a:lnTo>
                    <a:lnTo>
                      <a:pt x="77" y="24"/>
                    </a:lnTo>
                    <a:lnTo>
                      <a:pt x="79" y="25"/>
                    </a:lnTo>
                    <a:lnTo>
                      <a:pt x="80" y="28"/>
                    </a:lnTo>
                    <a:lnTo>
                      <a:pt x="83" y="28"/>
                    </a:lnTo>
                    <a:lnTo>
                      <a:pt x="83" y="29"/>
                    </a:lnTo>
                    <a:lnTo>
                      <a:pt x="83" y="31"/>
                    </a:lnTo>
                    <a:lnTo>
                      <a:pt x="84" y="32"/>
                    </a:lnTo>
                    <a:lnTo>
                      <a:pt x="85" y="38"/>
                    </a:lnTo>
                    <a:lnTo>
                      <a:pt x="83" y="41"/>
                    </a:lnTo>
                    <a:lnTo>
                      <a:pt x="86" y="48"/>
                    </a:lnTo>
                    <a:lnTo>
                      <a:pt x="88" y="51"/>
                    </a:lnTo>
                    <a:lnTo>
                      <a:pt x="88" y="56"/>
                    </a:lnTo>
                    <a:lnTo>
                      <a:pt x="87" y="57"/>
                    </a:lnTo>
                    <a:lnTo>
                      <a:pt x="88" y="62"/>
                    </a:lnTo>
                    <a:lnTo>
                      <a:pt x="91" y="66"/>
                    </a:lnTo>
                    <a:lnTo>
                      <a:pt x="93" y="67"/>
                    </a:lnTo>
                    <a:lnTo>
                      <a:pt x="94" y="66"/>
                    </a:lnTo>
                    <a:lnTo>
                      <a:pt x="96" y="66"/>
                    </a:lnTo>
                    <a:lnTo>
                      <a:pt x="96" y="68"/>
                    </a:lnTo>
                    <a:lnTo>
                      <a:pt x="102" y="72"/>
                    </a:lnTo>
                    <a:lnTo>
                      <a:pt x="104" y="72"/>
                    </a:lnTo>
                    <a:lnTo>
                      <a:pt x="104" y="75"/>
                    </a:lnTo>
                    <a:lnTo>
                      <a:pt x="106" y="76"/>
                    </a:lnTo>
                    <a:lnTo>
                      <a:pt x="108" y="84"/>
                    </a:lnTo>
                    <a:lnTo>
                      <a:pt x="107" y="89"/>
                    </a:lnTo>
                    <a:lnTo>
                      <a:pt x="105" y="92"/>
                    </a:lnTo>
                    <a:lnTo>
                      <a:pt x="102" y="93"/>
                    </a:lnTo>
                    <a:lnTo>
                      <a:pt x="102" y="95"/>
                    </a:lnTo>
                    <a:lnTo>
                      <a:pt x="104" y="98"/>
                    </a:lnTo>
                    <a:lnTo>
                      <a:pt x="104" y="101"/>
                    </a:lnTo>
                    <a:lnTo>
                      <a:pt x="108" y="107"/>
                    </a:lnTo>
                    <a:lnTo>
                      <a:pt x="106" y="108"/>
                    </a:lnTo>
                    <a:lnTo>
                      <a:pt x="104" y="112"/>
                    </a:lnTo>
                    <a:lnTo>
                      <a:pt x="100" y="112"/>
                    </a:lnTo>
                    <a:lnTo>
                      <a:pt x="99" y="112"/>
                    </a:lnTo>
                    <a:lnTo>
                      <a:pt x="98" y="107"/>
                    </a:lnTo>
                    <a:lnTo>
                      <a:pt x="96" y="104"/>
                    </a:lnTo>
                    <a:lnTo>
                      <a:pt x="96" y="100"/>
                    </a:lnTo>
                    <a:lnTo>
                      <a:pt x="94" y="98"/>
                    </a:lnTo>
                    <a:lnTo>
                      <a:pt x="91" y="101"/>
                    </a:lnTo>
                    <a:lnTo>
                      <a:pt x="91" y="103"/>
                    </a:lnTo>
                    <a:lnTo>
                      <a:pt x="91" y="104"/>
                    </a:lnTo>
                    <a:lnTo>
                      <a:pt x="90" y="106"/>
                    </a:lnTo>
                    <a:lnTo>
                      <a:pt x="89" y="108"/>
                    </a:lnTo>
                    <a:lnTo>
                      <a:pt x="87" y="108"/>
                    </a:lnTo>
                    <a:lnTo>
                      <a:pt x="86" y="107"/>
                    </a:lnTo>
                    <a:lnTo>
                      <a:pt x="81" y="107"/>
                    </a:lnTo>
                    <a:lnTo>
                      <a:pt x="80" y="106"/>
                    </a:lnTo>
                    <a:lnTo>
                      <a:pt x="78" y="105"/>
                    </a:lnTo>
                    <a:lnTo>
                      <a:pt x="74" y="106"/>
                    </a:lnTo>
                    <a:lnTo>
                      <a:pt x="73" y="108"/>
                    </a:lnTo>
                    <a:lnTo>
                      <a:pt x="70" y="109"/>
                    </a:lnTo>
                    <a:lnTo>
                      <a:pt x="69" y="111"/>
                    </a:lnTo>
                    <a:lnTo>
                      <a:pt x="69" y="115"/>
                    </a:lnTo>
                    <a:lnTo>
                      <a:pt x="68" y="117"/>
                    </a:lnTo>
                    <a:lnTo>
                      <a:pt x="66" y="118"/>
                    </a:lnTo>
                    <a:lnTo>
                      <a:pt x="63" y="117"/>
                    </a:lnTo>
                    <a:lnTo>
                      <a:pt x="62" y="119"/>
                    </a:lnTo>
                    <a:lnTo>
                      <a:pt x="63" y="121"/>
                    </a:lnTo>
                    <a:lnTo>
                      <a:pt x="62" y="123"/>
                    </a:lnTo>
                    <a:lnTo>
                      <a:pt x="62" y="126"/>
                    </a:lnTo>
                    <a:lnTo>
                      <a:pt x="61" y="129"/>
                    </a:lnTo>
                    <a:lnTo>
                      <a:pt x="58" y="131"/>
                    </a:lnTo>
                    <a:lnTo>
                      <a:pt x="57" y="133"/>
                    </a:lnTo>
                    <a:lnTo>
                      <a:pt x="55" y="136"/>
                    </a:lnTo>
                    <a:lnTo>
                      <a:pt x="55" y="139"/>
                    </a:lnTo>
                    <a:lnTo>
                      <a:pt x="54" y="141"/>
                    </a:lnTo>
                    <a:lnTo>
                      <a:pt x="52" y="145"/>
                    </a:lnTo>
                    <a:lnTo>
                      <a:pt x="52" y="148"/>
                    </a:lnTo>
                    <a:lnTo>
                      <a:pt x="51" y="150"/>
                    </a:lnTo>
                    <a:lnTo>
                      <a:pt x="50" y="150"/>
                    </a:lnTo>
                    <a:lnTo>
                      <a:pt x="50" y="148"/>
                    </a:lnTo>
                    <a:lnTo>
                      <a:pt x="49" y="148"/>
                    </a:lnTo>
                    <a:lnTo>
                      <a:pt x="49" y="154"/>
                    </a:lnTo>
                    <a:lnTo>
                      <a:pt x="47" y="156"/>
                    </a:lnTo>
                    <a:lnTo>
                      <a:pt x="44" y="156"/>
                    </a:lnTo>
                    <a:lnTo>
                      <a:pt x="43" y="157"/>
                    </a:lnTo>
                    <a:lnTo>
                      <a:pt x="44" y="158"/>
                    </a:lnTo>
                    <a:lnTo>
                      <a:pt x="46" y="164"/>
                    </a:lnTo>
                    <a:lnTo>
                      <a:pt x="46" y="166"/>
                    </a:lnTo>
                    <a:lnTo>
                      <a:pt x="47" y="169"/>
                    </a:lnTo>
                    <a:lnTo>
                      <a:pt x="44" y="170"/>
                    </a:lnTo>
                    <a:lnTo>
                      <a:pt x="41" y="174"/>
                    </a:lnTo>
                    <a:lnTo>
                      <a:pt x="39" y="176"/>
                    </a:lnTo>
                    <a:lnTo>
                      <a:pt x="43" y="180"/>
                    </a:lnTo>
                    <a:lnTo>
                      <a:pt x="41" y="183"/>
                    </a:lnTo>
                    <a:lnTo>
                      <a:pt x="44" y="187"/>
                    </a:lnTo>
                    <a:lnTo>
                      <a:pt x="41" y="189"/>
                    </a:lnTo>
                    <a:lnTo>
                      <a:pt x="41" y="191"/>
                    </a:lnTo>
                    <a:lnTo>
                      <a:pt x="41" y="192"/>
                    </a:lnTo>
                    <a:lnTo>
                      <a:pt x="40" y="193"/>
                    </a:lnTo>
                    <a:lnTo>
                      <a:pt x="37" y="193"/>
                    </a:lnTo>
                    <a:lnTo>
                      <a:pt x="36" y="195"/>
                    </a:lnTo>
                    <a:lnTo>
                      <a:pt x="33" y="196"/>
                    </a:lnTo>
                    <a:lnTo>
                      <a:pt x="31" y="199"/>
                    </a:lnTo>
                    <a:lnTo>
                      <a:pt x="30" y="198"/>
                    </a:lnTo>
                    <a:lnTo>
                      <a:pt x="29" y="199"/>
                    </a:lnTo>
                    <a:lnTo>
                      <a:pt x="29" y="202"/>
                    </a:lnTo>
                    <a:lnTo>
                      <a:pt x="28" y="203"/>
                    </a:lnTo>
                    <a:lnTo>
                      <a:pt x="26" y="204"/>
                    </a:lnTo>
                    <a:lnTo>
                      <a:pt x="25" y="207"/>
                    </a:lnTo>
                    <a:lnTo>
                      <a:pt x="25" y="208"/>
                    </a:lnTo>
                    <a:lnTo>
                      <a:pt x="23" y="208"/>
                    </a:lnTo>
                    <a:lnTo>
                      <a:pt x="21" y="205"/>
                    </a:lnTo>
                    <a:lnTo>
                      <a:pt x="16" y="204"/>
                    </a:lnTo>
                    <a:lnTo>
                      <a:pt x="13" y="204"/>
                    </a:lnTo>
                    <a:lnTo>
                      <a:pt x="14" y="212"/>
                    </a:lnTo>
                    <a:lnTo>
                      <a:pt x="16" y="213"/>
                    </a:lnTo>
                    <a:lnTo>
                      <a:pt x="17" y="216"/>
                    </a:lnTo>
                    <a:lnTo>
                      <a:pt x="17" y="218"/>
                    </a:lnTo>
                    <a:lnTo>
                      <a:pt x="18" y="221"/>
                    </a:lnTo>
                    <a:lnTo>
                      <a:pt x="17" y="224"/>
                    </a:lnTo>
                    <a:lnTo>
                      <a:pt x="17" y="228"/>
                    </a:lnTo>
                    <a:lnTo>
                      <a:pt x="17" y="230"/>
                    </a:lnTo>
                    <a:lnTo>
                      <a:pt x="18" y="231"/>
                    </a:lnTo>
                    <a:lnTo>
                      <a:pt x="18" y="236"/>
                    </a:lnTo>
                    <a:lnTo>
                      <a:pt x="21" y="238"/>
                    </a:lnTo>
                    <a:lnTo>
                      <a:pt x="19" y="241"/>
                    </a:lnTo>
                    <a:lnTo>
                      <a:pt x="22" y="243"/>
                    </a:lnTo>
                    <a:lnTo>
                      <a:pt x="21" y="245"/>
                    </a:lnTo>
                    <a:lnTo>
                      <a:pt x="21" y="247"/>
                    </a:lnTo>
                    <a:lnTo>
                      <a:pt x="20" y="249"/>
                    </a:lnTo>
                    <a:lnTo>
                      <a:pt x="20" y="251"/>
                    </a:lnTo>
                    <a:lnTo>
                      <a:pt x="21" y="253"/>
                    </a:lnTo>
                    <a:lnTo>
                      <a:pt x="19" y="255"/>
                    </a:lnTo>
                    <a:lnTo>
                      <a:pt x="21" y="261"/>
                    </a:lnTo>
                    <a:lnTo>
                      <a:pt x="21" y="264"/>
                    </a:lnTo>
                    <a:lnTo>
                      <a:pt x="23" y="265"/>
                    </a:lnTo>
                    <a:lnTo>
                      <a:pt x="22" y="266"/>
                    </a:lnTo>
                    <a:lnTo>
                      <a:pt x="23" y="267"/>
                    </a:lnTo>
                    <a:lnTo>
                      <a:pt x="19" y="268"/>
                    </a:lnTo>
                    <a:lnTo>
                      <a:pt x="17" y="268"/>
                    </a:lnTo>
                    <a:lnTo>
                      <a:pt x="15" y="270"/>
                    </a:lnTo>
                    <a:lnTo>
                      <a:pt x="14" y="271"/>
                    </a:lnTo>
                    <a:lnTo>
                      <a:pt x="13" y="277"/>
                    </a:lnTo>
                    <a:lnTo>
                      <a:pt x="13" y="279"/>
                    </a:lnTo>
                    <a:lnTo>
                      <a:pt x="14" y="280"/>
                    </a:lnTo>
                    <a:lnTo>
                      <a:pt x="12" y="283"/>
                    </a:lnTo>
                    <a:lnTo>
                      <a:pt x="13" y="286"/>
                    </a:lnTo>
                    <a:lnTo>
                      <a:pt x="15" y="287"/>
                    </a:lnTo>
                    <a:lnTo>
                      <a:pt x="16" y="289"/>
                    </a:lnTo>
                    <a:lnTo>
                      <a:pt x="17" y="290"/>
                    </a:lnTo>
                    <a:lnTo>
                      <a:pt x="18" y="291"/>
                    </a:lnTo>
                    <a:lnTo>
                      <a:pt x="17" y="293"/>
                    </a:lnTo>
                    <a:lnTo>
                      <a:pt x="17" y="295"/>
                    </a:lnTo>
                    <a:lnTo>
                      <a:pt x="17" y="298"/>
                    </a:lnTo>
                    <a:lnTo>
                      <a:pt x="19" y="304"/>
                    </a:lnTo>
                    <a:lnTo>
                      <a:pt x="23" y="311"/>
                    </a:lnTo>
                    <a:lnTo>
                      <a:pt x="25" y="313"/>
                    </a:lnTo>
                    <a:lnTo>
                      <a:pt x="26" y="314"/>
                    </a:lnTo>
                    <a:lnTo>
                      <a:pt x="28" y="316"/>
                    </a:lnTo>
                    <a:lnTo>
                      <a:pt x="26" y="317"/>
                    </a:lnTo>
                    <a:lnTo>
                      <a:pt x="26" y="318"/>
                    </a:lnTo>
                    <a:lnTo>
                      <a:pt x="26" y="319"/>
                    </a:lnTo>
                    <a:lnTo>
                      <a:pt x="25" y="320"/>
                    </a:lnTo>
                    <a:lnTo>
                      <a:pt x="28" y="325"/>
                    </a:lnTo>
                    <a:lnTo>
                      <a:pt x="30" y="326"/>
                    </a:lnTo>
                    <a:lnTo>
                      <a:pt x="28" y="329"/>
                    </a:lnTo>
                    <a:lnTo>
                      <a:pt x="26" y="329"/>
                    </a:lnTo>
                    <a:lnTo>
                      <a:pt x="25" y="332"/>
                    </a:lnTo>
                    <a:lnTo>
                      <a:pt x="23" y="333"/>
                    </a:lnTo>
                    <a:lnTo>
                      <a:pt x="23" y="335"/>
                    </a:lnTo>
                    <a:lnTo>
                      <a:pt x="25" y="335"/>
                    </a:lnTo>
                    <a:lnTo>
                      <a:pt x="26" y="335"/>
                    </a:lnTo>
                    <a:lnTo>
                      <a:pt x="27" y="333"/>
                    </a:lnTo>
                    <a:lnTo>
                      <a:pt x="29" y="333"/>
                    </a:lnTo>
                    <a:lnTo>
                      <a:pt x="29" y="335"/>
                    </a:lnTo>
                    <a:lnTo>
                      <a:pt x="30" y="336"/>
                    </a:lnTo>
                    <a:lnTo>
                      <a:pt x="31" y="335"/>
                    </a:lnTo>
                    <a:lnTo>
                      <a:pt x="34" y="335"/>
                    </a:lnTo>
                    <a:lnTo>
                      <a:pt x="35" y="338"/>
                    </a:lnTo>
                    <a:lnTo>
                      <a:pt x="38" y="340"/>
                    </a:lnTo>
                    <a:lnTo>
                      <a:pt x="37" y="342"/>
                    </a:lnTo>
                    <a:lnTo>
                      <a:pt x="35" y="346"/>
                    </a:lnTo>
                    <a:lnTo>
                      <a:pt x="36" y="346"/>
                    </a:lnTo>
                    <a:lnTo>
                      <a:pt x="36" y="348"/>
                    </a:lnTo>
                    <a:lnTo>
                      <a:pt x="37" y="347"/>
                    </a:lnTo>
                    <a:lnTo>
                      <a:pt x="37" y="349"/>
                    </a:lnTo>
                    <a:lnTo>
                      <a:pt x="35" y="356"/>
                    </a:lnTo>
                    <a:lnTo>
                      <a:pt x="36" y="359"/>
                    </a:lnTo>
                    <a:lnTo>
                      <a:pt x="33" y="361"/>
                    </a:lnTo>
                    <a:lnTo>
                      <a:pt x="32" y="361"/>
                    </a:lnTo>
                    <a:lnTo>
                      <a:pt x="30" y="362"/>
                    </a:lnTo>
                    <a:lnTo>
                      <a:pt x="30" y="364"/>
                    </a:lnTo>
                    <a:lnTo>
                      <a:pt x="30" y="365"/>
                    </a:lnTo>
                    <a:lnTo>
                      <a:pt x="29" y="365"/>
                    </a:lnTo>
                    <a:lnTo>
                      <a:pt x="26" y="365"/>
                    </a:lnTo>
                    <a:lnTo>
                      <a:pt x="25" y="367"/>
                    </a:lnTo>
                    <a:lnTo>
                      <a:pt x="25" y="369"/>
                    </a:lnTo>
                    <a:lnTo>
                      <a:pt x="23" y="369"/>
                    </a:lnTo>
                    <a:lnTo>
                      <a:pt x="23" y="374"/>
                    </a:lnTo>
                    <a:lnTo>
                      <a:pt x="22" y="375"/>
                    </a:lnTo>
                    <a:lnTo>
                      <a:pt x="22" y="377"/>
                    </a:lnTo>
                    <a:lnTo>
                      <a:pt x="24" y="381"/>
                    </a:lnTo>
                    <a:lnTo>
                      <a:pt x="26" y="384"/>
                    </a:lnTo>
                    <a:lnTo>
                      <a:pt x="26" y="385"/>
                    </a:lnTo>
                    <a:lnTo>
                      <a:pt x="25" y="384"/>
                    </a:lnTo>
                    <a:lnTo>
                      <a:pt x="25" y="382"/>
                    </a:lnTo>
                    <a:lnTo>
                      <a:pt x="24" y="382"/>
                    </a:lnTo>
                    <a:lnTo>
                      <a:pt x="24" y="383"/>
                    </a:lnTo>
                    <a:lnTo>
                      <a:pt x="23" y="384"/>
                    </a:lnTo>
                    <a:lnTo>
                      <a:pt x="22" y="388"/>
                    </a:lnTo>
                    <a:lnTo>
                      <a:pt x="20" y="389"/>
                    </a:lnTo>
                    <a:lnTo>
                      <a:pt x="21" y="391"/>
                    </a:lnTo>
                    <a:lnTo>
                      <a:pt x="21" y="392"/>
                    </a:lnTo>
                    <a:lnTo>
                      <a:pt x="19" y="393"/>
                    </a:lnTo>
                    <a:lnTo>
                      <a:pt x="20" y="395"/>
                    </a:lnTo>
                    <a:lnTo>
                      <a:pt x="21" y="396"/>
                    </a:lnTo>
                    <a:lnTo>
                      <a:pt x="18" y="397"/>
                    </a:lnTo>
                    <a:lnTo>
                      <a:pt x="18" y="398"/>
                    </a:lnTo>
                    <a:lnTo>
                      <a:pt x="17" y="399"/>
                    </a:lnTo>
                    <a:lnTo>
                      <a:pt x="16" y="398"/>
                    </a:lnTo>
                    <a:lnTo>
                      <a:pt x="15" y="401"/>
                    </a:lnTo>
                    <a:lnTo>
                      <a:pt x="17" y="401"/>
                    </a:lnTo>
                    <a:lnTo>
                      <a:pt x="17" y="404"/>
                    </a:lnTo>
                    <a:lnTo>
                      <a:pt x="19" y="405"/>
                    </a:lnTo>
                    <a:lnTo>
                      <a:pt x="18" y="406"/>
                    </a:lnTo>
                    <a:lnTo>
                      <a:pt x="17" y="406"/>
                    </a:lnTo>
                    <a:lnTo>
                      <a:pt x="13" y="407"/>
                    </a:lnTo>
                    <a:lnTo>
                      <a:pt x="13" y="406"/>
                    </a:lnTo>
                    <a:lnTo>
                      <a:pt x="12" y="405"/>
                    </a:lnTo>
                    <a:lnTo>
                      <a:pt x="11" y="403"/>
                    </a:lnTo>
                    <a:lnTo>
                      <a:pt x="9" y="404"/>
                    </a:lnTo>
                    <a:lnTo>
                      <a:pt x="9" y="402"/>
                    </a:lnTo>
                    <a:lnTo>
                      <a:pt x="8" y="404"/>
                    </a:lnTo>
                    <a:lnTo>
                      <a:pt x="8" y="403"/>
                    </a:lnTo>
                    <a:lnTo>
                      <a:pt x="5" y="401"/>
                    </a:lnTo>
                    <a:lnTo>
                      <a:pt x="3" y="399"/>
                    </a:lnTo>
                    <a:lnTo>
                      <a:pt x="5" y="401"/>
                    </a:lnTo>
                    <a:lnTo>
                      <a:pt x="3" y="401"/>
                    </a:lnTo>
                    <a:lnTo>
                      <a:pt x="4" y="403"/>
                    </a:lnTo>
                    <a:lnTo>
                      <a:pt x="3" y="404"/>
                    </a:lnTo>
                    <a:lnTo>
                      <a:pt x="3" y="405"/>
                    </a:lnTo>
                    <a:lnTo>
                      <a:pt x="3" y="407"/>
                    </a:lnTo>
                    <a:lnTo>
                      <a:pt x="3" y="410"/>
                    </a:lnTo>
                    <a:lnTo>
                      <a:pt x="5" y="410"/>
                    </a:lnTo>
                    <a:lnTo>
                      <a:pt x="5" y="411"/>
                    </a:lnTo>
                    <a:lnTo>
                      <a:pt x="5" y="412"/>
                    </a:lnTo>
                    <a:lnTo>
                      <a:pt x="3" y="413"/>
                    </a:lnTo>
                    <a:lnTo>
                      <a:pt x="2" y="416"/>
                    </a:lnTo>
                    <a:lnTo>
                      <a:pt x="1" y="417"/>
                    </a:lnTo>
                    <a:lnTo>
                      <a:pt x="0" y="420"/>
                    </a:lnTo>
                    <a:lnTo>
                      <a:pt x="2" y="420"/>
                    </a:lnTo>
                    <a:lnTo>
                      <a:pt x="5" y="420"/>
                    </a:lnTo>
                    <a:lnTo>
                      <a:pt x="6" y="420"/>
                    </a:lnTo>
                    <a:lnTo>
                      <a:pt x="8" y="421"/>
                    </a:lnTo>
                    <a:lnTo>
                      <a:pt x="9" y="420"/>
                    </a:lnTo>
                    <a:lnTo>
                      <a:pt x="11" y="422"/>
                    </a:lnTo>
                    <a:lnTo>
                      <a:pt x="12" y="423"/>
                    </a:lnTo>
                    <a:lnTo>
                      <a:pt x="15" y="426"/>
                    </a:lnTo>
                    <a:lnTo>
                      <a:pt x="18" y="426"/>
                    </a:lnTo>
                    <a:lnTo>
                      <a:pt x="20" y="425"/>
                    </a:lnTo>
                    <a:lnTo>
                      <a:pt x="19" y="426"/>
                    </a:lnTo>
                    <a:lnTo>
                      <a:pt x="19" y="427"/>
                    </a:lnTo>
                    <a:lnTo>
                      <a:pt x="20" y="426"/>
                    </a:lnTo>
                    <a:lnTo>
                      <a:pt x="21" y="426"/>
                    </a:lnTo>
                    <a:lnTo>
                      <a:pt x="23" y="427"/>
                    </a:lnTo>
                    <a:lnTo>
                      <a:pt x="24" y="427"/>
                    </a:lnTo>
                    <a:lnTo>
                      <a:pt x="25" y="427"/>
                    </a:lnTo>
                    <a:lnTo>
                      <a:pt x="25" y="428"/>
                    </a:lnTo>
                    <a:lnTo>
                      <a:pt x="22" y="428"/>
                    </a:lnTo>
                    <a:lnTo>
                      <a:pt x="20" y="427"/>
                    </a:lnTo>
                    <a:lnTo>
                      <a:pt x="18" y="427"/>
                    </a:lnTo>
                    <a:lnTo>
                      <a:pt x="17" y="430"/>
                    </a:lnTo>
                    <a:lnTo>
                      <a:pt x="17" y="431"/>
                    </a:lnTo>
                    <a:lnTo>
                      <a:pt x="17" y="435"/>
                    </a:lnTo>
                    <a:lnTo>
                      <a:pt x="15" y="436"/>
                    </a:lnTo>
                    <a:lnTo>
                      <a:pt x="14" y="435"/>
                    </a:lnTo>
                    <a:lnTo>
                      <a:pt x="11" y="437"/>
                    </a:lnTo>
                    <a:lnTo>
                      <a:pt x="12" y="439"/>
                    </a:lnTo>
                    <a:lnTo>
                      <a:pt x="10" y="443"/>
                    </a:lnTo>
                    <a:lnTo>
                      <a:pt x="11" y="445"/>
                    </a:lnTo>
                    <a:lnTo>
                      <a:pt x="11" y="448"/>
                    </a:lnTo>
                    <a:lnTo>
                      <a:pt x="12" y="449"/>
                    </a:lnTo>
                    <a:lnTo>
                      <a:pt x="12" y="451"/>
                    </a:lnTo>
                    <a:lnTo>
                      <a:pt x="13" y="454"/>
                    </a:lnTo>
                    <a:lnTo>
                      <a:pt x="12" y="454"/>
                    </a:lnTo>
                    <a:lnTo>
                      <a:pt x="13" y="455"/>
                    </a:lnTo>
                    <a:lnTo>
                      <a:pt x="12" y="462"/>
                    </a:lnTo>
                    <a:lnTo>
                      <a:pt x="14" y="463"/>
                    </a:lnTo>
                    <a:lnTo>
                      <a:pt x="15" y="464"/>
                    </a:lnTo>
                    <a:lnTo>
                      <a:pt x="17" y="464"/>
                    </a:lnTo>
                    <a:lnTo>
                      <a:pt x="17" y="465"/>
                    </a:lnTo>
                    <a:lnTo>
                      <a:pt x="17" y="468"/>
                    </a:lnTo>
                    <a:lnTo>
                      <a:pt x="18" y="470"/>
                    </a:lnTo>
                    <a:lnTo>
                      <a:pt x="17" y="471"/>
                    </a:lnTo>
                    <a:lnTo>
                      <a:pt x="19" y="471"/>
                    </a:lnTo>
                    <a:lnTo>
                      <a:pt x="19" y="473"/>
                    </a:lnTo>
                    <a:lnTo>
                      <a:pt x="19" y="474"/>
                    </a:lnTo>
                    <a:lnTo>
                      <a:pt x="18" y="474"/>
                    </a:lnTo>
                    <a:lnTo>
                      <a:pt x="17" y="474"/>
                    </a:lnTo>
                    <a:lnTo>
                      <a:pt x="15" y="474"/>
                    </a:lnTo>
                    <a:lnTo>
                      <a:pt x="15" y="475"/>
                    </a:lnTo>
                    <a:lnTo>
                      <a:pt x="12" y="474"/>
                    </a:lnTo>
                    <a:lnTo>
                      <a:pt x="11" y="477"/>
                    </a:lnTo>
                    <a:lnTo>
                      <a:pt x="11" y="478"/>
                    </a:lnTo>
                    <a:lnTo>
                      <a:pt x="9" y="480"/>
                    </a:lnTo>
                    <a:lnTo>
                      <a:pt x="9" y="483"/>
                    </a:lnTo>
                    <a:lnTo>
                      <a:pt x="11" y="484"/>
                    </a:lnTo>
                    <a:lnTo>
                      <a:pt x="11" y="482"/>
                    </a:lnTo>
                    <a:lnTo>
                      <a:pt x="13" y="483"/>
                    </a:lnTo>
                    <a:lnTo>
                      <a:pt x="12" y="486"/>
                    </a:lnTo>
                    <a:lnTo>
                      <a:pt x="18" y="490"/>
                    </a:lnTo>
                    <a:lnTo>
                      <a:pt x="21" y="494"/>
                    </a:lnTo>
                    <a:lnTo>
                      <a:pt x="25" y="496"/>
                    </a:lnTo>
                    <a:lnTo>
                      <a:pt x="26" y="499"/>
                    </a:lnTo>
                    <a:lnTo>
                      <a:pt x="27" y="498"/>
                    </a:lnTo>
                    <a:lnTo>
                      <a:pt x="27" y="497"/>
                    </a:lnTo>
                    <a:lnTo>
                      <a:pt x="30" y="493"/>
                    </a:lnTo>
                    <a:lnTo>
                      <a:pt x="32" y="491"/>
                    </a:lnTo>
                    <a:lnTo>
                      <a:pt x="34" y="491"/>
                    </a:lnTo>
                    <a:lnTo>
                      <a:pt x="36" y="490"/>
                    </a:lnTo>
                    <a:lnTo>
                      <a:pt x="37" y="491"/>
                    </a:lnTo>
                    <a:lnTo>
                      <a:pt x="36" y="489"/>
                    </a:lnTo>
                    <a:lnTo>
                      <a:pt x="36" y="486"/>
                    </a:lnTo>
                    <a:lnTo>
                      <a:pt x="36" y="484"/>
                    </a:lnTo>
                    <a:lnTo>
                      <a:pt x="37" y="484"/>
                    </a:lnTo>
                    <a:lnTo>
                      <a:pt x="39" y="478"/>
                    </a:lnTo>
                    <a:lnTo>
                      <a:pt x="40" y="481"/>
                    </a:lnTo>
                    <a:lnTo>
                      <a:pt x="41" y="480"/>
                    </a:lnTo>
                    <a:lnTo>
                      <a:pt x="44" y="478"/>
                    </a:lnTo>
                    <a:lnTo>
                      <a:pt x="41" y="475"/>
                    </a:lnTo>
                    <a:lnTo>
                      <a:pt x="42" y="473"/>
                    </a:lnTo>
                    <a:lnTo>
                      <a:pt x="41" y="472"/>
                    </a:lnTo>
                    <a:lnTo>
                      <a:pt x="38" y="471"/>
                    </a:lnTo>
                    <a:lnTo>
                      <a:pt x="38" y="469"/>
                    </a:lnTo>
                    <a:lnTo>
                      <a:pt x="38" y="468"/>
                    </a:lnTo>
                    <a:lnTo>
                      <a:pt x="40" y="467"/>
                    </a:lnTo>
                    <a:lnTo>
                      <a:pt x="41" y="466"/>
                    </a:lnTo>
                    <a:lnTo>
                      <a:pt x="39" y="465"/>
                    </a:lnTo>
                    <a:lnTo>
                      <a:pt x="39" y="463"/>
                    </a:lnTo>
                    <a:lnTo>
                      <a:pt x="38" y="463"/>
                    </a:lnTo>
                    <a:lnTo>
                      <a:pt x="37" y="464"/>
                    </a:lnTo>
                    <a:lnTo>
                      <a:pt x="37" y="462"/>
                    </a:lnTo>
                    <a:lnTo>
                      <a:pt x="36" y="462"/>
                    </a:lnTo>
                    <a:lnTo>
                      <a:pt x="36" y="459"/>
                    </a:lnTo>
                    <a:lnTo>
                      <a:pt x="35" y="459"/>
                    </a:lnTo>
                    <a:lnTo>
                      <a:pt x="35" y="458"/>
                    </a:lnTo>
                    <a:lnTo>
                      <a:pt x="34" y="459"/>
                    </a:lnTo>
                    <a:lnTo>
                      <a:pt x="33" y="458"/>
                    </a:lnTo>
                    <a:lnTo>
                      <a:pt x="32" y="458"/>
                    </a:lnTo>
                    <a:lnTo>
                      <a:pt x="33" y="456"/>
                    </a:lnTo>
                    <a:lnTo>
                      <a:pt x="32" y="454"/>
                    </a:lnTo>
                    <a:lnTo>
                      <a:pt x="30" y="454"/>
                    </a:lnTo>
                    <a:lnTo>
                      <a:pt x="31" y="452"/>
                    </a:lnTo>
                    <a:lnTo>
                      <a:pt x="33" y="454"/>
                    </a:lnTo>
                    <a:lnTo>
                      <a:pt x="34" y="453"/>
                    </a:lnTo>
                    <a:lnTo>
                      <a:pt x="35" y="451"/>
                    </a:lnTo>
                    <a:lnTo>
                      <a:pt x="36" y="451"/>
                    </a:lnTo>
                    <a:lnTo>
                      <a:pt x="36" y="450"/>
                    </a:lnTo>
                    <a:lnTo>
                      <a:pt x="35" y="450"/>
                    </a:lnTo>
                    <a:lnTo>
                      <a:pt x="34" y="450"/>
                    </a:lnTo>
                    <a:lnTo>
                      <a:pt x="36" y="449"/>
                    </a:lnTo>
                    <a:lnTo>
                      <a:pt x="38" y="449"/>
                    </a:lnTo>
                    <a:lnTo>
                      <a:pt x="44" y="446"/>
                    </a:lnTo>
                    <a:lnTo>
                      <a:pt x="45" y="446"/>
                    </a:lnTo>
                    <a:lnTo>
                      <a:pt x="46" y="445"/>
                    </a:lnTo>
                    <a:lnTo>
                      <a:pt x="47" y="446"/>
                    </a:lnTo>
                    <a:lnTo>
                      <a:pt x="50" y="451"/>
                    </a:lnTo>
                    <a:lnTo>
                      <a:pt x="52" y="448"/>
                    </a:lnTo>
                    <a:lnTo>
                      <a:pt x="54" y="449"/>
                    </a:lnTo>
                    <a:lnTo>
                      <a:pt x="54" y="450"/>
                    </a:lnTo>
                    <a:lnTo>
                      <a:pt x="55" y="450"/>
                    </a:lnTo>
                    <a:lnTo>
                      <a:pt x="54" y="451"/>
                    </a:lnTo>
                    <a:lnTo>
                      <a:pt x="55" y="452"/>
                    </a:lnTo>
                    <a:lnTo>
                      <a:pt x="57" y="454"/>
                    </a:lnTo>
                    <a:lnTo>
                      <a:pt x="57" y="458"/>
                    </a:lnTo>
                    <a:lnTo>
                      <a:pt x="55" y="458"/>
                    </a:lnTo>
                    <a:lnTo>
                      <a:pt x="55" y="459"/>
                    </a:lnTo>
                    <a:lnTo>
                      <a:pt x="57" y="459"/>
                    </a:lnTo>
                    <a:lnTo>
                      <a:pt x="57" y="461"/>
                    </a:lnTo>
                    <a:lnTo>
                      <a:pt x="61" y="463"/>
                    </a:lnTo>
                    <a:lnTo>
                      <a:pt x="62" y="464"/>
                    </a:lnTo>
                    <a:lnTo>
                      <a:pt x="61" y="465"/>
                    </a:lnTo>
                    <a:lnTo>
                      <a:pt x="59" y="465"/>
                    </a:lnTo>
                    <a:lnTo>
                      <a:pt x="59" y="466"/>
                    </a:lnTo>
                    <a:lnTo>
                      <a:pt x="60" y="466"/>
                    </a:lnTo>
                    <a:lnTo>
                      <a:pt x="61" y="467"/>
                    </a:lnTo>
                    <a:lnTo>
                      <a:pt x="62" y="467"/>
                    </a:lnTo>
                    <a:lnTo>
                      <a:pt x="63" y="468"/>
                    </a:lnTo>
                    <a:lnTo>
                      <a:pt x="64" y="469"/>
                    </a:lnTo>
                    <a:lnTo>
                      <a:pt x="64" y="472"/>
                    </a:lnTo>
                    <a:lnTo>
                      <a:pt x="63" y="472"/>
                    </a:lnTo>
                    <a:lnTo>
                      <a:pt x="63" y="473"/>
                    </a:lnTo>
                    <a:lnTo>
                      <a:pt x="64" y="477"/>
                    </a:lnTo>
                    <a:lnTo>
                      <a:pt x="64" y="479"/>
                    </a:lnTo>
                    <a:lnTo>
                      <a:pt x="64" y="482"/>
                    </a:lnTo>
                    <a:lnTo>
                      <a:pt x="63" y="481"/>
                    </a:lnTo>
                    <a:lnTo>
                      <a:pt x="62" y="482"/>
                    </a:lnTo>
                    <a:lnTo>
                      <a:pt x="65" y="485"/>
                    </a:lnTo>
                    <a:lnTo>
                      <a:pt x="66" y="486"/>
                    </a:lnTo>
                    <a:lnTo>
                      <a:pt x="69" y="485"/>
                    </a:lnTo>
                    <a:lnTo>
                      <a:pt x="69" y="486"/>
                    </a:lnTo>
                    <a:lnTo>
                      <a:pt x="70" y="486"/>
                    </a:lnTo>
                    <a:lnTo>
                      <a:pt x="70" y="487"/>
                    </a:lnTo>
                    <a:lnTo>
                      <a:pt x="69" y="490"/>
                    </a:lnTo>
                    <a:lnTo>
                      <a:pt x="70" y="490"/>
                    </a:lnTo>
                    <a:lnTo>
                      <a:pt x="70" y="492"/>
                    </a:lnTo>
                    <a:lnTo>
                      <a:pt x="69" y="491"/>
                    </a:lnTo>
                    <a:lnTo>
                      <a:pt x="69" y="494"/>
                    </a:lnTo>
                    <a:lnTo>
                      <a:pt x="72" y="494"/>
                    </a:lnTo>
                    <a:lnTo>
                      <a:pt x="71" y="496"/>
                    </a:lnTo>
                    <a:lnTo>
                      <a:pt x="72" y="496"/>
                    </a:lnTo>
                    <a:lnTo>
                      <a:pt x="72" y="498"/>
                    </a:lnTo>
                    <a:lnTo>
                      <a:pt x="74" y="498"/>
                    </a:lnTo>
                    <a:lnTo>
                      <a:pt x="73" y="500"/>
                    </a:lnTo>
                    <a:lnTo>
                      <a:pt x="73" y="501"/>
                    </a:lnTo>
                    <a:lnTo>
                      <a:pt x="74" y="501"/>
                    </a:lnTo>
                    <a:lnTo>
                      <a:pt x="75" y="501"/>
                    </a:lnTo>
                    <a:lnTo>
                      <a:pt x="77" y="501"/>
                    </a:lnTo>
                    <a:lnTo>
                      <a:pt x="78" y="500"/>
                    </a:lnTo>
                    <a:lnTo>
                      <a:pt x="77" y="500"/>
                    </a:lnTo>
                    <a:lnTo>
                      <a:pt x="77" y="499"/>
                    </a:lnTo>
                    <a:lnTo>
                      <a:pt x="77" y="497"/>
                    </a:lnTo>
                    <a:lnTo>
                      <a:pt x="76" y="496"/>
                    </a:lnTo>
                    <a:lnTo>
                      <a:pt x="78" y="496"/>
                    </a:lnTo>
                    <a:lnTo>
                      <a:pt x="78" y="495"/>
                    </a:lnTo>
                    <a:lnTo>
                      <a:pt x="79" y="494"/>
                    </a:lnTo>
                    <a:lnTo>
                      <a:pt x="78" y="491"/>
                    </a:lnTo>
                    <a:lnTo>
                      <a:pt x="79" y="491"/>
                    </a:lnTo>
                    <a:lnTo>
                      <a:pt x="80" y="494"/>
                    </a:lnTo>
                    <a:lnTo>
                      <a:pt x="80" y="496"/>
                    </a:lnTo>
                    <a:lnTo>
                      <a:pt x="82" y="498"/>
                    </a:lnTo>
                    <a:lnTo>
                      <a:pt x="82" y="501"/>
                    </a:lnTo>
                    <a:lnTo>
                      <a:pt x="80" y="503"/>
                    </a:lnTo>
                    <a:lnTo>
                      <a:pt x="79" y="504"/>
                    </a:lnTo>
                    <a:lnTo>
                      <a:pt x="80" y="506"/>
                    </a:lnTo>
                    <a:lnTo>
                      <a:pt x="78" y="507"/>
                    </a:lnTo>
                    <a:lnTo>
                      <a:pt x="76" y="510"/>
                    </a:lnTo>
                    <a:lnTo>
                      <a:pt x="77" y="512"/>
                    </a:lnTo>
                    <a:lnTo>
                      <a:pt x="77" y="513"/>
                    </a:lnTo>
                    <a:lnTo>
                      <a:pt x="77" y="514"/>
                    </a:lnTo>
                    <a:lnTo>
                      <a:pt x="75" y="515"/>
                    </a:lnTo>
                    <a:lnTo>
                      <a:pt x="76" y="518"/>
                    </a:lnTo>
                    <a:lnTo>
                      <a:pt x="77" y="517"/>
                    </a:lnTo>
                    <a:lnTo>
                      <a:pt x="80" y="519"/>
                    </a:lnTo>
                    <a:lnTo>
                      <a:pt x="80" y="520"/>
                    </a:lnTo>
                    <a:lnTo>
                      <a:pt x="80" y="521"/>
                    </a:lnTo>
                    <a:lnTo>
                      <a:pt x="83" y="522"/>
                    </a:lnTo>
                    <a:lnTo>
                      <a:pt x="83" y="523"/>
                    </a:lnTo>
                    <a:lnTo>
                      <a:pt x="85" y="523"/>
                    </a:lnTo>
                    <a:lnTo>
                      <a:pt x="88" y="525"/>
                    </a:lnTo>
                    <a:lnTo>
                      <a:pt x="90" y="525"/>
                    </a:lnTo>
                    <a:lnTo>
                      <a:pt x="93" y="527"/>
                    </a:lnTo>
                    <a:lnTo>
                      <a:pt x="94" y="527"/>
                    </a:lnTo>
                    <a:lnTo>
                      <a:pt x="94" y="528"/>
                    </a:lnTo>
                    <a:lnTo>
                      <a:pt x="95" y="530"/>
                    </a:lnTo>
                    <a:lnTo>
                      <a:pt x="97" y="534"/>
                    </a:lnTo>
                    <a:lnTo>
                      <a:pt x="100" y="533"/>
                    </a:lnTo>
                    <a:lnTo>
                      <a:pt x="100" y="536"/>
                    </a:lnTo>
                    <a:lnTo>
                      <a:pt x="99" y="537"/>
                    </a:lnTo>
                    <a:lnTo>
                      <a:pt x="99" y="538"/>
                    </a:lnTo>
                    <a:lnTo>
                      <a:pt x="98" y="538"/>
                    </a:lnTo>
                    <a:lnTo>
                      <a:pt x="99" y="541"/>
                    </a:lnTo>
                    <a:lnTo>
                      <a:pt x="100" y="544"/>
                    </a:lnTo>
                    <a:lnTo>
                      <a:pt x="100" y="547"/>
                    </a:lnTo>
                    <a:lnTo>
                      <a:pt x="101" y="549"/>
                    </a:lnTo>
                    <a:lnTo>
                      <a:pt x="101" y="548"/>
                    </a:lnTo>
                    <a:lnTo>
                      <a:pt x="102" y="549"/>
                    </a:lnTo>
                    <a:lnTo>
                      <a:pt x="102" y="551"/>
                    </a:lnTo>
                    <a:lnTo>
                      <a:pt x="102" y="555"/>
                    </a:lnTo>
                    <a:lnTo>
                      <a:pt x="103" y="555"/>
                    </a:lnTo>
                    <a:lnTo>
                      <a:pt x="102" y="557"/>
                    </a:lnTo>
                    <a:lnTo>
                      <a:pt x="104" y="556"/>
                    </a:lnTo>
                    <a:lnTo>
                      <a:pt x="104" y="557"/>
                    </a:lnTo>
                    <a:lnTo>
                      <a:pt x="104" y="558"/>
                    </a:lnTo>
                    <a:lnTo>
                      <a:pt x="103" y="558"/>
                    </a:lnTo>
                    <a:lnTo>
                      <a:pt x="104" y="559"/>
                    </a:lnTo>
                    <a:lnTo>
                      <a:pt x="105" y="560"/>
                    </a:lnTo>
                    <a:lnTo>
                      <a:pt x="106" y="561"/>
                    </a:lnTo>
                    <a:lnTo>
                      <a:pt x="107" y="562"/>
                    </a:lnTo>
                    <a:lnTo>
                      <a:pt x="107" y="561"/>
                    </a:lnTo>
                    <a:lnTo>
                      <a:pt x="108" y="561"/>
                    </a:lnTo>
                    <a:lnTo>
                      <a:pt x="108" y="562"/>
                    </a:lnTo>
                    <a:lnTo>
                      <a:pt x="109" y="560"/>
                    </a:lnTo>
                    <a:lnTo>
                      <a:pt x="110" y="557"/>
                    </a:lnTo>
                    <a:lnTo>
                      <a:pt x="109" y="557"/>
                    </a:lnTo>
                    <a:lnTo>
                      <a:pt x="109" y="554"/>
                    </a:lnTo>
                    <a:lnTo>
                      <a:pt x="111" y="553"/>
                    </a:lnTo>
                    <a:lnTo>
                      <a:pt x="113" y="553"/>
                    </a:lnTo>
                    <a:lnTo>
                      <a:pt x="115" y="552"/>
                    </a:lnTo>
                    <a:lnTo>
                      <a:pt x="113" y="550"/>
                    </a:lnTo>
                    <a:lnTo>
                      <a:pt x="114" y="549"/>
                    </a:lnTo>
                    <a:lnTo>
                      <a:pt x="115" y="549"/>
                    </a:lnTo>
                    <a:lnTo>
                      <a:pt x="116" y="552"/>
                    </a:lnTo>
                    <a:lnTo>
                      <a:pt x="118" y="554"/>
                    </a:lnTo>
                    <a:lnTo>
                      <a:pt x="119" y="553"/>
                    </a:lnTo>
                    <a:lnTo>
                      <a:pt x="119" y="551"/>
                    </a:lnTo>
                    <a:lnTo>
                      <a:pt x="121" y="551"/>
                    </a:lnTo>
                    <a:lnTo>
                      <a:pt x="123" y="551"/>
                    </a:lnTo>
                    <a:lnTo>
                      <a:pt x="124" y="550"/>
                    </a:lnTo>
                    <a:lnTo>
                      <a:pt x="127" y="552"/>
                    </a:lnTo>
                    <a:lnTo>
                      <a:pt x="128" y="551"/>
                    </a:lnTo>
                    <a:lnTo>
                      <a:pt x="130" y="551"/>
                    </a:lnTo>
                    <a:lnTo>
                      <a:pt x="131" y="548"/>
                    </a:lnTo>
                    <a:lnTo>
                      <a:pt x="131" y="551"/>
                    </a:lnTo>
                    <a:lnTo>
                      <a:pt x="132" y="550"/>
                    </a:lnTo>
                    <a:lnTo>
                      <a:pt x="135" y="553"/>
                    </a:lnTo>
                    <a:lnTo>
                      <a:pt x="135" y="552"/>
                    </a:lnTo>
                    <a:lnTo>
                      <a:pt x="137" y="552"/>
                    </a:lnTo>
                    <a:lnTo>
                      <a:pt x="140" y="551"/>
                    </a:lnTo>
                    <a:lnTo>
                      <a:pt x="141" y="550"/>
                    </a:lnTo>
                    <a:lnTo>
                      <a:pt x="140" y="549"/>
                    </a:lnTo>
                    <a:lnTo>
                      <a:pt x="141" y="548"/>
                    </a:lnTo>
                    <a:lnTo>
                      <a:pt x="143" y="547"/>
                    </a:lnTo>
                    <a:lnTo>
                      <a:pt x="143" y="545"/>
                    </a:lnTo>
                    <a:lnTo>
                      <a:pt x="145" y="545"/>
                    </a:lnTo>
                    <a:lnTo>
                      <a:pt x="144" y="544"/>
                    </a:lnTo>
                    <a:lnTo>
                      <a:pt x="145" y="544"/>
                    </a:lnTo>
                    <a:lnTo>
                      <a:pt x="146" y="543"/>
                    </a:lnTo>
                    <a:lnTo>
                      <a:pt x="147" y="543"/>
                    </a:lnTo>
                    <a:lnTo>
                      <a:pt x="149" y="536"/>
                    </a:lnTo>
                    <a:lnTo>
                      <a:pt x="149" y="537"/>
                    </a:lnTo>
                    <a:lnTo>
                      <a:pt x="151" y="537"/>
                    </a:lnTo>
                    <a:lnTo>
                      <a:pt x="151" y="535"/>
                    </a:lnTo>
                    <a:lnTo>
                      <a:pt x="153" y="536"/>
                    </a:lnTo>
                    <a:lnTo>
                      <a:pt x="156" y="533"/>
                    </a:lnTo>
                    <a:lnTo>
                      <a:pt x="157" y="533"/>
                    </a:lnTo>
                    <a:lnTo>
                      <a:pt x="160" y="533"/>
                    </a:lnTo>
                    <a:lnTo>
                      <a:pt x="159" y="530"/>
                    </a:lnTo>
                    <a:lnTo>
                      <a:pt x="160" y="530"/>
                    </a:lnTo>
                    <a:lnTo>
                      <a:pt x="159" y="526"/>
                    </a:lnTo>
                    <a:lnTo>
                      <a:pt x="159" y="525"/>
                    </a:lnTo>
                    <a:lnTo>
                      <a:pt x="157" y="524"/>
                    </a:lnTo>
                    <a:lnTo>
                      <a:pt x="157" y="522"/>
                    </a:lnTo>
                    <a:lnTo>
                      <a:pt x="156" y="520"/>
                    </a:lnTo>
                    <a:lnTo>
                      <a:pt x="156" y="517"/>
                    </a:lnTo>
                    <a:lnTo>
                      <a:pt x="156" y="514"/>
                    </a:lnTo>
                    <a:lnTo>
                      <a:pt x="156" y="513"/>
                    </a:lnTo>
                    <a:lnTo>
                      <a:pt x="156" y="510"/>
                    </a:lnTo>
                    <a:lnTo>
                      <a:pt x="158" y="510"/>
                    </a:lnTo>
                    <a:lnTo>
                      <a:pt x="159" y="508"/>
                    </a:lnTo>
                    <a:lnTo>
                      <a:pt x="160" y="507"/>
                    </a:lnTo>
                    <a:lnTo>
                      <a:pt x="161" y="506"/>
                    </a:lnTo>
                    <a:lnTo>
                      <a:pt x="160" y="506"/>
                    </a:lnTo>
                    <a:lnTo>
                      <a:pt x="162" y="505"/>
                    </a:lnTo>
                    <a:lnTo>
                      <a:pt x="162" y="502"/>
                    </a:lnTo>
                    <a:lnTo>
                      <a:pt x="165" y="502"/>
                    </a:lnTo>
                    <a:lnTo>
                      <a:pt x="165" y="501"/>
                    </a:lnTo>
                    <a:lnTo>
                      <a:pt x="167" y="501"/>
                    </a:lnTo>
                    <a:lnTo>
                      <a:pt x="167" y="500"/>
                    </a:lnTo>
                    <a:lnTo>
                      <a:pt x="169" y="504"/>
                    </a:lnTo>
                    <a:lnTo>
                      <a:pt x="170" y="504"/>
                    </a:lnTo>
                    <a:lnTo>
                      <a:pt x="168" y="507"/>
                    </a:lnTo>
                    <a:lnTo>
                      <a:pt x="167" y="511"/>
                    </a:lnTo>
                    <a:lnTo>
                      <a:pt x="167" y="514"/>
                    </a:lnTo>
                    <a:lnTo>
                      <a:pt x="167" y="515"/>
                    </a:lnTo>
                    <a:lnTo>
                      <a:pt x="170" y="515"/>
                    </a:lnTo>
                    <a:lnTo>
                      <a:pt x="171" y="516"/>
                    </a:lnTo>
                    <a:lnTo>
                      <a:pt x="171" y="512"/>
                    </a:lnTo>
                    <a:lnTo>
                      <a:pt x="175" y="514"/>
                    </a:lnTo>
                    <a:lnTo>
                      <a:pt x="176" y="514"/>
                    </a:lnTo>
                    <a:lnTo>
                      <a:pt x="178" y="516"/>
                    </a:lnTo>
                    <a:lnTo>
                      <a:pt x="177" y="518"/>
                    </a:lnTo>
                    <a:lnTo>
                      <a:pt x="181" y="518"/>
                    </a:lnTo>
                    <a:lnTo>
                      <a:pt x="181" y="520"/>
                    </a:lnTo>
                    <a:lnTo>
                      <a:pt x="182" y="519"/>
                    </a:lnTo>
                    <a:lnTo>
                      <a:pt x="181" y="517"/>
                    </a:lnTo>
                    <a:lnTo>
                      <a:pt x="183" y="518"/>
                    </a:lnTo>
                    <a:lnTo>
                      <a:pt x="183" y="517"/>
                    </a:lnTo>
                    <a:lnTo>
                      <a:pt x="184" y="518"/>
                    </a:lnTo>
                    <a:lnTo>
                      <a:pt x="187" y="518"/>
                    </a:lnTo>
                    <a:lnTo>
                      <a:pt x="186" y="519"/>
                    </a:lnTo>
                    <a:lnTo>
                      <a:pt x="189" y="520"/>
                    </a:lnTo>
                    <a:lnTo>
                      <a:pt x="191" y="523"/>
                    </a:lnTo>
                    <a:lnTo>
                      <a:pt x="192" y="525"/>
                    </a:lnTo>
                    <a:lnTo>
                      <a:pt x="192" y="530"/>
                    </a:lnTo>
                    <a:lnTo>
                      <a:pt x="200" y="524"/>
                    </a:lnTo>
                    <a:lnTo>
                      <a:pt x="202" y="520"/>
                    </a:lnTo>
                    <a:lnTo>
                      <a:pt x="203" y="520"/>
                    </a:lnTo>
                    <a:lnTo>
                      <a:pt x="204" y="520"/>
                    </a:lnTo>
                    <a:lnTo>
                      <a:pt x="205" y="519"/>
                    </a:lnTo>
                    <a:lnTo>
                      <a:pt x="206" y="514"/>
                    </a:lnTo>
                    <a:lnTo>
                      <a:pt x="205" y="513"/>
                    </a:lnTo>
                    <a:lnTo>
                      <a:pt x="204" y="513"/>
                    </a:lnTo>
                    <a:lnTo>
                      <a:pt x="206" y="511"/>
                    </a:lnTo>
                    <a:lnTo>
                      <a:pt x="203" y="509"/>
                    </a:lnTo>
                    <a:lnTo>
                      <a:pt x="206" y="510"/>
                    </a:lnTo>
                    <a:lnTo>
                      <a:pt x="208" y="509"/>
                    </a:lnTo>
                    <a:lnTo>
                      <a:pt x="208" y="511"/>
                    </a:lnTo>
                    <a:lnTo>
                      <a:pt x="208" y="512"/>
                    </a:lnTo>
                    <a:lnTo>
                      <a:pt x="209" y="513"/>
                    </a:lnTo>
                    <a:lnTo>
                      <a:pt x="211" y="510"/>
                    </a:lnTo>
                    <a:lnTo>
                      <a:pt x="212" y="510"/>
                    </a:lnTo>
                    <a:lnTo>
                      <a:pt x="214" y="508"/>
                    </a:lnTo>
                    <a:lnTo>
                      <a:pt x="215" y="510"/>
                    </a:lnTo>
                    <a:lnTo>
                      <a:pt x="221" y="508"/>
                    </a:lnTo>
                    <a:lnTo>
                      <a:pt x="221" y="509"/>
                    </a:lnTo>
                    <a:lnTo>
                      <a:pt x="223" y="509"/>
                    </a:lnTo>
                    <a:lnTo>
                      <a:pt x="224" y="508"/>
                    </a:lnTo>
                    <a:lnTo>
                      <a:pt x="225" y="509"/>
                    </a:lnTo>
                    <a:lnTo>
                      <a:pt x="227" y="511"/>
                    </a:lnTo>
                    <a:lnTo>
                      <a:pt x="227" y="513"/>
                    </a:lnTo>
                    <a:lnTo>
                      <a:pt x="227" y="514"/>
                    </a:lnTo>
                    <a:lnTo>
                      <a:pt x="229" y="513"/>
                    </a:lnTo>
                    <a:lnTo>
                      <a:pt x="229" y="514"/>
                    </a:lnTo>
                    <a:lnTo>
                      <a:pt x="230" y="514"/>
                    </a:lnTo>
                    <a:lnTo>
                      <a:pt x="232" y="514"/>
                    </a:lnTo>
                    <a:lnTo>
                      <a:pt x="232" y="513"/>
                    </a:lnTo>
                    <a:lnTo>
                      <a:pt x="232" y="514"/>
                    </a:lnTo>
                    <a:lnTo>
                      <a:pt x="233" y="514"/>
                    </a:lnTo>
                    <a:lnTo>
                      <a:pt x="235" y="514"/>
                    </a:lnTo>
                    <a:lnTo>
                      <a:pt x="238" y="513"/>
                    </a:lnTo>
                    <a:lnTo>
                      <a:pt x="238" y="510"/>
                    </a:lnTo>
                    <a:lnTo>
                      <a:pt x="240" y="510"/>
                    </a:lnTo>
                    <a:lnTo>
                      <a:pt x="244" y="507"/>
                    </a:lnTo>
                    <a:lnTo>
                      <a:pt x="242" y="504"/>
                    </a:lnTo>
                    <a:lnTo>
                      <a:pt x="244" y="504"/>
                    </a:lnTo>
                    <a:lnTo>
                      <a:pt x="241" y="502"/>
                    </a:lnTo>
                    <a:lnTo>
                      <a:pt x="240" y="500"/>
                    </a:lnTo>
                    <a:lnTo>
                      <a:pt x="240" y="497"/>
                    </a:lnTo>
                    <a:lnTo>
                      <a:pt x="237" y="494"/>
                    </a:lnTo>
                    <a:lnTo>
                      <a:pt x="238" y="493"/>
                    </a:lnTo>
                    <a:lnTo>
                      <a:pt x="237" y="491"/>
                    </a:lnTo>
                    <a:lnTo>
                      <a:pt x="238" y="490"/>
                    </a:lnTo>
                    <a:lnTo>
                      <a:pt x="239" y="492"/>
                    </a:lnTo>
                    <a:lnTo>
                      <a:pt x="240" y="491"/>
                    </a:lnTo>
                    <a:lnTo>
                      <a:pt x="241" y="491"/>
                    </a:lnTo>
                    <a:lnTo>
                      <a:pt x="245" y="490"/>
                    </a:lnTo>
                    <a:lnTo>
                      <a:pt x="247" y="496"/>
                    </a:lnTo>
                    <a:lnTo>
                      <a:pt x="249" y="496"/>
                    </a:lnTo>
                    <a:lnTo>
                      <a:pt x="250" y="495"/>
                    </a:lnTo>
                    <a:lnTo>
                      <a:pt x="250" y="491"/>
                    </a:lnTo>
                    <a:lnTo>
                      <a:pt x="250" y="489"/>
                    </a:lnTo>
                    <a:lnTo>
                      <a:pt x="252" y="488"/>
                    </a:lnTo>
                    <a:lnTo>
                      <a:pt x="252" y="486"/>
                    </a:lnTo>
                    <a:lnTo>
                      <a:pt x="253" y="486"/>
                    </a:lnTo>
                    <a:lnTo>
                      <a:pt x="255" y="487"/>
                    </a:lnTo>
                    <a:lnTo>
                      <a:pt x="257" y="486"/>
                    </a:lnTo>
                    <a:lnTo>
                      <a:pt x="258" y="489"/>
                    </a:lnTo>
                    <a:lnTo>
                      <a:pt x="260" y="491"/>
                    </a:lnTo>
                    <a:lnTo>
                      <a:pt x="261" y="493"/>
                    </a:lnTo>
                    <a:lnTo>
                      <a:pt x="262" y="493"/>
                    </a:lnTo>
                    <a:lnTo>
                      <a:pt x="261" y="495"/>
                    </a:lnTo>
                    <a:lnTo>
                      <a:pt x="261" y="496"/>
                    </a:lnTo>
                    <a:lnTo>
                      <a:pt x="263" y="497"/>
                    </a:lnTo>
                    <a:lnTo>
                      <a:pt x="263" y="498"/>
                    </a:lnTo>
                    <a:lnTo>
                      <a:pt x="265" y="498"/>
                    </a:lnTo>
                    <a:lnTo>
                      <a:pt x="267" y="501"/>
                    </a:lnTo>
                    <a:lnTo>
                      <a:pt x="268" y="501"/>
                    </a:lnTo>
                    <a:lnTo>
                      <a:pt x="269" y="500"/>
                    </a:lnTo>
                    <a:lnTo>
                      <a:pt x="274" y="499"/>
                    </a:lnTo>
                    <a:lnTo>
                      <a:pt x="276" y="499"/>
                    </a:lnTo>
                    <a:lnTo>
                      <a:pt x="276" y="500"/>
                    </a:lnTo>
                    <a:lnTo>
                      <a:pt x="277" y="500"/>
                    </a:lnTo>
                    <a:lnTo>
                      <a:pt x="279" y="500"/>
                    </a:lnTo>
                    <a:lnTo>
                      <a:pt x="279" y="499"/>
                    </a:lnTo>
                    <a:lnTo>
                      <a:pt x="279" y="497"/>
                    </a:lnTo>
                    <a:lnTo>
                      <a:pt x="279" y="496"/>
                    </a:lnTo>
                    <a:lnTo>
                      <a:pt x="281" y="493"/>
                    </a:lnTo>
                    <a:lnTo>
                      <a:pt x="280" y="491"/>
                    </a:lnTo>
                    <a:lnTo>
                      <a:pt x="280" y="490"/>
                    </a:lnTo>
                    <a:lnTo>
                      <a:pt x="283" y="489"/>
                    </a:lnTo>
                    <a:lnTo>
                      <a:pt x="284" y="487"/>
                    </a:lnTo>
                    <a:lnTo>
                      <a:pt x="285" y="487"/>
                    </a:lnTo>
                    <a:lnTo>
                      <a:pt x="285" y="486"/>
                    </a:lnTo>
                    <a:lnTo>
                      <a:pt x="286" y="485"/>
                    </a:lnTo>
                    <a:lnTo>
                      <a:pt x="286" y="482"/>
                    </a:lnTo>
                    <a:lnTo>
                      <a:pt x="284" y="478"/>
                    </a:lnTo>
                    <a:lnTo>
                      <a:pt x="284" y="477"/>
                    </a:lnTo>
                    <a:lnTo>
                      <a:pt x="285" y="478"/>
                    </a:lnTo>
                    <a:lnTo>
                      <a:pt x="286" y="477"/>
                    </a:lnTo>
                    <a:lnTo>
                      <a:pt x="290" y="476"/>
                    </a:lnTo>
                    <a:lnTo>
                      <a:pt x="291" y="474"/>
                    </a:lnTo>
                    <a:lnTo>
                      <a:pt x="291" y="473"/>
                    </a:lnTo>
                    <a:lnTo>
                      <a:pt x="292" y="471"/>
                    </a:lnTo>
                    <a:lnTo>
                      <a:pt x="293" y="472"/>
                    </a:lnTo>
                    <a:lnTo>
                      <a:pt x="299" y="471"/>
                    </a:lnTo>
                    <a:lnTo>
                      <a:pt x="299" y="468"/>
                    </a:lnTo>
                    <a:lnTo>
                      <a:pt x="299" y="467"/>
                    </a:lnTo>
                    <a:lnTo>
                      <a:pt x="300" y="465"/>
                    </a:lnTo>
                    <a:lnTo>
                      <a:pt x="300" y="463"/>
                    </a:lnTo>
                    <a:lnTo>
                      <a:pt x="299" y="462"/>
                    </a:lnTo>
                    <a:lnTo>
                      <a:pt x="301" y="462"/>
                    </a:lnTo>
                    <a:lnTo>
                      <a:pt x="302" y="463"/>
                    </a:lnTo>
                    <a:lnTo>
                      <a:pt x="302" y="465"/>
                    </a:lnTo>
                    <a:lnTo>
                      <a:pt x="306" y="465"/>
                    </a:lnTo>
                    <a:lnTo>
                      <a:pt x="306" y="467"/>
                    </a:lnTo>
                    <a:lnTo>
                      <a:pt x="307" y="467"/>
                    </a:lnTo>
                    <a:lnTo>
                      <a:pt x="308" y="468"/>
                    </a:lnTo>
                    <a:lnTo>
                      <a:pt x="310" y="467"/>
                    </a:lnTo>
                    <a:lnTo>
                      <a:pt x="312" y="470"/>
                    </a:lnTo>
                    <a:lnTo>
                      <a:pt x="315" y="469"/>
                    </a:lnTo>
                    <a:lnTo>
                      <a:pt x="315" y="468"/>
                    </a:lnTo>
                    <a:lnTo>
                      <a:pt x="315" y="467"/>
                    </a:lnTo>
                    <a:lnTo>
                      <a:pt x="319" y="463"/>
                    </a:lnTo>
                    <a:lnTo>
                      <a:pt x="321" y="457"/>
                    </a:lnTo>
                    <a:lnTo>
                      <a:pt x="321" y="456"/>
                    </a:lnTo>
                    <a:lnTo>
                      <a:pt x="319" y="4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2" name="Freeform 88">
                <a:extLst>
                  <a:ext uri="{FF2B5EF4-FFF2-40B4-BE49-F238E27FC236}">
                    <a16:creationId xmlns:a16="http://schemas.microsoft.com/office/drawing/2014/main" id="{2365E2D6-5F90-497F-9D59-24462CA9D9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7" y="3058"/>
                <a:ext cx="321" cy="562"/>
              </a:xfrm>
              <a:custGeom>
                <a:avLst/>
                <a:gdLst>
                  <a:gd name="T0" fmla="*/ 307 w 321"/>
                  <a:gd name="T1" fmla="*/ 452 h 562"/>
                  <a:gd name="T2" fmla="*/ 304 w 321"/>
                  <a:gd name="T3" fmla="*/ 431 h 562"/>
                  <a:gd name="T4" fmla="*/ 286 w 321"/>
                  <a:gd name="T5" fmla="*/ 405 h 562"/>
                  <a:gd name="T6" fmla="*/ 263 w 321"/>
                  <a:gd name="T7" fmla="*/ 372 h 562"/>
                  <a:gd name="T8" fmla="*/ 259 w 321"/>
                  <a:gd name="T9" fmla="*/ 355 h 562"/>
                  <a:gd name="T10" fmla="*/ 224 w 321"/>
                  <a:gd name="T11" fmla="*/ 345 h 562"/>
                  <a:gd name="T12" fmla="*/ 194 w 321"/>
                  <a:gd name="T13" fmla="*/ 336 h 562"/>
                  <a:gd name="T14" fmla="*/ 170 w 321"/>
                  <a:gd name="T15" fmla="*/ 316 h 562"/>
                  <a:gd name="T16" fmla="*/ 149 w 321"/>
                  <a:gd name="T17" fmla="*/ 302 h 562"/>
                  <a:gd name="T18" fmla="*/ 145 w 321"/>
                  <a:gd name="T19" fmla="*/ 286 h 562"/>
                  <a:gd name="T20" fmla="*/ 125 w 321"/>
                  <a:gd name="T21" fmla="*/ 275 h 562"/>
                  <a:gd name="T22" fmla="*/ 134 w 321"/>
                  <a:gd name="T23" fmla="*/ 254 h 562"/>
                  <a:gd name="T24" fmla="*/ 137 w 321"/>
                  <a:gd name="T25" fmla="*/ 221 h 562"/>
                  <a:gd name="T26" fmla="*/ 162 w 321"/>
                  <a:gd name="T27" fmla="*/ 157 h 562"/>
                  <a:gd name="T28" fmla="*/ 202 w 321"/>
                  <a:gd name="T29" fmla="*/ 121 h 562"/>
                  <a:gd name="T30" fmla="*/ 212 w 321"/>
                  <a:gd name="T31" fmla="*/ 98 h 562"/>
                  <a:gd name="T32" fmla="*/ 196 w 321"/>
                  <a:gd name="T33" fmla="*/ 73 h 562"/>
                  <a:gd name="T34" fmla="*/ 162 w 321"/>
                  <a:gd name="T35" fmla="*/ 40 h 562"/>
                  <a:gd name="T36" fmla="*/ 116 w 321"/>
                  <a:gd name="T37" fmla="*/ 17 h 562"/>
                  <a:gd name="T38" fmla="*/ 76 w 321"/>
                  <a:gd name="T39" fmla="*/ 7 h 562"/>
                  <a:gd name="T40" fmla="*/ 86 w 321"/>
                  <a:gd name="T41" fmla="*/ 48 h 562"/>
                  <a:gd name="T42" fmla="*/ 105 w 321"/>
                  <a:gd name="T43" fmla="*/ 92 h 562"/>
                  <a:gd name="T44" fmla="*/ 90 w 321"/>
                  <a:gd name="T45" fmla="*/ 106 h 562"/>
                  <a:gd name="T46" fmla="*/ 62 w 321"/>
                  <a:gd name="T47" fmla="*/ 123 h 562"/>
                  <a:gd name="T48" fmla="*/ 43 w 321"/>
                  <a:gd name="T49" fmla="*/ 157 h 562"/>
                  <a:gd name="T50" fmla="*/ 33 w 321"/>
                  <a:gd name="T51" fmla="*/ 196 h 562"/>
                  <a:gd name="T52" fmla="*/ 18 w 321"/>
                  <a:gd name="T53" fmla="*/ 221 h 562"/>
                  <a:gd name="T54" fmla="*/ 23 w 321"/>
                  <a:gd name="T55" fmla="*/ 265 h 562"/>
                  <a:gd name="T56" fmla="*/ 17 w 321"/>
                  <a:gd name="T57" fmla="*/ 293 h 562"/>
                  <a:gd name="T58" fmla="*/ 25 w 321"/>
                  <a:gd name="T59" fmla="*/ 332 h 562"/>
                  <a:gd name="T60" fmla="*/ 37 w 321"/>
                  <a:gd name="T61" fmla="*/ 347 h 562"/>
                  <a:gd name="T62" fmla="*/ 24 w 321"/>
                  <a:gd name="T63" fmla="*/ 381 h 562"/>
                  <a:gd name="T64" fmla="*/ 18 w 321"/>
                  <a:gd name="T65" fmla="*/ 398 h 562"/>
                  <a:gd name="T66" fmla="*/ 5 w 321"/>
                  <a:gd name="T67" fmla="*/ 401 h 562"/>
                  <a:gd name="T68" fmla="*/ 2 w 321"/>
                  <a:gd name="T69" fmla="*/ 420 h 562"/>
                  <a:gd name="T70" fmla="*/ 25 w 321"/>
                  <a:gd name="T71" fmla="*/ 427 h 562"/>
                  <a:gd name="T72" fmla="*/ 12 w 321"/>
                  <a:gd name="T73" fmla="*/ 449 h 562"/>
                  <a:gd name="T74" fmla="*/ 19 w 321"/>
                  <a:gd name="T75" fmla="*/ 474 h 562"/>
                  <a:gd name="T76" fmla="*/ 26 w 321"/>
                  <a:gd name="T77" fmla="*/ 499 h 562"/>
                  <a:gd name="T78" fmla="*/ 41 w 321"/>
                  <a:gd name="T79" fmla="*/ 475 h 562"/>
                  <a:gd name="T80" fmla="*/ 35 w 321"/>
                  <a:gd name="T81" fmla="*/ 458 h 562"/>
                  <a:gd name="T82" fmla="*/ 44 w 321"/>
                  <a:gd name="T83" fmla="*/ 446 h 562"/>
                  <a:gd name="T84" fmla="*/ 61 w 321"/>
                  <a:gd name="T85" fmla="*/ 463 h 562"/>
                  <a:gd name="T86" fmla="*/ 62 w 321"/>
                  <a:gd name="T87" fmla="*/ 482 h 562"/>
                  <a:gd name="T88" fmla="*/ 73 w 321"/>
                  <a:gd name="T89" fmla="*/ 500 h 562"/>
                  <a:gd name="T90" fmla="*/ 79 w 321"/>
                  <a:gd name="T91" fmla="*/ 491 h 562"/>
                  <a:gd name="T92" fmla="*/ 80 w 321"/>
                  <a:gd name="T93" fmla="*/ 520 h 562"/>
                  <a:gd name="T94" fmla="*/ 99 w 321"/>
                  <a:gd name="T95" fmla="*/ 538 h 562"/>
                  <a:gd name="T96" fmla="*/ 105 w 321"/>
                  <a:gd name="T97" fmla="*/ 560 h 562"/>
                  <a:gd name="T98" fmla="*/ 118 w 321"/>
                  <a:gd name="T99" fmla="*/ 554 h 562"/>
                  <a:gd name="T100" fmla="*/ 140 w 321"/>
                  <a:gd name="T101" fmla="*/ 549 h 562"/>
                  <a:gd name="T102" fmla="*/ 160 w 321"/>
                  <a:gd name="T103" fmla="*/ 533 h 562"/>
                  <a:gd name="T104" fmla="*/ 160 w 321"/>
                  <a:gd name="T105" fmla="*/ 507 h 562"/>
                  <a:gd name="T106" fmla="*/ 171 w 321"/>
                  <a:gd name="T107" fmla="*/ 516 h 562"/>
                  <a:gd name="T108" fmla="*/ 192 w 321"/>
                  <a:gd name="T109" fmla="*/ 525 h 562"/>
                  <a:gd name="T110" fmla="*/ 208 w 321"/>
                  <a:gd name="T111" fmla="*/ 512 h 562"/>
                  <a:gd name="T112" fmla="*/ 230 w 321"/>
                  <a:gd name="T113" fmla="*/ 514 h 562"/>
                  <a:gd name="T114" fmla="*/ 238 w 321"/>
                  <a:gd name="T115" fmla="*/ 493 h 562"/>
                  <a:gd name="T116" fmla="*/ 255 w 321"/>
                  <a:gd name="T117" fmla="*/ 487 h 562"/>
                  <a:gd name="T118" fmla="*/ 277 w 321"/>
                  <a:gd name="T119" fmla="*/ 500 h 562"/>
                  <a:gd name="T120" fmla="*/ 284 w 321"/>
                  <a:gd name="T121" fmla="*/ 477 h 562"/>
                  <a:gd name="T122" fmla="*/ 302 w 321"/>
                  <a:gd name="T123" fmla="*/ 465 h 56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21"/>
                  <a:gd name="T187" fmla="*/ 0 h 562"/>
                  <a:gd name="T188" fmla="*/ 321 w 321"/>
                  <a:gd name="T189" fmla="*/ 562 h 56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21" h="562">
                    <a:moveTo>
                      <a:pt x="319" y="456"/>
                    </a:moveTo>
                    <a:lnTo>
                      <a:pt x="320" y="453"/>
                    </a:lnTo>
                    <a:lnTo>
                      <a:pt x="319" y="452"/>
                    </a:lnTo>
                    <a:lnTo>
                      <a:pt x="319" y="451"/>
                    </a:lnTo>
                    <a:lnTo>
                      <a:pt x="318" y="451"/>
                    </a:lnTo>
                    <a:lnTo>
                      <a:pt x="320" y="448"/>
                    </a:lnTo>
                    <a:lnTo>
                      <a:pt x="317" y="446"/>
                    </a:lnTo>
                    <a:lnTo>
                      <a:pt x="318" y="444"/>
                    </a:lnTo>
                    <a:lnTo>
                      <a:pt x="318" y="443"/>
                    </a:lnTo>
                    <a:lnTo>
                      <a:pt x="317" y="443"/>
                    </a:lnTo>
                    <a:lnTo>
                      <a:pt x="317" y="445"/>
                    </a:lnTo>
                    <a:lnTo>
                      <a:pt x="313" y="443"/>
                    </a:lnTo>
                    <a:lnTo>
                      <a:pt x="312" y="444"/>
                    </a:lnTo>
                    <a:lnTo>
                      <a:pt x="312" y="446"/>
                    </a:lnTo>
                    <a:lnTo>
                      <a:pt x="310" y="446"/>
                    </a:lnTo>
                    <a:lnTo>
                      <a:pt x="309" y="446"/>
                    </a:lnTo>
                    <a:lnTo>
                      <a:pt x="307" y="452"/>
                    </a:lnTo>
                    <a:lnTo>
                      <a:pt x="304" y="449"/>
                    </a:lnTo>
                    <a:lnTo>
                      <a:pt x="304" y="446"/>
                    </a:lnTo>
                    <a:lnTo>
                      <a:pt x="303" y="444"/>
                    </a:lnTo>
                    <a:lnTo>
                      <a:pt x="302" y="444"/>
                    </a:lnTo>
                    <a:lnTo>
                      <a:pt x="302" y="443"/>
                    </a:lnTo>
                    <a:lnTo>
                      <a:pt x="305" y="440"/>
                    </a:lnTo>
                    <a:lnTo>
                      <a:pt x="307" y="440"/>
                    </a:lnTo>
                    <a:lnTo>
                      <a:pt x="309" y="438"/>
                    </a:lnTo>
                    <a:lnTo>
                      <a:pt x="307" y="437"/>
                    </a:lnTo>
                    <a:lnTo>
                      <a:pt x="308" y="436"/>
                    </a:lnTo>
                    <a:lnTo>
                      <a:pt x="307" y="436"/>
                    </a:lnTo>
                    <a:lnTo>
                      <a:pt x="309" y="435"/>
                    </a:lnTo>
                    <a:lnTo>
                      <a:pt x="307" y="435"/>
                    </a:lnTo>
                    <a:lnTo>
                      <a:pt x="306" y="434"/>
                    </a:lnTo>
                    <a:lnTo>
                      <a:pt x="306" y="431"/>
                    </a:lnTo>
                    <a:lnTo>
                      <a:pt x="304" y="431"/>
                    </a:lnTo>
                    <a:lnTo>
                      <a:pt x="304" y="429"/>
                    </a:lnTo>
                    <a:lnTo>
                      <a:pt x="304" y="427"/>
                    </a:lnTo>
                    <a:lnTo>
                      <a:pt x="302" y="427"/>
                    </a:lnTo>
                    <a:lnTo>
                      <a:pt x="302" y="424"/>
                    </a:lnTo>
                    <a:lnTo>
                      <a:pt x="301" y="423"/>
                    </a:lnTo>
                    <a:lnTo>
                      <a:pt x="300" y="422"/>
                    </a:lnTo>
                    <a:lnTo>
                      <a:pt x="298" y="419"/>
                    </a:lnTo>
                    <a:lnTo>
                      <a:pt x="297" y="414"/>
                    </a:lnTo>
                    <a:lnTo>
                      <a:pt x="294" y="414"/>
                    </a:lnTo>
                    <a:lnTo>
                      <a:pt x="291" y="411"/>
                    </a:lnTo>
                    <a:lnTo>
                      <a:pt x="289" y="408"/>
                    </a:lnTo>
                    <a:lnTo>
                      <a:pt x="288" y="408"/>
                    </a:lnTo>
                    <a:lnTo>
                      <a:pt x="287" y="409"/>
                    </a:lnTo>
                    <a:lnTo>
                      <a:pt x="286" y="409"/>
                    </a:lnTo>
                    <a:lnTo>
                      <a:pt x="286" y="405"/>
                    </a:lnTo>
                    <a:lnTo>
                      <a:pt x="285" y="403"/>
                    </a:lnTo>
                    <a:lnTo>
                      <a:pt x="286" y="399"/>
                    </a:lnTo>
                    <a:lnTo>
                      <a:pt x="282" y="395"/>
                    </a:lnTo>
                    <a:lnTo>
                      <a:pt x="280" y="388"/>
                    </a:lnTo>
                    <a:lnTo>
                      <a:pt x="277" y="385"/>
                    </a:lnTo>
                    <a:lnTo>
                      <a:pt x="276" y="388"/>
                    </a:lnTo>
                    <a:lnTo>
                      <a:pt x="276" y="392"/>
                    </a:lnTo>
                    <a:lnTo>
                      <a:pt x="275" y="392"/>
                    </a:lnTo>
                    <a:lnTo>
                      <a:pt x="274" y="392"/>
                    </a:lnTo>
                    <a:lnTo>
                      <a:pt x="273" y="393"/>
                    </a:lnTo>
                    <a:lnTo>
                      <a:pt x="272" y="393"/>
                    </a:lnTo>
                    <a:lnTo>
                      <a:pt x="272" y="392"/>
                    </a:lnTo>
                    <a:lnTo>
                      <a:pt x="265" y="385"/>
                    </a:lnTo>
                    <a:lnTo>
                      <a:pt x="264" y="383"/>
                    </a:lnTo>
                    <a:lnTo>
                      <a:pt x="264" y="378"/>
                    </a:lnTo>
                    <a:lnTo>
                      <a:pt x="263" y="372"/>
                    </a:lnTo>
                    <a:lnTo>
                      <a:pt x="264" y="371"/>
                    </a:lnTo>
                    <a:lnTo>
                      <a:pt x="267" y="365"/>
                    </a:lnTo>
                    <a:lnTo>
                      <a:pt x="268" y="365"/>
                    </a:lnTo>
                    <a:lnTo>
                      <a:pt x="268" y="363"/>
                    </a:lnTo>
                    <a:lnTo>
                      <a:pt x="269" y="363"/>
                    </a:lnTo>
                    <a:lnTo>
                      <a:pt x="268" y="362"/>
                    </a:lnTo>
                    <a:lnTo>
                      <a:pt x="269" y="359"/>
                    </a:lnTo>
                    <a:lnTo>
                      <a:pt x="268" y="359"/>
                    </a:lnTo>
                    <a:lnTo>
                      <a:pt x="267" y="361"/>
                    </a:lnTo>
                    <a:lnTo>
                      <a:pt x="266" y="361"/>
                    </a:lnTo>
                    <a:lnTo>
                      <a:pt x="265" y="360"/>
                    </a:lnTo>
                    <a:lnTo>
                      <a:pt x="264" y="359"/>
                    </a:lnTo>
                    <a:lnTo>
                      <a:pt x="263" y="359"/>
                    </a:lnTo>
                    <a:lnTo>
                      <a:pt x="264" y="357"/>
                    </a:lnTo>
                    <a:lnTo>
                      <a:pt x="263" y="355"/>
                    </a:lnTo>
                    <a:lnTo>
                      <a:pt x="261" y="355"/>
                    </a:lnTo>
                    <a:lnTo>
                      <a:pt x="259" y="355"/>
                    </a:lnTo>
                    <a:lnTo>
                      <a:pt x="257" y="352"/>
                    </a:lnTo>
                    <a:lnTo>
                      <a:pt x="255" y="352"/>
                    </a:lnTo>
                    <a:lnTo>
                      <a:pt x="252" y="349"/>
                    </a:lnTo>
                    <a:lnTo>
                      <a:pt x="251" y="352"/>
                    </a:lnTo>
                    <a:lnTo>
                      <a:pt x="250" y="351"/>
                    </a:lnTo>
                    <a:lnTo>
                      <a:pt x="248" y="353"/>
                    </a:lnTo>
                    <a:lnTo>
                      <a:pt x="245" y="354"/>
                    </a:lnTo>
                    <a:lnTo>
                      <a:pt x="245" y="356"/>
                    </a:lnTo>
                    <a:lnTo>
                      <a:pt x="240" y="356"/>
                    </a:lnTo>
                    <a:lnTo>
                      <a:pt x="237" y="355"/>
                    </a:lnTo>
                    <a:lnTo>
                      <a:pt x="233" y="347"/>
                    </a:lnTo>
                    <a:lnTo>
                      <a:pt x="230" y="345"/>
                    </a:lnTo>
                    <a:lnTo>
                      <a:pt x="227" y="344"/>
                    </a:lnTo>
                    <a:lnTo>
                      <a:pt x="227" y="342"/>
                    </a:lnTo>
                    <a:lnTo>
                      <a:pt x="225" y="342"/>
                    </a:lnTo>
                    <a:lnTo>
                      <a:pt x="224" y="344"/>
                    </a:lnTo>
                    <a:lnTo>
                      <a:pt x="224" y="345"/>
                    </a:lnTo>
                    <a:lnTo>
                      <a:pt x="224" y="346"/>
                    </a:lnTo>
                    <a:lnTo>
                      <a:pt x="221" y="351"/>
                    </a:lnTo>
                    <a:lnTo>
                      <a:pt x="216" y="349"/>
                    </a:lnTo>
                    <a:lnTo>
                      <a:pt x="214" y="348"/>
                    </a:lnTo>
                    <a:lnTo>
                      <a:pt x="212" y="342"/>
                    </a:lnTo>
                    <a:lnTo>
                      <a:pt x="211" y="341"/>
                    </a:lnTo>
                    <a:lnTo>
                      <a:pt x="209" y="342"/>
                    </a:lnTo>
                    <a:lnTo>
                      <a:pt x="208" y="341"/>
                    </a:lnTo>
                    <a:lnTo>
                      <a:pt x="202" y="338"/>
                    </a:lnTo>
                    <a:lnTo>
                      <a:pt x="199" y="340"/>
                    </a:lnTo>
                    <a:lnTo>
                      <a:pt x="197" y="341"/>
                    </a:lnTo>
                    <a:lnTo>
                      <a:pt x="195" y="341"/>
                    </a:lnTo>
                    <a:lnTo>
                      <a:pt x="195" y="342"/>
                    </a:lnTo>
                    <a:lnTo>
                      <a:pt x="194" y="341"/>
                    </a:lnTo>
                    <a:lnTo>
                      <a:pt x="192" y="338"/>
                    </a:lnTo>
                    <a:lnTo>
                      <a:pt x="194" y="337"/>
                    </a:lnTo>
                    <a:lnTo>
                      <a:pt x="194" y="336"/>
                    </a:lnTo>
                    <a:lnTo>
                      <a:pt x="191" y="333"/>
                    </a:lnTo>
                    <a:lnTo>
                      <a:pt x="191" y="332"/>
                    </a:lnTo>
                    <a:lnTo>
                      <a:pt x="192" y="331"/>
                    </a:lnTo>
                    <a:lnTo>
                      <a:pt x="192" y="329"/>
                    </a:lnTo>
                    <a:lnTo>
                      <a:pt x="189" y="327"/>
                    </a:lnTo>
                    <a:lnTo>
                      <a:pt x="189" y="325"/>
                    </a:lnTo>
                    <a:lnTo>
                      <a:pt x="188" y="325"/>
                    </a:lnTo>
                    <a:lnTo>
                      <a:pt x="187" y="324"/>
                    </a:lnTo>
                    <a:lnTo>
                      <a:pt x="183" y="317"/>
                    </a:lnTo>
                    <a:lnTo>
                      <a:pt x="183" y="315"/>
                    </a:lnTo>
                    <a:lnTo>
                      <a:pt x="182" y="316"/>
                    </a:lnTo>
                    <a:lnTo>
                      <a:pt x="180" y="312"/>
                    </a:lnTo>
                    <a:lnTo>
                      <a:pt x="176" y="314"/>
                    </a:lnTo>
                    <a:lnTo>
                      <a:pt x="173" y="314"/>
                    </a:lnTo>
                    <a:lnTo>
                      <a:pt x="172" y="315"/>
                    </a:lnTo>
                    <a:lnTo>
                      <a:pt x="170" y="318"/>
                    </a:lnTo>
                    <a:lnTo>
                      <a:pt x="170" y="316"/>
                    </a:lnTo>
                    <a:lnTo>
                      <a:pt x="170" y="314"/>
                    </a:lnTo>
                    <a:lnTo>
                      <a:pt x="166" y="312"/>
                    </a:lnTo>
                    <a:lnTo>
                      <a:pt x="164" y="313"/>
                    </a:lnTo>
                    <a:lnTo>
                      <a:pt x="162" y="312"/>
                    </a:lnTo>
                    <a:lnTo>
                      <a:pt x="162" y="311"/>
                    </a:lnTo>
                    <a:lnTo>
                      <a:pt x="160" y="309"/>
                    </a:lnTo>
                    <a:lnTo>
                      <a:pt x="159" y="309"/>
                    </a:lnTo>
                    <a:lnTo>
                      <a:pt x="159" y="310"/>
                    </a:lnTo>
                    <a:lnTo>
                      <a:pt x="159" y="308"/>
                    </a:lnTo>
                    <a:lnTo>
                      <a:pt x="158" y="307"/>
                    </a:lnTo>
                    <a:lnTo>
                      <a:pt x="156" y="308"/>
                    </a:lnTo>
                    <a:lnTo>
                      <a:pt x="155" y="307"/>
                    </a:lnTo>
                    <a:lnTo>
                      <a:pt x="152" y="306"/>
                    </a:lnTo>
                    <a:lnTo>
                      <a:pt x="151" y="303"/>
                    </a:lnTo>
                    <a:lnTo>
                      <a:pt x="151" y="304"/>
                    </a:lnTo>
                    <a:lnTo>
                      <a:pt x="149" y="302"/>
                    </a:lnTo>
                    <a:lnTo>
                      <a:pt x="147" y="303"/>
                    </a:lnTo>
                    <a:lnTo>
                      <a:pt x="147" y="302"/>
                    </a:lnTo>
                    <a:lnTo>
                      <a:pt x="146" y="303"/>
                    </a:lnTo>
                    <a:lnTo>
                      <a:pt x="145" y="303"/>
                    </a:lnTo>
                    <a:lnTo>
                      <a:pt x="145" y="305"/>
                    </a:lnTo>
                    <a:lnTo>
                      <a:pt x="144" y="305"/>
                    </a:lnTo>
                    <a:lnTo>
                      <a:pt x="143" y="304"/>
                    </a:lnTo>
                    <a:lnTo>
                      <a:pt x="142" y="305"/>
                    </a:lnTo>
                    <a:lnTo>
                      <a:pt x="142" y="304"/>
                    </a:lnTo>
                    <a:lnTo>
                      <a:pt x="141" y="303"/>
                    </a:lnTo>
                    <a:lnTo>
                      <a:pt x="141" y="302"/>
                    </a:lnTo>
                    <a:lnTo>
                      <a:pt x="140" y="302"/>
                    </a:lnTo>
                    <a:lnTo>
                      <a:pt x="141" y="299"/>
                    </a:lnTo>
                    <a:lnTo>
                      <a:pt x="144" y="293"/>
                    </a:lnTo>
                    <a:lnTo>
                      <a:pt x="146" y="286"/>
                    </a:lnTo>
                    <a:lnTo>
                      <a:pt x="145" y="286"/>
                    </a:lnTo>
                    <a:lnTo>
                      <a:pt x="143" y="290"/>
                    </a:lnTo>
                    <a:lnTo>
                      <a:pt x="141" y="288"/>
                    </a:lnTo>
                    <a:lnTo>
                      <a:pt x="140" y="289"/>
                    </a:lnTo>
                    <a:lnTo>
                      <a:pt x="140" y="291"/>
                    </a:lnTo>
                    <a:lnTo>
                      <a:pt x="139" y="290"/>
                    </a:lnTo>
                    <a:lnTo>
                      <a:pt x="137" y="290"/>
                    </a:lnTo>
                    <a:lnTo>
                      <a:pt x="134" y="293"/>
                    </a:lnTo>
                    <a:lnTo>
                      <a:pt x="134" y="291"/>
                    </a:lnTo>
                    <a:lnTo>
                      <a:pt x="132" y="290"/>
                    </a:lnTo>
                    <a:lnTo>
                      <a:pt x="131" y="285"/>
                    </a:lnTo>
                    <a:lnTo>
                      <a:pt x="131" y="283"/>
                    </a:lnTo>
                    <a:lnTo>
                      <a:pt x="131" y="282"/>
                    </a:lnTo>
                    <a:lnTo>
                      <a:pt x="129" y="281"/>
                    </a:lnTo>
                    <a:lnTo>
                      <a:pt x="128" y="283"/>
                    </a:lnTo>
                    <a:lnTo>
                      <a:pt x="129" y="280"/>
                    </a:lnTo>
                    <a:lnTo>
                      <a:pt x="128" y="277"/>
                    </a:lnTo>
                    <a:lnTo>
                      <a:pt x="125" y="275"/>
                    </a:lnTo>
                    <a:lnTo>
                      <a:pt x="126" y="273"/>
                    </a:lnTo>
                    <a:lnTo>
                      <a:pt x="127" y="273"/>
                    </a:lnTo>
                    <a:lnTo>
                      <a:pt x="126" y="270"/>
                    </a:lnTo>
                    <a:lnTo>
                      <a:pt x="128" y="270"/>
                    </a:lnTo>
                    <a:lnTo>
                      <a:pt x="129" y="269"/>
                    </a:lnTo>
                    <a:lnTo>
                      <a:pt x="131" y="267"/>
                    </a:lnTo>
                    <a:lnTo>
                      <a:pt x="132" y="264"/>
                    </a:lnTo>
                    <a:lnTo>
                      <a:pt x="132" y="265"/>
                    </a:lnTo>
                    <a:lnTo>
                      <a:pt x="133" y="264"/>
                    </a:lnTo>
                    <a:lnTo>
                      <a:pt x="133" y="263"/>
                    </a:lnTo>
                    <a:lnTo>
                      <a:pt x="134" y="261"/>
                    </a:lnTo>
                    <a:lnTo>
                      <a:pt x="131" y="260"/>
                    </a:lnTo>
                    <a:lnTo>
                      <a:pt x="132" y="258"/>
                    </a:lnTo>
                    <a:lnTo>
                      <a:pt x="131" y="255"/>
                    </a:lnTo>
                    <a:lnTo>
                      <a:pt x="134" y="255"/>
                    </a:lnTo>
                    <a:lnTo>
                      <a:pt x="134" y="254"/>
                    </a:lnTo>
                    <a:lnTo>
                      <a:pt x="136" y="253"/>
                    </a:lnTo>
                    <a:lnTo>
                      <a:pt x="137" y="251"/>
                    </a:lnTo>
                    <a:lnTo>
                      <a:pt x="139" y="251"/>
                    </a:lnTo>
                    <a:lnTo>
                      <a:pt x="140" y="247"/>
                    </a:lnTo>
                    <a:lnTo>
                      <a:pt x="141" y="248"/>
                    </a:lnTo>
                    <a:lnTo>
                      <a:pt x="142" y="246"/>
                    </a:lnTo>
                    <a:lnTo>
                      <a:pt x="142" y="245"/>
                    </a:lnTo>
                    <a:lnTo>
                      <a:pt x="143" y="244"/>
                    </a:lnTo>
                    <a:lnTo>
                      <a:pt x="142" y="241"/>
                    </a:lnTo>
                    <a:lnTo>
                      <a:pt x="142" y="240"/>
                    </a:lnTo>
                    <a:lnTo>
                      <a:pt x="141" y="237"/>
                    </a:lnTo>
                    <a:lnTo>
                      <a:pt x="136" y="231"/>
                    </a:lnTo>
                    <a:lnTo>
                      <a:pt x="133" y="229"/>
                    </a:lnTo>
                    <a:lnTo>
                      <a:pt x="132" y="226"/>
                    </a:lnTo>
                    <a:lnTo>
                      <a:pt x="133" y="226"/>
                    </a:lnTo>
                    <a:lnTo>
                      <a:pt x="137" y="224"/>
                    </a:lnTo>
                    <a:lnTo>
                      <a:pt x="137" y="221"/>
                    </a:lnTo>
                    <a:lnTo>
                      <a:pt x="137" y="219"/>
                    </a:lnTo>
                    <a:lnTo>
                      <a:pt x="137" y="213"/>
                    </a:lnTo>
                    <a:lnTo>
                      <a:pt x="140" y="210"/>
                    </a:lnTo>
                    <a:lnTo>
                      <a:pt x="143" y="204"/>
                    </a:lnTo>
                    <a:lnTo>
                      <a:pt x="146" y="204"/>
                    </a:lnTo>
                    <a:lnTo>
                      <a:pt x="149" y="201"/>
                    </a:lnTo>
                    <a:lnTo>
                      <a:pt x="150" y="199"/>
                    </a:lnTo>
                    <a:lnTo>
                      <a:pt x="153" y="199"/>
                    </a:lnTo>
                    <a:lnTo>
                      <a:pt x="157" y="191"/>
                    </a:lnTo>
                    <a:lnTo>
                      <a:pt x="157" y="188"/>
                    </a:lnTo>
                    <a:lnTo>
                      <a:pt x="156" y="186"/>
                    </a:lnTo>
                    <a:lnTo>
                      <a:pt x="157" y="182"/>
                    </a:lnTo>
                    <a:lnTo>
                      <a:pt x="155" y="172"/>
                    </a:lnTo>
                    <a:lnTo>
                      <a:pt x="162" y="167"/>
                    </a:lnTo>
                    <a:lnTo>
                      <a:pt x="164" y="165"/>
                    </a:lnTo>
                    <a:lnTo>
                      <a:pt x="162" y="162"/>
                    </a:lnTo>
                    <a:lnTo>
                      <a:pt x="162" y="157"/>
                    </a:lnTo>
                    <a:lnTo>
                      <a:pt x="162" y="154"/>
                    </a:lnTo>
                    <a:lnTo>
                      <a:pt x="166" y="152"/>
                    </a:lnTo>
                    <a:lnTo>
                      <a:pt x="167" y="152"/>
                    </a:lnTo>
                    <a:lnTo>
                      <a:pt x="171" y="147"/>
                    </a:lnTo>
                    <a:lnTo>
                      <a:pt x="173" y="145"/>
                    </a:lnTo>
                    <a:lnTo>
                      <a:pt x="175" y="141"/>
                    </a:lnTo>
                    <a:lnTo>
                      <a:pt x="177" y="143"/>
                    </a:lnTo>
                    <a:lnTo>
                      <a:pt x="178" y="142"/>
                    </a:lnTo>
                    <a:lnTo>
                      <a:pt x="180" y="141"/>
                    </a:lnTo>
                    <a:lnTo>
                      <a:pt x="180" y="138"/>
                    </a:lnTo>
                    <a:lnTo>
                      <a:pt x="182" y="136"/>
                    </a:lnTo>
                    <a:lnTo>
                      <a:pt x="184" y="135"/>
                    </a:lnTo>
                    <a:lnTo>
                      <a:pt x="189" y="138"/>
                    </a:lnTo>
                    <a:lnTo>
                      <a:pt x="192" y="136"/>
                    </a:lnTo>
                    <a:lnTo>
                      <a:pt x="196" y="129"/>
                    </a:lnTo>
                    <a:lnTo>
                      <a:pt x="200" y="125"/>
                    </a:lnTo>
                    <a:lnTo>
                      <a:pt x="202" y="121"/>
                    </a:lnTo>
                    <a:lnTo>
                      <a:pt x="203" y="121"/>
                    </a:lnTo>
                    <a:lnTo>
                      <a:pt x="205" y="126"/>
                    </a:lnTo>
                    <a:lnTo>
                      <a:pt x="207" y="128"/>
                    </a:lnTo>
                    <a:lnTo>
                      <a:pt x="208" y="127"/>
                    </a:lnTo>
                    <a:lnTo>
                      <a:pt x="211" y="129"/>
                    </a:lnTo>
                    <a:lnTo>
                      <a:pt x="214" y="127"/>
                    </a:lnTo>
                    <a:lnTo>
                      <a:pt x="214" y="125"/>
                    </a:lnTo>
                    <a:lnTo>
                      <a:pt x="215" y="124"/>
                    </a:lnTo>
                    <a:lnTo>
                      <a:pt x="215" y="121"/>
                    </a:lnTo>
                    <a:lnTo>
                      <a:pt x="216" y="119"/>
                    </a:lnTo>
                    <a:lnTo>
                      <a:pt x="215" y="115"/>
                    </a:lnTo>
                    <a:lnTo>
                      <a:pt x="216" y="112"/>
                    </a:lnTo>
                    <a:lnTo>
                      <a:pt x="217" y="107"/>
                    </a:lnTo>
                    <a:lnTo>
                      <a:pt x="217" y="105"/>
                    </a:lnTo>
                    <a:lnTo>
                      <a:pt x="218" y="104"/>
                    </a:lnTo>
                    <a:lnTo>
                      <a:pt x="216" y="96"/>
                    </a:lnTo>
                    <a:lnTo>
                      <a:pt x="212" y="98"/>
                    </a:lnTo>
                    <a:lnTo>
                      <a:pt x="211" y="95"/>
                    </a:lnTo>
                    <a:lnTo>
                      <a:pt x="208" y="92"/>
                    </a:lnTo>
                    <a:lnTo>
                      <a:pt x="202" y="92"/>
                    </a:lnTo>
                    <a:lnTo>
                      <a:pt x="201" y="93"/>
                    </a:lnTo>
                    <a:lnTo>
                      <a:pt x="200" y="101"/>
                    </a:lnTo>
                    <a:lnTo>
                      <a:pt x="197" y="101"/>
                    </a:lnTo>
                    <a:lnTo>
                      <a:pt x="196" y="99"/>
                    </a:lnTo>
                    <a:lnTo>
                      <a:pt x="195" y="93"/>
                    </a:lnTo>
                    <a:lnTo>
                      <a:pt x="194" y="91"/>
                    </a:lnTo>
                    <a:lnTo>
                      <a:pt x="197" y="90"/>
                    </a:lnTo>
                    <a:lnTo>
                      <a:pt x="196" y="88"/>
                    </a:lnTo>
                    <a:lnTo>
                      <a:pt x="197" y="85"/>
                    </a:lnTo>
                    <a:lnTo>
                      <a:pt x="200" y="80"/>
                    </a:lnTo>
                    <a:lnTo>
                      <a:pt x="198" y="78"/>
                    </a:lnTo>
                    <a:lnTo>
                      <a:pt x="196" y="78"/>
                    </a:lnTo>
                    <a:lnTo>
                      <a:pt x="195" y="77"/>
                    </a:lnTo>
                    <a:lnTo>
                      <a:pt x="196" y="73"/>
                    </a:lnTo>
                    <a:lnTo>
                      <a:pt x="198" y="74"/>
                    </a:lnTo>
                    <a:lnTo>
                      <a:pt x="200" y="72"/>
                    </a:lnTo>
                    <a:lnTo>
                      <a:pt x="199" y="70"/>
                    </a:lnTo>
                    <a:lnTo>
                      <a:pt x="192" y="70"/>
                    </a:lnTo>
                    <a:lnTo>
                      <a:pt x="189" y="73"/>
                    </a:lnTo>
                    <a:lnTo>
                      <a:pt x="186" y="73"/>
                    </a:lnTo>
                    <a:lnTo>
                      <a:pt x="182" y="74"/>
                    </a:lnTo>
                    <a:lnTo>
                      <a:pt x="178" y="71"/>
                    </a:lnTo>
                    <a:lnTo>
                      <a:pt x="176" y="68"/>
                    </a:lnTo>
                    <a:lnTo>
                      <a:pt x="172" y="66"/>
                    </a:lnTo>
                    <a:lnTo>
                      <a:pt x="171" y="63"/>
                    </a:lnTo>
                    <a:lnTo>
                      <a:pt x="168" y="61"/>
                    </a:lnTo>
                    <a:lnTo>
                      <a:pt x="166" y="58"/>
                    </a:lnTo>
                    <a:lnTo>
                      <a:pt x="164" y="54"/>
                    </a:lnTo>
                    <a:lnTo>
                      <a:pt x="160" y="49"/>
                    </a:lnTo>
                    <a:lnTo>
                      <a:pt x="160" y="44"/>
                    </a:lnTo>
                    <a:lnTo>
                      <a:pt x="162" y="40"/>
                    </a:lnTo>
                    <a:lnTo>
                      <a:pt x="160" y="38"/>
                    </a:lnTo>
                    <a:lnTo>
                      <a:pt x="157" y="37"/>
                    </a:lnTo>
                    <a:lnTo>
                      <a:pt x="156" y="38"/>
                    </a:lnTo>
                    <a:lnTo>
                      <a:pt x="151" y="39"/>
                    </a:lnTo>
                    <a:lnTo>
                      <a:pt x="149" y="40"/>
                    </a:lnTo>
                    <a:lnTo>
                      <a:pt x="145" y="40"/>
                    </a:lnTo>
                    <a:lnTo>
                      <a:pt x="141" y="32"/>
                    </a:lnTo>
                    <a:lnTo>
                      <a:pt x="138" y="32"/>
                    </a:lnTo>
                    <a:lnTo>
                      <a:pt x="138" y="27"/>
                    </a:lnTo>
                    <a:lnTo>
                      <a:pt x="136" y="27"/>
                    </a:lnTo>
                    <a:lnTo>
                      <a:pt x="131" y="27"/>
                    </a:lnTo>
                    <a:lnTo>
                      <a:pt x="131" y="28"/>
                    </a:lnTo>
                    <a:lnTo>
                      <a:pt x="123" y="24"/>
                    </a:lnTo>
                    <a:lnTo>
                      <a:pt x="119" y="20"/>
                    </a:lnTo>
                    <a:lnTo>
                      <a:pt x="117" y="20"/>
                    </a:lnTo>
                    <a:lnTo>
                      <a:pt x="116" y="17"/>
                    </a:lnTo>
                    <a:lnTo>
                      <a:pt x="115" y="17"/>
                    </a:lnTo>
                    <a:lnTo>
                      <a:pt x="113" y="18"/>
                    </a:lnTo>
                    <a:lnTo>
                      <a:pt x="111" y="15"/>
                    </a:lnTo>
                    <a:lnTo>
                      <a:pt x="109" y="14"/>
                    </a:lnTo>
                    <a:lnTo>
                      <a:pt x="105" y="17"/>
                    </a:lnTo>
                    <a:lnTo>
                      <a:pt x="102" y="17"/>
                    </a:lnTo>
                    <a:lnTo>
                      <a:pt x="101" y="15"/>
                    </a:lnTo>
                    <a:lnTo>
                      <a:pt x="96" y="10"/>
                    </a:lnTo>
                    <a:lnTo>
                      <a:pt x="90" y="6"/>
                    </a:lnTo>
                    <a:lnTo>
                      <a:pt x="85" y="0"/>
                    </a:lnTo>
                    <a:lnTo>
                      <a:pt x="85" y="1"/>
                    </a:lnTo>
                    <a:lnTo>
                      <a:pt x="83" y="0"/>
                    </a:lnTo>
                    <a:lnTo>
                      <a:pt x="82" y="3"/>
                    </a:lnTo>
                    <a:lnTo>
                      <a:pt x="80" y="2"/>
                    </a:lnTo>
                    <a:lnTo>
                      <a:pt x="78" y="3"/>
                    </a:lnTo>
                    <a:lnTo>
                      <a:pt x="78" y="6"/>
                    </a:lnTo>
                    <a:lnTo>
                      <a:pt x="76" y="7"/>
                    </a:lnTo>
                    <a:lnTo>
                      <a:pt x="76" y="10"/>
                    </a:lnTo>
                    <a:lnTo>
                      <a:pt x="74" y="12"/>
                    </a:lnTo>
                    <a:lnTo>
                      <a:pt x="74" y="15"/>
                    </a:lnTo>
                    <a:lnTo>
                      <a:pt x="72" y="17"/>
                    </a:lnTo>
                    <a:lnTo>
                      <a:pt x="71" y="19"/>
                    </a:lnTo>
                    <a:lnTo>
                      <a:pt x="72" y="19"/>
                    </a:lnTo>
                    <a:lnTo>
                      <a:pt x="75" y="22"/>
                    </a:lnTo>
                    <a:lnTo>
                      <a:pt x="77" y="24"/>
                    </a:lnTo>
                    <a:lnTo>
                      <a:pt x="79" y="25"/>
                    </a:lnTo>
                    <a:lnTo>
                      <a:pt x="80" y="28"/>
                    </a:lnTo>
                    <a:lnTo>
                      <a:pt x="83" y="28"/>
                    </a:lnTo>
                    <a:lnTo>
                      <a:pt x="83" y="29"/>
                    </a:lnTo>
                    <a:lnTo>
                      <a:pt x="83" y="31"/>
                    </a:lnTo>
                    <a:lnTo>
                      <a:pt x="84" y="32"/>
                    </a:lnTo>
                    <a:lnTo>
                      <a:pt x="85" y="38"/>
                    </a:lnTo>
                    <a:lnTo>
                      <a:pt x="83" y="41"/>
                    </a:lnTo>
                    <a:lnTo>
                      <a:pt x="86" y="48"/>
                    </a:lnTo>
                    <a:lnTo>
                      <a:pt x="88" y="51"/>
                    </a:lnTo>
                    <a:lnTo>
                      <a:pt x="88" y="56"/>
                    </a:lnTo>
                    <a:lnTo>
                      <a:pt x="87" y="57"/>
                    </a:lnTo>
                    <a:lnTo>
                      <a:pt x="88" y="62"/>
                    </a:lnTo>
                    <a:lnTo>
                      <a:pt x="91" y="66"/>
                    </a:lnTo>
                    <a:lnTo>
                      <a:pt x="93" y="67"/>
                    </a:lnTo>
                    <a:lnTo>
                      <a:pt x="94" y="66"/>
                    </a:lnTo>
                    <a:lnTo>
                      <a:pt x="96" y="66"/>
                    </a:lnTo>
                    <a:lnTo>
                      <a:pt x="96" y="68"/>
                    </a:lnTo>
                    <a:lnTo>
                      <a:pt x="102" y="72"/>
                    </a:lnTo>
                    <a:lnTo>
                      <a:pt x="104" y="72"/>
                    </a:lnTo>
                    <a:lnTo>
                      <a:pt x="104" y="75"/>
                    </a:lnTo>
                    <a:lnTo>
                      <a:pt x="106" y="76"/>
                    </a:lnTo>
                    <a:lnTo>
                      <a:pt x="108" y="84"/>
                    </a:lnTo>
                    <a:lnTo>
                      <a:pt x="107" y="89"/>
                    </a:lnTo>
                    <a:lnTo>
                      <a:pt x="105" y="92"/>
                    </a:lnTo>
                    <a:lnTo>
                      <a:pt x="102" y="93"/>
                    </a:lnTo>
                    <a:lnTo>
                      <a:pt x="102" y="95"/>
                    </a:lnTo>
                    <a:lnTo>
                      <a:pt x="104" y="98"/>
                    </a:lnTo>
                    <a:lnTo>
                      <a:pt x="104" y="101"/>
                    </a:lnTo>
                    <a:lnTo>
                      <a:pt x="108" y="107"/>
                    </a:lnTo>
                    <a:lnTo>
                      <a:pt x="106" y="108"/>
                    </a:lnTo>
                    <a:lnTo>
                      <a:pt x="104" y="112"/>
                    </a:lnTo>
                    <a:lnTo>
                      <a:pt x="100" y="112"/>
                    </a:lnTo>
                    <a:lnTo>
                      <a:pt x="99" y="112"/>
                    </a:lnTo>
                    <a:lnTo>
                      <a:pt x="98" y="107"/>
                    </a:lnTo>
                    <a:lnTo>
                      <a:pt x="96" y="104"/>
                    </a:lnTo>
                    <a:lnTo>
                      <a:pt x="96" y="100"/>
                    </a:lnTo>
                    <a:lnTo>
                      <a:pt x="94" y="98"/>
                    </a:lnTo>
                    <a:lnTo>
                      <a:pt x="91" y="101"/>
                    </a:lnTo>
                    <a:lnTo>
                      <a:pt x="91" y="103"/>
                    </a:lnTo>
                    <a:lnTo>
                      <a:pt x="91" y="104"/>
                    </a:lnTo>
                    <a:lnTo>
                      <a:pt x="90" y="106"/>
                    </a:lnTo>
                    <a:lnTo>
                      <a:pt x="89" y="108"/>
                    </a:lnTo>
                    <a:lnTo>
                      <a:pt x="87" y="108"/>
                    </a:lnTo>
                    <a:lnTo>
                      <a:pt x="86" y="107"/>
                    </a:lnTo>
                    <a:lnTo>
                      <a:pt x="81" y="107"/>
                    </a:lnTo>
                    <a:lnTo>
                      <a:pt x="80" y="106"/>
                    </a:lnTo>
                    <a:lnTo>
                      <a:pt x="78" y="105"/>
                    </a:lnTo>
                    <a:lnTo>
                      <a:pt x="74" y="106"/>
                    </a:lnTo>
                    <a:lnTo>
                      <a:pt x="73" y="108"/>
                    </a:lnTo>
                    <a:lnTo>
                      <a:pt x="70" y="109"/>
                    </a:lnTo>
                    <a:lnTo>
                      <a:pt x="69" y="111"/>
                    </a:lnTo>
                    <a:lnTo>
                      <a:pt x="69" y="115"/>
                    </a:lnTo>
                    <a:lnTo>
                      <a:pt x="68" y="117"/>
                    </a:lnTo>
                    <a:lnTo>
                      <a:pt x="66" y="118"/>
                    </a:lnTo>
                    <a:lnTo>
                      <a:pt x="63" y="117"/>
                    </a:lnTo>
                    <a:lnTo>
                      <a:pt x="62" y="119"/>
                    </a:lnTo>
                    <a:lnTo>
                      <a:pt x="63" y="121"/>
                    </a:lnTo>
                    <a:lnTo>
                      <a:pt x="62" y="123"/>
                    </a:lnTo>
                    <a:lnTo>
                      <a:pt x="62" y="126"/>
                    </a:lnTo>
                    <a:lnTo>
                      <a:pt x="61" y="129"/>
                    </a:lnTo>
                    <a:lnTo>
                      <a:pt x="58" y="131"/>
                    </a:lnTo>
                    <a:lnTo>
                      <a:pt x="57" y="133"/>
                    </a:lnTo>
                    <a:lnTo>
                      <a:pt x="55" y="136"/>
                    </a:lnTo>
                    <a:lnTo>
                      <a:pt x="55" y="139"/>
                    </a:lnTo>
                    <a:lnTo>
                      <a:pt x="54" y="141"/>
                    </a:lnTo>
                    <a:lnTo>
                      <a:pt x="52" y="145"/>
                    </a:lnTo>
                    <a:lnTo>
                      <a:pt x="52" y="148"/>
                    </a:lnTo>
                    <a:lnTo>
                      <a:pt x="51" y="150"/>
                    </a:lnTo>
                    <a:lnTo>
                      <a:pt x="50" y="150"/>
                    </a:lnTo>
                    <a:lnTo>
                      <a:pt x="50" y="148"/>
                    </a:lnTo>
                    <a:lnTo>
                      <a:pt x="49" y="148"/>
                    </a:lnTo>
                    <a:lnTo>
                      <a:pt x="49" y="154"/>
                    </a:lnTo>
                    <a:lnTo>
                      <a:pt x="47" y="156"/>
                    </a:lnTo>
                    <a:lnTo>
                      <a:pt x="44" y="156"/>
                    </a:lnTo>
                    <a:lnTo>
                      <a:pt x="43" y="157"/>
                    </a:lnTo>
                    <a:lnTo>
                      <a:pt x="44" y="158"/>
                    </a:lnTo>
                    <a:lnTo>
                      <a:pt x="46" y="164"/>
                    </a:lnTo>
                    <a:lnTo>
                      <a:pt x="46" y="166"/>
                    </a:lnTo>
                    <a:lnTo>
                      <a:pt x="47" y="169"/>
                    </a:lnTo>
                    <a:lnTo>
                      <a:pt x="44" y="170"/>
                    </a:lnTo>
                    <a:lnTo>
                      <a:pt x="41" y="174"/>
                    </a:lnTo>
                    <a:lnTo>
                      <a:pt x="39" y="176"/>
                    </a:lnTo>
                    <a:lnTo>
                      <a:pt x="43" y="180"/>
                    </a:lnTo>
                    <a:lnTo>
                      <a:pt x="41" y="183"/>
                    </a:lnTo>
                    <a:lnTo>
                      <a:pt x="44" y="187"/>
                    </a:lnTo>
                    <a:lnTo>
                      <a:pt x="41" y="189"/>
                    </a:lnTo>
                    <a:lnTo>
                      <a:pt x="41" y="191"/>
                    </a:lnTo>
                    <a:lnTo>
                      <a:pt x="41" y="192"/>
                    </a:lnTo>
                    <a:lnTo>
                      <a:pt x="40" y="193"/>
                    </a:lnTo>
                    <a:lnTo>
                      <a:pt x="37" y="193"/>
                    </a:lnTo>
                    <a:lnTo>
                      <a:pt x="36" y="195"/>
                    </a:lnTo>
                    <a:lnTo>
                      <a:pt x="33" y="196"/>
                    </a:lnTo>
                    <a:lnTo>
                      <a:pt x="31" y="199"/>
                    </a:lnTo>
                    <a:lnTo>
                      <a:pt x="30" y="198"/>
                    </a:lnTo>
                    <a:lnTo>
                      <a:pt x="29" y="199"/>
                    </a:lnTo>
                    <a:lnTo>
                      <a:pt x="29" y="202"/>
                    </a:lnTo>
                    <a:lnTo>
                      <a:pt x="28" y="203"/>
                    </a:lnTo>
                    <a:lnTo>
                      <a:pt x="26" y="204"/>
                    </a:lnTo>
                    <a:lnTo>
                      <a:pt x="25" y="207"/>
                    </a:lnTo>
                    <a:lnTo>
                      <a:pt x="25" y="208"/>
                    </a:lnTo>
                    <a:lnTo>
                      <a:pt x="23" y="208"/>
                    </a:lnTo>
                    <a:lnTo>
                      <a:pt x="21" y="205"/>
                    </a:lnTo>
                    <a:lnTo>
                      <a:pt x="16" y="204"/>
                    </a:lnTo>
                    <a:lnTo>
                      <a:pt x="13" y="204"/>
                    </a:lnTo>
                    <a:lnTo>
                      <a:pt x="14" y="212"/>
                    </a:lnTo>
                    <a:lnTo>
                      <a:pt x="16" y="213"/>
                    </a:lnTo>
                    <a:lnTo>
                      <a:pt x="17" y="216"/>
                    </a:lnTo>
                    <a:lnTo>
                      <a:pt x="17" y="218"/>
                    </a:lnTo>
                    <a:lnTo>
                      <a:pt x="18" y="221"/>
                    </a:lnTo>
                    <a:lnTo>
                      <a:pt x="17" y="224"/>
                    </a:lnTo>
                    <a:lnTo>
                      <a:pt x="17" y="228"/>
                    </a:lnTo>
                    <a:lnTo>
                      <a:pt x="17" y="230"/>
                    </a:lnTo>
                    <a:lnTo>
                      <a:pt x="18" y="231"/>
                    </a:lnTo>
                    <a:lnTo>
                      <a:pt x="18" y="236"/>
                    </a:lnTo>
                    <a:lnTo>
                      <a:pt x="21" y="238"/>
                    </a:lnTo>
                    <a:lnTo>
                      <a:pt x="19" y="241"/>
                    </a:lnTo>
                    <a:lnTo>
                      <a:pt x="22" y="243"/>
                    </a:lnTo>
                    <a:lnTo>
                      <a:pt x="21" y="245"/>
                    </a:lnTo>
                    <a:lnTo>
                      <a:pt x="21" y="247"/>
                    </a:lnTo>
                    <a:lnTo>
                      <a:pt x="20" y="249"/>
                    </a:lnTo>
                    <a:lnTo>
                      <a:pt x="20" y="251"/>
                    </a:lnTo>
                    <a:lnTo>
                      <a:pt x="21" y="253"/>
                    </a:lnTo>
                    <a:lnTo>
                      <a:pt x="19" y="255"/>
                    </a:lnTo>
                    <a:lnTo>
                      <a:pt x="21" y="261"/>
                    </a:lnTo>
                    <a:lnTo>
                      <a:pt x="21" y="264"/>
                    </a:lnTo>
                    <a:lnTo>
                      <a:pt x="23" y="265"/>
                    </a:lnTo>
                    <a:lnTo>
                      <a:pt x="22" y="266"/>
                    </a:lnTo>
                    <a:lnTo>
                      <a:pt x="23" y="267"/>
                    </a:lnTo>
                    <a:lnTo>
                      <a:pt x="19" y="268"/>
                    </a:lnTo>
                    <a:lnTo>
                      <a:pt x="17" y="268"/>
                    </a:lnTo>
                    <a:lnTo>
                      <a:pt x="15" y="270"/>
                    </a:lnTo>
                    <a:lnTo>
                      <a:pt x="14" y="271"/>
                    </a:lnTo>
                    <a:lnTo>
                      <a:pt x="13" y="277"/>
                    </a:lnTo>
                    <a:lnTo>
                      <a:pt x="13" y="279"/>
                    </a:lnTo>
                    <a:lnTo>
                      <a:pt x="14" y="280"/>
                    </a:lnTo>
                    <a:lnTo>
                      <a:pt x="12" y="283"/>
                    </a:lnTo>
                    <a:lnTo>
                      <a:pt x="13" y="286"/>
                    </a:lnTo>
                    <a:lnTo>
                      <a:pt x="15" y="287"/>
                    </a:lnTo>
                    <a:lnTo>
                      <a:pt x="16" y="289"/>
                    </a:lnTo>
                    <a:lnTo>
                      <a:pt x="17" y="290"/>
                    </a:lnTo>
                    <a:lnTo>
                      <a:pt x="18" y="291"/>
                    </a:lnTo>
                    <a:lnTo>
                      <a:pt x="17" y="293"/>
                    </a:lnTo>
                    <a:lnTo>
                      <a:pt x="17" y="295"/>
                    </a:lnTo>
                    <a:lnTo>
                      <a:pt x="17" y="298"/>
                    </a:lnTo>
                    <a:lnTo>
                      <a:pt x="19" y="304"/>
                    </a:lnTo>
                    <a:lnTo>
                      <a:pt x="23" y="311"/>
                    </a:lnTo>
                    <a:lnTo>
                      <a:pt x="25" y="313"/>
                    </a:lnTo>
                    <a:lnTo>
                      <a:pt x="26" y="314"/>
                    </a:lnTo>
                    <a:lnTo>
                      <a:pt x="28" y="316"/>
                    </a:lnTo>
                    <a:lnTo>
                      <a:pt x="26" y="317"/>
                    </a:lnTo>
                    <a:lnTo>
                      <a:pt x="26" y="318"/>
                    </a:lnTo>
                    <a:lnTo>
                      <a:pt x="26" y="319"/>
                    </a:lnTo>
                    <a:lnTo>
                      <a:pt x="25" y="320"/>
                    </a:lnTo>
                    <a:lnTo>
                      <a:pt x="28" y="325"/>
                    </a:lnTo>
                    <a:lnTo>
                      <a:pt x="30" y="326"/>
                    </a:lnTo>
                    <a:lnTo>
                      <a:pt x="28" y="329"/>
                    </a:lnTo>
                    <a:lnTo>
                      <a:pt x="26" y="329"/>
                    </a:lnTo>
                    <a:lnTo>
                      <a:pt x="25" y="332"/>
                    </a:lnTo>
                    <a:lnTo>
                      <a:pt x="23" y="333"/>
                    </a:lnTo>
                    <a:lnTo>
                      <a:pt x="23" y="335"/>
                    </a:lnTo>
                    <a:lnTo>
                      <a:pt x="25" y="335"/>
                    </a:lnTo>
                    <a:lnTo>
                      <a:pt x="26" y="335"/>
                    </a:lnTo>
                    <a:lnTo>
                      <a:pt x="27" y="333"/>
                    </a:lnTo>
                    <a:lnTo>
                      <a:pt x="29" y="333"/>
                    </a:lnTo>
                    <a:lnTo>
                      <a:pt x="29" y="335"/>
                    </a:lnTo>
                    <a:lnTo>
                      <a:pt x="30" y="336"/>
                    </a:lnTo>
                    <a:lnTo>
                      <a:pt x="31" y="335"/>
                    </a:lnTo>
                    <a:lnTo>
                      <a:pt x="34" y="335"/>
                    </a:lnTo>
                    <a:lnTo>
                      <a:pt x="35" y="338"/>
                    </a:lnTo>
                    <a:lnTo>
                      <a:pt x="38" y="340"/>
                    </a:lnTo>
                    <a:lnTo>
                      <a:pt x="37" y="342"/>
                    </a:lnTo>
                    <a:lnTo>
                      <a:pt x="35" y="346"/>
                    </a:lnTo>
                    <a:lnTo>
                      <a:pt x="36" y="346"/>
                    </a:lnTo>
                    <a:lnTo>
                      <a:pt x="36" y="348"/>
                    </a:lnTo>
                    <a:lnTo>
                      <a:pt x="37" y="347"/>
                    </a:lnTo>
                    <a:lnTo>
                      <a:pt x="37" y="349"/>
                    </a:lnTo>
                    <a:lnTo>
                      <a:pt x="35" y="356"/>
                    </a:lnTo>
                    <a:lnTo>
                      <a:pt x="36" y="359"/>
                    </a:lnTo>
                    <a:lnTo>
                      <a:pt x="33" y="361"/>
                    </a:lnTo>
                    <a:lnTo>
                      <a:pt x="32" y="361"/>
                    </a:lnTo>
                    <a:lnTo>
                      <a:pt x="30" y="362"/>
                    </a:lnTo>
                    <a:lnTo>
                      <a:pt x="30" y="364"/>
                    </a:lnTo>
                    <a:lnTo>
                      <a:pt x="30" y="365"/>
                    </a:lnTo>
                    <a:lnTo>
                      <a:pt x="29" y="365"/>
                    </a:lnTo>
                    <a:lnTo>
                      <a:pt x="26" y="365"/>
                    </a:lnTo>
                    <a:lnTo>
                      <a:pt x="25" y="367"/>
                    </a:lnTo>
                    <a:lnTo>
                      <a:pt x="25" y="369"/>
                    </a:lnTo>
                    <a:lnTo>
                      <a:pt x="23" y="369"/>
                    </a:lnTo>
                    <a:lnTo>
                      <a:pt x="23" y="374"/>
                    </a:lnTo>
                    <a:lnTo>
                      <a:pt x="22" y="375"/>
                    </a:lnTo>
                    <a:lnTo>
                      <a:pt x="22" y="377"/>
                    </a:lnTo>
                    <a:lnTo>
                      <a:pt x="24" y="381"/>
                    </a:lnTo>
                    <a:lnTo>
                      <a:pt x="26" y="384"/>
                    </a:lnTo>
                    <a:lnTo>
                      <a:pt x="26" y="385"/>
                    </a:lnTo>
                    <a:lnTo>
                      <a:pt x="25" y="384"/>
                    </a:lnTo>
                    <a:lnTo>
                      <a:pt x="25" y="382"/>
                    </a:lnTo>
                    <a:lnTo>
                      <a:pt x="24" y="382"/>
                    </a:lnTo>
                    <a:lnTo>
                      <a:pt x="24" y="383"/>
                    </a:lnTo>
                    <a:lnTo>
                      <a:pt x="23" y="384"/>
                    </a:lnTo>
                    <a:lnTo>
                      <a:pt x="22" y="388"/>
                    </a:lnTo>
                    <a:lnTo>
                      <a:pt x="20" y="389"/>
                    </a:lnTo>
                    <a:lnTo>
                      <a:pt x="21" y="391"/>
                    </a:lnTo>
                    <a:lnTo>
                      <a:pt x="21" y="392"/>
                    </a:lnTo>
                    <a:lnTo>
                      <a:pt x="19" y="393"/>
                    </a:lnTo>
                    <a:lnTo>
                      <a:pt x="20" y="395"/>
                    </a:lnTo>
                    <a:lnTo>
                      <a:pt x="21" y="396"/>
                    </a:lnTo>
                    <a:lnTo>
                      <a:pt x="18" y="397"/>
                    </a:lnTo>
                    <a:lnTo>
                      <a:pt x="18" y="398"/>
                    </a:lnTo>
                    <a:lnTo>
                      <a:pt x="17" y="399"/>
                    </a:lnTo>
                    <a:lnTo>
                      <a:pt x="16" y="398"/>
                    </a:lnTo>
                    <a:lnTo>
                      <a:pt x="15" y="401"/>
                    </a:lnTo>
                    <a:lnTo>
                      <a:pt x="17" y="401"/>
                    </a:lnTo>
                    <a:lnTo>
                      <a:pt x="17" y="404"/>
                    </a:lnTo>
                    <a:lnTo>
                      <a:pt x="19" y="405"/>
                    </a:lnTo>
                    <a:lnTo>
                      <a:pt x="18" y="406"/>
                    </a:lnTo>
                    <a:lnTo>
                      <a:pt x="17" y="406"/>
                    </a:lnTo>
                    <a:lnTo>
                      <a:pt x="13" y="407"/>
                    </a:lnTo>
                    <a:lnTo>
                      <a:pt x="13" y="406"/>
                    </a:lnTo>
                    <a:lnTo>
                      <a:pt x="12" y="405"/>
                    </a:lnTo>
                    <a:lnTo>
                      <a:pt x="11" y="403"/>
                    </a:lnTo>
                    <a:lnTo>
                      <a:pt x="9" y="404"/>
                    </a:lnTo>
                    <a:lnTo>
                      <a:pt x="9" y="402"/>
                    </a:lnTo>
                    <a:lnTo>
                      <a:pt x="8" y="404"/>
                    </a:lnTo>
                    <a:lnTo>
                      <a:pt x="8" y="403"/>
                    </a:lnTo>
                    <a:lnTo>
                      <a:pt x="5" y="401"/>
                    </a:lnTo>
                    <a:lnTo>
                      <a:pt x="3" y="399"/>
                    </a:lnTo>
                    <a:lnTo>
                      <a:pt x="5" y="401"/>
                    </a:lnTo>
                    <a:lnTo>
                      <a:pt x="3" y="401"/>
                    </a:lnTo>
                    <a:lnTo>
                      <a:pt x="4" y="403"/>
                    </a:lnTo>
                    <a:lnTo>
                      <a:pt x="3" y="404"/>
                    </a:lnTo>
                    <a:lnTo>
                      <a:pt x="3" y="405"/>
                    </a:lnTo>
                    <a:lnTo>
                      <a:pt x="3" y="407"/>
                    </a:lnTo>
                    <a:lnTo>
                      <a:pt x="3" y="410"/>
                    </a:lnTo>
                    <a:lnTo>
                      <a:pt x="5" y="410"/>
                    </a:lnTo>
                    <a:lnTo>
                      <a:pt x="5" y="411"/>
                    </a:lnTo>
                    <a:lnTo>
                      <a:pt x="5" y="412"/>
                    </a:lnTo>
                    <a:lnTo>
                      <a:pt x="3" y="413"/>
                    </a:lnTo>
                    <a:lnTo>
                      <a:pt x="2" y="416"/>
                    </a:lnTo>
                    <a:lnTo>
                      <a:pt x="1" y="417"/>
                    </a:lnTo>
                    <a:lnTo>
                      <a:pt x="0" y="420"/>
                    </a:lnTo>
                    <a:lnTo>
                      <a:pt x="2" y="420"/>
                    </a:lnTo>
                    <a:lnTo>
                      <a:pt x="5" y="420"/>
                    </a:lnTo>
                    <a:lnTo>
                      <a:pt x="6" y="420"/>
                    </a:lnTo>
                    <a:lnTo>
                      <a:pt x="8" y="421"/>
                    </a:lnTo>
                    <a:lnTo>
                      <a:pt x="9" y="420"/>
                    </a:lnTo>
                    <a:lnTo>
                      <a:pt x="11" y="422"/>
                    </a:lnTo>
                    <a:lnTo>
                      <a:pt x="12" y="423"/>
                    </a:lnTo>
                    <a:lnTo>
                      <a:pt x="15" y="426"/>
                    </a:lnTo>
                    <a:lnTo>
                      <a:pt x="18" y="426"/>
                    </a:lnTo>
                    <a:lnTo>
                      <a:pt x="20" y="425"/>
                    </a:lnTo>
                    <a:lnTo>
                      <a:pt x="19" y="426"/>
                    </a:lnTo>
                    <a:lnTo>
                      <a:pt x="19" y="427"/>
                    </a:lnTo>
                    <a:lnTo>
                      <a:pt x="20" y="426"/>
                    </a:lnTo>
                    <a:lnTo>
                      <a:pt x="21" y="426"/>
                    </a:lnTo>
                    <a:lnTo>
                      <a:pt x="23" y="427"/>
                    </a:lnTo>
                    <a:lnTo>
                      <a:pt x="24" y="427"/>
                    </a:lnTo>
                    <a:lnTo>
                      <a:pt x="25" y="427"/>
                    </a:lnTo>
                    <a:lnTo>
                      <a:pt x="25" y="428"/>
                    </a:lnTo>
                    <a:lnTo>
                      <a:pt x="22" y="428"/>
                    </a:lnTo>
                    <a:lnTo>
                      <a:pt x="20" y="427"/>
                    </a:lnTo>
                    <a:lnTo>
                      <a:pt x="18" y="427"/>
                    </a:lnTo>
                    <a:lnTo>
                      <a:pt x="17" y="430"/>
                    </a:lnTo>
                    <a:lnTo>
                      <a:pt x="17" y="431"/>
                    </a:lnTo>
                    <a:lnTo>
                      <a:pt x="17" y="435"/>
                    </a:lnTo>
                    <a:lnTo>
                      <a:pt x="15" y="436"/>
                    </a:lnTo>
                    <a:lnTo>
                      <a:pt x="14" y="435"/>
                    </a:lnTo>
                    <a:lnTo>
                      <a:pt x="11" y="437"/>
                    </a:lnTo>
                    <a:lnTo>
                      <a:pt x="12" y="439"/>
                    </a:lnTo>
                    <a:lnTo>
                      <a:pt x="10" y="443"/>
                    </a:lnTo>
                    <a:lnTo>
                      <a:pt x="11" y="445"/>
                    </a:lnTo>
                    <a:lnTo>
                      <a:pt x="11" y="448"/>
                    </a:lnTo>
                    <a:lnTo>
                      <a:pt x="12" y="449"/>
                    </a:lnTo>
                    <a:lnTo>
                      <a:pt x="12" y="451"/>
                    </a:lnTo>
                    <a:lnTo>
                      <a:pt x="13" y="454"/>
                    </a:lnTo>
                    <a:lnTo>
                      <a:pt x="12" y="454"/>
                    </a:lnTo>
                    <a:lnTo>
                      <a:pt x="13" y="455"/>
                    </a:lnTo>
                    <a:lnTo>
                      <a:pt x="12" y="462"/>
                    </a:lnTo>
                    <a:lnTo>
                      <a:pt x="14" y="463"/>
                    </a:lnTo>
                    <a:lnTo>
                      <a:pt x="15" y="464"/>
                    </a:lnTo>
                    <a:lnTo>
                      <a:pt x="17" y="464"/>
                    </a:lnTo>
                    <a:lnTo>
                      <a:pt x="17" y="465"/>
                    </a:lnTo>
                    <a:lnTo>
                      <a:pt x="17" y="468"/>
                    </a:lnTo>
                    <a:lnTo>
                      <a:pt x="18" y="470"/>
                    </a:lnTo>
                    <a:lnTo>
                      <a:pt x="17" y="471"/>
                    </a:lnTo>
                    <a:lnTo>
                      <a:pt x="19" y="471"/>
                    </a:lnTo>
                    <a:lnTo>
                      <a:pt x="19" y="473"/>
                    </a:lnTo>
                    <a:lnTo>
                      <a:pt x="19" y="474"/>
                    </a:lnTo>
                    <a:lnTo>
                      <a:pt x="18" y="474"/>
                    </a:lnTo>
                    <a:lnTo>
                      <a:pt x="17" y="474"/>
                    </a:lnTo>
                    <a:lnTo>
                      <a:pt x="15" y="474"/>
                    </a:lnTo>
                    <a:lnTo>
                      <a:pt x="15" y="475"/>
                    </a:lnTo>
                    <a:lnTo>
                      <a:pt x="12" y="474"/>
                    </a:lnTo>
                    <a:lnTo>
                      <a:pt x="11" y="477"/>
                    </a:lnTo>
                    <a:lnTo>
                      <a:pt x="11" y="478"/>
                    </a:lnTo>
                    <a:lnTo>
                      <a:pt x="9" y="480"/>
                    </a:lnTo>
                    <a:lnTo>
                      <a:pt x="9" y="483"/>
                    </a:lnTo>
                    <a:lnTo>
                      <a:pt x="11" y="484"/>
                    </a:lnTo>
                    <a:lnTo>
                      <a:pt x="11" y="482"/>
                    </a:lnTo>
                    <a:lnTo>
                      <a:pt x="13" y="483"/>
                    </a:lnTo>
                    <a:lnTo>
                      <a:pt x="12" y="486"/>
                    </a:lnTo>
                    <a:lnTo>
                      <a:pt x="18" y="490"/>
                    </a:lnTo>
                    <a:lnTo>
                      <a:pt x="21" y="494"/>
                    </a:lnTo>
                    <a:lnTo>
                      <a:pt x="25" y="496"/>
                    </a:lnTo>
                    <a:lnTo>
                      <a:pt x="26" y="499"/>
                    </a:lnTo>
                    <a:lnTo>
                      <a:pt x="27" y="498"/>
                    </a:lnTo>
                    <a:lnTo>
                      <a:pt x="27" y="497"/>
                    </a:lnTo>
                    <a:lnTo>
                      <a:pt x="30" y="493"/>
                    </a:lnTo>
                    <a:lnTo>
                      <a:pt x="32" y="491"/>
                    </a:lnTo>
                    <a:lnTo>
                      <a:pt x="34" y="491"/>
                    </a:lnTo>
                    <a:lnTo>
                      <a:pt x="36" y="490"/>
                    </a:lnTo>
                    <a:lnTo>
                      <a:pt x="37" y="491"/>
                    </a:lnTo>
                    <a:lnTo>
                      <a:pt x="36" y="489"/>
                    </a:lnTo>
                    <a:lnTo>
                      <a:pt x="36" y="486"/>
                    </a:lnTo>
                    <a:lnTo>
                      <a:pt x="36" y="484"/>
                    </a:lnTo>
                    <a:lnTo>
                      <a:pt x="37" y="484"/>
                    </a:lnTo>
                    <a:lnTo>
                      <a:pt x="39" y="478"/>
                    </a:lnTo>
                    <a:lnTo>
                      <a:pt x="40" y="481"/>
                    </a:lnTo>
                    <a:lnTo>
                      <a:pt x="41" y="480"/>
                    </a:lnTo>
                    <a:lnTo>
                      <a:pt x="44" y="478"/>
                    </a:lnTo>
                    <a:lnTo>
                      <a:pt x="41" y="475"/>
                    </a:lnTo>
                    <a:lnTo>
                      <a:pt x="42" y="473"/>
                    </a:lnTo>
                    <a:lnTo>
                      <a:pt x="41" y="472"/>
                    </a:lnTo>
                    <a:lnTo>
                      <a:pt x="38" y="471"/>
                    </a:lnTo>
                    <a:lnTo>
                      <a:pt x="38" y="469"/>
                    </a:lnTo>
                    <a:lnTo>
                      <a:pt x="38" y="468"/>
                    </a:lnTo>
                    <a:lnTo>
                      <a:pt x="40" y="467"/>
                    </a:lnTo>
                    <a:lnTo>
                      <a:pt x="41" y="466"/>
                    </a:lnTo>
                    <a:lnTo>
                      <a:pt x="39" y="465"/>
                    </a:lnTo>
                    <a:lnTo>
                      <a:pt x="39" y="463"/>
                    </a:lnTo>
                    <a:lnTo>
                      <a:pt x="38" y="463"/>
                    </a:lnTo>
                    <a:lnTo>
                      <a:pt x="37" y="464"/>
                    </a:lnTo>
                    <a:lnTo>
                      <a:pt x="37" y="462"/>
                    </a:lnTo>
                    <a:lnTo>
                      <a:pt x="36" y="462"/>
                    </a:lnTo>
                    <a:lnTo>
                      <a:pt x="36" y="459"/>
                    </a:lnTo>
                    <a:lnTo>
                      <a:pt x="35" y="459"/>
                    </a:lnTo>
                    <a:lnTo>
                      <a:pt x="35" y="458"/>
                    </a:lnTo>
                    <a:lnTo>
                      <a:pt x="34" y="459"/>
                    </a:lnTo>
                    <a:lnTo>
                      <a:pt x="33" y="458"/>
                    </a:lnTo>
                    <a:lnTo>
                      <a:pt x="32" y="458"/>
                    </a:lnTo>
                    <a:lnTo>
                      <a:pt x="33" y="456"/>
                    </a:lnTo>
                    <a:lnTo>
                      <a:pt x="32" y="454"/>
                    </a:lnTo>
                    <a:lnTo>
                      <a:pt x="30" y="454"/>
                    </a:lnTo>
                    <a:lnTo>
                      <a:pt x="31" y="452"/>
                    </a:lnTo>
                    <a:lnTo>
                      <a:pt x="33" y="454"/>
                    </a:lnTo>
                    <a:lnTo>
                      <a:pt x="34" y="453"/>
                    </a:lnTo>
                    <a:lnTo>
                      <a:pt x="35" y="451"/>
                    </a:lnTo>
                    <a:lnTo>
                      <a:pt x="36" y="451"/>
                    </a:lnTo>
                    <a:lnTo>
                      <a:pt x="36" y="450"/>
                    </a:lnTo>
                    <a:lnTo>
                      <a:pt x="35" y="450"/>
                    </a:lnTo>
                    <a:lnTo>
                      <a:pt x="34" y="450"/>
                    </a:lnTo>
                    <a:lnTo>
                      <a:pt x="36" y="449"/>
                    </a:lnTo>
                    <a:lnTo>
                      <a:pt x="38" y="449"/>
                    </a:lnTo>
                    <a:lnTo>
                      <a:pt x="44" y="446"/>
                    </a:lnTo>
                    <a:lnTo>
                      <a:pt x="45" y="446"/>
                    </a:lnTo>
                    <a:lnTo>
                      <a:pt x="46" y="445"/>
                    </a:lnTo>
                    <a:lnTo>
                      <a:pt x="47" y="446"/>
                    </a:lnTo>
                    <a:lnTo>
                      <a:pt x="50" y="451"/>
                    </a:lnTo>
                    <a:lnTo>
                      <a:pt x="52" y="448"/>
                    </a:lnTo>
                    <a:lnTo>
                      <a:pt x="54" y="449"/>
                    </a:lnTo>
                    <a:lnTo>
                      <a:pt x="54" y="450"/>
                    </a:lnTo>
                    <a:lnTo>
                      <a:pt x="55" y="450"/>
                    </a:lnTo>
                    <a:lnTo>
                      <a:pt x="54" y="451"/>
                    </a:lnTo>
                    <a:lnTo>
                      <a:pt x="55" y="452"/>
                    </a:lnTo>
                    <a:lnTo>
                      <a:pt x="57" y="454"/>
                    </a:lnTo>
                    <a:lnTo>
                      <a:pt x="57" y="458"/>
                    </a:lnTo>
                    <a:lnTo>
                      <a:pt x="55" y="458"/>
                    </a:lnTo>
                    <a:lnTo>
                      <a:pt x="55" y="459"/>
                    </a:lnTo>
                    <a:lnTo>
                      <a:pt x="57" y="459"/>
                    </a:lnTo>
                    <a:lnTo>
                      <a:pt x="57" y="461"/>
                    </a:lnTo>
                    <a:lnTo>
                      <a:pt x="61" y="463"/>
                    </a:lnTo>
                    <a:lnTo>
                      <a:pt x="62" y="464"/>
                    </a:lnTo>
                    <a:lnTo>
                      <a:pt x="61" y="465"/>
                    </a:lnTo>
                    <a:lnTo>
                      <a:pt x="59" y="465"/>
                    </a:lnTo>
                    <a:lnTo>
                      <a:pt x="59" y="466"/>
                    </a:lnTo>
                    <a:lnTo>
                      <a:pt x="60" y="466"/>
                    </a:lnTo>
                    <a:lnTo>
                      <a:pt x="61" y="467"/>
                    </a:lnTo>
                    <a:lnTo>
                      <a:pt x="62" y="467"/>
                    </a:lnTo>
                    <a:lnTo>
                      <a:pt x="63" y="468"/>
                    </a:lnTo>
                    <a:lnTo>
                      <a:pt x="64" y="469"/>
                    </a:lnTo>
                    <a:lnTo>
                      <a:pt x="64" y="472"/>
                    </a:lnTo>
                    <a:lnTo>
                      <a:pt x="63" y="472"/>
                    </a:lnTo>
                    <a:lnTo>
                      <a:pt x="63" y="473"/>
                    </a:lnTo>
                    <a:lnTo>
                      <a:pt x="64" y="477"/>
                    </a:lnTo>
                    <a:lnTo>
                      <a:pt x="64" y="479"/>
                    </a:lnTo>
                    <a:lnTo>
                      <a:pt x="64" y="482"/>
                    </a:lnTo>
                    <a:lnTo>
                      <a:pt x="63" y="481"/>
                    </a:lnTo>
                    <a:lnTo>
                      <a:pt x="62" y="482"/>
                    </a:lnTo>
                    <a:lnTo>
                      <a:pt x="65" y="485"/>
                    </a:lnTo>
                    <a:lnTo>
                      <a:pt x="66" y="486"/>
                    </a:lnTo>
                    <a:lnTo>
                      <a:pt x="69" y="485"/>
                    </a:lnTo>
                    <a:lnTo>
                      <a:pt x="69" y="486"/>
                    </a:lnTo>
                    <a:lnTo>
                      <a:pt x="70" y="486"/>
                    </a:lnTo>
                    <a:lnTo>
                      <a:pt x="70" y="487"/>
                    </a:lnTo>
                    <a:lnTo>
                      <a:pt x="69" y="490"/>
                    </a:lnTo>
                    <a:lnTo>
                      <a:pt x="70" y="490"/>
                    </a:lnTo>
                    <a:lnTo>
                      <a:pt x="70" y="492"/>
                    </a:lnTo>
                    <a:lnTo>
                      <a:pt x="69" y="491"/>
                    </a:lnTo>
                    <a:lnTo>
                      <a:pt x="69" y="494"/>
                    </a:lnTo>
                    <a:lnTo>
                      <a:pt x="72" y="494"/>
                    </a:lnTo>
                    <a:lnTo>
                      <a:pt x="71" y="496"/>
                    </a:lnTo>
                    <a:lnTo>
                      <a:pt x="72" y="496"/>
                    </a:lnTo>
                    <a:lnTo>
                      <a:pt x="72" y="498"/>
                    </a:lnTo>
                    <a:lnTo>
                      <a:pt x="74" y="498"/>
                    </a:lnTo>
                    <a:lnTo>
                      <a:pt x="73" y="500"/>
                    </a:lnTo>
                    <a:lnTo>
                      <a:pt x="73" y="501"/>
                    </a:lnTo>
                    <a:lnTo>
                      <a:pt x="74" y="501"/>
                    </a:lnTo>
                    <a:lnTo>
                      <a:pt x="75" y="501"/>
                    </a:lnTo>
                    <a:lnTo>
                      <a:pt x="77" y="501"/>
                    </a:lnTo>
                    <a:lnTo>
                      <a:pt x="78" y="500"/>
                    </a:lnTo>
                    <a:lnTo>
                      <a:pt x="77" y="500"/>
                    </a:lnTo>
                    <a:lnTo>
                      <a:pt x="77" y="499"/>
                    </a:lnTo>
                    <a:lnTo>
                      <a:pt x="77" y="497"/>
                    </a:lnTo>
                    <a:lnTo>
                      <a:pt x="76" y="496"/>
                    </a:lnTo>
                    <a:lnTo>
                      <a:pt x="78" y="496"/>
                    </a:lnTo>
                    <a:lnTo>
                      <a:pt x="78" y="495"/>
                    </a:lnTo>
                    <a:lnTo>
                      <a:pt x="79" y="494"/>
                    </a:lnTo>
                    <a:lnTo>
                      <a:pt x="78" y="491"/>
                    </a:lnTo>
                    <a:lnTo>
                      <a:pt x="79" y="491"/>
                    </a:lnTo>
                    <a:lnTo>
                      <a:pt x="80" y="494"/>
                    </a:lnTo>
                    <a:lnTo>
                      <a:pt x="80" y="496"/>
                    </a:lnTo>
                    <a:lnTo>
                      <a:pt x="82" y="498"/>
                    </a:lnTo>
                    <a:lnTo>
                      <a:pt x="82" y="501"/>
                    </a:lnTo>
                    <a:lnTo>
                      <a:pt x="80" y="503"/>
                    </a:lnTo>
                    <a:lnTo>
                      <a:pt x="79" y="504"/>
                    </a:lnTo>
                    <a:lnTo>
                      <a:pt x="80" y="506"/>
                    </a:lnTo>
                    <a:lnTo>
                      <a:pt x="78" y="507"/>
                    </a:lnTo>
                    <a:lnTo>
                      <a:pt x="76" y="510"/>
                    </a:lnTo>
                    <a:lnTo>
                      <a:pt x="77" y="512"/>
                    </a:lnTo>
                    <a:lnTo>
                      <a:pt x="77" y="513"/>
                    </a:lnTo>
                    <a:lnTo>
                      <a:pt x="77" y="514"/>
                    </a:lnTo>
                    <a:lnTo>
                      <a:pt x="75" y="515"/>
                    </a:lnTo>
                    <a:lnTo>
                      <a:pt x="76" y="518"/>
                    </a:lnTo>
                    <a:lnTo>
                      <a:pt x="77" y="517"/>
                    </a:lnTo>
                    <a:lnTo>
                      <a:pt x="80" y="519"/>
                    </a:lnTo>
                    <a:lnTo>
                      <a:pt x="80" y="520"/>
                    </a:lnTo>
                    <a:lnTo>
                      <a:pt x="80" y="521"/>
                    </a:lnTo>
                    <a:lnTo>
                      <a:pt x="83" y="522"/>
                    </a:lnTo>
                    <a:lnTo>
                      <a:pt x="83" y="523"/>
                    </a:lnTo>
                    <a:lnTo>
                      <a:pt x="85" y="523"/>
                    </a:lnTo>
                    <a:lnTo>
                      <a:pt x="88" y="525"/>
                    </a:lnTo>
                    <a:lnTo>
                      <a:pt x="90" y="525"/>
                    </a:lnTo>
                    <a:lnTo>
                      <a:pt x="93" y="527"/>
                    </a:lnTo>
                    <a:lnTo>
                      <a:pt x="94" y="527"/>
                    </a:lnTo>
                    <a:lnTo>
                      <a:pt x="94" y="528"/>
                    </a:lnTo>
                    <a:lnTo>
                      <a:pt x="95" y="530"/>
                    </a:lnTo>
                    <a:lnTo>
                      <a:pt x="97" y="534"/>
                    </a:lnTo>
                    <a:lnTo>
                      <a:pt x="100" y="533"/>
                    </a:lnTo>
                    <a:lnTo>
                      <a:pt x="100" y="536"/>
                    </a:lnTo>
                    <a:lnTo>
                      <a:pt x="99" y="537"/>
                    </a:lnTo>
                    <a:lnTo>
                      <a:pt x="99" y="538"/>
                    </a:lnTo>
                    <a:lnTo>
                      <a:pt x="98" y="538"/>
                    </a:lnTo>
                    <a:lnTo>
                      <a:pt x="99" y="541"/>
                    </a:lnTo>
                    <a:lnTo>
                      <a:pt x="100" y="544"/>
                    </a:lnTo>
                    <a:lnTo>
                      <a:pt x="100" y="547"/>
                    </a:lnTo>
                    <a:lnTo>
                      <a:pt x="101" y="549"/>
                    </a:lnTo>
                    <a:lnTo>
                      <a:pt x="101" y="548"/>
                    </a:lnTo>
                    <a:lnTo>
                      <a:pt x="102" y="549"/>
                    </a:lnTo>
                    <a:lnTo>
                      <a:pt x="102" y="551"/>
                    </a:lnTo>
                    <a:lnTo>
                      <a:pt x="102" y="555"/>
                    </a:lnTo>
                    <a:lnTo>
                      <a:pt x="103" y="555"/>
                    </a:lnTo>
                    <a:lnTo>
                      <a:pt x="102" y="557"/>
                    </a:lnTo>
                    <a:lnTo>
                      <a:pt x="104" y="556"/>
                    </a:lnTo>
                    <a:lnTo>
                      <a:pt x="104" y="557"/>
                    </a:lnTo>
                    <a:lnTo>
                      <a:pt x="104" y="558"/>
                    </a:lnTo>
                    <a:lnTo>
                      <a:pt x="103" y="558"/>
                    </a:lnTo>
                    <a:lnTo>
                      <a:pt x="104" y="559"/>
                    </a:lnTo>
                    <a:lnTo>
                      <a:pt x="105" y="560"/>
                    </a:lnTo>
                    <a:lnTo>
                      <a:pt x="106" y="561"/>
                    </a:lnTo>
                    <a:lnTo>
                      <a:pt x="107" y="562"/>
                    </a:lnTo>
                    <a:lnTo>
                      <a:pt x="107" y="561"/>
                    </a:lnTo>
                    <a:lnTo>
                      <a:pt x="108" y="561"/>
                    </a:lnTo>
                    <a:lnTo>
                      <a:pt x="108" y="562"/>
                    </a:lnTo>
                    <a:lnTo>
                      <a:pt x="109" y="560"/>
                    </a:lnTo>
                    <a:lnTo>
                      <a:pt x="110" y="557"/>
                    </a:lnTo>
                    <a:lnTo>
                      <a:pt x="109" y="557"/>
                    </a:lnTo>
                    <a:lnTo>
                      <a:pt x="109" y="554"/>
                    </a:lnTo>
                    <a:lnTo>
                      <a:pt x="111" y="553"/>
                    </a:lnTo>
                    <a:lnTo>
                      <a:pt x="113" y="553"/>
                    </a:lnTo>
                    <a:lnTo>
                      <a:pt x="115" y="552"/>
                    </a:lnTo>
                    <a:lnTo>
                      <a:pt x="113" y="550"/>
                    </a:lnTo>
                    <a:lnTo>
                      <a:pt x="114" y="549"/>
                    </a:lnTo>
                    <a:lnTo>
                      <a:pt x="115" y="549"/>
                    </a:lnTo>
                    <a:lnTo>
                      <a:pt x="116" y="552"/>
                    </a:lnTo>
                    <a:lnTo>
                      <a:pt x="118" y="554"/>
                    </a:lnTo>
                    <a:lnTo>
                      <a:pt x="119" y="553"/>
                    </a:lnTo>
                    <a:lnTo>
                      <a:pt x="119" y="551"/>
                    </a:lnTo>
                    <a:lnTo>
                      <a:pt x="121" y="551"/>
                    </a:lnTo>
                    <a:lnTo>
                      <a:pt x="123" y="551"/>
                    </a:lnTo>
                    <a:lnTo>
                      <a:pt x="124" y="550"/>
                    </a:lnTo>
                    <a:lnTo>
                      <a:pt x="127" y="552"/>
                    </a:lnTo>
                    <a:lnTo>
                      <a:pt x="128" y="551"/>
                    </a:lnTo>
                    <a:lnTo>
                      <a:pt x="130" y="551"/>
                    </a:lnTo>
                    <a:lnTo>
                      <a:pt x="131" y="548"/>
                    </a:lnTo>
                    <a:lnTo>
                      <a:pt x="131" y="551"/>
                    </a:lnTo>
                    <a:lnTo>
                      <a:pt x="132" y="550"/>
                    </a:lnTo>
                    <a:lnTo>
                      <a:pt x="135" y="553"/>
                    </a:lnTo>
                    <a:lnTo>
                      <a:pt x="135" y="552"/>
                    </a:lnTo>
                    <a:lnTo>
                      <a:pt x="137" y="552"/>
                    </a:lnTo>
                    <a:lnTo>
                      <a:pt x="140" y="551"/>
                    </a:lnTo>
                    <a:lnTo>
                      <a:pt x="141" y="550"/>
                    </a:lnTo>
                    <a:lnTo>
                      <a:pt x="140" y="549"/>
                    </a:lnTo>
                    <a:lnTo>
                      <a:pt x="141" y="548"/>
                    </a:lnTo>
                    <a:lnTo>
                      <a:pt x="143" y="547"/>
                    </a:lnTo>
                    <a:lnTo>
                      <a:pt x="143" y="545"/>
                    </a:lnTo>
                    <a:lnTo>
                      <a:pt x="145" y="545"/>
                    </a:lnTo>
                    <a:lnTo>
                      <a:pt x="144" y="544"/>
                    </a:lnTo>
                    <a:lnTo>
                      <a:pt x="145" y="544"/>
                    </a:lnTo>
                    <a:lnTo>
                      <a:pt x="146" y="543"/>
                    </a:lnTo>
                    <a:lnTo>
                      <a:pt x="147" y="543"/>
                    </a:lnTo>
                    <a:lnTo>
                      <a:pt x="149" y="536"/>
                    </a:lnTo>
                    <a:lnTo>
                      <a:pt x="149" y="537"/>
                    </a:lnTo>
                    <a:lnTo>
                      <a:pt x="151" y="537"/>
                    </a:lnTo>
                    <a:lnTo>
                      <a:pt x="151" y="535"/>
                    </a:lnTo>
                    <a:lnTo>
                      <a:pt x="153" y="536"/>
                    </a:lnTo>
                    <a:lnTo>
                      <a:pt x="156" y="533"/>
                    </a:lnTo>
                    <a:lnTo>
                      <a:pt x="157" y="533"/>
                    </a:lnTo>
                    <a:lnTo>
                      <a:pt x="160" y="533"/>
                    </a:lnTo>
                    <a:lnTo>
                      <a:pt x="159" y="530"/>
                    </a:lnTo>
                    <a:lnTo>
                      <a:pt x="160" y="530"/>
                    </a:lnTo>
                    <a:lnTo>
                      <a:pt x="159" y="526"/>
                    </a:lnTo>
                    <a:lnTo>
                      <a:pt x="159" y="525"/>
                    </a:lnTo>
                    <a:lnTo>
                      <a:pt x="157" y="524"/>
                    </a:lnTo>
                    <a:lnTo>
                      <a:pt x="157" y="522"/>
                    </a:lnTo>
                    <a:lnTo>
                      <a:pt x="156" y="520"/>
                    </a:lnTo>
                    <a:lnTo>
                      <a:pt x="156" y="517"/>
                    </a:lnTo>
                    <a:lnTo>
                      <a:pt x="156" y="514"/>
                    </a:lnTo>
                    <a:lnTo>
                      <a:pt x="156" y="513"/>
                    </a:lnTo>
                    <a:lnTo>
                      <a:pt x="156" y="510"/>
                    </a:lnTo>
                    <a:lnTo>
                      <a:pt x="158" y="510"/>
                    </a:lnTo>
                    <a:lnTo>
                      <a:pt x="159" y="508"/>
                    </a:lnTo>
                    <a:lnTo>
                      <a:pt x="160" y="507"/>
                    </a:lnTo>
                    <a:lnTo>
                      <a:pt x="161" y="506"/>
                    </a:lnTo>
                    <a:lnTo>
                      <a:pt x="160" y="506"/>
                    </a:lnTo>
                    <a:lnTo>
                      <a:pt x="162" y="505"/>
                    </a:lnTo>
                    <a:lnTo>
                      <a:pt x="162" y="502"/>
                    </a:lnTo>
                    <a:lnTo>
                      <a:pt x="165" y="502"/>
                    </a:lnTo>
                    <a:lnTo>
                      <a:pt x="165" y="501"/>
                    </a:lnTo>
                    <a:lnTo>
                      <a:pt x="167" y="501"/>
                    </a:lnTo>
                    <a:lnTo>
                      <a:pt x="167" y="500"/>
                    </a:lnTo>
                    <a:lnTo>
                      <a:pt x="169" y="504"/>
                    </a:lnTo>
                    <a:lnTo>
                      <a:pt x="170" y="504"/>
                    </a:lnTo>
                    <a:lnTo>
                      <a:pt x="168" y="507"/>
                    </a:lnTo>
                    <a:lnTo>
                      <a:pt x="167" y="511"/>
                    </a:lnTo>
                    <a:lnTo>
                      <a:pt x="167" y="514"/>
                    </a:lnTo>
                    <a:lnTo>
                      <a:pt x="167" y="515"/>
                    </a:lnTo>
                    <a:lnTo>
                      <a:pt x="170" y="515"/>
                    </a:lnTo>
                    <a:lnTo>
                      <a:pt x="171" y="516"/>
                    </a:lnTo>
                    <a:lnTo>
                      <a:pt x="171" y="512"/>
                    </a:lnTo>
                    <a:lnTo>
                      <a:pt x="175" y="514"/>
                    </a:lnTo>
                    <a:lnTo>
                      <a:pt x="176" y="514"/>
                    </a:lnTo>
                    <a:lnTo>
                      <a:pt x="178" y="516"/>
                    </a:lnTo>
                    <a:lnTo>
                      <a:pt x="177" y="518"/>
                    </a:lnTo>
                    <a:lnTo>
                      <a:pt x="181" y="518"/>
                    </a:lnTo>
                    <a:lnTo>
                      <a:pt x="181" y="520"/>
                    </a:lnTo>
                    <a:lnTo>
                      <a:pt x="182" y="519"/>
                    </a:lnTo>
                    <a:lnTo>
                      <a:pt x="181" y="517"/>
                    </a:lnTo>
                    <a:lnTo>
                      <a:pt x="183" y="518"/>
                    </a:lnTo>
                    <a:lnTo>
                      <a:pt x="183" y="517"/>
                    </a:lnTo>
                    <a:lnTo>
                      <a:pt x="184" y="518"/>
                    </a:lnTo>
                    <a:lnTo>
                      <a:pt x="187" y="518"/>
                    </a:lnTo>
                    <a:lnTo>
                      <a:pt x="186" y="519"/>
                    </a:lnTo>
                    <a:lnTo>
                      <a:pt x="189" y="520"/>
                    </a:lnTo>
                    <a:lnTo>
                      <a:pt x="191" y="523"/>
                    </a:lnTo>
                    <a:lnTo>
                      <a:pt x="192" y="525"/>
                    </a:lnTo>
                    <a:lnTo>
                      <a:pt x="192" y="530"/>
                    </a:lnTo>
                    <a:lnTo>
                      <a:pt x="200" y="524"/>
                    </a:lnTo>
                    <a:lnTo>
                      <a:pt x="202" y="520"/>
                    </a:lnTo>
                    <a:lnTo>
                      <a:pt x="203" y="520"/>
                    </a:lnTo>
                    <a:lnTo>
                      <a:pt x="204" y="520"/>
                    </a:lnTo>
                    <a:lnTo>
                      <a:pt x="205" y="519"/>
                    </a:lnTo>
                    <a:lnTo>
                      <a:pt x="206" y="514"/>
                    </a:lnTo>
                    <a:lnTo>
                      <a:pt x="205" y="513"/>
                    </a:lnTo>
                    <a:lnTo>
                      <a:pt x="204" y="513"/>
                    </a:lnTo>
                    <a:lnTo>
                      <a:pt x="206" y="511"/>
                    </a:lnTo>
                    <a:lnTo>
                      <a:pt x="203" y="509"/>
                    </a:lnTo>
                    <a:lnTo>
                      <a:pt x="206" y="510"/>
                    </a:lnTo>
                    <a:lnTo>
                      <a:pt x="208" y="509"/>
                    </a:lnTo>
                    <a:lnTo>
                      <a:pt x="208" y="511"/>
                    </a:lnTo>
                    <a:lnTo>
                      <a:pt x="208" y="512"/>
                    </a:lnTo>
                    <a:lnTo>
                      <a:pt x="209" y="513"/>
                    </a:lnTo>
                    <a:lnTo>
                      <a:pt x="211" y="510"/>
                    </a:lnTo>
                    <a:lnTo>
                      <a:pt x="212" y="510"/>
                    </a:lnTo>
                    <a:lnTo>
                      <a:pt x="214" y="508"/>
                    </a:lnTo>
                    <a:lnTo>
                      <a:pt x="215" y="510"/>
                    </a:lnTo>
                    <a:lnTo>
                      <a:pt x="221" y="508"/>
                    </a:lnTo>
                    <a:lnTo>
                      <a:pt x="221" y="509"/>
                    </a:lnTo>
                    <a:lnTo>
                      <a:pt x="223" y="509"/>
                    </a:lnTo>
                    <a:lnTo>
                      <a:pt x="224" y="508"/>
                    </a:lnTo>
                    <a:lnTo>
                      <a:pt x="225" y="509"/>
                    </a:lnTo>
                    <a:lnTo>
                      <a:pt x="227" y="511"/>
                    </a:lnTo>
                    <a:lnTo>
                      <a:pt x="227" y="513"/>
                    </a:lnTo>
                    <a:lnTo>
                      <a:pt x="227" y="514"/>
                    </a:lnTo>
                    <a:lnTo>
                      <a:pt x="229" y="513"/>
                    </a:lnTo>
                    <a:lnTo>
                      <a:pt x="229" y="514"/>
                    </a:lnTo>
                    <a:lnTo>
                      <a:pt x="230" y="514"/>
                    </a:lnTo>
                    <a:lnTo>
                      <a:pt x="232" y="514"/>
                    </a:lnTo>
                    <a:lnTo>
                      <a:pt x="232" y="513"/>
                    </a:lnTo>
                    <a:lnTo>
                      <a:pt x="232" y="514"/>
                    </a:lnTo>
                    <a:lnTo>
                      <a:pt x="233" y="514"/>
                    </a:lnTo>
                    <a:lnTo>
                      <a:pt x="235" y="514"/>
                    </a:lnTo>
                    <a:lnTo>
                      <a:pt x="238" y="513"/>
                    </a:lnTo>
                    <a:lnTo>
                      <a:pt x="238" y="510"/>
                    </a:lnTo>
                    <a:lnTo>
                      <a:pt x="240" y="510"/>
                    </a:lnTo>
                    <a:lnTo>
                      <a:pt x="244" y="507"/>
                    </a:lnTo>
                    <a:lnTo>
                      <a:pt x="242" y="504"/>
                    </a:lnTo>
                    <a:lnTo>
                      <a:pt x="244" y="504"/>
                    </a:lnTo>
                    <a:lnTo>
                      <a:pt x="241" y="502"/>
                    </a:lnTo>
                    <a:lnTo>
                      <a:pt x="240" y="500"/>
                    </a:lnTo>
                    <a:lnTo>
                      <a:pt x="240" y="497"/>
                    </a:lnTo>
                    <a:lnTo>
                      <a:pt x="237" y="494"/>
                    </a:lnTo>
                    <a:lnTo>
                      <a:pt x="238" y="493"/>
                    </a:lnTo>
                    <a:lnTo>
                      <a:pt x="237" y="491"/>
                    </a:lnTo>
                    <a:lnTo>
                      <a:pt x="238" y="490"/>
                    </a:lnTo>
                    <a:lnTo>
                      <a:pt x="239" y="492"/>
                    </a:lnTo>
                    <a:lnTo>
                      <a:pt x="240" y="491"/>
                    </a:lnTo>
                    <a:lnTo>
                      <a:pt x="241" y="491"/>
                    </a:lnTo>
                    <a:lnTo>
                      <a:pt x="245" y="490"/>
                    </a:lnTo>
                    <a:lnTo>
                      <a:pt x="247" y="496"/>
                    </a:lnTo>
                    <a:lnTo>
                      <a:pt x="249" y="496"/>
                    </a:lnTo>
                    <a:lnTo>
                      <a:pt x="250" y="495"/>
                    </a:lnTo>
                    <a:lnTo>
                      <a:pt x="250" y="491"/>
                    </a:lnTo>
                    <a:lnTo>
                      <a:pt x="250" y="489"/>
                    </a:lnTo>
                    <a:lnTo>
                      <a:pt x="252" y="488"/>
                    </a:lnTo>
                    <a:lnTo>
                      <a:pt x="252" y="486"/>
                    </a:lnTo>
                    <a:lnTo>
                      <a:pt x="253" y="486"/>
                    </a:lnTo>
                    <a:lnTo>
                      <a:pt x="255" y="487"/>
                    </a:lnTo>
                    <a:lnTo>
                      <a:pt x="257" y="486"/>
                    </a:lnTo>
                    <a:lnTo>
                      <a:pt x="258" y="489"/>
                    </a:lnTo>
                    <a:lnTo>
                      <a:pt x="260" y="491"/>
                    </a:lnTo>
                    <a:lnTo>
                      <a:pt x="261" y="493"/>
                    </a:lnTo>
                    <a:lnTo>
                      <a:pt x="262" y="493"/>
                    </a:lnTo>
                    <a:lnTo>
                      <a:pt x="261" y="495"/>
                    </a:lnTo>
                    <a:lnTo>
                      <a:pt x="261" y="496"/>
                    </a:lnTo>
                    <a:lnTo>
                      <a:pt x="263" y="497"/>
                    </a:lnTo>
                    <a:lnTo>
                      <a:pt x="263" y="498"/>
                    </a:lnTo>
                    <a:lnTo>
                      <a:pt x="265" y="498"/>
                    </a:lnTo>
                    <a:lnTo>
                      <a:pt x="267" y="501"/>
                    </a:lnTo>
                    <a:lnTo>
                      <a:pt x="268" y="501"/>
                    </a:lnTo>
                    <a:lnTo>
                      <a:pt x="269" y="500"/>
                    </a:lnTo>
                    <a:lnTo>
                      <a:pt x="274" y="499"/>
                    </a:lnTo>
                    <a:lnTo>
                      <a:pt x="276" y="499"/>
                    </a:lnTo>
                    <a:lnTo>
                      <a:pt x="276" y="500"/>
                    </a:lnTo>
                    <a:lnTo>
                      <a:pt x="277" y="500"/>
                    </a:lnTo>
                    <a:lnTo>
                      <a:pt x="279" y="500"/>
                    </a:lnTo>
                    <a:lnTo>
                      <a:pt x="279" y="499"/>
                    </a:lnTo>
                    <a:lnTo>
                      <a:pt x="279" y="497"/>
                    </a:lnTo>
                    <a:lnTo>
                      <a:pt x="279" y="496"/>
                    </a:lnTo>
                    <a:lnTo>
                      <a:pt x="281" y="493"/>
                    </a:lnTo>
                    <a:lnTo>
                      <a:pt x="280" y="491"/>
                    </a:lnTo>
                    <a:lnTo>
                      <a:pt x="280" y="490"/>
                    </a:lnTo>
                    <a:lnTo>
                      <a:pt x="283" y="489"/>
                    </a:lnTo>
                    <a:lnTo>
                      <a:pt x="284" y="487"/>
                    </a:lnTo>
                    <a:lnTo>
                      <a:pt x="285" y="487"/>
                    </a:lnTo>
                    <a:lnTo>
                      <a:pt x="285" y="486"/>
                    </a:lnTo>
                    <a:lnTo>
                      <a:pt x="286" y="485"/>
                    </a:lnTo>
                    <a:lnTo>
                      <a:pt x="286" y="482"/>
                    </a:lnTo>
                    <a:lnTo>
                      <a:pt x="284" y="478"/>
                    </a:lnTo>
                    <a:lnTo>
                      <a:pt x="284" y="477"/>
                    </a:lnTo>
                    <a:lnTo>
                      <a:pt x="285" y="478"/>
                    </a:lnTo>
                    <a:lnTo>
                      <a:pt x="286" y="477"/>
                    </a:lnTo>
                    <a:lnTo>
                      <a:pt x="290" y="476"/>
                    </a:lnTo>
                    <a:lnTo>
                      <a:pt x="291" y="474"/>
                    </a:lnTo>
                    <a:lnTo>
                      <a:pt x="291" y="473"/>
                    </a:lnTo>
                    <a:lnTo>
                      <a:pt x="292" y="471"/>
                    </a:lnTo>
                    <a:lnTo>
                      <a:pt x="293" y="472"/>
                    </a:lnTo>
                    <a:lnTo>
                      <a:pt x="299" y="471"/>
                    </a:lnTo>
                    <a:lnTo>
                      <a:pt x="299" y="468"/>
                    </a:lnTo>
                    <a:lnTo>
                      <a:pt x="299" y="467"/>
                    </a:lnTo>
                    <a:lnTo>
                      <a:pt x="300" y="465"/>
                    </a:lnTo>
                    <a:lnTo>
                      <a:pt x="300" y="463"/>
                    </a:lnTo>
                    <a:lnTo>
                      <a:pt x="299" y="462"/>
                    </a:lnTo>
                    <a:lnTo>
                      <a:pt x="301" y="462"/>
                    </a:lnTo>
                    <a:lnTo>
                      <a:pt x="302" y="463"/>
                    </a:lnTo>
                    <a:lnTo>
                      <a:pt x="302" y="465"/>
                    </a:lnTo>
                    <a:lnTo>
                      <a:pt x="306" y="465"/>
                    </a:lnTo>
                    <a:lnTo>
                      <a:pt x="306" y="467"/>
                    </a:lnTo>
                    <a:lnTo>
                      <a:pt x="307" y="467"/>
                    </a:lnTo>
                    <a:lnTo>
                      <a:pt x="308" y="468"/>
                    </a:lnTo>
                    <a:lnTo>
                      <a:pt x="310" y="467"/>
                    </a:lnTo>
                    <a:lnTo>
                      <a:pt x="312" y="470"/>
                    </a:lnTo>
                    <a:lnTo>
                      <a:pt x="315" y="469"/>
                    </a:lnTo>
                    <a:lnTo>
                      <a:pt x="315" y="468"/>
                    </a:lnTo>
                    <a:lnTo>
                      <a:pt x="315" y="467"/>
                    </a:lnTo>
                    <a:lnTo>
                      <a:pt x="319" y="463"/>
                    </a:lnTo>
                    <a:lnTo>
                      <a:pt x="321" y="457"/>
                    </a:lnTo>
                    <a:lnTo>
                      <a:pt x="321" y="456"/>
                    </a:lnTo>
                    <a:lnTo>
                      <a:pt x="319" y="456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75" name="Group 92">
              <a:extLst>
                <a:ext uri="{FF2B5EF4-FFF2-40B4-BE49-F238E27FC236}">
                  <a16:creationId xmlns:a16="http://schemas.microsoft.com/office/drawing/2014/main" id="{AD57E0EF-31A1-4D95-BB3A-2F7A62BC507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7" y="2893"/>
              <a:ext cx="313" cy="258"/>
              <a:chOff x="457" y="2893"/>
              <a:chExt cx="313" cy="258"/>
            </a:xfrm>
          </p:grpSpPr>
          <p:sp>
            <p:nvSpPr>
              <p:cNvPr id="509" name="Freeform 90">
                <a:extLst>
                  <a:ext uri="{FF2B5EF4-FFF2-40B4-BE49-F238E27FC236}">
                    <a16:creationId xmlns:a16="http://schemas.microsoft.com/office/drawing/2014/main" id="{5A13688C-E1A7-463A-BB60-96725383C5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" y="2893"/>
                <a:ext cx="313" cy="258"/>
              </a:xfrm>
              <a:custGeom>
                <a:avLst/>
                <a:gdLst>
                  <a:gd name="T0" fmla="*/ 302 w 313"/>
                  <a:gd name="T1" fmla="*/ 176 h 258"/>
                  <a:gd name="T2" fmla="*/ 301 w 313"/>
                  <a:gd name="T3" fmla="*/ 168 h 258"/>
                  <a:gd name="T4" fmla="*/ 311 w 313"/>
                  <a:gd name="T5" fmla="*/ 169 h 258"/>
                  <a:gd name="T6" fmla="*/ 311 w 313"/>
                  <a:gd name="T7" fmla="*/ 156 h 258"/>
                  <a:gd name="T8" fmla="*/ 306 w 313"/>
                  <a:gd name="T9" fmla="*/ 139 h 258"/>
                  <a:gd name="T10" fmla="*/ 306 w 313"/>
                  <a:gd name="T11" fmla="*/ 125 h 258"/>
                  <a:gd name="T12" fmla="*/ 305 w 313"/>
                  <a:gd name="T13" fmla="*/ 111 h 258"/>
                  <a:gd name="T14" fmla="*/ 305 w 313"/>
                  <a:gd name="T15" fmla="*/ 98 h 258"/>
                  <a:gd name="T16" fmla="*/ 305 w 313"/>
                  <a:gd name="T17" fmla="*/ 86 h 258"/>
                  <a:gd name="T18" fmla="*/ 305 w 313"/>
                  <a:gd name="T19" fmla="*/ 65 h 258"/>
                  <a:gd name="T20" fmla="*/ 289 w 313"/>
                  <a:gd name="T21" fmla="*/ 65 h 258"/>
                  <a:gd name="T22" fmla="*/ 277 w 313"/>
                  <a:gd name="T23" fmla="*/ 63 h 258"/>
                  <a:gd name="T24" fmla="*/ 274 w 313"/>
                  <a:gd name="T25" fmla="*/ 50 h 258"/>
                  <a:gd name="T26" fmla="*/ 250 w 313"/>
                  <a:gd name="T27" fmla="*/ 40 h 258"/>
                  <a:gd name="T28" fmla="*/ 228 w 313"/>
                  <a:gd name="T29" fmla="*/ 21 h 258"/>
                  <a:gd name="T30" fmla="*/ 200 w 313"/>
                  <a:gd name="T31" fmla="*/ 4 h 258"/>
                  <a:gd name="T32" fmla="*/ 166 w 313"/>
                  <a:gd name="T33" fmla="*/ 13 h 258"/>
                  <a:gd name="T34" fmla="*/ 140 w 313"/>
                  <a:gd name="T35" fmla="*/ 13 h 258"/>
                  <a:gd name="T36" fmla="*/ 118 w 313"/>
                  <a:gd name="T37" fmla="*/ 19 h 258"/>
                  <a:gd name="T38" fmla="*/ 99 w 313"/>
                  <a:gd name="T39" fmla="*/ 37 h 258"/>
                  <a:gd name="T40" fmla="*/ 85 w 313"/>
                  <a:gd name="T41" fmla="*/ 50 h 258"/>
                  <a:gd name="T42" fmla="*/ 69 w 313"/>
                  <a:gd name="T43" fmla="*/ 74 h 258"/>
                  <a:gd name="T44" fmla="*/ 62 w 313"/>
                  <a:gd name="T45" fmla="*/ 82 h 258"/>
                  <a:gd name="T46" fmla="*/ 61 w 313"/>
                  <a:gd name="T47" fmla="*/ 101 h 258"/>
                  <a:gd name="T48" fmla="*/ 49 w 313"/>
                  <a:gd name="T49" fmla="*/ 107 h 258"/>
                  <a:gd name="T50" fmla="*/ 49 w 313"/>
                  <a:gd name="T51" fmla="*/ 93 h 258"/>
                  <a:gd name="T52" fmla="*/ 47 w 313"/>
                  <a:gd name="T53" fmla="*/ 79 h 258"/>
                  <a:gd name="T54" fmla="*/ 44 w 313"/>
                  <a:gd name="T55" fmla="*/ 70 h 258"/>
                  <a:gd name="T56" fmla="*/ 31 w 313"/>
                  <a:gd name="T57" fmla="*/ 56 h 258"/>
                  <a:gd name="T58" fmla="*/ 15 w 313"/>
                  <a:gd name="T59" fmla="*/ 32 h 258"/>
                  <a:gd name="T60" fmla="*/ 11 w 313"/>
                  <a:gd name="T61" fmla="*/ 40 h 258"/>
                  <a:gd name="T62" fmla="*/ 2 w 313"/>
                  <a:gd name="T63" fmla="*/ 57 h 258"/>
                  <a:gd name="T64" fmla="*/ 12 w 313"/>
                  <a:gd name="T65" fmla="*/ 73 h 258"/>
                  <a:gd name="T66" fmla="*/ 15 w 313"/>
                  <a:gd name="T67" fmla="*/ 84 h 258"/>
                  <a:gd name="T68" fmla="*/ 24 w 313"/>
                  <a:gd name="T69" fmla="*/ 91 h 258"/>
                  <a:gd name="T70" fmla="*/ 22 w 313"/>
                  <a:gd name="T71" fmla="*/ 114 h 258"/>
                  <a:gd name="T72" fmla="*/ 26 w 313"/>
                  <a:gd name="T73" fmla="*/ 138 h 258"/>
                  <a:gd name="T74" fmla="*/ 36 w 313"/>
                  <a:gd name="T75" fmla="*/ 152 h 258"/>
                  <a:gd name="T76" fmla="*/ 47 w 313"/>
                  <a:gd name="T77" fmla="*/ 172 h 258"/>
                  <a:gd name="T78" fmla="*/ 62 w 313"/>
                  <a:gd name="T79" fmla="*/ 187 h 258"/>
                  <a:gd name="T80" fmla="*/ 71 w 313"/>
                  <a:gd name="T81" fmla="*/ 199 h 258"/>
                  <a:gd name="T82" fmla="*/ 87 w 313"/>
                  <a:gd name="T83" fmla="*/ 207 h 258"/>
                  <a:gd name="T84" fmla="*/ 86 w 313"/>
                  <a:gd name="T85" fmla="*/ 229 h 258"/>
                  <a:gd name="T86" fmla="*/ 110 w 313"/>
                  <a:gd name="T87" fmla="*/ 253 h 258"/>
                  <a:gd name="T88" fmla="*/ 130 w 313"/>
                  <a:gd name="T89" fmla="*/ 249 h 258"/>
                  <a:gd name="T90" fmla="*/ 142 w 313"/>
                  <a:gd name="T91" fmla="*/ 246 h 258"/>
                  <a:gd name="T92" fmla="*/ 158 w 313"/>
                  <a:gd name="T93" fmla="*/ 241 h 258"/>
                  <a:gd name="T94" fmla="*/ 172 w 313"/>
                  <a:gd name="T95" fmla="*/ 244 h 258"/>
                  <a:gd name="T96" fmla="*/ 187 w 313"/>
                  <a:gd name="T97" fmla="*/ 252 h 258"/>
                  <a:gd name="T98" fmla="*/ 203 w 313"/>
                  <a:gd name="T99" fmla="*/ 254 h 258"/>
                  <a:gd name="T100" fmla="*/ 212 w 313"/>
                  <a:gd name="T101" fmla="*/ 243 h 258"/>
                  <a:gd name="T102" fmla="*/ 224 w 313"/>
                  <a:gd name="T103" fmla="*/ 232 h 258"/>
                  <a:gd name="T104" fmla="*/ 235 w 313"/>
                  <a:gd name="T105" fmla="*/ 225 h 258"/>
                  <a:gd name="T106" fmla="*/ 245 w 313"/>
                  <a:gd name="T107" fmla="*/ 216 h 258"/>
                  <a:gd name="T108" fmla="*/ 254 w 313"/>
                  <a:gd name="T109" fmla="*/ 215 h 258"/>
                  <a:gd name="T110" fmla="*/ 269 w 313"/>
                  <a:gd name="T111" fmla="*/ 219 h 258"/>
                  <a:gd name="T112" fmla="*/ 274 w 313"/>
                  <a:gd name="T113" fmla="*/ 226 h 258"/>
                  <a:gd name="T114" fmla="*/ 287 w 313"/>
                  <a:gd name="T115" fmla="*/ 231 h 258"/>
                  <a:gd name="T116" fmla="*/ 290 w 313"/>
                  <a:gd name="T117" fmla="*/ 210 h 258"/>
                  <a:gd name="T118" fmla="*/ 303 w 313"/>
                  <a:gd name="T119" fmla="*/ 211 h 258"/>
                  <a:gd name="T120" fmla="*/ 309 w 313"/>
                  <a:gd name="T121" fmla="*/ 200 h 258"/>
                  <a:gd name="T122" fmla="*/ 312 w 313"/>
                  <a:gd name="T123" fmla="*/ 190 h 25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13"/>
                  <a:gd name="T187" fmla="*/ 0 h 258"/>
                  <a:gd name="T188" fmla="*/ 313 w 313"/>
                  <a:gd name="T189" fmla="*/ 258 h 25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13" h="258">
                    <a:moveTo>
                      <a:pt x="311" y="188"/>
                    </a:moveTo>
                    <a:lnTo>
                      <a:pt x="311" y="183"/>
                    </a:lnTo>
                    <a:lnTo>
                      <a:pt x="311" y="182"/>
                    </a:lnTo>
                    <a:lnTo>
                      <a:pt x="308" y="182"/>
                    </a:lnTo>
                    <a:lnTo>
                      <a:pt x="310" y="181"/>
                    </a:lnTo>
                    <a:lnTo>
                      <a:pt x="308" y="179"/>
                    </a:lnTo>
                    <a:lnTo>
                      <a:pt x="307" y="176"/>
                    </a:lnTo>
                    <a:lnTo>
                      <a:pt x="305" y="175"/>
                    </a:lnTo>
                    <a:lnTo>
                      <a:pt x="302" y="176"/>
                    </a:lnTo>
                    <a:lnTo>
                      <a:pt x="300" y="174"/>
                    </a:lnTo>
                    <a:lnTo>
                      <a:pt x="299" y="176"/>
                    </a:lnTo>
                    <a:lnTo>
                      <a:pt x="297" y="173"/>
                    </a:lnTo>
                    <a:lnTo>
                      <a:pt x="296" y="173"/>
                    </a:lnTo>
                    <a:lnTo>
                      <a:pt x="295" y="171"/>
                    </a:lnTo>
                    <a:lnTo>
                      <a:pt x="298" y="171"/>
                    </a:lnTo>
                    <a:lnTo>
                      <a:pt x="298" y="170"/>
                    </a:lnTo>
                    <a:lnTo>
                      <a:pt x="297" y="169"/>
                    </a:lnTo>
                    <a:lnTo>
                      <a:pt x="298" y="168"/>
                    </a:lnTo>
                    <a:lnTo>
                      <a:pt x="301" y="167"/>
                    </a:lnTo>
                    <a:lnTo>
                      <a:pt x="301" y="168"/>
                    </a:lnTo>
                    <a:lnTo>
                      <a:pt x="301" y="167"/>
                    </a:lnTo>
                    <a:lnTo>
                      <a:pt x="305" y="169"/>
                    </a:lnTo>
                    <a:lnTo>
                      <a:pt x="305" y="168"/>
                    </a:lnTo>
                    <a:lnTo>
                      <a:pt x="305" y="169"/>
                    </a:lnTo>
                    <a:lnTo>
                      <a:pt x="306" y="168"/>
                    </a:lnTo>
                    <a:lnTo>
                      <a:pt x="307" y="169"/>
                    </a:lnTo>
                    <a:lnTo>
                      <a:pt x="306" y="169"/>
                    </a:lnTo>
                    <a:lnTo>
                      <a:pt x="309" y="172"/>
                    </a:lnTo>
                    <a:lnTo>
                      <a:pt x="310" y="172"/>
                    </a:lnTo>
                    <a:lnTo>
                      <a:pt x="309" y="169"/>
                    </a:lnTo>
                    <a:lnTo>
                      <a:pt x="311" y="169"/>
                    </a:lnTo>
                    <a:lnTo>
                      <a:pt x="309" y="167"/>
                    </a:lnTo>
                    <a:lnTo>
                      <a:pt x="309" y="166"/>
                    </a:lnTo>
                    <a:lnTo>
                      <a:pt x="306" y="164"/>
                    </a:lnTo>
                    <a:lnTo>
                      <a:pt x="307" y="162"/>
                    </a:lnTo>
                    <a:lnTo>
                      <a:pt x="306" y="162"/>
                    </a:lnTo>
                    <a:lnTo>
                      <a:pt x="308" y="162"/>
                    </a:lnTo>
                    <a:lnTo>
                      <a:pt x="311" y="163"/>
                    </a:lnTo>
                    <a:lnTo>
                      <a:pt x="313" y="158"/>
                    </a:lnTo>
                    <a:lnTo>
                      <a:pt x="309" y="157"/>
                    </a:lnTo>
                    <a:lnTo>
                      <a:pt x="311" y="156"/>
                    </a:lnTo>
                    <a:lnTo>
                      <a:pt x="311" y="153"/>
                    </a:lnTo>
                    <a:lnTo>
                      <a:pt x="311" y="152"/>
                    </a:lnTo>
                    <a:lnTo>
                      <a:pt x="311" y="149"/>
                    </a:lnTo>
                    <a:lnTo>
                      <a:pt x="309" y="146"/>
                    </a:lnTo>
                    <a:lnTo>
                      <a:pt x="310" y="145"/>
                    </a:lnTo>
                    <a:lnTo>
                      <a:pt x="308" y="142"/>
                    </a:lnTo>
                    <a:lnTo>
                      <a:pt x="307" y="142"/>
                    </a:lnTo>
                    <a:lnTo>
                      <a:pt x="306" y="141"/>
                    </a:lnTo>
                    <a:lnTo>
                      <a:pt x="308" y="139"/>
                    </a:lnTo>
                    <a:lnTo>
                      <a:pt x="306" y="139"/>
                    </a:lnTo>
                    <a:lnTo>
                      <a:pt x="303" y="137"/>
                    </a:lnTo>
                    <a:lnTo>
                      <a:pt x="303" y="135"/>
                    </a:lnTo>
                    <a:lnTo>
                      <a:pt x="306" y="135"/>
                    </a:lnTo>
                    <a:lnTo>
                      <a:pt x="306" y="132"/>
                    </a:lnTo>
                    <a:lnTo>
                      <a:pt x="306" y="131"/>
                    </a:lnTo>
                    <a:lnTo>
                      <a:pt x="307" y="131"/>
                    </a:lnTo>
                    <a:lnTo>
                      <a:pt x="306" y="129"/>
                    </a:lnTo>
                    <a:lnTo>
                      <a:pt x="308" y="129"/>
                    </a:lnTo>
                    <a:lnTo>
                      <a:pt x="308" y="128"/>
                    </a:lnTo>
                    <a:lnTo>
                      <a:pt x="306" y="127"/>
                    </a:lnTo>
                    <a:lnTo>
                      <a:pt x="306" y="125"/>
                    </a:lnTo>
                    <a:lnTo>
                      <a:pt x="305" y="125"/>
                    </a:lnTo>
                    <a:lnTo>
                      <a:pt x="303" y="126"/>
                    </a:lnTo>
                    <a:lnTo>
                      <a:pt x="301" y="125"/>
                    </a:lnTo>
                    <a:lnTo>
                      <a:pt x="300" y="122"/>
                    </a:lnTo>
                    <a:lnTo>
                      <a:pt x="301" y="121"/>
                    </a:lnTo>
                    <a:lnTo>
                      <a:pt x="300" y="120"/>
                    </a:lnTo>
                    <a:lnTo>
                      <a:pt x="301" y="119"/>
                    </a:lnTo>
                    <a:lnTo>
                      <a:pt x="303" y="119"/>
                    </a:lnTo>
                    <a:lnTo>
                      <a:pt x="305" y="118"/>
                    </a:lnTo>
                    <a:lnTo>
                      <a:pt x="305" y="115"/>
                    </a:lnTo>
                    <a:lnTo>
                      <a:pt x="305" y="111"/>
                    </a:lnTo>
                    <a:lnTo>
                      <a:pt x="303" y="111"/>
                    </a:lnTo>
                    <a:lnTo>
                      <a:pt x="304" y="108"/>
                    </a:lnTo>
                    <a:lnTo>
                      <a:pt x="305" y="107"/>
                    </a:lnTo>
                    <a:lnTo>
                      <a:pt x="301" y="105"/>
                    </a:lnTo>
                    <a:lnTo>
                      <a:pt x="300" y="105"/>
                    </a:lnTo>
                    <a:lnTo>
                      <a:pt x="301" y="105"/>
                    </a:lnTo>
                    <a:lnTo>
                      <a:pt x="303" y="101"/>
                    </a:lnTo>
                    <a:lnTo>
                      <a:pt x="302" y="100"/>
                    </a:lnTo>
                    <a:lnTo>
                      <a:pt x="303" y="100"/>
                    </a:lnTo>
                    <a:lnTo>
                      <a:pt x="305" y="98"/>
                    </a:lnTo>
                    <a:lnTo>
                      <a:pt x="304" y="98"/>
                    </a:lnTo>
                    <a:lnTo>
                      <a:pt x="304" y="96"/>
                    </a:lnTo>
                    <a:lnTo>
                      <a:pt x="306" y="95"/>
                    </a:lnTo>
                    <a:lnTo>
                      <a:pt x="307" y="93"/>
                    </a:lnTo>
                    <a:lnTo>
                      <a:pt x="305" y="92"/>
                    </a:lnTo>
                    <a:lnTo>
                      <a:pt x="306" y="90"/>
                    </a:lnTo>
                    <a:lnTo>
                      <a:pt x="305" y="90"/>
                    </a:lnTo>
                    <a:lnTo>
                      <a:pt x="305" y="89"/>
                    </a:lnTo>
                    <a:lnTo>
                      <a:pt x="305" y="88"/>
                    </a:lnTo>
                    <a:lnTo>
                      <a:pt x="305" y="86"/>
                    </a:lnTo>
                    <a:lnTo>
                      <a:pt x="306" y="85"/>
                    </a:lnTo>
                    <a:lnTo>
                      <a:pt x="307" y="84"/>
                    </a:lnTo>
                    <a:lnTo>
                      <a:pt x="309" y="84"/>
                    </a:lnTo>
                    <a:lnTo>
                      <a:pt x="309" y="82"/>
                    </a:lnTo>
                    <a:lnTo>
                      <a:pt x="309" y="78"/>
                    </a:lnTo>
                    <a:lnTo>
                      <a:pt x="310" y="77"/>
                    </a:lnTo>
                    <a:lnTo>
                      <a:pt x="308" y="75"/>
                    </a:lnTo>
                    <a:lnTo>
                      <a:pt x="307" y="70"/>
                    </a:lnTo>
                    <a:lnTo>
                      <a:pt x="303" y="67"/>
                    </a:lnTo>
                    <a:lnTo>
                      <a:pt x="305" y="65"/>
                    </a:lnTo>
                    <a:lnTo>
                      <a:pt x="302" y="65"/>
                    </a:lnTo>
                    <a:lnTo>
                      <a:pt x="300" y="67"/>
                    </a:lnTo>
                    <a:lnTo>
                      <a:pt x="298" y="67"/>
                    </a:lnTo>
                    <a:lnTo>
                      <a:pt x="297" y="68"/>
                    </a:lnTo>
                    <a:lnTo>
                      <a:pt x="297" y="67"/>
                    </a:lnTo>
                    <a:lnTo>
                      <a:pt x="293" y="67"/>
                    </a:lnTo>
                    <a:lnTo>
                      <a:pt x="292" y="66"/>
                    </a:lnTo>
                    <a:lnTo>
                      <a:pt x="290" y="66"/>
                    </a:lnTo>
                    <a:lnTo>
                      <a:pt x="290" y="65"/>
                    </a:lnTo>
                    <a:lnTo>
                      <a:pt x="289" y="65"/>
                    </a:lnTo>
                    <a:lnTo>
                      <a:pt x="289" y="63"/>
                    </a:lnTo>
                    <a:lnTo>
                      <a:pt x="285" y="63"/>
                    </a:lnTo>
                    <a:lnTo>
                      <a:pt x="284" y="62"/>
                    </a:lnTo>
                    <a:lnTo>
                      <a:pt x="281" y="63"/>
                    </a:lnTo>
                    <a:lnTo>
                      <a:pt x="281" y="65"/>
                    </a:lnTo>
                    <a:lnTo>
                      <a:pt x="280" y="65"/>
                    </a:lnTo>
                    <a:lnTo>
                      <a:pt x="279" y="66"/>
                    </a:lnTo>
                    <a:lnTo>
                      <a:pt x="277" y="65"/>
                    </a:lnTo>
                    <a:lnTo>
                      <a:pt x="278" y="64"/>
                    </a:lnTo>
                    <a:lnTo>
                      <a:pt x="277" y="63"/>
                    </a:lnTo>
                    <a:lnTo>
                      <a:pt x="276" y="63"/>
                    </a:lnTo>
                    <a:lnTo>
                      <a:pt x="274" y="61"/>
                    </a:lnTo>
                    <a:lnTo>
                      <a:pt x="273" y="62"/>
                    </a:lnTo>
                    <a:lnTo>
                      <a:pt x="273" y="60"/>
                    </a:lnTo>
                    <a:lnTo>
                      <a:pt x="275" y="60"/>
                    </a:lnTo>
                    <a:lnTo>
                      <a:pt x="276" y="56"/>
                    </a:lnTo>
                    <a:lnTo>
                      <a:pt x="279" y="56"/>
                    </a:lnTo>
                    <a:lnTo>
                      <a:pt x="279" y="55"/>
                    </a:lnTo>
                    <a:lnTo>
                      <a:pt x="276" y="50"/>
                    </a:lnTo>
                    <a:lnTo>
                      <a:pt x="276" y="49"/>
                    </a:lnTo>
                    <a:lnTo>
                      <a:pt x="274" y="50"/>
                    </a:lnTo>
                    <a:lnTo>
                      <a:pt x="272" y="49"/>
                    </a:lnTo>
                    <a:lnTo>
                      <a:pt x="269" y="44"/>
                    </a:lnTo>
                    <a:lnTo>
                      <a:pt x="269" y="46"/>
                    </a:lnTo>
                    <a:lnTo>
                      <a:pt x="263" y="44"/>
                    </a:lnTo>
                    <a:lnTo>
                      <a:pt x="262" y="46"/>
                    </a:lnTo>
                    <a:lnTo>
                      <a:pt x="257" y="43"/>
                    </a:lnTo>
                    <a:lnTo>
                      <a:pt x="257" y="39"/>
                    </a:lnTo>
                    <a:lnTo>
                      <a:pt x="254" y="40"/>
                    </a:lnTo>
                    <a:lnTo>
                      <a:pt x="250" y="42"/>
                    </a:lnTo>
                    <a:lnTo>
                      <a:pt x="249" y="41"/>
                    </a:lnTo>
                    <a:lnTo>
                      <a:pt x="250" y="40"/>
                    </a:lnTo>
                    <a:lnTo>
                      <a:pt x="249" y="40"/>
                    </a:lnTo>
                    <a:lnTo>
                      <a:pt x="248" y="39"/>
                    </a:lnTo>
                    <a:lnTo>
                      <a:pt x="244" y="40"/>
                    </a:lnTo>
                    <a:lnTo>
                      <a:pt x="243" y="37"/>
                    </a:lnTo>
                    <a:lnTo>
                      <a:pt x="242" y="34"/>
                    </a:lnTo>
                    <a:lnTo>
                      <a:pt x="238" y="32"/>
                    </a:lnTo>
                    <a:lnTo>
                      <a:pt x="235" y="31"/>
                    </a:lnTo>
                    <a:lnTo>
                      <a:pt x="235" y="28"/>
                    </a:lnTo>
                    <a:lnTo>
                      <a:pt x="230" y="22"/>
                    </a:lnTo>
                    <a:lnTo>
                      <a:pt x="229" y="21"/>
                    </a:lnTo>
                    <a:lnTo>
                      <a:pt x="228" y="21"/>
                    </a:lnTo>
                    <a:lnTo>
                      <a:pt x="225" y="18"/>
                    </a:lnTo>
                    <a:lnTo>
                      <a:pt x="215" y="8"/>
                    </a:lnTo>
                    <a:lnTo>
                      <a:pt x="212" y="4"/>
                    </a:lnTo>
                    <a:lnTo>
                      <a:pt x="207" y="0"/>
                    </a:lnTo>
                    <a:lnTo>
                      <a:pt x="206" y="4"/>
                    </a:lnTo>
                    <a:lnTo>
                      <a:pt x="203" y="7"/>
                    </a:lnTo>
                    <a:lnTo>
                      <a:pt x="203" y="9"/>
                    </a:lnTo>
                    <a:lnTo>
                      <a:pt x="203" y="11"/>
                    </a:lnTo>
                    <a:lnTo>
                      <a:pt x="203" y="13"/>
                    </a:lnTo>
                    <a:lnTo>
                      <a:pt x="202" y="9"/>
                    </a:lnTo>
                    <a:lnTo>
                      <a:pt x="200" y="4"/>
                    </a:lnTo>
                    <a:lnTo>
                      <a:pt x="183" y="9"/>
                    </a:lnTo>
                    <a:lnTo>
                      <a:pt x="181" y="14"/>
                    </a:lnTo>
                    <a:lnTo>
                      <a:pt x="178" y="15"/>
                    </a:lnTo>
                    <a:lnTo>
                      <a:pt x="175" y="19"/>
                    </a:lnTo>
                    <a:lnTo>
                      <a:pt x="173" y="21"/>
                    </a:lnTo>
                    <a:lnTo>
                      <a:pt x="174" y="22"/>
                    </a:lnTo>
                    <a:lnTo>
                      <a:pt x="173" y="24"/>
                    </a:lnTo>
                    <a:lnTo>
                      <a:pt x="171" y="21"/>
                    </a:lnTo>
                    <a:lnTo>
                      <a:pt x="170" y="20"/>
                    </a:lnTo>
                    <a:lnTo>
                      <a:pt x="168" y="17"/>
                    </a:lnTo>
                    <a:lnTo>
                      <a:pt x="166" y="13"/>
                    </a:lnTo>
                    <a:lnTo>
                      <a:pt x="161" y="15"/>
                    </a:lnTo>
                    <a:lnTo>
                      <a:pt x="158" y="15"/>
                    </a:lnTo>
                    <a:lnTo>
                      <a:pt x="157" y="14"/>
                    </a:lnTo>
                    <a:lnTo>
                      <a:pt x="153" y="11"/>
                    </a:lnTo>
                    <a:lnTo>
                      <a:pt x="150" y="11"/>
                    </a:lnTo>
                    <a:lnTo>
                      <a:pt x="150" y="12"/>
                    </a:lnTo>
                    <a:lnTo>
                      <a:pt x="146" y="15"/>
                    </a:lnTo>
                    <a:lnTo>
                      <a:pt x="145" y="15"/>
                    </a:lnTo>
                    <a:lnTo>
                      <a:pt x="144" y="14"/>
                    </a:lnTo>
                    <a:lnTo>
                      <a:pt x="142" y="14"/>
                    </a:lnTo>
                    <a:lnTo>
                      <a:pt x="140" y="13"/>
                    </a:lnTo>
                    <a:lnTo>
                      <a:pt x="139" y="15"/>
                    </a:lnTo>
                    <a:lnTo>
                      <a:pt x="134" y="16"/>
                    </a:lnTo>
                    <a:lnTo>
                      <a:pt x="132" y="16"/>
                    </a:lnTo>
                    <a:lnTo>
                      <a:pt x="131" y="15"/>
                    </a:lnTo>
                    <a:lnTo>
                      <a:pt x="130" y="16"/>
                    </a:lnTo>
                    <a:lnTo>
                      <a:pt x="127" y="14"/>
                    </a:lnTo>
                    <a:lnTo>
                      <a:pt x="126" y="16"/>
                    </a:lnTo>
                    <a:lnTo>
                      <a:pt x="122" y="15"/>
                    </a:lnTo>
                    <a:lnTo>
                      <a:pt x="121" y="14"/>
                    </a:lnTo>
                    <a:lnTo>
                      <a:pt x="121" y="17"/>
                    </a:lnTo>
                    <a:lnTo>
                      <a:pt x="118" y="19"/>
                    </a:lnTo>
                    <a:lnTo>
                      <a:pt x="116" y="22"/>
                    </a:lnTo>
                    <a:lnTo>
                      <a:pt x="114" y="24"/>
                    </a:lnTo>
                    <a:lnTo>
                      <a:pt x="113" y="26"/>
                    </a:lnTo>
                    <a:lnTo>
                      <a:pt x="114" y="33"/>
                    </a:lnTo>
                    <a:lnTo>
                      <a:pt x="113" y="35"/>
                    </a:lnTo>
                    <a:lnTo>
                      <a:pt x="111" y="37"/>
                    </a:lnTo>
                    <a:lnTo>
                      <a:pt x="107" y="32"/>
                    </a:lnTo>
                    <a:lnTo>
                      <a:pt x="104" y="33"/>
                    </a:lnTo>
                    <a:lnTo>
                      <a:pt x="104" y="34"/>
                    </a:lnTo>
                    <a:lnTo>
                      <a:pt x="101" y="36"/>
                    </a:lnTo>
                    <a:lnTo>
                      <a:pt x="99" y="37"/>
                    </a:lnTo>
                    <a:lnTo>
                      <a:pt x="98" y="39"/>
                    </a:lnTo>
                    <a:lnTo>
                      <a:pt x="96" y="40"/>
                    </a:lnTo>
                    <a:lnTo>
                      <a:pt x="97" y="43"/>
                    </a:lnTo>
                    <a:lnTo>
                      <a:pt x="95" y="45"/>
                    </a:lnTo>
                    <a:lnTo>
                      <a:pt x="94" y="44"/>
                    </a:lnTo>
                    <a:lnTo>
                      <a:pt x="93" y="45"/>
                    </a:lnTo>
                    <a:lnTo>
                      <a:pt x="91" y="44"/>
                    </a:lnTo>
                    <a:lnTo>
                      <a:pt x="88" y="44"/>
                    </a:lnTo>
                    <a:lnTo>
                      <a:pt x="86" y="44"/>
                    </a:lnTo>
                    <a:lnTo>
                      <a:pt x="86" y="46"/>
                    </a:lnTo>
                    <a:lnTo>
                      <a:pt x="85" y="50"/>
                    </a:lnTo>
                    <a:lnTo>
                      <a:pt x="86" y="53"/>
                    </a:lnTo>
                    <a:lnTo>
                      <a:pt x="85" y="57"/>
                    </a:lnTo>
                    <a:lnTo>
                      <a:pt x="83" y="59"/>
                    </a:lnTo>
                    <a:lnTo>
                      <a:pt x="80" y="59"/>
                    </a:lnTo>
                    <a:lnTo>
                      <a:pt x="76" y="60"/>
                    </a:lnTo>
                    <a:lnTo>
                      <a:pt x="76" y="61"/>
                    </a:lnTo>
                    <a:lnTo>
                      <a:pt x="75" y="62"/>
                    </a:lnTo>
                    <a:lnTo>
                      <a:pt x="73" y="63"/>
                    </a:lnTo>
                    <a:lnTo>
                      <a:pt x="73" y="67"/>
                    </a:lnTo>
                    <a:lnTo>
                      <a:pt x="70" y="69"/>
                    </a:lnTo>
                    <a:lnTo>
                      <a:pt x="69" y="74"/>
                    </a:lnTo>
                    <a:lnTo>
                      <a:pt x="70" y="77"/>
                    </a:lnTo>
                    <a:lnTo>
                      <a:pt x="70" y="79"/>
                    </a:lnTo>
                    <a:lnTo>
                      <a:pt x="68" y="80"/>
                    </a:lnTo>
                    <a:lnTo>
                      <a:pt x="69" y="81"/>
                    </a:lnTo>
                    <a:lnTo>
                      <a:pt x="67" y="81"/>
                    </a:lnTo>
                    <a:lnTo>
                      <a:pt x="67" y="82"/>
                    </a:lnTo>
                    <a:lnTo>
                      <a:pt x="66" y="78"/>
                    </a:lnTo>
                    <a:lnTo>
                      <a:pt x="63" y="77"/>
                    </a:lnTo>
                    <a:lnTo>
                      <a:pt x="63" y="79"/>
                    </a:lnTo>
                    <a:lnTo>
                      <a:pt x="62" y="81"/>
                    </a:lnTo>
                    <a:lnTo>
                      <a:pt x="62" y="82"/>
                    </a:lnTo>
                    <a:lnTo>
                      <a:pt x="62" y="85"/>
                    </a:lnTo>
                    <a:lnTo>
                      <a:pt x="62" y="88"/>
                    </a:lnTo>
                    <a:lnTo>
                      <a:pt x="62" y="90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59" y="94"/>
                    </a:lnTo>
                    <a:lnTo>
                      <a:pt x="59" y="97"/>
                    </a:lnTo>
                    <a:lnTo>
                      <a:pt x="61" y="97"/>
                    </a:lnTo>
                    <a:lnTo>
                      <a:pt x="60" y="99"/>
                    </a:lnTo>
                    <a:lnTo>
                      <a:pt x="61" y="101"/>
                    </a:lnTo>
                    <a:lnTo>
                      <a:pt x="61" y="103"/>
                    </a:lnTo>
                    <a:lnTo>
                      <a:pt x="59" y="103"/>
                    </a:lnTo>
                    <a:lnTo>
                      <a:pt x="58" y="105"/>
                    </a:lnTo>
                    <a:lnTo>
                      <a:pt x="57" y="105"/>
                    </a:lnTo>
                    <a:lnTo>
                      <a:pt x="58" y="107"/>
                    </a:lnTo>
                    <a:lnTo>
                      <a:pt x="58" y="108"/>
                    </a:lnTo>
                    <a:lnTo>
                      <a:pt x="60" y="110"/>
                    </a:lnTo>
                    <a:lnTo>
                      <a:pt x="59" y="111"/>
                    </a:lnTo>
                    <a:lnTo>
                      <a:pt x="54" y="109"/>
                    </a:lnTo>
                    <a:lnTo>
                      <a:pt x="50" y="107"/>
                    </a:lnTo>
                    <a:lnTo>
                      <a:pt x="49" y="107"/>
                    </a:lnTo>
                    <a:lnTo>
                      <a:pt x="47" y="106"/>
                    </a:lnTo>
                    <a:lnTo>
                      <a:pt x="49" y="103"/>
                    </a:lnTo>
                    <a:lnTo>
                      <a:pt x="48" y="101"/>
                    </a:lnTo>
                    <a:lnTo>
                      <a:pt x="47" y="102"/>
                    </a:lnTo>
                    <a:lnTo>
                      <a:pt x="47" y="99"/>
                    </a:lnTo>
                    <a:lnTo>
                      <a:pt x="45" y="100"/>
                    </a:lnTo>
                    <a:lnTo>
                      <a:pt x="45" y="98"/>
                    </a:lnTo>
                    <a:lnTo>
                      <a:pt x="45" y="96"/>
                    </a:lnTo>
                    <a:lnTo>
                      <a:pt x="45" y="95"/>
                    </a:lnTo>
                    <a:lnTo>
                      <a:pt x="49" y="94"/>
                    </a:lnTo>
                    <a:lnTo>
                      <a:pt x="49" y="93"/>
                    </a:lnTo>
                    <a:lnTo>
                      <a:pt x="48" y="92"/>
                    </a:lnTo>
                    <a:lnTo>
                      <a:pt x="49" y="91"/>
                    </a:lnTo>
                    <a:lnTo>
                      <a:pt x="47" y="91"/>
                    </a:lnTo>
                    <a:lnTo>
                      <a:pt x="48" y="89"/>
                    </a:lnTo>
                    <a:lnTo>
                      <a:pt x="51" y="86"/>
                    </a:lnTo>
                    <a:lnTo>
                      <a:pt x="49" y="84"/>
                    </a:lnTo>
                    <a:lnTo>
                      <a:pt x="47" y="84"/>
                    </a:lnTo>
                    <a:lnTo>
                      <a:pt x="49" y="84"/>
                    </a:lnTo>
                    <a:lnTo>
                      <a:pt x="48" y="84"/>
                    </a:lnTo>
                    <a:lnTo>
                      <a:pt x="50" y="84"/>
                    </a:lnTo>
                    <a:lnTo>
                      <a:pt x="47" y="79"/>
                    </a:lnTo>
                    <a:lnTo>
                      <a:pt x="45" y="80"/>
                    </a:lnTo>
                    <a:lnTo>
                      <a:pt x="44" y="78"/>
                    </a:lnTo>
                    <a:lnTo>
                      <a:pt x="42" y="76"/>
                    </a:lnTo>
                    <a:lnTo>
                      <a:pt x="42" y="74"/>
                    </a:lnTo>
                    <a:lnTo>
                      <a:pt x="39" y="71"/>
                    </a:lnTo>
                    <a:lnTo>
                      <a:pt x="40" y="70"/>
                    </a:lnTo>
                    <a:lnTo>
                      <a:pt x="42" y="68"/>
                    </a:lnTo>
                    <a:lnTo>
                      <a:pt x="41" y="66"/>
                    </a:lnTo>
                    <a:lnTo>
                      <a:pt x="42" y="68"/>
                    </a:lnTo>
                    <a:lnTo>
                      <a:pt x="44" y="70"/>
                    </a:lnTo>
                    <a:lnTo>
                      <a:pt x="46" y="71"/>
                    </a:lnTo>
                    <a:lnTo>
                      <a:pt x="45" y="69"/>
                    </a:lnTo>
                    <a:lnTo>
                      <a:pt x="46" y="67"/>
                    </a:lnTo>
                    <a:lnTo>
                      <a:pt x="45" y="65"/>
                    </a:lnTo>
                    <a:lnTo>
                      <a:pt x="44" y="61"/>
                    </a:lnTo>
                    <a:lnTo>
                      <a:pt x="42" y="61"/>
                    </a:lnTo>
                    <a:lnTo>
                      <a:pt x="39" y="61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1" y="57"/>
                    </a:lnTo>
                    <a:lnTo>
                      <a:pt x="31" y="56"/>
                    </a:lnTo>
                    <a:lnTo>
                      <a:pt x="32" y="50"/>
                    </a:lnTo>
                    <a:lnTo>
                      <a:pt x="31" y="48"/>
                    </a:lnTo>
                    <a:lnTo>
                      <a:pt x="33" y="40"/>
                    </a:lnTo>
                    <a:lnTo>
                      <a:pt x="32" y="41"/>
                    </a:lnTo>
                    <a:lnTo>
                      <a:pt x="31" y="39"/>
                    </a:lnTo>
                    <a:lnTo>
                      <a:pt x="29" y="38"/>
                    </a:lnTo>
                    <a:lnTo>
                      <a:pt x="29" y="36"/>
                    </a:lnTo>
                    <a:lnTo>
                      <a:pt x="29" y="33"/>
                    </a:lnTo>
                    <a:lnTo>
                      <a:pt x="24" y="33"/>
                    </a:lnTo>
                    <a:lnTo>
                      <a:pt x="20" y="31"/>
                    </a:lnTo>
                    <a:lnTo>
                      <a:pt x="15" y="32"/>
                    </a:lnTo>
                    <a:lnTo>
                      <a:pt x="13" y="33"/>
                    </a:lnTo>
                    <a:lnTo>
                      <a:pt x="10" y="33"/>
                    </a:lnTo>
                    <a:lnTo>
                      <a:pt x="11" y="31"/>
                    </a:lnTo>
                    <a:lnTo>
                      <a:pt x="10" y="31"/>
                    </a:lnTo>
                    <a:lnTo>
                      <a:pt x="9" y="29"/>
                    </a:lnTo>
                    <a:lnTo>
                      <a:pt x="7" y="31"/>
                    </a:lnTo>
                    <a:lnTo>
                      <a:pt x="8" y="33"/>
                    </a:lnTo>
                    <a:lnTo>
                      <a:pt x="10" y="34"/>
                    </a:lnTo>
                    <a:lnTo>
                      <a:pt x="13" y="37"/>
                    </a:lnTo>
                    <a:lnTo>
                      <a:pt x="13" y="38"/>
                    </a:lnTo>
                    <a:lnTo>
                      <a:pt x="11" y="40"/>
                    </a:lnTo>
                    <a:lnTo>
                      <a:pt x="11" y="44"/>
                    </a:lnTo>
                    <a:lnTo>
                      <a:pt x="14" y="49"/>
                    </a:lnTo>
                    <a:lnTo>
                      <a:pt x="14" y="50"/>
                    </a:lnTo>
                    <a:lnTo>
                      <a:pt x="15" y="51"/>
                    </a:lnTo>
                    <a:lnTo>
                      <a:pt x="14" y="53"/>
                    </a:lnTo>
                    <a:lnTo>
                      <a:pt x="10" y="55"/>
                    </a:lnTo>
                    <a:lnTo>
                      <a:pt x="9" y="55"/>
                    </a:lnTo>
                    <a:lnTo>
                      <a:pt x="9" y="56"/>
                    </a:lnTo>
                    <a:lnTo>
                      <a:pt x="7" y="55"/>
                    </a:lnTo>
                    <a:lnTo>
                      <a:pt x="5" y="56"/>
                    </a:lnTo>
                    <a:lnTo>
                      <a:pt x="2" y="57"/>
                    </a:lnTo>
                    <a:lnTo>
                      <a:pt x="4" y="59"/>
                    </a:lnTo>
                    <a:lnTo>
                      <a:pt x="3" y="60"/>
                    </a:lnTo>
                    <a:lnTo>
                      <a:pt x="2" y="61"/>
                    </a:lnTo>
                    <a:lnTo>
                      <a:pt x="0" y="61"/>
                    </a:lnTo>
                    <a:lnTo>
                      <a:pt x="0" y="62"/>
                    </a:lnTo>
                    <a:lnTo>
                      <a:pt x="2" y="65"/>
                    </a:lnTo>
                    <a:lnTo>
                      <a:pt x="4" y="65"/>
                    </a:lnTo>
                    <a:lnTo>
                      <a:pt x="4" y="68"/>
                    </a:lnTo>
                    <a:lnTo>
                      <a:pt x="8" y="72"/>
                    </a:lnTo>
                    <a:lnTo>
                      <a:pt x="12" y="74"/>
                    </a:lnTo>
                    <a:lnTo>
                      <a:pt x="12" y="73"/>
                    </a:lnTo>
                    <a:lnTo>
                      <a:pt x="15" y="72"/>
                    </a:lnTo>
                    <a:lnTo>
                      <a:pt x="15" y="73"/>
                    </a:lnTo>
                    <a:lnTo>
                      <a:pt x="12" y="74"/>
                    </a:lnTo>
                    <a:lnTo>
                      <a:pt x="15" y="75"/>
                    </a:lnTo>
                    <a:lnTo>
                      <a:pt x="16" y="77"/>
                    </a:lnTo>
                    <a:lnTo>
                      <a:pt x="15" y="78"/>
                    </a:lnTo>
                    <a:lnTo>
                      <a:pt x="17" y="78"/>
                    </a:lnTo>
                    <a:lnTo>
                      <a:pt x="16" y="80"/>
                    </a:lnTo>
                    <a:lnTo>
                      <a:pt x="17" y="80"/>
                    </a:lnTo>
                    <a:lnTo>
                      <a:pt x="15" y="82"/>
                    </a:lnTo>
                    <a:lnTo>
                      <a:pt x="15" y="84"/>
                    </a:lnTo>
                    <a:lnTo>
                      <a:pt x="17" y="83"/>
                    </a:lnTo>
                    <a:lnTo>
                      <a:pt x="20" y="84"/>
                    </a:lnTo>
                    <a:lnTo>
                      <a:pt x="20" y="88"/>
                    </a:lnTo>
                    <a:lnTo>
                      <a:pt x="21" y="88"/>
                    </a:lnTo>
                    <a:lnTo>
                      <a:pt x="21" y="89"/>
                    </a:lnTo>
                    <a:lnTo>
                      <a:pt x="20" y="90"/>
                    </a:lnTo>
                    <a:lnTo>
                      <a:pt x="22" y="90"/>
                    </a:lnTo>
                    <a:lnTo>
                      <a:pt x="23" y="91"/>
                    </a:lnTo>
                    <a:lnTo>
                      <a:pt x="24" y="91"/>
                    </a:lnTo>
                    <a:lnTo>
                      <a:pt x="22" y="91"/>
                    </a:lnTo>
                    <a:lnTo>
                      <a:pt x="21" y="93"/>
                    </a:lnTo>
                    <a:lnTo>
                      <a:pt x="25" y="97"/>
                    </a:lnTo>
                    <a:lnTo>
                      <a:pt x="25" y="101"/>
                    </a:lnTo>
                    <a:lnTo>
                      <a:pt x="25" y="103"/>
                    </a:lnTo>
                    <a:lnTo>
                      <a:pt x="25" y="105"/>
                    </a:lnTo>
                    <a:lnTo>
                      <a:pt x="27" y="107"/>
                    </a:lnTo>
                    <a:lnTo>
                      <a:pt x="25" y="110"/>
                    </a:lnTo>
                    <a:lnTo>
                      <a:pt x="21" y="113"/>
                    </a:lnTo>
                    <a:lnTo>
                      <a:pt x="22" y="114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9" y="118"/>
                    </a:lnTo>
                    <a:lnTo>
                      <a:pt x="20" y="120"/>
                    </a:lnTo>
                    <a:lnTo>
                      <a:pt x="19" y="127"/>
                    </a:lnTo>
                    <a:lnTo>
                      <a:pt x="20" y="130"/>
                    </a:lnTo>
                    <a:lnTo>
                      <a:pt x="19" y="132"/>
                    </a:lnTo>
                    <a:lnTo>
                      <a:pt x="20" y="135"/>
                    </a:lnTo>
                    <a:lnTo>
                      <a:pt x="21" y="137"/>
                    </a:lnTo>
                    <a:lnTo>
                      <a:pt x="24" y="137"/>
                    </a:lnTo>
                    <a:lnTo>
                      <a:pt x="26" y="138"/>
                    </a:lnTo>
                    <a:lnTo>
                      <a:pt x="25" y="140"/>
                    </a:lnTo>
                    <a:lnTo>
                      <a:pt x="26" y="142"/>
                    </a:lnTo>
                    <a:lnTo>
                      <a:pt x="28" y="141"/>
                    </a:lnTo>
                    <a:lnTo>
                      <a:pt x="29" y="141"/>
                    </a:lnTo>
                    <a:lnTo>
                      <a:pt x="29" y="142"/>
                    </a:lnTo>
                    <a:lnTo>
                      <a:pt x="29" y="144"/>
                    </a:lnTo>
                    <a:lnTo>
                      <a:pt x="31" y="145"/>
                    </a:lnTo>
                    <a:lnTo>
                      <a:pt x="31" y="146"/>
                    </a:lnTo>
                    <a:lnTo>
                      <a:pt x="33" y="148"/>
                    </a:lnTo>
                    <a:lnTo>
                      <a:pt x="34" y="150"/>
                    </a:lnTo>
                    <a:lnTo>
                      <a:pt x="36" y="152"/>
                    </a:lnTo>
                    <a:lnTo>
                      <a:pt x="31" y="158"/>
                    </a:lnTo>
                    <a:lnTo>
                      <a:pt x="31" y="160"/>
                    </a:lnTo>
                    <a:lnTo>
                      <a:pt x="34" y="159"/>
                    </a:lnTo>
                    <a:lnTo>
                      <a:pt x="36" y="162"/>
                    </a:lnTo>
                    <a:lnTo>
                      <a:pt x="41" y="162"/>
                    </a:lnTo>
                    <a:lnTo>
                      <a:pt x="45" y="163"/>
                    </a:lnTo>
                    <a:lnTo>
                      <a:pt x="45" y="165"/>
                    </a:lnTo>
                    <a:lnTo>
                      <a:pt x="46" y="165"/>
                    </a:lnTo>
                    <a:lnTo>
                      <a:pt x="46" y="167"/>
                    </a:lnTo>
                    <a:lnTo>
                      <a:pt x="45" y="168"/>
                    </a:lnTo>
                    <a:lnTo>
                      <a:pt x="47" y="172"/>
                    </a:lnTo>
                    <a:lnTo>
                      <a:pt x="47" y="175"/>
                    </a:lnTo>
                    <a:lnTo>
                      <a:pt x="48" y="175"/>
                    </a:lnTo>
                    <a:lnTo>
                      <a:pt x="50" y="173"/>
                    </a:lnTo>
                    <a:lnTo>
                      <a:pt x="53" y="173"/>
                    </a:lnTo>
                    <a:lnTo>
                      <a:pt x="53" y="175"/>
                    </a:lnTo>
                    <a:lnTo>
                      <a:pt x="53" y="176"/>
                    </a:lnTo>
                    <a:lnTo>
                      <a:pt x="57" y="182"/>
                    </a:lnTo>
                    <a:lnTo>
                      <a:pt x="58" y="184"/>
                    </a:lnTo>
                    <a:lnTo>
                      <a:pt x="60" y="184"/>
                    </a:lnTo>
                    <a:lnTo>
                      <a:pt x="60" y="186"/>
                    </a:lnTo>
                    <a:lnTo>
                      <a:pt x="62" y="187"/>
                    </a:lnTo>
                    <a:lnTo>
                      <a:pt x="66" y="187"/>
                    </a:lnTo>
                    <a:lnTo>
                      <a:pt x="66" y="188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66" y="192"/>
                    </a:lnTo>
                    <a:lnTo>
                      <a:pt x="70" y="192"/>
                    </a:lnTo>
                    <a:lnTo>
                      <a:pt x="71" y="194"/>
                    </a:lnTo>
                    <a:lnTo>
                      <a:pt x="73" y="194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1" y="199"/>
                    </a:lnTo>
                    <a:lnTo>
                      <a:pt x="72" y="201"/>
                    </a:lnTo>
                    <a:lnTo>
                      <a:pt x="72" y="203"/>
                    </a:lnTo>
                    <a:lnTo>
                      <a:pt x="75" y="202"/>
                    </a:lnTo>
                    <a:lnTo>
                      <a:pt x="76" y="201"/>
                    </a:lnTo>
                    <a:lnTo>
                      <a:pt x="78" y="200"/>
                    </a:lnTo>
                    <a:lnTo>
                      <a:pt x="79" y="199"/>
                    </a:lnTo>
                    <a:lnTo>
                      <a:pt x="80" y="199"/>
                    </a:lnTo>
                    <a:lnTo>
                      <a:pt x="83" y="202"/>
                    </a:lnTo>
                    <a:lnTo>
                      <a:pt x="82" y="203"/>
                    </a:lnTo>
                    <a:lnTo>
                      <a:pt x="84" y="206"/>
                    </a:lnTo>
                    <a:lnTo>
                      <a:pt x="87" y="207"/>
                    </a:lnTo>
                    <a:lnTo>
                      <a:pt x="89" y="211"/>
                    </a:lnTo>
                    <a:lnTo>
                      <a:pt x="88" y="213"/>
                    </a:lnTo>
                    <a:lnTo>
                      <a:pt x="86" y="217"/>
                    </a:lnTo>
                    <a:lnTo>
                      <a:pt x="83" y="217"/>
                    </a:lnTo>
                    <a:lnTo>
                      <a:pt x="83" y="218"/>
                    </a:lnTo>
                    <a:lnTo>
                      <a:pt x="80" y="221"/>
                    </a:lnTo>
                    <a:lnTo>
                      <a:pt x="80" y="223"/>
                    </a:lnTo>
                    <a:lnTo>
                      <a:pt x="81" y="227"/>
                    </a:lnTo>
                    <a:lnTo>
                      <a:pt x="85" y="228"/>
                    </a:lnTo>
                    <a:lnTo>
                      <a:pt x="85" y="229"/>
                    </a:lnTo>
                    <a:lnTo>
                      <a:pt x="86" y="229"/>
                    </a:lnTo>
                    <a:lnTo>
                      <a:pt x="87" y="232"/>
                    </a:lnTo>
                    <a:lnTo>
                      <a:pt x="90" y="233"/>
                    </a:lnTo>
                    <a:lnTo>
                      <a:pt x="93" y="233"/>
                    </a:lnTo>
                    <a:lnTo>
                      <a:pt x="95" y="236"/>
                    </a:lnTo>
                    <a:lnTo>
                      <a:pt x="98" y="237"/>
                    </a:lnTo>
                    <a:lnTo>
                      <a:pt x="98" y="238"/>
                    </a:lnTo>
                    <a:lnTo>
                      <a:pt x="98" y="245"/>
                    </a:lnTo>
                    <a:lnTo>
                      <a:pt x="102" y="247"/>
                    </a:lnTo>
                    <a:lnTo>
                      <a:pt x="106" y="247"/>
                    </a:lnTo>
                    <a:lnTo>
                      <a:pt x="109" y="250"/>
                    </a:lnTo>
                    <a:lnTo>
                      <a:pt x="110" y="253"/>
                    </a:lnTo>
                    <a:lnTo>
                      <a:pt x="111" y="250"/>
                    </a:lnTo>
                    <a:lnTo>
                      <a:pt x="114" y="252"/>
                    </a:lnTo>
                    <a:lnTo>
                      <a:pt x="114" y="247"/>
                    </a:lnTo>
                    <a:lnTo>
                      <a:pt x="116" y="247"/>
                    </a:lnTo>
                    <a:lnTo>
                      <a:pt x="118" y="247"/>
                    </a:lnTo>
                    <a:lnTo>
                      <a:pt x="118" y="245"/>
                    </a:lnTo>
                    <a:lnTo>
                      <a:pt x="119" y="246"/>
                    </a:lnTo>
                    <a:lnTo>
                      <a:pt x="119" y="244"/>
                    </a:lnTo>
                    <a:lnTo>
                      <a:pt x="124" y="244"/>
                    </a:lnTo>
                    <a:lnTo>
                      <a:pt x="128" y="247"/>
                    </a:lnTo>
                    <a:lnTo>
                      <a:pt x="130" y="249"/>
                    </a:lnTo>
                    <a:lnTo>
                      <a:pt x="130" y="255"/>
                    </a:lnTo>
                    <a:lnTo>
                      <a:pt x="130" y="256"/>
                    </a:lnTo>
                    <a:lnTo>
                      <a:pt x="130" y="257"/>
                    </a:lnTo>
                    <a:lnTo>
                      <a:pt x="133" y="258"/>
                    </a:lnTo>
                    <a:lnTo>
                      <a:pt x="133" y="256"/>
                    </a:lnTo>
                    <a:lnTo>
                      <a:pt x="133" y="252"/>
                    </a:lnTo>
                    <a:lnTo>
                      <a:pt x="132" y="250"/>
                    </a:lnTo>
                    <a:lnTo>
                      <a:pt x="137" y="249"/>
                    </a:lnTo>
                    <a:lnTo>
                      <a:pt x="142" y="250"/>
                    </a:lnTo>
                    <a:lnTo>
                      <a:pt x="142" y="246"/>
                    </a:lnTo>
                    <a:lnTo>
                      <a:pt x="140" y="243"/>
                    </a:lnTo>
                    <a:lnTo>
                      <a:pt x="141" y="243"/>
                    </a:lnTo>
                    <a:lnTo>
                      <a:pt x="143" y="244"/>
                    </a:lnTo>
                    <a:lnTo>
                      <a:pt x="146" y="246"/>
                    </a:lnTo>
                    <a:lnTo>
                      <a:pt x="148" y="246"/>
                    </a:lnTo>
                    <a:lnTo>
                      <a:pt x="151" y="243"/>
                    </a:lnTo>
                    <a:lnTo>
                      <a:pt x="152" y="241"/>
                    </a:lnTo>
                    <a:lnTo>
                      <a:pt x="154" y="243"/>
                    </a:lnTo>
                    <a:lnTo>
                      <a:pt x="157" y="243"/>
                    </a:lnTo>
                    <a:lnTo>
                      <a:pt x="157" y="242"/>
                    </a:lnTo>
                    <a:lnTo>
                      <a:pt x="158" y="241"/>
                    </a:lnTo>
                    <a:lnTo>
                      <a:pt x="158" y="243"/>
                    </a:lnTo>
                    <a:lnTo>
                      <a:pt x="160" y="244"/>
                    </a:lnTo>
                    <a:lnTo>
                      <a:pt x="162" y="243"/>
                    </a:lnTo>
                    <a:lnTo>
                      <a:pt x="164" y="242"/>
                    </a:lnTo>
                    <a:lnTo>
                      <a:pt x="165" y="240"/>
                    </a:lnTo>
                    <a:lnTo>
                      <a:pt x="167" y="240"/>
                    </a:lnTo>
                    <a:lnTo>
                      <a:pt x="168" y="242"/>
                    </a:lnTo>
                    <a:lnTo>
                      <a:pt x="170" y="242"/>
                    </a:lnTo>
                    <a:lnTo>
                      <a:pt x="171" y="243"/>
                    </a:lnTo>
                    <a:lnTo>
                      <a:pt x="171" y="244"/>
                    </a:lnTo>
                    <a:lnTo>
                      <a:pt x="172" y="244"/>
                    </a:lnTo>
                    <a:lnTo>
                      <a:pt x="171" y="245"/>
                    </a:lnTo>
                    <a:lnTo>
                      <a:pt x="172" y="247"/>
                    </a:lnTo>
                    <a:lnTo>
                      <a:pt x="173" y="247"/>
                    </a:lnTo>
                    <a:lnTo>
                      <a:pt x="173" y="245"/>
                    </a:lnTo>
                    <a:lnTo>
                      <a:pt x="175" y="247"/>
                    </a:lnTo>
                    <a:lnTo>
                      <a:pt x="178" y="245"/>
                    </a:lnTo>
                    <a:lnTo>
                      <a:pt x="180" y="248"/>
                    </a:lnTo>
                    <a:lnTo>
                      <a:pt x="180" y="251"/>
                    </a:lnTo>
                    <a:lnTo>
                      <a:pt x="181" y="250"/>
                    </a:lnTo>
                    <a:lnTo>
                      <a:pt x="184" y="250"/>
                    </a:lnTo>
                    <a:lnTo>
                      <a:pt x="187" y="252"/>
                    </a:lnTo>
                    <a:lnTo>
                      <a:pt x="191" y="248"/>
                    </a:lnTo>
                    <a:lnTo>
                      <a:pt x="193" y="249"/>
                    </a:lnTo>
                    <a:lnTo>
                      <a:pt x="195" y="250"/>
                    </a:lnTo>
                    <a:lnTo>
                      <a:pt x="195" y="251"/>
                    </a:lnTo>
                    <a:lnTo>
                      <a:pt x="196" y="253"/>
                    </a:lnTo>
                    <a:lnTo>
                      <a:pt x="199" y="256"/>
                    </a:lnTo>
                    <a:lnTo>
                      <a:pt x="200" y="256"/>
                    </a:lnTo>
                    <a:lnTo>
                      <a:pt x="200" y="253"/>
                    </a:lnTo>
                    <a:lnTo>
                      <a:pt x="203" y="254"/>
                    </a:lnTo>
                    <a:lnTo>
                      <a:pt x="203" y="253"/>
                    </a:lnTo>
                    <a:lnTo>
                      <a:pt x="204" y="253"/>
                    </a:lnTo>
                    <a:lnTo>
                      <a:pt x="206" y="251"/>
                    </a:lnTo>
                    <a:lnTo>
                      <a:pt x="207" y="250"/>
                    </a:lnTo>
                    <a:lnTo>
                      <a:pt x="208" y="249"/>
                    </a:lnTo>
                    <a:lnTo>
                      <a:pt x="210" y="250"/>
                    </a:lnTo>
                    <a:lnTo>
                      <a:pt x="211" y="249"/>
                    </a:lnTo>
                    <a:lnTo>
                      <a:pt x="212" y="247"/>
                    </a:lnTo>
                    <a:lnTo>
                      <a:pt x="212" y="245"/>
                    </a:lnTo>
                    <a:lnTo>
                      <a:pt x="211" y="244"/>
                    </a:lnTo>
                    <a:lnTo>
                      <a:pt x="212" y="243"/>
                    </a:lnTo>
                    <a:lnTo>
                      <a:pt x="211" y="243"/>
                    </a:lnTo>
                    <a:lnTo>
                      <a:pt x="212" y="242"/>
                    </a:lnTo>
                    <a:lnTo>
                      <a:pt x="214" y="243"/>
                    </a:lnTo>
                    <a:lnTo>
                      <a:pt x="214" y="241"/>
                    </a:lnTo>
                    <a:lnTo>
                      <a:pt x="211" y="236"/>
                    </a:lnTo>
                    <a:lnTo>
                      <a:pt x="212" y="233"/>
                    </a:lnTo>
                    <a:lnTo>
                      <a:pt x="214" y="232"/>
                    </a:lnTo>
                    <a:lnTo>
                      <a:pt x="217" y="232"/>
                    </a:lnTo>
                    <a:lnTo>
                      <a:pt x="220" y="233"/>
                    </a:lnTo>
                    <a:lnTo>
                      <a:pt x="222" y="231"/>
                    </a:lnTo>
                    <a:lnTo>
                      <a:pt x="224" y="232"/>
                    </a:lnTo>
                    <a:lnTo>
                      <a:pt x="223" y="233"/>
                    </a:lnTo>
                    <a:lnTo>
                      <a:pt x="224" y="233"/>
                    </a:lnTo>
                    <a:lnTo>
                      <a:pt x="224" y="227"/>
                    </a:lnTo>
                    <a:lnTo>
                      <a:pt x="228" y="227"/>
                    </a:lnTo>
                    <a:lnTo>
                      <a:pt x="229" y="229"/>
                    </a:lnTo>
                    <a:lnTo>
                      <a:pt x="230" y="228"/>
                    </a:lnTo>
                    <a:lnTo>
                      <a:pt x="230" y="227"/>
                    </a:lnTo>
                    <a:lnTo>
                      <a:pt x="232" y="226"/>
                    </a:lnTo>
                    <a:lnTo>
                      <a:pt x="234" y="226"/>
                    </a:lnTo>
                    <a:lnTo>
                      <a:pt x="235" y="225"/>
                    </a:lnTo>
                    <a:lnTo>
                      <a:pt x="235" y="223"/>
                    </a:lnTo>
                    <a:lnTo>
                      <a:pt x="238" y="223"/>
                    </a:lnTo>
                    <a:lnTo>
                      <a:pt x="239" y="223"/>
                    </a:lnTo>
                    <a:lnTo>
                      <a:pt x="240" y="221"/>
                    </a:lnTo>
                    <a:lnTo>
                      <a:pt x="241" y="220"/>
                    </a:lnTo>
                    <a:lnTo>
                      <a:pt x="244" y="222"/>
                    </a:lnTo>
                    <a:lnTo>
                      <a:pt x="246" y="220"/>
                    </a:lnTo>
                    <a:lnTo>
                      <a:pt x="246" y="219"/>
                    </a:lnTo>
                    <a:lnTo>
                      <a:pt x="244" y="219"/>
                    </a:lnTo>
                    <a:lnTo>
                      <a:pt x="245" y="216"/>
                    </a:lnTo>
                    <a:lnTo>
                      <a:pt x="247" y="218"/>
                    </a:lnTo>
                    <a:lnTo>
                      <a:pt x="249" y="218"/>
                    </a:lnTo>
                    <a:lnTo>
                      <a:pt x="249" y="214"/>
                    </a:lnTo>
                    <a:lnTo>
                      <a:pt x="249" y="213"/>
                    </a:lnTo>
                    <a:lnTo>
                      <a:pt x="249" y="214"/>
                    </a:lnTo>
                    <a:lnTo>
                      <a:pt x="251" y="213"/>
                    </a:lnTo>
                    <a:lnTo>
                      <a:pt x="254" y="210"/>
                    </a:lnTo>
                    <a:lnTo>
                      <a:pt x="254" y="213"/>
                    </a:lnTo>
                    <a:lnTo>
                      <a:pt x="254" y="215"/>
                    </a:lnTo>
                    <a:lnTo>
                      <a:pt x="256" y="216"/>
                    </a:lnTo>
                    <a:lnTo>
                      <a:pt x="257" y="215"/>
                    </a:lnTo>
                    <a:lnTo>
                      <a:pt x="259" y="218"/>
                    </a:lnTo>
                    <a:lnTo>
                      <a:pt x="260" y="216"/>
                    </a:lnTo>
                    <a:lnTo>
                      <a:pt x="262" y="218"/>
                    </a:lnTo>
                    <a:lnTo>
                      <a:pt x="262" y="217"/>
                    </a:lnTo>
                    <a:lnTo>
                      <a:pt x="264" y="218"/>
                    </a:lnTo>
                    <a:lnTo>
                      <a:pt x="267" y="216"/>
                    </a:lnTo>
                    <a:lnTo>
                      <a:pt x="267" y="218"/>
                    </a:lnTo>
                    <a:lnTo>
                      <a:pt x="266" y="218"/>
                    </a:lnTo>
                    <a:lnTo>
                      <a:pt x="269" y="219"/>
                    </a:lnTo>
                    <a:lnTo>
                      <a:pt x="270" y="219"/>
                    </a:lnTo>
                    <a:lnTo>
                      <a:pt x="270" y="221"/>
                    </a:lnTo>
                    <a:lnTo>
                      <a:pt x="271" y="221"/>
                    </a:lnTo>
                    <a:lnTo>
                      <a:pt x="271" y="220"/>
                    </a:lnTo>
                    <a:lnTo>
                      <a:pt x="272" y="222"/>
                    </a:lnTo>
                    <a:lnTo>
                      <a:pt x="273" y="222"/>
                    </a:lnTo>
                    <a:lnTo>
                      <a:pt x="273" y="223"/>
                    </a:lnTo>
                    <a:lnTo>
                      <a:pt x="274" y="223"/>
                    </a:lnTo>
                    <a:lnTo>
                      <a:pt x="274" y="226"/>
                    </a:lnTo>
                    <a:lnTo>
                      <a:pt x="275" y="227"/>
                    </a:lnTo>
                    <a:lnTo>
                      <a:pt x="276" y="223"/>
                    </a:lnTo>
                    <a:lnTo>
                      <a:pt x="276" y="225"/>
                    </a:lnTo>
                    <a:lnTo>
                      <a:pt x="276" y="226"/>
                    </a:lnTo>
                    <a:lnTo>
                      <a:pt x="278" y="228"/>
                    </a:lnTo>
                    <a:lnTo>
                      <a:pt x="281" y="233"/>
                    </a:lnTo>
                    <a:lnTo>
                      <a:pt x="285" y="236"/>
                    </a:lnTo>
                    <a:lnTo>
                      <a:pt x="287" y="235"/>
                    </a:lnTo>
                    <a:lnTo>
                      <a:pt x="289" y="234"/>
                    </a:lnTo>
                    <a:lnTo>
                      <a:pt x="287" y="231"/>
                    </a:lnTo>
                    <a:lnTo>
                      <a:pt x="287" y="227"/>
                    </a:lnTo>
                    <a:lnTo>
                      <a:pt x="290" y="223"/>
                    </a:lnTo>
                    <a:lnTo>
                      <a:pt x="292" y="223"/>
                    </a:lnTo>
                    <a:lnTo>
                      <a:pt x="292" y="222"/>
                    </a:lnTo>
                    <a:lnTo>
                      <a:pt x="290" y="216"/>
                    </a:lnTo>
                    <a:lnTo>
                      <a:pt x="292" y="216"/>
                    </a:lnTo>
                    <a:lnTo>
                      <a:pt x="290" y="214"/>
                    </a:lnTo>
                    <a:lnTo>
                      <a:pt x="289" y="214"/>
                    </a:lnTo>
                    <a:lnTo>
                      <a:pt x="290" y="213"/>
                    </a:lnTo>
                    <a:lnTo>
                      <a:pt x="291" y="212"/>
                    </a:lnTo>
                    <a:lnTo>
                      <a:pt x="290" y="210"/>
                    </a:lnTo>
                    <a:lnTo>
                      <a:pt x="292" y="210"/>
                    </a:lnTo>
                    <a:lnTo>
                      <a:pt x="293" y="212"/>
                    </a:lnTo>
                    <a:lnTo>
                      <a:pt x="294" y="213"/>
                    </a:lnTo>
                    <a:lnTo>
                      <a:pt x="295" y="210"/>
                    </a:lnTo>
                    <a:lnTo>
                      <a:pt x="295" y="213"/>
                    </a:lnTo>
                    <a:lnTo>
                      <a:pt x="297" y="213"/>
                    </a:lnTo>
                    <a:lnTo>
                      <a:pt x="297" y="210"/>
                    </a:lnTo>
                    <a:lnTo>
                      <a:pt x="300" y="211"/>
                    </a:lnTo>
                    <a:lnTo>
                      <a:pt x="301" y="210"/>
                    </a:lnTo>
                    <a:lnTo>
                      <a:pt x="303" y="211"/>
                    </a:lnTo>
                    <a:lnTo>
                      <a:pt x="304" y="210"/>
                    </a:lnTo>
                    <a:lnTo>
                      <a:pt x="303" y="206"/>
                    </a:lnTo>
                    <a:lnTo>
                      <a:pt x="303" y="207"/>
                    </a:lnTo>
                    <a:lnTo>
                      <a:pt x="305" y="209"/>
                    </a:lnTo>
                    <a:lnTo>
                      <a:pt x="308" y="208"/>
                    </a:lnTo>
                    <a:lnTo>
                      <a:pt x="308" y="205"/>
                    </a:lnTo>
                    <a:lnTo>
                      <a:pt x="309" y="204"/>
                    </a:lnTo>
                    <a:lnTo>
                      <a:pt x="309" y="202"/>
                    </a:lnTo>
                    <a:lnTo>
                      <a:pt x="309" y="200"/>
                    </a:lnTo>
                    <a:lnTo>
                      <a:pt x="306" y="201"/>
                    </a:lnTo>
                    <a:lnTo>
                      <a:pt x="305" y="199"/>
                    </a:lnTo>
                    <a:lnTo>
                      <a:pt x="309" y="192"/>
                    </a:lnTo>
                    <a:lnTo>
                      <a:pt x="308" y="191"/>
                    </a:lnTo>
                    <a:lnTo>
                      <a:pt x="307" y="190"/>
                    </a:lnTo>
                    <a:lnTo>
                      <a:pt x="309" y="190"/>
                    </a:lnTo>
                    <a:lnTo>
                      <a:pt x="309" y="191"/>
                    </a:lnTo>
                    <a:lnTo>
                      <a:pt x="311" y="192"/>
                    </a:lnTo>
                    <a:lnTo>
                      <a:pt x="312" y="191"/>
                    </a:lnTo>
                    <a:lnTo>
                      <a:pt x="312" y="190"/>
                    </a:lnTo>
                    <a:lnTo>
                      <a:pt x="311" y="190"/>
                    </a:lnTo>
                    <a:lnTo>
                      <a:pt x="311" y="18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0" name="Freeform 91">
                <a:extLst>
                  <a:ext uri="{FF2B5EF4-FFF2-40B4-BE49-F238E27FC236}">
                    <a16:creationId xmlns:a16="http://schemas.microsoft.com/office/drawing/2014/main" id="{0C1F2A65-939B-4B0F-8840-3329366897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" y="2893"/>
                <a:ext cx="313" cy="258"/>
              </a:xfrm>
              <a:custGeom>
                <a:avLst/>
                <a:gdLst>
                  <a:gd name="T0" fmla="*/ 302 w 313"/>
                  <a:gd name="T1" fmla="*/ 176 h 258"/>
                  <a:gd name="T2" fmla="*/ 301 w 313"/>
                  <a:gd name="T3" fmla="*/ 168 h 258"/>
                  <a:gd name="T4" fmla="*/ 311 w 313"/>
                  <a:gd name="T5" fmla="*/ 169 h 258"/>
                  <a:gd name="T6" fmla="*/ 311 w 313"/>
                  <a:gd name="T7" fmla="*/ 156 h 258"/>
                  <a:gd name="T8" fmla="*/ 306 w 313"/>
                  <a:gd name="T9" fmla="*/ 139 h 258"/>
                  <a:gd name="T10" fmla="*/ 306 w 313"/>
                  <a:gd name="T11" fmla="*/ 125 h 258"/>
                  <a:gd name="T12" fmla="*/ 305 w 313"/>
                  <a:gd name="T13" fmla="*/ 111 h 258"/>
                  <a:gd name="T14" fmla="*/ 305 w 313"/>
                  <a:gd name="T15" fmla="*/ 98 h 258"/>
                  <a:gd name="T16" fmla="*/ 305 w 313"/>
                  <a:gd name="T17" fmla="*/ 86 h 258"/>
                  <a:gd name="T18" fmla="*/ 305 w 313"/>
                  <a:gd name="T19" fmla="*/ 65 h 258"/>
                  <a:gd name="T20" fmla="*/ 289 w 313"/>
                  <a:gd name="T21" fmla="*/ 65 h 258"/>
                  <a:gd name="T22" fmla="*/ 277 w 313"/>
                  <a:gd name="T23" fmla="*/ 63 h 258"/>
                  <a:gd name="T24" fmla="*/ 274 w 313"/>
                  <a:gd name="T25" fmla="*/ 50 h 258"/>
                  <a:gd name="T26" fmla="*/ 250 w 313"/>
                  <a:gd name="T27" fmla="*/ 40 h 258"/>
                  <a:gd name="T28" fmla="*/ 228 w 313"/>
                  <a:gd name="T29" fmla="*/ 21 h 258"/>
                  <a:gd name="T30" fmla="*/ 200 w 313"/>
                  <a:gd name="T31" fmla="*/ 4 h 258"/>
                  <a:gd name="T32" fmla="*/ 166 w 313"/>
                  <a:gd name="T33" fmla="*/ 13 h 258"/>
                  <a:gd name="T34" fmla="*/ 140 w 313"/>
                  <a:gd name="T35" fmla="*/ 13 h 258"/>
                  <a:gd name="T36" fmla="*/ 118 w 313"/>
                  <a:gd name="T37" fmla="*/ 19 h 258"/>
                  <a:gd name="T38" fmla="*/ 99 w 313"/>
                  <a:gd name="T39" fmla="*/ 37 h 258"/>
                  <a:gd name="T40" fmla="*/ 85 w 313"/>
                  <a:gd name="T41" fmla="*/ 50 h 258"/>
                  <a:gd name="T42" fmla="*/ 69 w 313"/>
                  <a:gd name="T43" fmla="*/ 74 h 258"/>
                  <a:gd name="T44" fmla="*/ 62 w 313"/>
                  <a:gd name="T45" fmla="*/ 82 h 258"/>
                  <a:gd name="T46" fmla="*/ 61 w 313"/>
                  <a:gd name="T47" fmla="*/ 101 h 258"/>
                  <a:gd name="T48" fmla="*/ 49 w 313"/>
                  <a:gd name="T49" fmla="*/ 107 h 258"/>
                  <a:gd name="T50" fmla="*/ 49 w 313"/>
                  <a:gd name="T51" fmla="*/ 93 h 258"/>
                  <a:gd name="T52" fmla="*/ 47 w 313"/>
                  <a:gd name="T53" fmla="*/ 79 h 258"/>
                  <a:gd name="T54" fmla="*/ 44 w 313"/>
                  <a:gd name="T55" fmla="*/ 70 h 258"/>
                  <a:gd name="T56" fmla="*/ 31 w 313"/>
                  <a:gd name="T57" fmla="*/ 56 h 258"/>
                  <a:gd name="T58" fmla="*/ 15 w 313"/>
                  <a:gd name="T59" fmla="*/ 32 h 258"/>
                  <a:gd name="T60" fmla="*/ 11 w 313"/>
                  <a:gd name="T61" fmla="*/ 40 h 258"/>
                  <a:gd name="T62" fmla="*/ 2 w 313"/>
                  <a:gd name="T63" fmla="*/ 57 h 258"/>
                  <a:gd name="T64" fmla="*/ 12 w 313"/>
                  <a:gd name="T65" fmla="*/ 73 h 258"/>
                  <a:gd name="T66" fmla="*/ 15 w 313"/>
                  <a:gd name="T67" fmla="*/ 84 h 258"/>
                  <a:gd name="T68" fmla="*/ 24 w 313"/>
                  <a:gd name="T69" fmla="*/ 91 h 258"/>
                  <a:gd name="T70" fmla="*/ 22 w 313"/>
                  <a:gd name="T71" fmla="*/ 114 h 258"/>
                  <a:gd name="T72" fmla="*/ 26 w 313"/>
                  <a:gd name="T73" fmla="*/ 138 h 258"/>
                  <a:gd name="T74" fmla="*/ 36 w 313"/>
                  <a:gd name="T75" fmla="*/ 152 h 258"/>
                  <a:gd name="T76" fmla="*/ 47 w 313"/>
                  <a:gd name="T77" fmla="*/ 172 h 258"/>
                  <a:gd name="T78" fmla="*/ 62 w 313"/>
                  <a:gd name="T79" fmla="*/ 187 h 258"/>
                  <a:gd name="T80" fmla="*/ 71 w 313"/>
                  <a:gd name="T81" fmla="*/ 199 h 258"/>
                  <a:gd name="T82" fmla="*/ 87 w 313"/>
                  <a:gd name="T83" fmla="*/ 207 h 258"/>
                  <a:gd name="T84" fmla="*/ 86 w 313"/>
                  <a:gd name="T85" fmla="*/ 229 h 258"/>
                  <a:gd name="T86" fmla="*/ 110 w 313"/>
                  <a:gd name="T87" fmla="*/ 253 h 258"/>
                  <a:gd name="T88" fmla="*/ 130 w 313"/>
                  <a:gd name="T89" fmla="*/ 249 h 258"/>
                  <a:gd name="T90" fmla="*/ 142 w 313"/>
                  <a:gd name="T91" fmla="*/ 246 h 258"/>
                  <a:gd name="T92" fmla="*/ 158 w 313"/>
                  <a:gd name="T93" fmla="*/ 241 h 258"/>
                  <a:gd name="T94" fmla="*/ 172 w 313"/>
                  <a:gd name="T95" fmla="*/ 244 h 258"/>
                  <a:gd name="T96" fmla="*/ 187 w 313"/>
                  <a:gd name="T97" fmla="*/ 252 h 258"/>
                  <a:gd name="T98" fmla="*/ 203 w 313"/>
                  <a:gd name="T99" fmla="*/ 254 h 258"/>
                  <a:gd name="T100" fmla="*/ 212 w 313"/>
                  <a:gd name="T101" fmla="*/ 243 h 258"/>
                  <a:gd name="T102" fmla="*/ 224 w 313"/>
                  <a:gd name="T103" fmla="*/ 232 h 258"/>
                  <a:gd name="T104" fmla="*/ 235 w 313"/>
                  <a:gd name="T105" fmla="*/ 225 h 258"/>
                  <a:gd name="T106" fmla="*/ 245 w 313"/>
                  <a:gd name="T107" fmla="*/ 216 h 258"/>
                  <a:gd name="T108" fmla="*/ 254 w 313"/>
                  <a:gd name="T109" fmla="*/ 215 h 258"/>
                  <a:gd name="T110" fmla="*/ 269 w 313"/>
                  <a:gd name="T111" fmla="*/ 219 h 258"/>
                  <a:gd name="T112" fmla="*/ 274 w 313"/>
                  <a:gd name="T113" fmla="*/ 226 h 258"/>
                  <a:gd name="T114" fmla="*/ 287 w 313"/>
                  <a:gd name="T115" fmla="*/ 231 h 258"/>
                  <a:gd name="T116" fmla="*/ 290 w 313"/>
                  <a:gd name="T117" fmla="*/ 210 h 258"/>
                  <a:gd name="T118" fmla="*/ 303 w 313"/>
                  <a:gd name="T119" fmla="*/ 211 h 258"/>
                  <a:gd name="T120" fmla="*/ 309 w 313"/>
                  <a:gd name="T121" fmla="*/ 200 h 258"/>
                  <a:gd name="T122" fmla="*/ 312 w 313"/>
                  <a:gd name="T123" fmla="*/ 190 h 25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13"/>
                  <a:gd name="T187" fmla="*/ 0 h 258"/>
                  <a:gd name="T188" fmla="*/ 313 w 313"/>
                  <a:gd name="T189" fmla="*/ 258 h 25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13" h="258">
                    <a:moveTo>
                      <a:pt x="311" y="188"/>
                    </a:moveTo>
                    <a:lnTo>
                      <a:pt x="311" y="183"/>
                    </a:lnTo>
                    <a:lnTo>
                      <a:pt x="311" y="182"/>
                    </a:lnTo>
                    <a:lnTo>
                      <a:pt x="308" y="182"/>
                    </a:lnTo>
                    <a:lnTo>
                      <a:pt x="310" y="181"/>
                    </a:lnTo>
                    <a:lnTo>
                      <a:pt x="308" y="179"/>
                    </a:lnTo>
                    <a:lnTo>
                      <a:pt x="307" y="176"/>
                    </a:lnTo>
                    <a:lnTo>
                      <a:pt x="305" y="175"/>
                    </a:lnTo>
                    <a:lnTo>
                      <a:pt x="302" y="176"/>
                    </a:lnTo>
                    <a:lnTo>
                      <a:pt x="300" y="174"/>
                    </a:lnTo>
                    <a:lnTo>
                      <a:pt x="299" y="176"/>
                    </a:lnTo>
                    <a:lnTo>
                      <a:pt x="297" y="173"/>
                    </a:lnTo>
                    <a:lnTo>
                      <a:pt x="296" y="173"/>
                    </a:lnTo>
                    <a:lnTo>
                      <a:pt x="295" y="171"/>
                    </a:lnTo>
                    <a:lnTo>
                      <a:pt x="298" y="171"/>
                    </a:lnTo>
                    <a:lnTo>
                      <a:pt x="298" y="170"/>
                    </a:lnTo>
                    <a:lnTo>
                      <a:pt x="297" y="169"/>
                    </a:lnTo>
                    <a:lnTo>
                      <a:pt x="298" y="168"/>
                    </a:lnTo>
                    <a:lnTo>
                      <a:pt x="301" y="167"/>
                    </a:lnTo>
                    <a:lnTo>
                      <a:pt x="301" y="168"/>
                    </a:lnTo>
                    <a:lnTo>
                      <a:pt x="301" y="167"/>
                    </a:lnTo>
                    <a:lnTo>
                      <a:pt x="305" y="169"/>
                    </a:lnTo>
                    <a:lnTo>
                      <a:pt x="305" y="168"/>
                    </a:lnTo>
                    <a:lnTo>
                      <a:pt x="305" y="169"/>
                    </a:lnTo>
                    <a:lnTo>
                      <a:pt x="306" y="168"/>
                    </a:lnTo>
                    <a:lnTo>
                      <a:pt x="307" y="169"/>
                    </a:lnTo>
                    <a:lnTo>
                      <a:pt x="306" y="169"/>
                    </a:lnTo>
                    <a:lnTo>
                      <a:pt x="309" y="172"/>
                    </a:lnTo>
                    <a:lnTo>
                      <a:pt x="310" y="172"/>
                    </a:lnTo>
                    <a:lnTo>
                      <a:pt x="309" y="169"/>
                    </a:lnTo>
                    <a:lnTo>
                      <a:pt x="311" y="169"/>
                    </a:lnTo>
                    <a:lnTo>
                      <a:pt x="309" y="167"/>
                    </a:lnTo>
                    <a:lnTo>
                      <a:pt x="309" y="166"/>
                    </a:lnTo>
                    <a:lnTo>
                      <a:pt x="306" y="164"/>
                    </a:lnTo>
                    <a:lnTo>
                      <a:pt x="307" y="162"/>
                    </a:lnTo>
                    <a:lnTo>
                      <a:pt x="306" y="162"/>
                    </a:lnTo>
                    <a:lnTo>
                      <a:pt x="308" y="162"/>
                    </a:lnTo>
                    <a:lnTo>
                      <a:pt x="311" y="163"/>
                    </a:lnTo>
                    <a:lnTo>
                      <a:pt x="313" y="158"/>
                    </a:lnTo>
                    <a:lnTo>
                      <a:pt x="309" y="157"/>
                    </a:lnTo>
                    <a:lnTo>
                      <a:pt x="311" y="156"/>
                    </a:lnTo>
                    <a:lnTo>
                      <a:pt x="311" y="153"/>
                    </a:lnTo>
                    <a:lnTo>
                      <a:pt x="311" y="152"/>
                    </a:lnTo>
                    <a:lnTo>
                      <a:pt x="311" y="149"/>
                    </a:lnTo>
                    <a:lnTo>
                      <a:pt x="309" y="146"/>
                    </a:lnTo>
                    <a:lnTo>
                      <a:pt x="310" y="145"/>
                    </a:lnTo>
                    <a:lnTo>
                      <a:pt x="308" y="142"/>
                    </a:lnTo>
                    <a:lnTo>
                      <a:pt x="307" y="142"/>
                    </a:lnTo>
                    <a:lnTo>
                      <a:pt x="306" y="141"/>
                    </a:lnTo>
                    <a:lnTo>
                      <a:pt x="308" y="139"/>
                    </a:lnTo>
                    <a:lnTo>
                      <a:pt x="306" y="139"/>
                    </a:lnTo>
                    <a:lnTo>
                      <a:pt x="303" y="137"/>
                    </a:lnTo>
                    <a:lnTo>
                      <a:pt x="303" y="135"/>
                    </a:lnTo>
                    <a:lnTo>
                      <a:pt x="306" y="135"/>
                    </a:lnTo>
                    <a:lnTo>
                      <a:pt x="306" y="132"/>
                    </a:lnTo>
                    <a:lnTo>
                      <a:pt x="306" y="131"/>
                    </a:lnTo>
                    <a:lnTo>
                      <a:pt x="307" y="131"/>
                    </a:lnTo>
                    <a:lnTo>
                      <a:pt x="306" y="129"/>
                    </a:lnTo>
                    <a:lnTo>
                      <a:pt x="308" y="129"/>
                    </a:lnTo>
                    <a:lnTo>
                      <a:pt x="308" y="128"/>
                    </a:lnTo>
                    <a:lnTo>
                      <a:pt x="306" y="127"/>
                    </a:lnTo>
                    <a:lnTo>
                      <a:pt x="306" y="125"/>
                    </a:lnTo>
                    <a:lnTo>
                      <a:pt x="305" y="125"/>
                    </a:lnTo>
                    <a:lnTo>
                      <a:pt x="303" y="126"/>
                    </a:lnTo>
                    <a:lnTo>
                      <a:pt x="301" y="125"/>
                    </a:lnTo>
                    <a:lnTo>
                      <a:pt x="300" y="122"/>
                    </a:lnTo>
                    <a:lnTo>
                      <a:pt x="301" y="121"/>
                    </a:lnTo>
                    <a:lnTo>
                      <a:pt x="300" y="120"/>
                    </a:lnTo>
                    <a:lnTo>
                      <a:pt x="301" y="119"/>
                    </a:lnTo>
                    <a:lnTo>
                      <a:pt x="303" y="119"/>
                    </a:lnTo>
                    <a:lnTo>
                      <a:pt x="305" y="118"/>
                    </a:lnTo>
                    <a:lnTo>
                      <a:pt x="305" y="115"/>
                    </a:lnTo>
                    <a:lnTo>
                      <a:pt x="305" y="111"/>
                    </a:lnTo>
                    <a:lnTo>
                      <a:pt x="303" y="111"/>
                    </a:lnTo>
                    <a:lnTo>
                      <a:pt x="304" y="108"/>
                    </a:lnTo>
                    <a:lnTo>
                      <a:pt x="305" y="107"/>
                    </a:lnTo>
                    <a:lnTo>
                      <a:pt x="301" y="105"/>
                    </a:lnTo>
                    <a:lnTo>
                      <a:pt x="300" y="105"/>
                    </a:lnTo>
                    <a:lnTo>
                      <a:pt x="301" y="105"/>
                    </a:lnTo>
                    <a:lnTo>
                      <a:pt x="303" y="101"/>
                    </a:lnTo>
                    <a:lnTo>
                      <a:pt x="302" y="100"/>
                    </a:lnTo>
                    <a:lnTo>
                      <a:pt x="303" y="100"/>
                    </a:lnTo>
                    <a:lnTo>
                      <a:pt x="305" y="98"/>
                    </a:lnTo>
                    <a:lnTo>
                      <a:pt x="304" y="98"/>
                    </a:lnTo>
                    <a:lnTo>
                      <a:pt x="304" y="96"/>
                    </a:lnTo>
                    <a:lnTo>
                      <a:pt x="306" y="95"/>
                    </a:lnTo>
                    <a:lnTo>
                      <a:pt x="307" y="93"/>
                    </a:lnTo>
                    <a:lnTo>
                      <a:pt x="305" y="92"/>
                    </a:lnTo>
                    <a:lnTo>
                      <a:pt x="306" y="90"/>
                    </a:lnTo>
                    <a:lnTo>
                      <a:pt x="305" y="90"/>
                    </a:lnTo>
                    <a:lnTo>
                      <a:pt x="305" y="89"/>
                    </a:lnTo>
                    <a:lnTo>
                      <a:pt x="305" y="88"/>
                    </a:lnTo>
                    <a:lnTo>
                      <a:pt x="305" y="86"/>
                    </a:lnTo>
                    <a:lnTo>
                      <a:pt x="306" y="85"/>
                    </a:lnTo>
                    <a:lnTo>
                      <a:pt x="307" y="84"/>
                    </a:lnTo>
                    <a:lnTo>
                      <a:pt x="309" y="84"/>
                    </a:lnTo>
                    <a:lnTo>
                      <a:pt x="309" y="82"/>
                    </a:lnTo>
                    <a:lnTo>
                      <a:pt x="309" y="78"/>
                    </a:lnTo>
                    <a:lnTo>
                      <a:pt x="310" y="77"/>
                    </a:lnTo>
                    <a:lnTo>
                      <a:pt x="308" y="75"/>
                    </a:lnTo>
                    <a:lnTo>
                      <a:pt x="307" y="70"/>
                    </a:lnTo>
                    <a:lnTo>
                      <a:pt x="303" y="67"/>
                    </a:lnTo>
                    <a:lnTo>
                      <a:pt x="305" y="65"/>
                    </a:lnTo>
                    <a:lnTo>
                      <a:pt x="302" y="65"/>
                    </a:lnTo>
                    <a:lnTo>
                      <a:pt x="300" y="67"/>
                    </a:lnTo>
                    <a:lnTo>
                      <a:pt x="298" y="67"/>
                    </a:lnTo>
                    <a:lnTo>
                      <a:pt x="297" y="68"/>
                    </a:lnTo>
                    <a:lnTo>
                      <a:pt x="297" y="67"/>
                    </a:lnTo>
                    <a:lnTo>
                      <a:pt x="293" y="67"/>
                    </a:lnTo>
                    <a:lnTo>
                      <a:pt x="292" y="66"/>
                    </a:lnTo>
                    <a:lnTo>
                      <a:pt x="290" y="66"/>
                    </a:lnTo>
                    <a:lnTo>
                      <a:pt x="290" y="65"/>
                    </a:lnTo>
                    <a:lnTo>
                      <a:pt x="289" y="65"/>
                    </a:lnTo>
                    <a:lnTo>
                      <a:pt x="289" y="63"/>
                    </a:lnTo>
                    <a:lnTo>
                      <a:pt x="285" y="63"/>
                    </a:lnTo>
                    <a:lnTo>
                      <a:pt x="284" y="62"/>
                    </a:lnTo>
                    <a:lnTo>
                      <a:pt x="281" y="63"/>
                    </a:lnTo>
                    <a:lnTo>
                      <a:pt x="281" y="65"/>
                    </a:lnTo>
                    <a:lnTo>
                      <a:pt x="280" y="65"/>
                    </a:lnTo>
                    <a:lnTo>
                      <a:pt x="279" y="66"/>
                    </a:lnTo>
                    <a:lnTo>
                      <a:pt x="277" y="65"/>
                    </a:lnTo>
                    <a:lnTo>
                      <a:pt x="278" y="64"/>
                    </a:lnTo>
                    <a:lnTo>
                      <a:pt x="277" y="63"/>
                    </a:lnTo>
                    <a:lnTo>
                      <a:pt x="276" y="63"/>
                    </a:lnTo>
                    <a:lnTo>
                      <a:pt x="274" y="61"/>
                    </a:lnTo>
                    <a:lnTo>
                      <a:pt x="273" y="62"/>
                    </a:lnTo>
                    <a:lnTo>
                      <a:pt x="273" y="60"/>
                    </a:lnTo>
                    <a:lnTo>
                      <a:pt x="275" y="60"/>
                    </a:lnTo>
                    <a:lnTo>
                      <a:pt x="276" y="56"/>
                    </a:lnTo>
                    <a:lnTo>
                      <a:pt x="279" y="56"/>
                    </a:lnTo>
                    <a:lnTo>
                      <a:pt x="279" y="55"/>
                    </a:lnTo>
                    <a:lnTo>
                      <a:pt x="276" y="50"/>
                    </a:lnTo>
                    <a:lnTo>
                      <a:pt x="276" y="49"/>
                    </a:lnTo>
                    <a:lnTo>
                      <a:pt x="274" y="50"/>
                    </a:lnTo>
                    <a:lnTo>
                      <a:pt x="272" y="49"/>
                    </a:lnTo>
                    <a:lnTo>
                      <a:pt x="269" y="44"/>
                    </a:lnTo>
                    <a:lnTo>
                      <a:pt x="269" y="46"/>
                    </a:lnTo>
                    <a:lnTo>
                      <a:pt x="263" y="44"/>
                    </a:lnTo>
                    <a:lnTo>
                      <a:pt x="262" y="46"/>
                    </a:lnTo>
                    <a:lnTo>
                      <a:pt x="257" y="43"/>
                    </a:lnTo>
                    <a:lnTo>
                      <a:pt x="257" y="39"/>
                    </a:lnTo>
                    <a:lnTo>
                      <a:pt x="254" y="40"/>
                    </a:lnTo>
                    <a:lnTo>
                      <a:pt x="250" y="42"/>
                    </a:lnTo>
                    <a:lnTo>
                      <a:pt x="249" y="41"/>
                    </a:lnTo>
                    <a:lnTo>
                      <a:pt x="250" y="40"/>
                    </a:lnTo>
                    <a:lnTo>
                      <a:pt x="249" y="40"/>
                    </a:lnTo>
                    <a:lnTo>
                      <a:pt x="248" y="39"/>
                    </a:lnTo>
                    <a:lnTo>
                      <a:pt x="244" y="40"/>
                    </a:lnTo>
                    <a:lnTo>
                      <a:pt x="243" y="37"/>
                    </a:lnTo>
                    <a:lnTo>
                      <a:pt x="242" y="34"/>
                    </a:lnTo>
                    <a:lnTo>
                      <a:pt x="238" y="32"/>
                    </a:lnTo>
                    <a:lnTo>
                      <a:pt x="235" y="31"/>
                    </a:lnTo>
                    <a:lnTo>
                      <a:pt x="235" y="28"/>
                    </a:lnTo>
                    <a:lnTo>
                      <a:pt x="230" y="22"/>
                    </a:lnTo>
                    <a:lnTo>
                      <a:pt x="229" y="21"/>
                    </a:lnTo>
                    <a:lnTo>
                      <a:pt x="228" y="21"/>
                    </a:lnTo>
                    <a:lnTo>
                      <a:pt x="225" y="18"/>
                    </a:lnTo>
                    <a:lnTo>
                      <a:pt x="215" y="8"/>
                    </a:lnTo>
                    <a:lnTo>
                      <a:pt x="212" y="4"/>
                    </a:lnTo>
                    <a:lnTo>
                      <a:pt x="207" y="0"/>
                    </a:lnTo>
                    <a:lnTo>
                      <a:pt x="206" y="4"/>
                    </a:lnTo>
                    <a:lnTo>
                      <a:pt x="203" y="7"/>
                    </a:lnTo>
                    <a:lnTo>
                      <a:pt x="203" y="9"/>
                    </a:lnTo>
                    <a:lnTo>
                      <a:pt x="203" y="11"/>
                    </a:lnTo>
                    <a:lnTo>
                      <a:pt x="203" y="13"/>
                    </a:lnTo>
                    <a:lnTo>
                      <a:pt x="202" y="9"/>
                    </a:lnTo>
                    <a:lnTo>
                      <a:pt x="200" y="4"/>
                    </a:lnTo>
                    <a:lnTo>
                      <a:pt x="183" y="9"/>
                    </a:lnTo>
                    <a:lnTo>
                      <a:pt x="181" y="14"/>
                    </a:lnTo>
                    <a:lnTo>
                      <a:pt x="178" y="15"/>
                    </a:lnTo>
                    <a:lnTo>
                      <a:pt x="175" y="19"/>
                    </a:lnTo>
                    <a:lnTo>
                      <a:pt x="173" y="21"/>
                    </a:lnTo>
                    <a:lnTo>
                      <a:pt x="174" y="22"/>
                    </a:lnTo>
                    <a:lnTo>
                      <a:pt x="173" y="24"/>
                    </a:lnTo>
                    <a:lnTo>
                      <a:pt x="171" y="21"/>
                    </a:lnTo>
                    <a:lnTo>
                      <a:pt x="170" y="20"/>
                    </a:lnTo>
                    <a:lnTo>
                      <a:pt x="168" y="17"/>
                    </a:lnTo>
                    <a:lnTo>
                      <a:pt x="166" y="13"/>
                    </a:lnTo>
                    <a:lnTo>
                      <a:pt x="161" y="15"/>
                    </a:lnTo>
                    <a:lnTo>
                      <a:pt x="158" y="15"/>
                    </a:lnTo>
                    <a:lnTo>
                      <a:pt x="157" y="14"/>
                    </a:lnTo>
                    <a:lnTo>
                      <a:pt x="153" y="11"/>
                    </a:lnTo>
                    <a:lnTo>
                      <a:pt x="150" y="11"/>
                    </a:lnTo>
                    <a:lnTo>
                      <a:pt x="150" y="12"/>
                    </a:lnTo>
                    <a:lnTo>
                      <a:pt x="146" y="15"/>
                    </a:lnTo>
                    <a:lnTo>
                      <a:pt x="145" y="15"/>
                    </a:lnTo>
                    <a:lnTo>
                      <a:pt x="144" y="14"/>
                    </a:lnTo>
                    <a:lnTo>
                      <a:pt x="142" y="14"/>
                    </a:lnTo>
                    <a:lnTo>
                      <a:pt x="140" y="13"/>
                    </a:lnTo>
                    <a:lnTo>
                      <a:pt x="139" y="15"/>
                    </a:lnTo>
                    <a:lnTo>
                      <a:pt x="134" y="16"/>
                    </a:lnTo>
                    <a:lnTo>
                      <a:pt x="132" y="16"/>
                    </a:lnTo>
                    <a:lnTo>
                      <a:pt x="131" y="15"/>
                    </a:lnTo>
                    <a:lnTo>
                      <a:pt x="130" y="16"/>
                    </a:lnTo>
                    <a:lnTo>
                      <a:pt x="127" y="14"/>
                    </a:lnTo>
                    <a:lnTo>
                      <a:pt x="126" y="16"/>
                    </a:lnTo>
                    <a:lnTo>
                      <a:pt x="122" y="15"/>
                    </a:lnTo>
                    <a:lnTo>
                      <a:pt x="121" y="14"/>
                    </a:lnTo>
                    <a:lnTo>
                      <a:pt x="121" y="17"/>
                    </a:lnTo>
                    <a:lnTo>
                      <a:pt x="118" y="19"/>
                    </a:lnTo>
                    <a:lnTo>
                      <a:pt x="116" y="22"/>
                    </a:lnTo>
                    <a:lnTo>
                      <a:pt x="114" y="24"/>
                    </a:lnTo>
                    <a:lnTo>
                      <a:pt x="113" y="26"/>
                    </a:lnTo>
                    <a:lnTo>
                      <a:pt x="114" y="33"/>
                    </a:lnTo>
                    <a:lnTo>
                      <a:pt x="113" y="35"/>
                    </a:lnTo>
                    <a:lnTo>
                      <a:pt x="111" y="37"/>
                    </a:lnTo>
                    <a:lnTo>
                      <a:pt x="107" y="32"/>
                    </a:lnTo>
                    <a:lnTo>
                      <a:pt x="104" y="33"/>
                    </a:lnTo>
                    <a:lnTo>
                      <a:pt x="104" y="34"/>
                    </a:lnTo>
                    <a:lnTo>
                      <a:pt x="101" y="36"/>
                    </a:lnTo>
                    <a:lnTo>
                      <a:pt x="99" y="37"/>
                    </a:lnTo>
                    <a:lnTo>
                      <a:pt x="98" y="39"/>
                    </a:lnTo>
                    <a:lnTo>
                      <a:pt x="96" y="40"/>
                    </a:lnTo>
                    <a:lnTo>
                      <a:pt x="97" y="43"/>
                    </a:lnTo>
                    <a:lnTo>
                      <a:pt x="95" y="45"/>
                    </a:lnTo>
                    <a:lnTo>
                      <a:pt x="94" y="44"/>
                    </a:lnTo>
                    <a:lnTo>
                      <a:pt x="93" y="45"/>
                    </a:lnTo>
                    <a:lnTo>
                      <a:pt x="91" y="44"/>
                    </a:lnTo>
                    <a:lnTo>
                      <a:pt x="88" y="44"/>
                    </a:lnTo>
                    <a:lnTo>
                      <a:pt x="86" y="44"/>
                    </a:lnTo>
                    <a:lnTo>
                      <a:pt x="86" y="46"/>
                    </a:lnTo>
                    <a:lnTo>
                      <a:pt x="85" y="50"/>
                    </a:lnTo>
                    <a:lnTo>
                      <a:pt x="86" y="53"/>
                    </a:lnTo>
                    <a:lnTo>
                      <a:pt x="85" y="57"/>
                    </a:lnTo>
                    <a:lnTo>
                      <a:pt x="83" y="59"/>
                    </a:lnTo>
                    <a:lnTo>
                      <a:pt x="80" y="59"/>
                    </a:lnTo>
                    <a:lnTo>
                      <a:pt x="76" y="60"/>
                    </a:lnTo>
                    <a:lnTo>
                      <a:pt x="76" y="61"/>
                    </a:lnTo>
                    <a:lnTo>
                      <a:pt x="75" y="62"/>
                    </a:lnTo>
                    <a:lnTo>
                      <a:pt x="73" y="63"/>
                    </a:lnTo>
                    <a:lnTo>
                      <a:pt x="73" y="67"/>
                    </a:lnTo>
                    <a:lnTo>
                      <a:pt x="70" y="69"/>
                    </a:lnTo>
                    <a:lnTo>
                      <a:pt x="69" y="74"/>
                    </a:lnTo>
                    <a:lnTo>
                      <a:pt x="70" y="77"/>
                    </a:lnTo>
                    <a:lnTo>
                      <a:pt x="70" y="79"/>
                    </a:lnTo>
                    <a:lnTo>
                      <a:pt x="68" y="80"/>
                    </a:lnTo>
                    <a:lnTo>
                      <a:pt x="69" y="81"/>
                    </a:lnTo>
                    <a:lnTo>
                      <a:pt x="67" y="81"/>
                    </a:lnTo>
                    <a:lnTo>
                      <a:pt x="67" y="82"/>
                    </a:lnTo>
                    <a:lnTo>
                      <a:pt x="66" y="78"/>
                    </a:lnTo>
                    <a:lnTo>
                      <a:pt x="63" y="77"/>
                    </a:lnTo>
                    <a:lnTo>
                      <a:pt x="63" y="79"/>
                    </a:lnTo>
                    <a:lnTo>
                      <a:pt x="62" y="81"/>
                    </a:lnTo>
                    <a:lnTo>
                      <a:pt x="62" y="82"/>
                    </a:lnTo>
                    <a:lnTo>
                      <a:pt x="62" y="85"/>
                    </a:lnTo>
                    <a:lnTo>
                      <a:pt x="62" y="88"/>
                    </a:lnTo>
                    <a:lnTo>
                      <a:pt x="62" y="90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59" y="94"/>
                    </a:lnTo>
                    <a:lnTo>
                      <a:pt x="59" y="97"/>
                    </a:lnTo>
                    <a:lnTo>
                      <a:pt x="61" y="97"/>
                    </a:lnTo>
                    <a:lnTo>
                      <a:pt x="60" y="99"/>
                    </a:lnTo>
                    <a:lnTo>
                      <a:pt x="61" y="101"/>
                    </a:lnTo>
                    <a:lnTo>
                      <a:pt x="61" y="103"/>
                    </a:lnTo>
                    <a:lnTo>
                      <a:pt x="59" y="103"/>
                    </a:lnTo>
                    <a:lnTo>
                      <a:pt x="58" y="105"/>
                    </a:lnTo>
                    <a:lnTo>
                      <a:pt x="57" y="105"/>
                    </a:lnTo>
                    <a:lnTo>
                      <a:pt x="58" y="107"/>
                    </a:lnTo>
                    <a:lnTo>
                      <a:pt x="58" y="108"/>
                    </a:lnTo>
                    <a:lnTo>
                      <a:pt x="60" y="110"/>
                    </a:lnTo>
                    <a:lnTo>
                      <a:pt x="59" y="111"/>
                    </a:lnTo>
                    <a:lnTo>
                      <a:pt x="54" y="109"/>
                    </a:lnTo>
                    <a:lnTo>
                      <a:pt x="50" y="107"/>
                    </a:lnTo>
                    <a:lnTo>
                      <a:pt x="49" y="107"/>
                    </a:lnTo>
                    <a:lnTo>
                      <a:pt x="47" y="106"/>
                    </a:lnTo>
                    <a:lnTo>
                      <a:pt x="49" y="103"/>
                    </a:lnTo>
                    <a:lnTo>
                      <a:pt x="48" y="101"/>
                    </a:lnTo>
                    <a:lnTo>
                      <a:pt x="47" y="102"/>
                    </a:lnTo>
                    <a:lnTo>
                      <a:pt x="47" y="99"/>
                    </a:lnTo>
                    <a:lnTo>
                      <a:pt x="45" y="100"/>
                    </a:lnTo>
                    <a:lnTo>
                      <a:pt x="45" y="98"/>
                    </a:lnTo>
                    <a:lnTo>
                      <a:pt x="45" y="96"/>
                    </a:lnTo>
                    <a:lnTo>
                      <a:pt x="45" y="95"/>
                    </a:lnTo>
                    <a:lnTo>
                      <a:pt x="49" y="94"/>
                    </a:lnTo>
                    <a:lnTo>
                      <a:pt x="49" y="93"/>
                    </a:lnTo>
                    <a:lnTo>
                      <a:pt x="48" y="92"/>
                    </a:lnTo>
                    <a:lnTo>
                      <a:pt x="49" y="91"/>
                    </a:lnTo>
                    <a:lnTo>
                      <a:pt x="47" y="91"/>
                    </a:lnTo>
                    <a:lnTo>
                      <a:pt x="48" y="89"/>
                    </a:lnTo>
                    <a:lnTo>
                      <a:pt x="51" y="86"/>
                    </a:lnTo>
                    <a:lnTo>
                      <a:pt x="49" y="84"/>
                    </a:lnTo>
                    <a:lnTo>
                      <a:pt x="47" y="84"/>
                    </a:lnTo>
                    <a:lnTo>
                      <a:pt x="49" y="84"/>
                    </a:lnTo>
                    <a:lnTo>
                      <a:pt x="48" y="84"/>
                    </a:lnTo>
                    <a:lnTo>
                      <a:pt x="50" y="84"/>
                    </a:lnTo>
                    <a:lnTo>
                      <a:pt x="47" y="79"/>
                    </a:lnTo>
                    <a:lnTo>
                      <a:pt x="45" y="80"/>
                    </a:lnTo>
                    <a:lnTo>
                      <a:pt x="44" y="78"/>
                    </a:lnTo>
                    <a:lnTo>
                      <a:pt x="42" y="76"/>
                    </a:lnTo>
                    <a:lnTo>
                      <a:pt x="42" y="74"/>
                    </a:lnTo>
                    <a:lnTo>
                      <a:pt x="39" y="71"/>
                    </a:lnTo>
                    <a:lnTo>
                      <a:pt x="40" y="70"/>
                    </a:lnTo>
                    <a:lnTo>
                      <a:pt x="42" y="68"/>
                    </a:lnTo>
                    <a:lnTo>
                      <a:pt x="41" y="66"/>
                    </a:lnTo>
                    <a:lnTo>
                      <a:pt x="42" y="68"/>
                    </a:lnTo>
                    <a:lnTo>
                      <a:pt x="44" y="70"/>
                    </a:lnTo>
                    <a:lnTo>
                      <a:pt x="46" y="71"/>
                    </a:lnTo>
                    <a:lnTo>
                      <a:pt x="45" y="69"/>
                    </a:lnTo>
                    <a:lnTo>
                      <a:pt x="46" y="67"/>
                    </a:lnTo>
                    <a:lnTo>
                      <a:pt x="45" y="65"/>
                    </a:lnTo>
                    <a:lnTo>
                      <a:pt x="44" y="61"/>
                    </a:lnTo>
                    <a:lnTo>
                      <a:pt x="42" y="61"/>
                    </a:lnTo>
                    <a:lnTo>
                      <a:pt x="39" y="61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1" y="57"/>
                    </a:lnTo>
                    <a:lnTo>
                      <a:pt x="31" y="56"/>
                    </a:lnTo>
                    <a:lnTo>
                      <a:pt x="32" y="50"/>
                    </a:lnTo>
                    <a:lnTo>
                      <a:pt x="31" y="48"/>
                    </a:lnTo>
                    <a:lnTo>
                      <a:pt x="33" y="40"/>
                    </a:lnTo>
                    <a:lnTo>
                      <a:pt x="32" y="41"/>
                    </a:lnTo>
                    <a:lnTo>
                      <a:pt x="31" y="39"/>
                    </a:lnTo>
                    <a:lnTo>
                      <a:pt x="29" y="38"/>
                    </a:lnTo>
                    <a:lnTo>
                      <a:pt x="29" y="36"/>
                    </a:lnTo>
                    <a:lnTo>
                      <a:pt x="29" y="33"/>
                    </a:lnTo>
                    <a:lnTo>
                      <a:pt x="24" y="33"/>
                    </a:lnTo>
                    <a:lnTo>
                      <a:pt x="20" y="31"/>
                    </a:lnTo>
                    <a:lnTo>
                      <a:pt x="15" y="32"/>
                    </a:lnTo>
                    <a:lnTo>
                      <a:pt x="13" y="33"/>
                    </a:lnTo>
                    <a:lnTo>
                      <a:pt x="10" y="33"/>
                    </a:lnTo>
                    <a:lnTo>
                      <a:pt x="11" y="31"/>
                    </a:lnTo>
                    <a:lnTo>
                      <a:pt x="10" y="31"/>
                    </a:lnTo>
                    <a:lnTo>
                      <a:pt x="9" y="29"/>
                    </a:lnTo>
                    <a:lnTo>
                      <a:pt x="7" y="31"/>
                    </a:lnTo>
                    <a:lnTo>
                      <a:pt x="8" y="33"/>
                    </a:lnTo>
                    <a:lnTo>
                      <a:pt x="10" y="34"/>
                    </a:lnTo>
                    <a:lnTo>
                      <a:pt x="13" y="37"/>
                    </a:lnTo>
                    <a:lnTo>
                      <a:pt x="13" y="38"/>
                    </a:lnTo>
                    <a:lnTo>
                      <a:pt x="11" y="40"/>
                    </a:lnTo>
                    <a:lnTo>
                      <a:pt x="11" y="44"/>
                    </a:lnTo>
                    <a:lnTo>
                      <a:pt x="14" y="49"/>
                    </a:lnTo>
                    <a:lnTo>
                      <a:pt x="14" y="50"/>
                    </a:lnTo>
                    <a:lnTo>
                      <a:pt x="15" y="51"/>
                    </a:lnTo>
                    <a:lnTo>
                      <a:pt x="14" y="53"/>
                    </a:lnTo>
                    <a:lnTo>
                      <a:pt x="10" y="55"/>
                    </a:lnTo>
                    <a:lnTo>
                      <a:pt x="9" y="55"/>
                    </a:lnTo>
                    <a:lnTo>
                      <a:pt x="9" y="56"/>
                    </a:lnTo>
                    <a:lnTo>
                      <a:pt x="7" y="55"/>
                    </a:lnTo>
                    <a:lnTo>
                      <a:pt x="5" y="56"/>
                    </a:lnTo>
                    <a:lnTo>
                      <a:pt x="2" y="57"/>
                    </a:lnTo>
                    <a:lnTo>
                      <a:pt x="4" y="59"/>
                    </a:lnTo>
                    <a:lnTo>
                      <a:pt x="3" y="60"/>
                    </a:lnTo>
                    <a:lnTo>
                      <a:pt x="2" y="61"/>
                    </a:lnTo>
                    <a:lnTo>
                      <a:pt x="0" y="61"/>
                    </a:lnTo>
                    <a:lnTo>
                      <a:pt x="0" y="62"/>
                    </a:lnTo>
                    <a:lnTo>
                      <a:pt x="2" y="65"/>
                    </a:lnTo>
                    <a:lnTo>
                      <a:pt x="4" y="65"/>
                    </a:lnTo>
                    <a:lnTo>
                      <a:pt x="4" y="68"/>
                    </a:lnTo>
                    <a:lnTo>
                      <a:pt x="8" y="72"/>
                    </a:lnTo>
                    <a:lnTo>
                      <a:pt x="12" y="74"/>
                    </a:lnTo>
                    <a:lnTo>
                      <a:pt x="12" y="73"/>
                    </a:lnTo>
                    <a:lnTo>
                      <a:pt x="15" y="72"/>
                    </a:lnTo>
                    <a:lnTo>
                      <a:pt x="15" y="73"/>
                    </a:lnTo>
                    <a:lnTo>
                      <a:pt x="12" y="74"/>
                    </a:lnTo>
                    <a:lnTo>
                      <a:pt x="15" y="75"/>
                    </a:lnTo>
                    <a:lnTo>
                      <a:pt x="16" y="77"/>
                    </a:lnTo>
                    <a:lnTo>
                      <a:pt x="15" y="78"/>
                    </a:lnTo>
                    <a:lnTo>
                      <a:pt x="17" y="78"/>
                    </a:lnTo>
                    <a:lnTo>
                      <a:pt x="16" y="80"/>
                    </a:lnTo>
                    <a:lnTo>
                      <a:pt x="17" y="80"/>
                    </a:lnTo>
                    <a:lnTo>
                      <a:pt x="15" y="82"/>
                    </a:lnTo>
                    <a:lnTo>
                      <a:pt x="15" y="84"/>
                    </a:lnTo>
                    <a:lnTo>
                      <a:pt x="17" y="83"/>
                    </a:lnTo>
                    <a:lnTo>
                      <a:pt x="20" y="84"/>
                    </a:lnTo>
                    <a:lnTo>
                      <a:pt x="20" y="88"/>
                    </a:lnTo>
                    <a:lnTo>
                      <a:pt x="21" y="88"/>
                    </a:lnTo>
                    <a:lnTo>
                      <a:pt x="21" y="89"/>
                    </a:lnTo>
                    <a:lnTo>
                      <a:pt x="20" y="90"/>
                    </a:lnTo>
                    <a:lnTo>
                      <a:pt x="22" y="90"/>
                    </a:lnTo>
                    <a:lnTo>
                      <a:pt x="23" y="91"/>
                    </a:lnTo>
                    <a:lnTo>
                      <a:pt x="24" y="91"/>
                    </a:lnTo>
                    <a:lnTo>
                      <a:pt x="22" y="91"/>
                    </a:lnTo>
                    <a:lnTo>
                      <a:pt x="21" y="93"/>
                    </a:lnTo>
                    <a:lnTo>
                      <a:pt x="25" y="97"/>
                    </a:lnTo>
                    <a:lnTo>
                      <a:pt x="25" y="101"/>
                    </a:lnTo>
                    <a:lnTo>
                      <a:pt x="25" y="103"/>
                    </a:lnTo>
                    <a:lnTo>
                      <a:pt x="25" y="105"/>
                    </a:lnTo>
                    <a:lnTo>
                      <a:pt x="27" y="107"/>
                    </a:lnTo>
                    <a:lnTo>
                      <a:pt x="25" y="110"/>
                    </a:lnTo>
                    <a:lnTo>
                      <a:pt x="21" y="113"/>
                    </a:lnTo>
                    <a:lnTo>
                      <a:pt x="22" y="114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9" y="118"/>
                    </a:lnTo>
                    <a:lnTo>
                      <a:pt x="20" y="120"/>
                    </a:lnTo>
                    <a:lnTo>
                      <a:pt x="19" y="127"/>
                    </a:lnTo>
                    <a:lnTo>
                      <a:pt x="20" y="130"/>
                    </a:lnTo>
                    <a:lnTo>
                      <a:pt x="19" y="132"/>
                    </a:lnTo>
                    <a:lnTo>
                      <a:pt x="20" y="135"/>
                    </a:lnTo>
                    <a:lnTo>
                      <a:pt x="21" y="137"/>
                    </a:lnTo>
                    <a:lnTo>
                      <a:pt x="24" y="137"/>
                    </a:lnTo>
                    <a:lnTo>
                      <a:pt x="26" y="138"/>
                    </a:lnTo>
                    <a:lnTo>
                      <a:pt x="25" y="140"/>
                    </a:lnTo>
                    <a:lnTo>
                      <a:pt x="26" y="142"/>
                    </a:lnTo>
                    <a:lnTo>
                      <a:pt x="28" y="141"/>
                    </a:lnTo>
                    <a:lnTo>
                      <a:pt x="29" y="141"/>
                    </a:lnTo>
                    <a:lnTo>
                      <a:pt x="29" y="142"/>
                    </a:lnTo>
                    <a:lnTo>
                      <a:pt x="29" y="144"/>
                    </a:lnTo>
                    <a:lnTo>
                      <a:pt x="31" y="145"/>
                    </a:lnTo>
                    <a:lnTo>
                      <a:pt x="31" y="146"/>
                    </a:lnTo>
                    <a:lnTo>
                      <a:pt x="33" y="148"/>
                    </a:lnTo>
                    <a:lnTo>
                      <a:pt x="34" y="150"/>
                    </a:lnTo>
                    <a:lnTo>
                      <a:pt x="36" y="152"/>
                    </a:lnTo>
                    <a:lnTo>
                      <a:pt x="31" y="158"/>
                    </a:lnTo>
                    <a:lnTo>
                      <a:pt x="31" y="160"/>
                    </a:lnTo>
                    <a:lnTo>
                      <a:pt x="34" y="159"/>
                    </a:lnTo>
                    <a:lnTo>
                      <a:pt x="36" y="162"/>
                    </a:lnTo>
                    <a:lnTo>
                      <a:pt x="41" y="162"/>
                    </a:lnTo>
                    <a:lnTo>
                      <a:pt x="45" y="163"/>
                    </a:lnTo>
                    <a:lnTo>
                      <a:pt x="45" y="165"/>
                    </a:lnTo>
                    <a:lnTo>
                      <a:pt x="46" y="165"/>
                    </a:lnTo>
                    <a:lnTo>
                      <a:pt x="46" y="167"/>
                    </a:lnTo>
                    <a:lnTo>
                      <a:pt x="45" y="168"/>
                    </a:lnTo>
                    <a:lnTo>
                      <a:pt x="47" y="172"/>
                    </a:lnTo>
                    <a:lnTo>
                      <a:pt x="47" y="175"/>
                    </a:lnTo>
                    <a:lnTo>
                      <a:pt x="48" y="175"/>
                    </a:lnTo>
                    <a:lnTo>
                      <a:pt x="50" y="173"/>
                    </a:lnTo>
                    <a:lnTo>
                      <a:pt x="53" y="173"/>
                    </a:lnTo>
                    <a:lnTo>
                      <a:pt x="53" y="175"/>
                    </a:lnTo>
                    <a:lnTo>
                      <a:pt x="53" y="176"/>
                    </a:lnTo>
                    <a:lnTo>
                      <a:pt x="57" y="182"/>
                    </a:lnTo>
                    <a:lnTo>
                      <a:pt x="58" y="184"/>
                    </a:lnTo>
                    <a:lnTo>
                      <a:pt x="60" y="184"/>
                    </a:lnTo>
                    <a:lnTo>
                      <a:pt x="60" y="186"/>
                    </a:lnTo>
                    <a:lnTo>
                      <a:pt x="62" y="187"/>
                    </a:lnTo>
                    <a:lnTo>
                      <a:pt x="66" y="187"/>
                    </a:lnTo>
                    <a:lnTo>
                      <a:pt x="66" y="188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66" y="192"/>
                    </a:lnTo>
                    <a:lnTo>
                      <a:pt x="70" y="192"/>
                    </a:lnTo>
                    <a:lnTo>
                      <a:pt x="71" y="194"/>
                    </a:lnTo>
                    <a:lnTo>
                      <a:pt x="73" y="194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1" y="199"/>
                    </a:lnTo>
                    <a:lnTo>
                      <a:pt x="72" y="201"/>
                    </a:lnTo>
                    <a:lnTo>
                      <a:pt x="72" y="203"/>
                    </a:lnTo>
                    <a:lnTo>
                      <a:pt x="75" y="202"/>
                    </a:lnTo>
                    <a:lnTo>
                      <a:pt x="76" y="201"/>
                    </a:lnTo>
                    <a:lnTo>
                      <a:pt x="78" y="200"/>
                    </a:lnTo>
                    <a:lnTo>
                      <a:pt x="79" y="199"/>
                    </a:lnTo>
                    <a:lnTo>
                      <a:pt x="80" y="199"/>
                    </a:lnTo>
                    <a:lnTo>
                      <a:pt x="83" y="202"/>
                    </a:lnTo>
                    <a:lnTo>
                      <a:pt x="82" y="203"/>
                    </a:lnTo>
                    <a:lnTo>
                      <a:pt x="84" y="206"/>
                    </a:lnTo>
                    <a:lnTo>
                      <a:pt x="87" y="207"/>
                    </a:lnTo>
                    <a:lnTo>
                      <a:pt x="89" y="211"/>
                    </a:lnTo>
                    <a:lnTo>
                      <a:pt x="88" y="213"/>
                    </a:lnTo>
                    <a:lnTo>
                      <a:pt x="86" y="217"/>
                    </a:lnTo>
                    <a:lnTo>
                      <a:pt x="83" y="217"/>
                    </a:lnTo>
                    <a:lnTo>
                      <a:pt x="83" y="218"/>
                    </a:lnTo>
                    <a:lnTo>
                      <a:pt x="80" y="221"/>
                    </a:lnTo>
                    <a:lnTo>
                      <a:pt x="80" y="223"/>
                    </a:lnTo>
                    <a:lnTo>
                      <a:pt x="81" y="227"/>
                    </a:lnTo>
                    <a:lnTo>
                      <a:pt x="85" y="228"/>
                    </a:lnTo>
                    <a:lnTo>
                      <a:pt x="85" y="229"/>
                    </a:lnTo>
                    <a:lnTo>
                      <a:pt x="86" y="229"/>
                    </a:lnTo>
                    <a:lnTo>
                      <a:pt x="87" y="232"/>
                    </a:lnTo>
                    <a:lnTo>
                      <a:pt x="90" y="233"/>
                    </a:lnTo>
                    <a:lnTo>
                      <a:pt x="93" y="233"/>
                    </a:lnTo>
                    <a:lnTo>
                      <a:pt x="95" y="236"/>
                    </a:lnTo>
                    <a:lnTo>
                      <a:pt x="98" y="237"/>
                    </a:lnTo>
                    <a:lnTo>
                      <a:pt x="98" y="238"/>
                    </a:lnTo>
                    <a:lnTo>
                      <a:pt x="98" y="245"/>
                    </a:lnTo>
                    <a:lnTo>
                      <a:pt x="102" y="247"/>
                    </a:lnTo>
                    <a:lnTo>
                      <a:pt x="106" y="247"/>
                    </a:lnTo>
                    <a:lnTo>
                      <a:pt x="109" y="250"/>
                    </a:lnTo>
                    <a:lnTo>
                      <a:pt x="110" y="253"/>
                    </a:lnTo>
                    <a:lnTo>
                      <a:pt x="111" y="250"/>
                    </a:lnTo>
                    <a:lnTo>
                      <a:pt x="114" y="252"/>
                    </a:lnTo>
                    <a:lnTo>
                      <a:pt x="114" y="247"/>
                    </a:lnTo>
                    <a:lnTo>
                      <a:pt x="116" y="247"/>
                    </a:lnTo>
                    <a:lnTo>
                      <a:pt x="118" y="247"/>
                    </a:lnTo>
                    <a:lnTo>
                      <a:pt x="118" y="245"/>
                    </a:lnTo>
                    <a:lnTo>
                      <a:pt x="119" y="246"/>
                    </a:lnTo>
                    <a:lnTo>
                      <a:pt x="119" y="244"/>
                    </a:lnTo>
                    <a:lnTo>
                      <a:pt x="124" y="244"/>
                    </a:lnTo>
                    <a:lnTo>
                      <a:pt x="128" y="247"/>
                    </a:lnTo>
                    <a:lnTo>
                      <a:pt x="130" y="249"/>
                    </a:lnTo>
                    <a:lnTo>
                      <a:pt x="130" y="255"/>
                    </a:lnTo>
                    <a:lnTo>
                      <a:pt x="130" y="256"/>
                    </a:lnTo>
                    <a:lnTo>
                      <a:pt x="130" y="257"/>
                    </a:lnTo>
                    <a:lnTo>
                      <a:pt x="133" y="258"/>
                    </a:lnTo>
                    <a:lnTo>
                      <a:pt x="133" y="256"/>
                    </a:lnTo>
                    <a:lnTo>
                      <a:pt x="133" y="252"/>
                    </a:lnTo>
                    <a:lnTo>
                      <a:pt x="132" y="250"/>
                    </a:lnTo>
                    <a:lnTo>
                      <a:pt x="137" y="249"/>
                    </a:lnTo>
                    <a:lnTo>
                      <a:pt x="142" y="250"/>
                    </a:lnTo>
                    <a:lnTo>
                      <a:pt x="142" y="246"/>
                    </a:lnTo>
                    <a:lnTo>
                      <a:pt x="140" y="243"/>
                    </a:lnTo>
                    <a:lnTo>
                      <a:pt x="141" y="243"/>
                    </a:lnTo>
                    <a:lnTo>
                      <a:pt x="143" y="244"/>
                    </a:lnTo>
                    <a:lnTo>
                      <a:pt x="146" y="246"/>
                    </a:lnTo>
                    <a:lnTo>
                      <a:pt x="148" y="246"/>
                    </a:lnTo>
                    <a:lnTo>
                      <a:pt x="151" y="243"/>
                    </a:lnTo>
                    <a:lnTo>
                      <a:pt x="152" y="241"/>
                    </a:lnTo>
                    <a:lnTo>
                      <a:pt x="154" y="243"/>
                    </a:lnTo>
                    <a:lnTo>
                      <a:pt x="157" y="243"/>
                    </a:lnTo>
                    <a:lnTo>
                      <a:pt x="157" y="242"/>
                    </a:lnTo>
                    <a:lnTo>
                      <a:pt x="158" y="241"/>
                    </a:lnTo>
                    <a:lnTo>
                      <a:pt x="158" y="243"/>
                    </a:lnTo>
                    <a:lnTo>
                      <a:pt x="160" y="244"/>
                    </a:lnTo>
                    <a:lnTo>
                      <a:pt x="162" y="243"/>
                    </a:lnTo>
                    <a:lnTo>
                      <a:pt x="164" y="242"/>
                    </a:lnTo>
                    <a:lnTo>
                      <a:pt x="165" y="240"/>
                    </a:lnTo>
                    <a:lnTo>
                      <a:pt x="167" y="240"/>
                    </a:lnTo>
                    <a:lnTo>
                      <a:pt x="168" y="242"/>
                    </a:lnTo>
                    <a:lnTo>
                      <a:pt x="170" y="242"/>
                    </a:lnTo>
                    <a:lnTo>
                      <a:pt x="171" y="243"/>
                    </a:lnTo>
                    <a:lnTo>
                      <a:pt x="171" y="244"/>
                    </a:lnTo>
                    <a:lnTo>
                      <a:pt x="172" y="244"/>
                    </a:lnTo>
                    <a:lnTo>
                      <a:pt x="171" y="245"/>
                    </a:lnTo>
                    <a:lnTo>
                      <a:pt x="172" y="247"/>
                    </a:lnTo>
                    <a:lnTo>
                      <a:pt x="173" y="247"/>
                    </a:lnTo>
                    <a:lnTo>
                      <a:pt x="173" y="245"/>
                    </a:lnTo>
                    <a:lnTo>
                      <a:pt x="175" y="247"/>
                    </a:lnTo>
                    <a:lnTo>
                      <a:pt x="178" y="245"/>
                    </a:lnTo>
                    <a:lnTo>
                      <a:pt x="180" y="248"/>
                    </a:lnTo>
                    <a:lnTo>
                      <a:pt x="180" y="251"/>
                    </a:lnTo>
                    <a:lnTo>
                      <a:pt x="181" y="250"/>
                    </a:lnTo>
                    <a:lnTo>
                      <a:pt x="184" y="250"/>
                    </a:lnTo>
                    <a:lnTo>
                      <a:pt x="187" y="252"/>
                    </a:lnTo>
                    <a:lnTo>
                      <a:pt x="191" y="248"/>
                    </a:lnTo>
                    <a:lnTo>
                      <a:pt x="193" y="249"/>
                    </a:lnTo>
                    <a:lnTo>
                      <a:pt x="195" y="250"/>
                    </a:lnTo>
                    <a:lnTo>
                      <a:pt x="195" y="251"/>
                    </a:lnTo>
                    <a:lnTo>
                      <a:pt x="196" y="253"/>
                    </a:lnTo>
                    <a:lnTo>
                      <a:pt x="199" y="256"/>
                    </a:lnTo>
                    <a:lnTo>
                      <a:pt x="200" y="256"/>
                    </a:lnTo>
                    <a:lnTo>
                      <a:pt x="200" y="253"/>
                    </a:lnTo>
                    <a:lnTo>
                      <a:pt x="203" y="254"/>
                    </a:lnTo>
                    <a:lnTo>
                      <a:pt x="203" y="253"/>
                    </a:lnTo>
                    <a:lnTo>
                      <a:pt x="204" y="253"/>
                    </a:lnTo>
                    <a:lnTo>
                      <a:pt x="206" y="251"/>
                    </a:lnTo>
                    <a:lnTo>
                      <a:pt x="207" y="250"/>
                    </a:lnTo>
                    <a:lnTo>
                      <a:pt x="208" y="249"/>
                    </a:lnTo>
                    <a:lnTo>
                      <a:pt x="210" y="250"/>
                    </a:lnTo>
                    <a:lnTo>
                      <a:pt x="211" y="249"/>
                    </a:lnTo>
                    <a:lnTo>
                      <a:pt x="212" y="247"/>
                    </a:lnTo>
                    <a:lnTo>
                      <a:pt x="212" y="245"/>
                    </a:lnTo>
                    <a:lnTo>
                      <a:pt x="211" y="244"/>
                    </a:lnTo>
                    <a:lnTo>
                      <a:pt x="212" y="243"/>
                    </a:lnTo>
                    <a:lnTo>
                      <a:pt x="211" y="243"/>
                    </a:lnTo>
                    <a:lnTo>
                      <a:pt x="212" y="242"/>
                    </a:lnTo>
                    <a:lnTo>
                      <a:pt x="214" y="243"/>
                    </a:lnTo>
                    <a:lnTo>
                      <a:pt x="214" y="241"/>
                    </a:lnTo>
                    <a:lnTo>
                      <a:pt x="211" y="236"/>
                    </a:lnTo>
                    <a:lnTo>
                      <a:pt x="212" y="233"/>
                    </a:lnTo>
                    <a:lnTo>
                      <a:pt x="214" y="232"/>
                    </a:lnTo>
                    <a:lnTo>
                      <a:pt x="217" y="232"/>
                    </a:lnTo>
                    <a:lnTo>
                      <a:pt x="220" y="233"/>
                    </a:lnTo>
                    <a:lnTo>
                      <a:pt x="222" y="231"/>
                    </a:lnTo>
                    <a:lnTo>
                      <a:pt x="224" y="232"/>
                    </a:lnTo>
                    <a:lnTo>
                      <a:pt x="223" y="233"/>
                    </a:lnTo>
                    <a:lnTo>
                      <a:pt x="224" y="233"/>
                    </a:lnTo>
                    <a:lnTo>
                      <a:pt x="224" y="227"/>
                    </a:lnTo>
                    <a:lnTo>
                      <a:pt x="228" y="227"/>
                    </a:lnTo>
                    <a:lnTo>
                      <a:pt x="229" y="229"/>
                    </a:lnTo>
                    <a:lnTo>
                      <a:pt x="230" y="228"/>
                    </a:lnTo>
                    <a:lnTo>
                      <a:pt x="230" y="227"/>
                    </a:lnTo>
                    <a:lnTo>
                      <a:pt x="232" y="226"/>
                    </a:lnTo>
                    <a:lnTo>
                      <a:pt x="234" y="226"/>
                    </a:lnTo>
                    <a:lnTo>
                      <a:pt x="235" y="225"/>
                    </a:lnTo>
                    <a:lnTo>
                      <a:pt x="235" y="223"/>
                    </a:lnTo>
                    <a:lnTo>
                      <a:pt x="238" y="223"/>
                    </a:lnTo>
                    <a:lnTo>
                      <a:pt x="239" y="223"/>
                    </a:lnTo>
                    <a:lnTo>
                      <a:pt x="240" y="221"/>
                    </a:lnTo>
                    <a:lnTo>
                      <a:pt x="241" y="220"/>
                    </a:lnTo>
                    <a:lnTo>
                      <a:pt x="244" y="222"/>
                    </a:lnTo>
                    <a:lnTo>
                      <a:pt x="246" y="220"/>
                    </a:lnTo>
                    <a:lnTo>
                      <a:pt x="246" y="219"/>
                    </a:lnTo>
                    <a:lnTo>
                      <a:pt x="244" y="219"/>
                    </a:lnTo>
                    <a:lnTo>
                      <a:pt x="245" y="216"/>
                    </a:lnTo>
                    <a:lnTo>
                      <a:pt x="247" y="218"/>
                    </a:lnTo>
                    <a:lnTo>
                      <a:pt x="249" y="218"/>
                    </a:lnTo>
                    <a:lnTo>
                      <a:pt x="249" y="214"/>
                    </a:lnTo>
                    <a:lnTo>
                      <a:pt x="249" y="213"/>
                    </a:lnTo>
                    <a:lnTo>
                      <a:pt x="249" y="214"/>
                    </a:lnTo>
                    <a:lnTo>
                      <a:pt x="251" y="213"/>
                    </a:lnTo>
                    <a:lnTo>
                      <a:pt x="254" y="210"/>
                    </a:lnTo>
                    <a:lnTo>
                      <a:pt x="254" y="213"/>
                    </a:lnTo>
                    <a:lnTo>
                      <a:pt x="254" y="215"/>
                    </a:lnTo>
                    <a:lnTo>
                      <a:pt x="256" y="216"/>
                    </a:lnTo>
                    <a:lnTo>
                      <a:pt x="257" y="215"/>
                    </a:lnTo>
                    <a:lnTo>
                      <a:pt x="259" y="218"/>
                    </a:lnTo>
                    <a:lnTo>
                      <a:pt x="260" y="216"/>
                    </a:lnTo>
                    <a:lnTo>
                      <a:pt x="262" y="218"/>
                    </a:lnTo>
                    <a:lnTo>
                      <a:pt x="262" y="217"/>
                    </a:lnTo>
                    <a:lnTo>
                      <a:pt x="264" y="218"/>
                    </a:lnTo>
                    <a:lnTo>
                      <a:pt x="267" y="216"/>
                    </a:lnTo>
                    <a:lnTo>
                      <a:pt x="267" y="218"/>
                    </a:lnTo>
                    <a:lnTo>
                      <a:pt x="266" y="218"/>
                    </a:lnTo>
                    <a:lnTo>
                      <a:pt x="269" y="219"/>
                    </a:lnTo>
                    <a:lnTo>
                      <a:pt x="270" y="219"/>
                    </a:lnTo>
                    <a:lnTo>
                      <a:pt x="270" y="221"/>
                    </a:lnTo>
                    <a:lnTo>
                      <a:pt x="271" y="221"/>
                    </a:lnTo>
                    <a:lnTo>
                      <a:pt x="271" y="220"/>
                    </a:lnTo>
                    <a:lnTo>
                      <a:pt x="272" y="222"/>
                    </a:lnTo>
                    <a:lnTo>
                      <a:pt x="273" y="222"/>
                    </a:lnTo>
                    <a:lnTo>
                      <a:pt x="273" y="223"/>
                    </a:lnTo>
                    <a:lnTo>
                      <a:pt x="274" y="223"/>
                    </a:lnTo>
                    <a:lnTo>
                      <a:pt x="274" y="226"/>
                    </a:lnTo>
                    <a:lnTo>
                      <a:pt x="275" y="227"/>
                    </a:lnTo>
                    <a:lnTo>
                      <a:pt x="276" y="223"/>
                    </a:lnTo>
                    <a:lnTo>
                      <a:pt x="276" y="225"/>
                    </a:lnTo>
                    <a:lnTo>
                      <a:pt x="276" y="226"/>
                    </a:lnTo>
                    <a:lnTo>
                      <a:pt x="278" y="228"/>
                    </a:lnTo>
                    <a:lnTo>
                      <a:pt x="281" y="233"/>
                    </a:lnTo>
                    <a:lnTo>
                      <a:pt x="285" y="236"/>
                    </a:lnTo>
                    <a:lnTo>
                      <a:pt x="287" y="235"/>
                    </a:lnTo>
                    <a:lnTo>
                      <a:pt x="289" y="234"/>
                    </a:lnTo>
                    <a:lnTo>
                      <a:pt x="287" y="231"/>
                    </a:lnTo>
                    <a:lnTo>
                      <a:pt x="287" y="227"/>
                    </a:lnTo>
                    <a:lnTo>
                      <a:pt x="290" y="223"/>
                    </a:lnTo>
                    <a:lnTo>
                      <a:pt x="292" y="223"/>
                    </a:lnTo>
                    <a:lnTo>
                      <a:pt x="292" y="222"/>
                    </a:lnTo>
                    <a:lnTo>
                      <a:pt x="290" y="216"/>
                    </a:lnTo>
                    <a:lnTo>
                      <a:pt x="292" y="216"/>
                    </a:lnTo>
                    <a:lnTo>
                      <a:pt x="290" y="214"/>
                    </a:lnTo>
                    <a:lnTo>
                      <a:pt x="289" y="214"/>
                    </a:lnTo>
                    <a:lnTo>
                      <a:pt x="290" y="213"/>
                    </a:lnTo>
                    <a:lnTo>
                      <a:pt x="291" y="212"/>
                    </a:lnTo>
                    <a:lnTo>
                      <a:pt x="290" y="210"/>
                    </a:lnTo>
                    <a:lnTo>
                      <a:pt x="292" y="210"/>
                    </a:lnTo>
                    <a:lnTo>
                      <a:pt x="293" y="212"/>
                    </a:lnTo>
                    <a:lnTo>
                      <a:pt x="294" y="213"/>
                    </a:lnTo>
                    <a:lnTo>
                      <a:pt x="295" y="210"/>
                    </a:lnTo>
                    <a:lnTo>
                      <a:pt x="295" y="213"/>
                    </a:lnTo>
                    <a:lnTo>
                      <a:pt x="297" y="213"/>
                    </a:lnTo>
                    <a:lnTo>
                      <a:pt x="297" y="210"/>
                    </a:lnTo>
                    <a:lnTo>
                      <a:pt x="300" y="211"/>
                    </a:lnTo>
                    <a:lnTo>
                      <a:pt x="301" y="210"/>
                    </a:lnTo>
                    <a:lnTo>
                      <a:pt x="303" y="211"/>
                    </a:lnTo>
                    <a:lnTo>
                      <a:pt x="304" y="210"/>
                    </a:lnTo>
                    <a:lnTo>
                      <a:pt x="303" y="206"/>
                    </a:lnTo>
                    <a:lnTo>
                      <a:pt x="303" y="207"/>
                    </a:lnTo>
                    <a:lnTo>
                      <a:pt x="305" y="209"/>
                    </a:lnTo>
                    <a:lnTo>
                      <a:pt x="308" y="208"/>
                    </a:lnTo>
                    <a:lnTo>
                      <a:pt x="308" y="205"/>
                    </a:lnTo>
                    <a:lnTo>
                      <a:pt x="309" y="204"/>
                    </a:lnTo>
                    <a:lnTo>
                      <a:pt x="309" y="202"/>
                    </a:lnTo>
                    <a:lnTo>
                      <a:pt x="309" y="200"/>
                    </a:lnTo>
                    <a:lnTo>
                      <a:pt x="306" y="201"/>
                    </a:lnTo>
                    <a:lnTo>
                      <a:pt x="305" y="199"/>
                    </a:lnTo>
                    <a:lnTo>
                      <a:pt x="309" y="192"/>
                    </a:lnTo>
                    <a:lnTo>
                      <a:pt x="308" y="191"/>
                    </a:lnTo>
                    <a:lnTo>
                      <a:pt x="307" y="190"/>
                    </a:lnTo>
                    <a:lnTo>
                      <a:pt x="309" y="190"/>
                    </a:lnTo>
                    <a:lnTo>
                      <a:pt x="309" y="191"/>
                    </a:lnTo>
                    <a:lnTo>
                      <a:pt x="311" y="192"/>
                    </a:lnTo>
                    <a:lnTo>
                      <a:pt x="312" y="191"/>
                    </a:lnTo>
                    <a:lnTo>
                      <a:pt x="312" y="190"/>
                    </a:lnTo>
                    <a:lnTo>
                      <a:pt x="311" y="190"/>
                    </a:lnTo>
                    <a:lnTo>
                      <a:pt x="311" y="188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76" name="Group 95">
              <a:extLst>
                <a:ext uri="{FF2B5EF4-FFF2-40B4-BE49-F238E27FC236}">
                  <a16:creationId xmlns:a16="http://schemas.microsoft.com/office/drawing/2014/main" id="{A7FA73DB-753E-4823-83FF-4511F4A1E1C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17" y="3100"/>
              <a:ext cx="129" cy="104"/>
              <a:chOff x="1017" y="3100"/>
              <a:chExt cx="129" cy="104"/>
            </a:xfrm>
          </p:grpSpPr>
          <p:sp>
            <p:nvSpPr>
              <p:cNvPr id="507" name="Freeform 93">
                <a:extLst>
                  <a:ext uri="{FF2B5EF4-FFF2-40B4-BE49-F238E27FC236}">
                    <a16:creationId xmlns:a16="http://schemas.microsoft.com/office/drawing/2014/main" id="{C19996E5-7946-4EFF-A675-FFA820D01D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7" y="3100"/>
                <a:ext cx="129" cy="104"/>
              </a:xfrm>
              <a:custGeom>
                <a:avLst/>
                <a:gdLst>
                  <a:gd name="T0" fmla="*/ 111 w 129"/>
                  <a:gd name="T1" fmla="*/ 86 h 104"/>
                  <a:gd name="T2" fmla="*/ 107 w 129"/>
                  <a:gd name="T3" fmla="*/ 84 h 104"/>
                  <a:gd name="T4" fmla="*/ 100 w 129"/>
                  <a:gd name="T5" fmla="*/ 87 h 104"/>
                  <a:gd name="T6" fmla="*/ 98 w 129"/>
                  <a:gd name="T7" fmla="*/ 87 h 104"/>
                  <a:gd name="T8" fmla="*/ 94 w 129"/>
                  <a:gd name="T9" fmla="*/ 82 h 104"/>
                  <a:gd name="T10" fmla="*/ 92 w 129"/>
                  <a:gd name="T11" fmla="*/ 79 h 104"/>
                  <a:gd name="T12" fmla="*/ 88 w 129"/>
                  <a:gd name="T13" fmla="*/ 80 h 104"/>
                  <a:gd name="T14" fmla="*/ 85 w 129"/>
                  <a:gd name="T15" fmla="*/ 79 h 104"/>
                  <a:gd name="T16" fmla="*/ 78 w 129"/>
                  <a:gd name="T17" fmla="*/ 77 h 104"/>
                  <a:gd name="T18" fmla="*/ 73 w 129"/>
                  <a:gd name="T19" fmla="*/ 85 h 104"/>
                  <a:gd name="T20" fmla="*/ 70 w 129"/>
                  <a:gd name="T21" fmla="*/ 83 h 104"/>
                  <a:gd name="T22" fmla="*/ 60 w 129"/>
                  <a:gd name="T23" fmla="*/ 88 h 104"/>
                  <a:gd name="T24" fmla="*/ 54 w 129"/>
                  <a:gd name="T25" fmla="*/ 93 h 104"/>
                  <a:gd name="T26" fmla="*/ 44 w 129"/>
                  <a:gd name="T27" fmla="*/ 95 h 104"/>
                  <a:gd name="T28" fmla="*/ 37 w 129"/>
                  <a:gd name="T29" fmla="*/ 103 h 104"/>
                  <a:gd name="T30" fmla="*/ 31 w 129"/>
                  <a:gd name="T31" fmla="*/ 102 h 104"/>
                  <a:gd name="T32" fmla="*/ 27 w 129"/>
                  <a:gd name="T33" fmla="*/ 99 h 104"/>
                  <a:gd name="T34" fmla="*/ 20 w 129"/>
                  <a:gd name="T35" fmla="*/ 90 h 104"/>
                  <a:gd name="T36" fmla="*/ 25 w 129"/>
                  <a:gd name="T37" fmla="*/ 87 h 104"/>
                  <a:gd name="T38" fmla="*/ 24 w 129"/>
                  <a:gd name="T39" fmla="*/ 82 h 104"/>
                  <a:gd name="T40" fmla="*/ 18 w 129"/>
                  <a:gd name="T41" fmla="*/ 79 h 104"/>
                  <a:gd name="T42" fmla="*/ 14 w 129"/>
                  <a:gd name="T43" fmla="*/ 74 h 104"/>
                  <a:gd name="T44" fmla="*/ 20 w 129"/>
                  <a:gd name="T45" fmla="*/ 63 h 104"/>
                  <a:gd name="T46" fmla="*/ 8 w 129"/>
                  <a:gd name="T47" fmla="*/ 53 h 104"/>
                  <a:gd name="T48" fmla="*/ 9 w 129"/>
                  <a:gd name="T49" fmla="*/ 47 h 104"/>
                  <a:gd name="T50" fmla="*/ 4 w 129"/>
                  <a:gd name="T51" fmla="*/ 44 h 104"/>
                  <a:gd name="T52" fmla="*/ 12 w 129"/>
                  <a:gd name="T53" fmla="*/ 38 h 104"/>
                  <a:gd name="T54" fmla="*/ 16 w 129"/>
                  <a:gd name="T55" fmla="*/ 37 h 104"/>
                  <a:gd name="T56" fmla="*/ 12 w 129"/>
                  <a:gd name="T57" fmla="*/ 31 h 104"/>
                  <a:gd name="T58" fmla="*/ 9 w 129"/>
                  <a:gd name="T59" fmla="*/ 25 h 104"/>
                  <a:gd name="T60" fmla="*/ 0 w 129"/>
                  <a:gd name="T61" fmla="*/ 24 h 104"/>
                  <a:gd name="T62" fmla="*/ 5 w 129"/>
                  <a:gd name="T63" fmla="*/ 18 h 104"/>
                  <a:gd name="T64" fmla="*/ 9 w 129"/>
                  <a:gd name="T65" fmla="*/ 18 h 104"/>
                  <a:gd name="T66" fmla="*/ 18 w 129"/>
                  <a:gd name="T67" fmla="*/ 18 h 104"/>
                  <a:gd name="T68" fmla="*/ 24 w 129"/>
                  <a:gd name="T69" fmla="*/ 13 h 104"/>
                  <a:gd name="T70" fmla="*/ 26 w 129"/>
                  <a:gd name="T71" fmla="*/ 20 h 104"/>
                  <a:gd name="T72" fmla="*/ 38 w 129"/>
                  <a:gd name="T73" fmla="*/ 15 h 104"/>
                  <a:gd name="T74" fmla="*/ 38 w 129"/>
                  <a:gd name="T75" fmla="*/ 10 h 104"/>
                  <a:gd name="T76" fmla="*/ 47 w 129"/>
                  <a:gd name="T77" fmla="*/ 11 h 104"/>
                  <a:gd name="T78" fmla="*/ 55 w 129"/>
                  <a:gd name="T79" fmla="*/ 7 h 104"/>
                  <a:gd name="T80" fmla="*/ 68 w 129"/>
                  <a:gd name="T81" fmla="*/ 6 h 104"/>
                  <a:gd name="T82" fmla="*/ 72 w 129"/>
                  <a:gd name="T83" fmla="*/ 0 h 104"/>
                  <a:gd name="T84" fmla="*/ 85 w 129"/>
                  <a:gd name="T85" fmla="*/ 0 h 104"/>
                  <a:gd name="T86" fmla="*/ 88 w 129"/>
                  <a:gd name="T87" fmla="*/ 7 h 104"/>
                  <a:gd name="T88" fmla="*/ 93 w 129"/>
                  <a:gd name="T89" fmla="*/ 8 h 104"/>
                  <a:gd name="T90" fmla="*/ 95 w 129"/>
                  <a:gd name="T91" fmla="*/ 14 h 104"/>
                  <a:gd name="T92" fmla="*/ 101 w 129"/>
                  <a:gd name="T93" fmla="*/ 16 h 104"/>
                  <a:gd name="T94" fmla="*/ 103 w 129"/>
                  <a:gd name="T95" fmla="*/ 25 h 104"/>
                  <a:gd name="T96" fmla="*/ 111 w 129"/>
                  <a:gd name="T97" fmla="*/ 26 h 104"/>
                  <a:gd name="T98" fmla="*/ 119 w 129"/>
                  <a:gd name="T99" fmla="*/ 39 h 104"/>
                  <a:gd name="T100" fmla="*/ 128 w 129"/>
                  <a:gd name="T101" fmla="*/ 46 h 104"/>
                  <a:gd name="T102" fmla="*/ 118 w 129"/>
                  <a:gd name="T103" fmla="*/ 58 h 104"/>
                  <a:gd name="T104" fmla="*/ 110 w 129"/>
                  <a:gd name="T105" fmla="*/ 59 h 104"/>
                  <a:gd name="T106" fmla="*/ 109 w 129"/>
                  <a:gd name="T107" fmla="*/ 68 h 104"/>
                  <a:gd name="T108" fmla="*/ 113 w 129"/>
                  <a:gd name="T109" fmla="*/ 70 h 1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29"/>
                  <a:gd name="T166" fmla="*/ 0 h 104"/>
                  <a:gd name="T167" fmla="*/ 129 w 129"/>
                  <a:gd name="T168" fmla="*/ 104 h 1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29" h="104">
                    <a:moveTo>
                      <a:pt x="114" y="80"/>
                    </a:moveTo>
                    <a:lnTo>
                      <a:pt x="114" y="82"/>
                    </a:lnTo>
                    <a:lnTo>
                      <a:pt x="112" y="82"/>
                    </a:lnTo>
                    <a:lnTo>
                      <a:pt x="112" y="84"/>
                    </a:lnTo>
                    <a:lnTo>
                      <a:pt x="111" y="86"/>
                    </a:lnTo>
                    <a:lnTo>
                      <a:pt x="109" y="83"/>
                    </a:lnTo>
                    <a:lnTo>
                      <a:pt x="108" y="84"/>
                    </a:lnTo>
                    <a:lnTo>
                      <a:pt x="108" y="86"/>
                    </a:lnTo>
                    <a:lnTo>
                      <a:pt x="107" y="84"/>
                    </a:lnTo>
                    <a:lnTo>
                      <a:pt x="108" y="88"/>
                    </a:lnTo>
                    <a:lnTo>
                      <a:pt x="106" y="90"/>
                    </a:lnTo>
                    <a:lnTo>
                      <a:pt x="104" y="88"/>
                    </a:lnTo>
                    <a:lnTo>
                      <a:pt x="102" y="88"/>
                    </a:lnTo>
                    <a:lnTo>
                      <a:pt x="100" y="87"/>
                    </a:lnTo>
                    <a:lnTo>
                      <a:pt x="100" y="88"/>
                    </a:lnTo>
                    <a:lnTo>
                      <a:pt x="99" y="87"/>
                    </a:lnTo>
                    <a:lnTo>
                      <a:pt x="99" y="88"/>
                    </a:lnTo>
                    <a:lnTo>
                      <a:pt x="98" y="86"/>
                    </a:lnTo>
                    <a:lnTo>
                      <a:pt x="98" y="87"/>
                    </a:lnTo>
                    <a:lnTo>
                      <a:pt x="97" y="86"/>
                    </a:lnTo>
                    <a:lnTo>
                      <a:pt x="97" y="84"/>
                    </a:lnTo>
                    <a:lnTo>
                      <a:pt x="96" y="85"/>
                    </a:lnTo>
                    <a:lnTo>
                      <a:pt x="96" y="81"/>
                    </a:lnTo>
                    <a:lnTo>
                      <a:pt x="94" y="82"/>
                    </a:lnTo>
                    <a:lnTo>
                      <a:pt x="94" y="81"/>
                    </a:lnTo>
                    <a:lnTo>
                      <a:pt x="93" y="80"/>
                    </a:lnTo>
                    <a:lnTo>
                      <a:pt x="92" y="81"/>
                    </a:lnTo>
                    <a:lnTo>
                      <a:pt x="92" y="80"/>
                    </a:lnTo>
                    <a:lnTo>
                      <a:pt x="92" y="79"/>
                    </a:lnTo>
                    <a:lnTo>
                      <a:pt x="91" y="80"/>
                    </a:lnTo>
                    <a:lnTo>
                      <a:pt x="91" y="77"/>
                    </a:lnTo>
                    <a:lnTo>
                      <a:pt x="90" y="78"/>
                    </a:lnTo>
                    <a:lnTo>
                      <a:pt x="89" y="79"/>
                    </a:lnTo>
                    <a:lnTo>
                      <a:pt x="88" y="80"/>
                    </a:lnTo>
                    <a:lnTo>
                      <a:pt x="87" y="80"/>
                    </a:lnTo>
                    <a:lnTo>
                      <a:pt x="86" y="80"/>
                    </a:lnTo>
                    <a:lnTo>
                      <a:pt x="86" y="79"/>
                    </a:lnTo>
                    <a:lnTo>
                      <a:pt x="85" y="79"/>
                    </a:lnTo>
                    <a:lnTo>
                      <a:pt x="83" y="78"/>
                    </a:lnTo>
                    <a:lnTo>
                      <a:pt x="83" y="79"/>
                    </a:lnTo>
                    <a:lnTo>
                      <a:pt x="82" y="80"/>
                    </a:lnTo>
                    <a:lnTo>
                      <a:pt x="80" y="80"/>
                    </a:lnTo>
                    <a:lnTo>
                      <a:pt x="78" y="77"/>
                    </a:lnTo>
                    <a:lnTo>
                      <a:pt x="77" y="78"/>
                    </a:lnTo>
                    <a:lnTo>
                      <a:pt x="74" y="79"/>
                    </a:lnTo>
                    <a:lnTo>
                      <a:pt x="76" y="82"/>
                    </a:lnTo>
                    <a:lnTo>
                      <a:pt x="73" y="84"/>
                    </a:lnTo>
                    <a:lnTo>
                      <a:pt x="73" y="85"/>
                    </a:lnTo>
                    <a:lnTo>
                      <a:pt x="72" y="84"/>
                    </a:lnTo>
                    <a:lnTo>
                      <a:pt x="72" y="85"/>
                    </a:lnTo>
                    <a:lnTo>
                      <a:pt x="71" y="86"/>
                    </a:lnTo>
                    <a:lnTo>
                      <a:pt x="70" y="86"/>
                    </a:lnTo>
                    <a:lnTo>
                      <a:pt x="70" y="83"/>
                    </a:lnTo>
                    <a:lnTo>
                      <a:pt x="64" y="84"/>
                    </a:lnTo>
                    <a:lnTo>
                      <a:pt x="64" y="87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0" y="90"/>
                    </a:lnTo>
                    <a:lnTo>
                      <a:pt x="58" y="88"/>
                    </a:lnTo>
                    <a:lnTo>
                      <a:pt x="57" y="92"/>
                    </a:lnTo>
                    <a:lnTo>
                      <a:pt x="56" y="93"/>
                    </a:lnTo>
                    <a:lnTo>
                      <a:pt x="54" y="93"/>
                    </a:lnTo>
                    <a:lnTo>
                      <a:pt x="53" y="92"/>
                    </a:lnTo>
                    <a:lnTo>
                      <a:pt x="52" y="92"/>
                    </a:lnTo>
                    <a:lnTo>
                      <a:pt x="50" y="93"/>
                    </a:lnTo>
                    <a:lnTo>
                      <a:pt x="46" y="95"/>
                    </a:lnTo>
                    <a:lnTo>
                      <a:pt x="44" y="95"/>
                    </a:lnTo>
                    <a:lnTo>
                      <a:pt x="40" y="90"/>
                    </a:lnTo>
                    <a:lnTo>
                      <a:pt x="39" y="91"/>
                    </a:lnTo>
                    <a:lnTo>
                      <a:pt x="37" y="99"/>
                    </a:lnTo>
                    <a:lnTo>
                      <a:pt x="37" y="102"/>
                    </a:lnTo>
                    <a:lnTo>
                      <a:pt x="37" y="103"/>
                    </a:lnTo>
                    <a:lnTo>
                      <a:pt x="37" y="104"/>
                    </a:lnTo>
                    <a:lnTo>
                      <a:pt x="36" y="103"/>
                    </a:lnTo>
                    <a:lnTo>
                      <a:pt x="35" y="101"/>
                    </a:lnTo>
                    <a:lnTo>
                      <a:pt x="33" y="100"/>
                    </a:lnTo>
                    <a:lnTo>
                      <a:pt x="31" y="102"/>
                    </a:lnTo>
                    <a:lnTo>
                      <a:pt x="31" y="101"/>
                    </a:lnTo>
                    <a:lnTo>
                      <a:pt x="31" y="99"/>
                    </a:lnTo>
                    <a:lnTo>
                      <a:pt x="30" y="99"/>
                    </a:lnTo>
                    <a:lnTo>
                      <a:pt x="27" y="100"/>
                    </a:lnTo>
                    <a:lnTo>
                      <a:pt x="27" y="99"/>
                    </a:lnTo>
                    <a:lnTo>
                      <a:pt x="22" y="99"/>
                    </a:lnTo>
                    <a:lnTo>
                      <a:pt x="21" y="97"/>
                    </a:lnTo>
                    <a:lnTo>
                      <a:pt x="19" y="95"/>
                    </a:lnTo>
                    <a:lnTo>
                      <a:pt x="18" y="93"/>
                    </a:lnTo>
                    <a:lnTo>
                      <a:pt x="20" y="90"/>
                    </a:lnTo>
                    <a:lnTo>
                      <a:pt x="22" y="90"/>
                    </a:lnTo>
                    <a:lnTo>
                      <a:pt x="23" y="91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1" y="88"/>
                    </a:lnTo>
                    <a:lnTo>
                      <a:pt x="20" y="88"/>
                    </a:lnTo>
                    <a:lnTo>
                      <a:pt x="20" y="87"/>
                    </a:lnTo>
                    <a:lnTo>
                      <a:pt x="24" y="84"/>
                    </a:lnTo>
                    <a:lnTo>
                      <a:pt x="24" y="82"/>
                    </a:lnTo>
                    <a:lnTo>
                      <a:pt x="23" y="80"/>
                    </a:lnTo>
                    <a:lnTo>
                      <a:pt x="25" y="80"/>
                    </a:lnTo>
                    <a:lnTo>
                      <a:pt x="23" y="78"/>
                    </a:lnTo>
                    <a:lnTo>
                      <a:pt x="18" y="79"/>
                    </a:lnTo>
                    <a:lnTo>
                      <a:pt x="18" y="76"/>
                    </a:lnTo>
                    <a:lnTo>
                      <a:pt x="17" y="76"/>
                    </a:lnTo>
                    <a:lnTo>
                      <a:pt x="16" y="75"/>
                    </a:lnTo>
                    <a:lnTo>
                      <a:pt x="14" y="75"/>
                    </a:lnTo>
                    <a:lnTo>
                      <a:pt x="14" y="74"/>
                    </a:lnTo>
                    <a:lnTo>
                      <a:pt x="14" y="72"/>
                    </a:lnTo>
                    <a:lnTo>
                      <a:pt x="14" y="71"/>
                    </a:lnTo>
                    <a:lnTo>
                      <a:pt x="15" y="67"/>
                    </a:lnTo>
                    <a:lnTo>
                      <a:pt x="18" y="70"/>
                    </a:lnTo>
                    <a:lnTo>
                      <a:pt x="20" y="63"/>
                    </a:lnTo>
                    <a:lnTo>
                      <a:pt x="15" y="62"/>
                    </a:lnTo>
                    <a:lnTo>
                      <a:pt x="13" y="59"/>
                    </a:lnTo>
                    <a:lnTo>
                      <a:pt x="12" y="58"/>
                    </a:lnTo>
                    <a:lnTo>
                      <a:pt x="8" y="53"/>
                    </a:lnTo>
                    <a:lnTo>
                      <a:pt x="8" y="52"/>
                    </a:lnTo>
                    <a:lnTo>
                      <a:pt x="9" y="50"/>
                    </a:lnTo>
                    <a:lnTo>
                      <a:pt x="8" y="50"/>
                    </a:lnTo>
                    <a:lnTo>
                      <a:pt x="9" y="48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8" y="46"/>
                    </a:lnTo>
                    <a:lnTo>
                      <a:pt x="6" y="46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5" y="42"/>
                    </a:lnTo>
                    <a:lnTo>
                      <a:pt x="7" y="41"/>
                    </a:lnTo>
                    <a:lnTo>
                      <a:pt x="7" y="38"/>
                    </a:lnTo>
                    <a:lnTo>
                      <a:pt x="12" y="38"/>
                    </a:lnTo>
                    <a:lnTo>
                      <a:pt x="13" y="39"/>
                    </a:lnTo>
                    <a:lnTo>
                      <a:pt x="14" y="38"/>
                    </a:lnTo>
                    <a:lnTo>
                      <a:pt x="16" y="38"/>
                    </a:lnTo>
                    <a:lnTo>
                      <a:pt x="16" y="37"/>
                    </a:lnTo>
                    <a:lnTo>
                      <a:pt x="14" y="36"/>
                    </a:lnTo>
                    <a:lnTo>
                      <a:pt x="15" y="35"/>
                    </a:lnTo>
                    <a:lnTo>
                      <a:pt x="12" y="35"/>
                    </a:lnTo>
                    <a:lnTo>
                      <a:pt x="12" y="31"/>
                    </a:lnTo>
                    <a:lnTo>
                      <a:pt x="11" y="32"/>
                    </a:lnTo>
                    <a:lnTo>
                      <a:pt x="9" y="31"/>
                    </a:lnTo>
                    <a:lnTo>
                      <a:pt x="9" y="27"/>
                    </a:lnTo>
                    <a:lnTo>
                      <a:pt x="8" y="25"/>
                    </a:lnTo>
                    <a:lnTo>
                      <a:pt x="9" y="25"/>
                    </a:lnTo>
                    <a:lnTo>
                      <a:pt x="8" y="22"/>
                    </a:lnTo>
                    <a:lnTo>
                      <a:pt x="5" y="23"/>
                    </a:lnTo>
                    <a:lnTo>
                      <a:pt x="3" y="24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0" y="22"/>
                    </a:lnTo>
                    <a:lnTo>
                      <a:pt x="0" y="21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5" y="18"/>
                    </a:lnTo>
                    <a:lnTo>
                      <a:pt x="5" y="19"/>
                    </a:lnTo>
                    <a:lnTo>
                      <a:pt x="6" y="20"/>
                    </a:lnTo>
                    <a:lnTo>
                      <a:pt x="9" y="19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6" y="16"/>
                    </a:lnTo>
                    <a:lnTo>
                      <a:pt x="17" y="19"/>
                    </a:lnTo>
                    <a:lnTo>
                      <a:pt x="18" y="18"/>
                    </a:lnTo>
                    <a:lnTo>
                      <a:pt x="21" y="16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4" y="13"/>
                    </a:lnTo>
                    <a:lnTo>
                      <a:pt x="25" y="14"/>
                    </a:lnTo>
                    <a:lnTo>
                      <a:pt x="26" y="14"/>
                    </a:lnTo>
                    <a:lnTo>
                      <a:pt x="26" y="15"/>
                    </a:lnTo>
                    <a:lnTo>
                      <a:pt x="26" y="18"/>
                    </a:lnTo>
                    <a:lnTo>
                      <a:pt x="26" y="20"/>
                    </a:lnTo>
                    <a:lnTo>
                      <a:pt x="29" y="20"/>
                    </a:lnTo>
                    <a:lnTo>
                      <a:pt x="36" y="21"/>
                    </a:lnTo>
                    <a:lnTo>
                      <a:pt x="38" y="21"/>
                    </a:lnTo>
                    <a:lnTo>
                      <a:pt x="36" y="18"/>
                    </a:lnTo>
                    <a:lnTo>
                      <a:pt x="38" y="15"/>
                    </a:lnTo>
                    <a:lnTo>
                      <a:pt x="37" y="15"/>
                    </a:lnTo>
                    <a:lnTo>
                      <a:pt x="37" y="14"/>
                    </a:lnTo>
                    <a:lnTo>
                      <a:pt x="37" y="11"/>
                    </a:lnTo>
                    <a:lnTo>
                      <a:pt x="38" y="11"/>
                    </a:lnTo>
                    <a:lnTo>
                      <a:pt x="38" y="10"/>
                    </a:lnTo>
                    <a:lnTo>
                      <a:pt x="40" y="7"/>
                    </a:lnTo>
                    <a:lnTo>
                      <a:pt x="42" y="7"/>
                    </a:lnTo>
                    <a:lnTo>
                      <a:pt x="44" y="8"/>
                    </a:lnTo>
                    <a:lnTo>
                      <a:pt x="46" y="8"/>
                    </a:lnTo>
                    <a:lnTo>
                      <a:pt x="47" y="11"/>
                    </a:lnTo>
                    <a:lnTo>
                      <a:pt x="49" y="10"/>
                    </a:lnTo>
                    <a:lnTo>
                      <a:pt x="50" y="8"/>
                    </a:lnTo>
                    <a:lnTo>
                      <a:pt x="51" y="9"/>
                    </a:lnTo>
                    <a:lnTo>
                      <a:pt x="55" y="8"/>
                    </a:lnTo>
                    <a:lnTo>
                      <a:pt x="55" y="7"/>
                    </a:lnTo>
                    <a:lnTo>
                      <a:pt x="57" y="7"/>
                    </a:lnTo>
                    <a:lnTo>
                      <a:pt x="57" y="4"/>
                    </a:lnTo>
                    <a:lnTo>
                      <a:pt x="61" y="6"/>
                    </a:lnTo>
                    <a:lnTo>
                      <a:pt x="66" y="6"/>
                    </a:lnTo>
                    <a:lnTo>
                      <a:pt x="68" y="6"/>
                    </a:lnTo>
                    <a:lnTo>
                      <a:pt x="68" y="3"/>
                    </a:lnTo>
                    <a:lnTo>
                      <a:pt x="69" y="3"/>
                    </a:lnTo>
                    <a:lnTo>
                      <a:pt x="69" y="1"/>
                    </a:lnTo>
                    <a:lnTo>
                      <a:pt x="72" y="1"/>
                    </a:lnTo>
                    <a:lnTo>
                      <a:pt x="72" y="0"/>
                    </a:lnTo>
                    <a:lnTo>
                      <a:pt x="77" y="1"/>
                    </a:lnTo>
                    <a:lnTo>
                      <a:pt x="80" y="2"/>
                    </a:lnTo>
                    <a:lnTo>
                      <a:pt x="80" y="0"/>
                    </a:lnTo>
                    <a:lnTo>
                      <a:pt x="83" y="1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87" y="5"/>
                    </a:lnTo>
                    <a:lnTo>
                      <a:pt x="86" y="5"/>
                    </a:lnTo>
                    <a:lnTo>
                      <a:pt x="86" y="8"/>
                    </a:lnTo>
                    <a:lnTo>
                      <a:pt x="88" y="7"/>
                    </a:lnTo>
                    <a:lnTo>
                      <a:pt x="88" y="8"/>
                    </a:lnTo>
                    <a:lnTo>
                      <a:pt x="90" y="7"/>
                    </a:lnTo>
                    <a:lnTo>
                      <a:pt x="90" y="6"/>
                    </a:lnTo>
                    <a:lnTo>
                      <a:pt x="91" y="8"/>
                    </a:lnTo>
                    <a:lnTo>
                      <a:pt x="93" y="8"/>
                    </a:lnTo>
                    <a:lnTo>
                      <a:pt x="94" y="11"/>
                    </a:lnTo>
                    <a:lnTo>
                      <a:pt x="93" y="11"/>
                    </a:lnTo>
                    <a:lnTo>
                      <a:pt x="93" y="14"/>
                    </a:lnTo>
                    <a:lnTo>
                      <a:pt x="95" y="14"/>
                    </a:lnTo>
                    <a:lnTo>
                      <a:pt x="98" y="15"/>
                    </a:lnTo>
                    <a:lnTo>
                      <a:pt x="99" y="13"/>
                    </a:lnTo>
                    <a:lnTo>
                      <a:pt x="101" y="13"/>
                    </a:lnTo>
                    <a:lnTo>
                      <a:pt x="103" y="14"/>
                    </a:lnTo>
                    <a:lnTo>
                      <a:pt x="101" y="16"/>
                    </a:lnTo>
                    <a:lnTo>
                      <a:pt x="99" y="17"/>
                    </a:lnTo>
                    <a:lnTo>
                      <a:pt x="100" y="19"/>
                    </a:lnTo>
                    <a:lnTo>
                      <a:pt x="100" y="20"/>
                    </a:lnTo>
                    <a:lnTo>
                      <a:pt x="101" y="22"/>
                    </a:lnTo>
                    <a:lnTo>
                      <a:pt x="103" y="25"/>
                    </a:lnTo>
                    <a:lnTo>
                      <a:pt x="103" y="26"/>
                    </a:lnTo>
                    <a:lnTo>
                      <a:pt x="104" y="27"/>
                    </a:lnTo>
                    <a:lnTo>
                      <a:pt x="108" y="26"/>
                    </a:lnTo>
                    <a:lnTo>
                      <a:pt x="108" y="27"/>
                    </a:lnTo>
                    <a:lnTo>
                      <a:pt x="111" y="26"/>
                    </a:lnTo>
                    <a:lnTo>
                      <a:pt x="111" y="29"/>
                    </a:lnTo>
                    <a:lnTo>
                      <a:pt x="118" y="31"/>
                    </a:lnTo>
                    <a:lnTo>
                      <a:pt x="116" y="38"/>
                    </a:lnTo>
                    <a:lnTo>
                      <a:pt x="118" y="40"/>
                    </a:lnTo>
                    <a:lnTo>
                      <a:pt x="119" y="39"/>
                    </a:lnTo>
                    <a:lnTo>
                      <a:pt x="121" y="41"/>
                    </a:lnTo>
                    <a:lnTo>
                      <a:pt x="125" y="42"/>
                    </a:lnTo>
                    <a:lnTo>
                      <a:pt x="124" y="43"/>
                    </a:lnTo>
                    <a:lnTo>
                      <a:pt x="124" y="44"/>
                    </a:lnTo>
                    <a:lnTo>
                      <a:pt x="128" y="46"/>
                    </a:lnTo>
                    <a:lnTo>
                      <a:pt x="129" y="49"/>
                    </a:lnTo>
                    <a:lnTo>
                      <a:pt x="126" y="55"/>
                    </a:lnTo>
                    <a:lnTo>
                      <a:pt x="123" y="55"/>
                    </a:lnTo>
                    <a:lnTo>
                      <a:pt x="123" y="56"/>
                    </a:lnTo>
                    <a:lnTo>
                      <a:pt x="118" y="58"/>
                    </a:lnTo>
                    <a:lnTo>
                      <a:pt x="115" y="58"/>
                    </a:lnTo>
                    <a:lnTo>
                      <a:pt x="114" y="59"/>
                    </a:lnTo>
                    <a:lnTo>
                      <a:pt x="112" y="59"/>
                    </a:lnTo>
                    <a:lnTo>
                      <a:pt x="110" y="59"/>
                    </a:lnTo>
                    <a:lnTo>
                      <a:pt x="111" y="60"/>
                    </a:lnTo>
                    <a:lnTo>
                      <a:pt x="110" y="61"/>
                    </a:lnTo>
                    <a:lnTo>
                      <a:pt x="109" y="61"/>
                    </a:lnTo>
                    <a:lnTo>
                      <a:pt x="108" y="64"/>
                    </a:lnTo>
                    <a:lnTo>
                      <a:pt x="109" y="68"/>
                    </a:lnTo>
                    <a:lnTo>
                      <a:pt x="111" y="67"/>
                    </a:lnTo>
                    <a:lnTo>
                      <a:pt x="112" y="65"/>
                    </a:lnTo>
                    <a:lnTo>
                      <a:pt x="114" y="67"/>
                    </a:lnTo>
                    <a:lnTo>
                      <a:pt x="115" y="70"/>
                    </a:lnTo>
                    <a:lnTo>
                      <a:pt x="113" y="70"/>
                    </a:lnTo>
                    <a:lnTo>
                      <a:pt x="112" y="73"/>
                    </a:lnTo>
                    <a:lnTo>
                      <a:pt x="113" y="76"/>
                    </a:lnTo>
                    <a:lnTo>
                      <a:pt x="115" y="79"/>
                    </a:lnTo>
                    <a:lnTo>
                      <a:pt x="114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8" name="Freeform 94">
                <a:extLst>
                  <a:ext uri="{FF2B5EF4-FFF2-40B4-BE49-F238E27FC236}">
                    <a16:creationId xmlns:a16="http://schemas.microsoft.com/office/drawing/2014/main" id="{46B42BBC-4263-4621-AE94-2E5BD025DB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7" y="3100"/>
                <a:ext cx="129" cy="104"/>
              </a:xfrm>
              <a:custGeom>
                <a:avLst/>
                <a:gdLst>
                  <a:gd name="T0" fmla="*/ 111 w 129"/>
                  <a:gd name="T1" fmla="*/ 86 h 104"/>
                  <a:gd name="T2" fmla="*/ 107 w 129"/>
                  <a:gd name="T3" fmla="*/ 84 h 104"/>
                  <a:gd name="T4" fmla="*/ 100 w 129"/>
                  <a:gd name="T5" fmla="*/ 87 h 104"/>
                  <a:gd name="T6" fmla="*/ 98 w 129"/>
                  <a:gd name="T7" fmla="*/ 87 h 104"/>
                  <a:gd name="T8" fmla="*/ 94 w 129"/>
                  <a:gd name="T9" fmla="*/ 82 h 104"/>
                  <a:gd name="T10" fmla="*/ 92 w 129"/>
                  <a:gd name="T11" fmla="*/ 79 h 104"/>
                  <a:gd name="T12" fmla="*/ 88 w 129"/>
                  <a:gd name="T13" fmla="*/ 80 h 104"/>
                  <a:gd name="T14" fmla="*/ 85 w 129"/>
                  <a:gd name="T15" fmla="*/ 79 h 104"/>
                  <a:gd name="T16" fmla="*/ 78 w 129"/>
                  <a:gd name="T17" fmla="*/ 77 h 104"/>
                  <a:gd name="T18" fmla="*/ 73 w 129"/>
                  <a:gd name="T19" fmla="*/ 85 h 104"/>
                  <a:gd name="T20" fmla="*/ 70 w 129"/>
                  <a:gd name="T21" fmla="*/ 83 h 104"/>
                  <a:gd name="T22" fmla="*/ 60 w 129"/>
                  <a:gd name="T23" fmla="*/ 88 h 104"/>
                  <a:gd name="T24" fmla="*/ 54 w 129"/>
                  <a:gd name="T25" fmla="*/ 93 h 104"/>
                  <a:gd name="T26" fmla="*/ 44 w 129"/>
                  <a:gd name="T27" fmla="*/ 95 h 104"/>
                  <a:gd name="T28" fmla="*/ 37 w 129"/>
                  <a:gd name="T29" fmla="*/ 103 h 104"/>
                  <a:gd name="T30" fmla="*/ 31 w 129"/>
                  <a:gd name="T31" fmla="*/ 102 h 104"/>
                  <a:gd name="T32" fmla="*/ 27 w 129"/>
                  <a:gd name="T33" fmla="*/ 99 h 104"/>
                  <a:gd name="T34" fmla="*/ 20 w 129"/>
                  <a:gd name="T35" fmla="*/ 90 h 104"/>
                  <a:gd name="T36" fmla="*/ 25 w 129"/>
                  <a:gd name="T37" fmla="*/ 87 h 104"/>
                  <a:gd name="T38" fmla="*/ 24 w 129"/>
                  <a:gd name="T39" fmla="*/ 82 h 104"/>
                  <a:gd name="T40" fmla="*/ 18 w 129"/>
                  <a:gd name="T41" fmla="*/ 79 h 104"/>
                  <a:gd name="T42" fmla="*/ 14 w 129"/>
                  <a:gd name="T43" fmla="*/ 74 h 104"/>
                  <a:gd name="T44" fmla="*/ 20 w 129"/>
                  <a:gd name="T45" fmla="*/ 63 h 104"/>
                  <a:gd name="T46" fmla="*/ 8 w 129"/>
                  <a:gd name="T47" fmla="*/ 53 h 104"/>
                  <a:gd name="T48" fmla="*/ 9 w 129"/>
                  <a:gd name="T49" fmla="*/ 47 h 104"/>
                  <a:gd name="T50" fmla="*/ 4 w 129"/>
                  <a:gd name="T51" fmla="*/ 44 h 104"/>
                  <a:gd name="T52" fmla="*/ 12 w 129"/>
                  <a:gd name="T53" fmla="*/ 38 h 104"/>
                  <a:gd name="T54" fmla="*/ 16 w 129"/>
                  <a:gd name="T55" fmla="*/ 37 h 104"/>
                  <a:gd name="T56" fmla="*/ 12 w 129"/>
                  <a:gd name="T57" fmla="*/ 31 h 104"/>
                  <a:gd name="T58" fmla="*/ 9 w 129"/>
                  <a:gd name="T59" fmla="*/ 25 h 104"/>
                  <a:gd name="T60" fmla="*/ 0 w 129"/>
                  <a:gd name="T61" fmla="*/ 24 h 104"/>
                  <a:gd name="T62" fmla="*/ 5 w 129"/>
                  <a:gd name="T63" fmla="*/ 18 h 104"/>
                  <a:gd name="T64" fmla="*/ 9 w 129"/>
                  <a:gd name="T65" fmla="*/ 18 h 104"/>
                  <a:gd name="T66" fmla="*/ 18 w 129"/>
                  <a:gd name="T67" fmla="*/ 18 h 104"/>
                  <a:gd name="T68" fmla="*/ 24 w 129"/>
                  <a:gd name="T69" fmla="*/ 13 h 104"/>
                  <a:gd name="T70" fmla="*/ 26 w 129"/>
                  <a:gd name="T71" fmla="*/ 20 h 104"/>
                  <a:gd name="T72" fmla="*/ 38 w 129"/>
                  <a:gd name="T73" fmla="*/ 15 h 104"/>
                  <a:gd name="T74" fmla="*/ 38 w 129"/>
                  <a:gd name="T75" fmla="*/ 10 h 104"/>
                  <a:gd name="T76" fmla="*/ 47 w 129"/>
                  <a:gd name="T77" fmla="*/ 11 h 104"/>
                  <a:gd name="T78" fmla="*/ 55 w 129"/>
                  <a:gd name="T79" fmla="*/ 7 h 104"/>
                  <a:gd name="T80" fmla="*/ 68 w 129"/>
                  <a:gd name="T81" fmla="*/ 6 h 104"/>
                  <a:gd name="T82" fmla="*/ 72 w 129"/>
                  <a:gd name="T83" fmla="*/ 0 h 104"/>
                  <a:gd name="T84" fmla="*/ 85 w 129"/>
                  <a:gd name="T85" fmla="*/ 0 h 104"/>
                  <a:gd name="T86" fmla="*/ 88 w 129"/>
                  <a:gd name="T87" fmla="*/ 7 h 104"/>
                  <a:gd name="T88" fmla="*/ 93 w 129"/>
                  <a:gd name="T89" fmla="*/ 8 h 104"/>
                  <a:gd name="T90" fmla="*/ 95 w 129"/>
                  <a:gd name="T91" fmla="*/ 14 h 104"/>
                  <a:gd name="T92" fmla="*/ 101 w 129"/>
                  <a:gd name="T93" fmla="*/ 16 h 104"/>
                  <a:gd name="T94" fmla="*/ 103 w 129"/>
                  <a:gd name="T95" fmla="*/ 25 h 104"/>
                  <a:gd name="T96" fmla="*/ 111 w 129"/>
                  <a:gd name="T97" fmla="*/ 26 h 104"/>
                  <a:gd name="T98" fmla="*/ 119 w 129"/>
                  <a:gd name="T99" fmla="*/ 39 h 104"/>
                  <a:gd name="T100" fmla="*/ 128 w 129"/>
                  <a:gd name="T101" fmla="*/ 46 h 104"/>
                  <a:gd name="T102" fmla="*/ 118 w 129"/>
                  <a:gd name="T103" fmla="*/ 58 h 104"/>
                  <a:gd name="T104" fmla="*/ 110 w 129"/>
                  <a:gd name="T105" fmla="*/ 59 h 104"/>
                  <a:gd name="T106" fmla="*/ 109 w 129"/>
                  <a:gd name="T107" fmla="*/ 68 h 104"/>
                  <a:gd name="T108" fmla="*/ 113 w 129"/>
                  <a:gd name="T109" fmla="*/ 70 h 1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29"/>
                  <a:gd name="T166" fmla="*/ 0 h 104"/>
                  <a:gd name="T167" fmla="*/ 129 w 129"/>
                  <a:gd name="T168" fmla="*/ 104 h 1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29" h="104">
                    <a:moveTo>
                      <a:pt x="114" y="80"/>
                    </a:moveTo>
                    <a:lnTo>
                      <a:pt x="114" y="82"/>
                    </a:lnTo>
                    <a:lnTo>
                      <a:pt x="112" y="82"/>
                    </a:lnTo>
                    <a:lnTo>
                      <a:pt x="112" y="84"/>
                    </a:lnTo>
                    <a:lnTo>
                      <a:pt x="111" y="86"/>
                    </a:lnTo>
                    <a:lnTo>
                      <a:pt x="109" y="83"/>
                    </a:lnTo>
                    <a:lnTo>
                      <a:pt x="108" y="84"/>
                    </a:lnTo>
                    <a:lnTo>
                      <a:pt x="108" y="86"/>
                    </a:lnTo>
                    <a:lnTo>
                      <a:pt x="107" y="84"/>
                    </a:lnTo>
                    <a:lnTo>
                      <a:pt x="108" y="88"/>
                    </a:lnTo>
                    <a:lnTo>
                      <a:pt x="106" y="90"/>
                    </a:lnTo>
                    <a:lnTo>
                      <a:pt x="104" y="88"/>
                    </a:lnTo>
                    <a:lnTo>
                      <a:pt x="102" y="88"/>
                    </a:lnTo>
                    <a:lnTo>
                      <a:pt x="100" y="87"/>
                    </a:lnTo>
                    <a:lnTo>
                      <a:pt x="100" y="88"/>
                    </a:lnTo>
                    <a:lnTo>
                      <a:pt x="99" y="87"/>
                    </a:lnTo>
                    <a:lnTo>
                      <a:pt x="99" y="88"/>
                    </a:lnTo>
                    <a:lnTo>
                      <a:pt x="98" y="86"/>
                    </a:lnTo>
                    <a:lnTo>
                      <a:pt x="98" y="87"/>
                    </a:lnTo>
                    <a:lnTo>
                      <a:pt x="97" y="86"/>
                    </a:lnTo>
                    <a:lnTo>
                      <a:pt x="97" y="84"/>
                    </a:lnTo>
                    <a:lnTo>
                      <a:pt x="96" y="85"/>
                    </a:lnTo>
                    <a:lnTo>
                      <a:pt x="96" y="81"/>
                    </a:lnTo>
                    <a:lnTo>
                      <a:pt x="94" y="82"/>
                    </a:lnTo>
                    <a:lnTo>
                      <a:pt x="94" y="81"/>
                    </a:lnTo>
                    <a:lnTo>
                      <a:pt x="93" y="80"/>
                    </a:lnTo>
                    <a:lnTo>
                      <a:pt x="92" y="81"/>
                    </a:lnTo>
                    <a:lnTo>
                      <a:pt x="92" y="80"/>
                    </a:lnTo>
                    <a:lnTo>
                      <a:pt x="92" y="79"/>
                    </a:lnTo>
                    <a:lnTo>
                      <a:pt x="91" y="80"/>
                    </a:lnTo>
                    <a:lnTo>
                      <a:pt x="91" y="77"/>
                    </a:lnTo>
                    <a:lnTo>
                      <a:pt x="90" y="78"/>
                    </a:lnTo>
                    <a:lnTo>
                      <a:pt x="89" y="79"/>
                    </a:lnTo>
                    <a:lnTo>
                      <a:pt x="88" y="80"/>
                    </a:lnTo>
                    <a:lnTo>
                      <a:pt x="87" y="80"/>
                    </a:lnTo>
                    <a:lnTo>
                      <a:pt x="86" y="80"/>
                    </a:lnTo>
                    <a:lnTo>
                      <a:pt x="86" y="79"/>
                    </a:lnTo>
                    <a:lnTo>
                      <a:pt x="85" y="79"/>
                    </a:lnTo>
                    <a:lnTo>
                      <a:pt x="83" y="78"/>
                    </a:lnTo>
                    <a:lnTo>
                      <a:pt x="83" y="79"/>
                    </a:lnTo>
                    <a:lnTo>
                      <a:pt x="82" y="80"/>
                    </a:lnTo>
                    <a:lnTo>
                      <a:pt x="80" y="80"/>
                    </a:lnTo>
                    <a:lnTo>
                      <a:pt x="78" y="77"/>
                    </a:lnTo>
                    <a:lnTo>
                      <a:pt x="77" y="78"/>
                    </a:lnTo>
                    <a:lnTo>
                      <a:pt x="74" y="79"/>
                    </a:lnTo>
                    <a:lnTo>
                      <a:pt x="76" y="82"/>
                    </a:lnTo>
                    <a:lnTo>
                      <a:pt x="73" y="84"/>
                    </a:lnTo>
                    <a:lnTo>
                      <a:pt x="73" y="85"/>
                    </a:lnTo>
                    <a:lnTo>
                      <a:pt x="72" y="84"/>
                    </a:lnTo>
                    <a:lnTo>
                      <a:pt x="72" y="85"/>
                    </a:lnTo>
                    <a:lnTo>
                      <a:pt x="71" y="86"/>
                    </a:lnTo>
                    <a:lnTo>
                      <a:pt x="70" y="86"/>
                    </a:lnTo>
                    <a:lnTo>
                      <a:pt x="70" y="83"/>
                    </a:lnTo>
                    <a:lnTo>
                      <a:pt x="64" y="84"/>
                    </a:lnTo>
                    <a:lnTo>
                      <a:pt x="64" y="87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0" y="90"/>
                    </a:lnTo>
                    <a:lnTo>
                      <a:pt x="58" y="88"/>
                    </a:lnTo>
                    <a:lnTo>
                      <a:pt x="57" y="92"/>
                    </a:lnTo>
                    <a:lnTo>
                      <a:pt x="56" y="93"/>
                    </a:lnTo>
                    <a:lnTo>
                      <a:pt x="54" y="93"/>
                    </a:lnTo>
                    <a:lnTo>
                      <a:pt x="53" y="92"/>
                    </a:lnTo>
                    <a:lnTo>
                      <a:pt x="52" y="92"/>
                    </a:lnTo>
                    <a:lnTo>
                      <a:pt x="50" y="93"/>
                    </a:lnTo>
                    <a:lnTo>
                      <a:pt x="46" y="95"/>
                    </a:lnTo>
                    <a:lnTo>
                      <a:pt x="44" y="95"/>
                    </a:lnTo>
                    <a:lnTo>
                      <a:pt x="40" y="90"/>
                    </a:lnTo>
                    <a:lnTo>
                      <a:pt x="39" y="91"/>
                    </a:lnTo>
                    <a:lnTo>
                      <a:pt x="37" y="99"/>
                    </a:lnTo>
                    <a:lnTo>
                      <a:pt x="37" y="102"/>
                    </a:lnTo>
                    <a:lnTo>
                      <a:pt x="37" y="103"/>
                    </a:lnTo>
                    <a:lnTo>
                      <a:pt x="37" y="104"/>
                    </a:lnTo>
                    <a:lnTo>
                      <a:pt x="36" y="103"/>
                    </a:lnTo>
                    <a:lnTo>
                      <a:pt x="35" y="101"/>
                    </a:lnTo>
                    <a:lnTo>
                      <a:pt x="33" y="100"/>
                    </a:lnTo>
                    <a:lnTo>
                      <a:pt x="31" y="102"/>
                    </a:lnTo>
                    <a:lnTo>
                      <a:pt x="31" y="101"/>
                    </a:lnTo>
                    <a:lnTo>
                      <a:pt x="31" y="99"/>
                    </a:lnTo>
                    <a:lnTo>
                      <a:pt x="30" y="99"/>
                    </a:lnTo>
                    <a:lnTo>
                      <a:pt x="27" y="100"/>
                    </a:lnTo>
                    <a:lnTo>
                      <a:pt x="27" y="99"/>
                    </a:lnTo>
                    <a:lnTo>
                      <a:pt x="22" y="99"/>
                    </a:lnTo>
                    <a:lnTo>
                      <a:pt x="21" y="97"/>
                    </a:lnTo>
                    <a:lnTo>
                      <a:pt x="19" y="95"/>
                    </a:lnTo>
                    <a:lnTo>
                      <a:pt x="18" y="93"/>
                    </a:lnTo>
                    <a:lnTo>
                      <a:pt x="20" y="90"/>
                    </a:lnTo>
                    <a:lnTo>
                      <a:pt x="22" y="90"/>
                    </a:lnTo>
                    <a:lnTo>
                      <a:pt x="23" y="91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1" y="88"/>
                    </a:lnTo>
                    <a:lnTo>
                      <a:pt x="20" y="88"/>
                    </a:lnTo>
                    <a:lnTo>
                      <a:pt x="20" y="87"/>
                    </a:lnTo>
                    <a:lnTo>
                      <a:pt x="24" y="84"/>
                    </a:lnTo>
                    <a:lnTo>
                      <a:pt x="24" y="82"/>
                    </a:lnTo>
                    <a:lnTo>
                      <a:pt x="23" y="80"/>
                    </a:lnTo>
                    <a:lnTo>
                      <a:pt x="25" y="80"/>
                    </a:lnTo>
                    <a:lnTo>
                      <a:pt x="23" y="78"/>
                    </a:lnTo>
                    <a:lnTo>
                      <a:pt x="18" y="79"/>
                    </a:lnTo>
                    <a:lnTo>
                      <a:pt x="18" y="76"/>
                    </a:lnTo>
                    <a:lnTo>
                      <a:pt x="17" y="76"/>
                    </a:lnTo>
                    <a:lnTo>
                      <a:pt x="16" y="75"/>
                    </a:lnTo>
                    <a:lnTo>
                      <a:pt x="14" y="75"/>
                    </a:lnTo>
                    <a:lnTo>
                      <a:pt x="14" y="74"/>
                    </a:lnTo>
                    <a:lnTo>
                      <a:pt x="14" y="72"/>
                    </a:lnTo>
                    <a:lnTo>
                      <a:pt x="14" y="71"/>
                    </a:lnTo>
                    <a:lnTo>
                      <a:pt x="15" y="67"/>
                    </a:lnTo>
                    <a:lnTo>
                      <a:pt x="18" y="70"/>
                    </a:lnTo>
                    <a:lnTo>
                      <a:pt x="20" y="63"/>
                    </a:lnTo>
                    <a:lnTo>
                      <a:pt x="15" y="62"/>
                    </a:lnTo>
                    <a:lnTo>
                      <a:pt x="13" y="59"/>
                    </a:lnTo>
                    <a:lnTo>
                      <a:pt x="12" y="58"/>
                    </a:lnTo>
                    <a:lnTo>
                      <a:pt x="8" y="53"/>
                    </a:lnTo>
                    <a:lnTo>
                      <a:pt x="8" y="52"/>
                    </a:lnTo>
                    <a:lnTo>
                      <a:pt x="9" y="50"/>
                    </a:lnTo>
                    <a:lnTo>
                      <a:pt x="8" y="50"/>
                    </a:lnTo>
                    <a:lnTo>
                      <a:pt x="9" y="48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8" y="46"/>
                    </a:lnTo>
                    <a:lnTo>
                      <a:pt x="6" y="46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5" y="42"/>
                    </a:lnTo>
                    <a:lnTo>
                      <a:pt x="7" y="41"/>
                    </a:lnTo>
                    <a:lnTo>
                      <a:pt x="7" y="38"/>
                    </a:lnTo>
                    <a:lnTo>
                      <a:pt x="12" y="38"/>
                    </a:lnTo>
                    <a:lnTo>
                      <a:pt x="13" y="39"/>
                    </a:lnTo>
                    <a:lnTo>
                      <a:pt x="14" y="38"/>
                    </a:lnTo>
                    <a:lnTo>
                      <a:pt x="16" y="38"/>
                    </a:lnTo>
                    <a:lnTo>
                      <a:pt x="16" y="37"/>
                    </a:lnTo>
                    <a:lnTo>
                      <a:pt x="14" y="36"/>
                    </a:lnTo>
                    <a:lnTo>
                      <a:pt x="15" y="35"/>
                    </a:lnTo>
                    <a:lnTo>
                      <a:pt x="12" y="35"/>
                    </a:lnTo>
                    <a:lnTo>
                      <a:pt x="12" y="31"/>
                    </a:lnTo>
                    <a:lnTo>
                      <a:pt x="11" y="32"/>
                    </a:lnTo>
                    <a:lnTo>
                      <a:pt x="9" y="31"/>
                    </a:lnTo>
                    <a:lnTo>
                      <a:pt x="9" y="27"/>
                    </a:lnTo>
                    <a:lnTo>
                      <a:pt x="8" y="25"/>
                    </a:lnTo>
                    <a:lnTo>
                      <a:pt x="9" y="25"/>
                    </a:lnTo>
                    <a:lnTo>
                      <a:pt x="8" y="22"/>
                    </a:lnTo>
                    <a:lnTo>
                      <a:pt x="5" y="23"/>
                    </a:lnTo>
                    <a:lnTo>
                      <a:pt x="3" y="24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0" y="22"/>
                    </a:lnTo>
                    <a:lnTo>
                      <a:pt x="0" y="21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5" y="18"/>
                    </a:lnTo>
                    <a:lnTo>
                      <a:pt x="5" y="19"/>
                    </a:lnTo>
                    <a:lnTo>
                      <a:pt x="6" y="20"/>
                    </a:lnTo>
                    <a:lnTo>
                      <a:pt x="9" y="19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6" y="16"/>
                    </a:lnTo>
                    <a:lnTo>
                      <a:pt x="17" y="19"/>
                    </a:lnTo>
                    <a:lnTo>
                      <a:pt x="18" y="18"/>
                    </a:lnTo>
                    <a:lnTo>
                      <a:pt x="21" y="16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4" y="13"/>
                    </a:lnTo>
                    <a:lnTo>
                      <a:pt x="25" y="14"/>
                    </a:lnTo>
                    <a:lnTo>
                      <a:pt x="26" y="14"/>
                    </a:lnTo>
                    <a:lnTo>
                      <a:pt x="26" y="15"/>
                    </a:lnTo>
                    <a:lnTo>
                      <a:pt x="26" y="18"/>
                    </a:lnTo>
                    <a:lnTo>
                      <a:pt x="26" y="20"/>
                    </a:lnTo>
                    <a:lnTo>
                      <a:pt x="29" y="20"/>
                    </a:lnTo>
                    <a:lnTo>
                      <a:pt x="36" y="21"/>
                    </a:lnTo>
                    <a:lnTo>
                      <a:pt x="38" y="21"/>
                    </a:lnTo>
                    <a:lnTo>
                      <a:pt x="36" y="18"/>
                    </a:lnTo>
                    <a:lnTo>
                      <a:pt x="38" y="15"/>
                    </a:lnTo>
                    <a:lnTo>
                      <a:pt x="37" y="15"/>
                    </a:lnTo>
                    <a:lnTo>
                      <a:pt x="37" y="14"/>
                    </a:lnTo>
                    <a:lnTo>
                      <a:pt x="37" y="11"/>
                    </a:lnTo>
                    <a:lnTo>
                      <a:pt x="38" y="11"/>
                    </a:lnTo>
                    <a:lnTo>
                      <a:pt x="38" y="10"/>
                    </a:lnTo>
                    <a:lnTo>
                      <a:pt x="40" y="7"/>
                    </a:lnTo>
                    <a:lnTo>
                      <a:pt x="42" y="7"/>
                    </a:lnTo>
                    <a:lnTo>
                      <a:pt x="44" y="8"/>
                    </a:lnTo>
                    <a:lnTo>
                      <a:pt x="46" y="8"/>
                    </a:lnTo>
                    <a:lnTo>
                      <a:pt x="47" y="11"/>
                    </a:lnTo>
                    <a:lnTo>
                      <a:pt x="49" y="10"/>
                    </a:lnTo>
                    <a:lnTo>
                      <a:pt x="50" y="8"/>
                    </a:lnTo>
                    <a:lnTo>
                      <a:pt x="51" y="9"/>
                    </a:lnTo>
                    <a:lnTo>
                      <a:pt x="55" y="8"/>
                    </a:lnTo>
                    <a:lnTo>
                      <a:pt x="55" y="7"/>
                    </a:lnTo>
                    <a:lnTo>
                      <a:pt x="57" y="7"/>
                    </a:lnTo>
                    <a:lnTo>
                      <a:pt x="57" y="4"/>
                    </a:lnTo>
                    <a:lnTo>
                      <a:pt x="61" y="6"/>
                    </a:lnTo>
                    <a:lnTo>
                      <a:pt x="66" y="6"/>
                    </a:lnTo>
                    <a:lnTo>
                      <a:pt x="68" y="6"/>
                    </a:lnTo>
                    <a:lnTo>
                      <a:pt x="68" y="3"/>
                    </a:lnTo>
                    <a:lnTo>
                      <a:pt x="69" y="3"/>
                    </a:lnTo>
                    <a:lnTo>
                      <a:pt x="69" y="1"/>
                    </a:lnTo>
                    <a:lnTo>
                      <a:pt x="72" y="1"/>
                    </a:lnTo>
                    <a:lnTo>
                      <a:pt x="72" y="0"/>
                    </a:lnTo>
                    <a:lnTo>
                      <a:pt x="77" y="1"/>
                    </a:lnTo>
                    <a:lnTo>
                      <a:pt x="80" y="2"/>
                    </a:lnTo>
                    <a:lnTo>
                      <a:pt x="80" y="0"/>
                    </a:lnTo>
                    <a:lnTo>
                      <a:pt x="83" y="1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87" y="5"/>
                    </a:lnTo>
                    <a:lnTo>
                      <a:pt x="86" y="5"/>
                    </a:lnTo>
                    <a:lnTo>
                      <a:pt x="86" y="8"/>
                    </a:lnTo>
                    <a:lnTo>
                      <a:pt x="88" y="7"/>
                    </a:lnTo>
                    <a:lnTo>
                      <a:pt x="88" y="8"/>
                    </a:lnTo>
                    <a:lnTo>
                      <a:pt x="90" y="7"/>
                    </a:lnTo>
                    <a:lnTo>
                      <a:pt x="90" y="6"/>
                    </a:lnTo>
                    <a:lnTo>
                      <a:pt x="91" y="8"/>
                    </a:lnTo>
                    <a:lnTo>
                      <a:pt x="93" y="8"/>
                    </a:lnTo>
                    <a:lnTo>
                      <a:pt x="94" y="11"/>
                    </a:lnTo>
                    <a:lnTo>
                      <a:pt x="93" y="11"/>
                    </a:lnTo>
                    <a:lnTo>
                      <a:pt x="93" y="14"/>
                    </a:lnTo>
                    <a:lnTo>
                      <a:pt x="95" y="14"/>
                    </a:lnTo>
                    <a:lnTo>
                      <a:pt x="98" y="15"/>
                    </a:lnTo>
                    <a:lnTo>
                      <a:pt x="99" y="13"/>
                    </a:lnTo>
                    <a:lnTo>
                      <a:pt x="101" y="13"/>
                    </a:lnTo>
                    <a:lnTo>
                      <a:pt x="103" y="14"/>
                    </a:lnTo>
                    <a:lnTo>
                      <a:pt x="101" y="16"/>
                    </a:lnTo>
                    <a:lnTo>
                      <a:pt x="99" y="17"/>
                    </a:lnTo>
                    <a:lnTo>
                      <a:pt x="100" y="19"/>
                    </a:lnTo>
                    <a:lnTo>
                      <a:pt x="100" y="20"/>
                    </a:lnTo>
                    <a:lnTo>
                      <a:pt x="101" y="22"/>
                    </a:lnTo>
                    <a:lnTo>
                      <a:pt x="103" y="25"/>
                    </a:lnTo>
                    <a:lnTo>
                      <a:pt x="103" y="26"/>
                    </a:lnTo>
                    <a:lnTo>
                      <a:pt x="104" y="27"/>
                    </a:lnTo>
                    <a:lnTo>
                      <a:pt x="108" y="26"/>
                    </a:lnTo>
                    <a:lnTo>
                      <a:pt x="108" y="27"/>
                    </a:lnTo>
                    <a:lnTo>
                      <a:pt x="111" y="26"/>
                    </a:lnTo>
                    <a:lnTo>
                      <a:pt x="111" y="29"/>
                    </a:lnTo>
                    <a:lnTo>
                      <a:pt x="118" y="31"/>
                    </a:lnTo>
                    <a:lnTo>
                      <a:pt x="116" y="38"/>
                    </a:lnTo>
                    <a:lnTo>
                      <a:pt x="118" y="40"/>
                    </a:lnTo>
                    <a:lnTo>
                      <a:pt x="119" y="39"/>
                    </a:lnTo>
                    <a:lnTo>
                      <a:pt x="121" y="41"/>
                    </a:lnTo>
                    <a:lnTo>
                      <a:pt x="125" y="42"/>
                    </a:lnTo>
                    <a:lnTo>
                      <a:pt x="124" y="43"/>
                    </a:lnTo>
                    <a:lnTo>
                      <a:pt x="124" y="44"/>
                    </a:lnTo>
                    <a:lnTo>
                      <a:pt x="128" y="46"/>
                    </a:lnTo>
                    <a:lnTo>
                      <a:pt x="129" y="49"/>
                    </a:lnTo>
                    <a:lnTo>
                      <a:pt x="126" y="55"/>
                    </a:lnTo>
                    <a:lnTo>
                      <a:pt x="123" y="55"/>
                    </a:lnTo>
                    <a:lnTo>
                      <a:pt x="123" y="56"/>
                    </a:lnTo>
                    <a:lnTo>
                      <a:pt x="118" y="58"/>
                    </a:lnTo>
                    <a:lnTo>
                      <a:pt x="115" y="58"/>
                    </a:lnTo>
                    <a:lnTo>
                      <a:pt x="114" y="59"/>
                    </a:lnTo>
                    <a:lnTo>
                      <a:pt x="112" y="59"/>
                    </a:lnTo>
                    <a:lnTo>
                      <a:pt x="110" y="59"/>
                    </a:lnTo>
                    <a:lnTo>
                      <a:pt x="111" y="60"/>
                    </a:lnTo>
                    <a:lnTo>
                      <a:pt x="110" y="61"/>
                    </a:lnTo>
                    <a:lnTo>
                      <a:pt x="109" y="61"/>
                    </a:lnTo>
                    <a:lnTo>
                      <a:pt x="108" y="64"/>
                    </a:lnTo>
                    <a:lnTo>
                      <a:pt x="109" y="68"/>
                    </a:lnTo>
                    <a:lnTo>
                      <a:pt x="111" y="67"/>
                    </a:lnTo>
                    <a:lnTo>
                      <a:pt x="112" y="65"/>
                    </a:lnTo>
                    <a:lnTo>
                      <a:pt x="114" y="67"/>
                    </a:lnTo>
                    <a:lnTo>
                      <a:pt x="115" y="70"/>
                    </a:lnTo>
                    <a:lnTo>
                      <a:pt x="113" y="70"/>
                    </a:lnTo>
                    <a:lnTo>
                      <a:pt x="112" y="73"/>
                    </a:lnTo>
                    <a:lnTo>
                      <a:pt x="113" y="76"/>
                    </a:lnTo>
                    <a:lnTo>
                      <a:pt x="115" y="79"/>
                    </a:lnTo>
                    <a:lnTo>
                      <a:pt x="114" y="80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77" name="Group 98">
              <a:extLst>
                <a:ext uri="{FF2B5EF4-FFF2-40B4-BE49-F238E27FC236}">
                  <a16:creationId xmlns:a16="http://schemas.microsoft.com/office/drawing/2014/main" id="{68EEE0D6-7B2D-40F3-82DD-95B3E56C311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93" y="2680"/>
              <a:ext cx="485" cy="415"/>
              <a:chOff x="693" y="2680"/>
              <a:chExt cx="485" cy="415"/>
            </a:xfrm>
          </p:grpSpPr>
          <p:sp>
            <p:nvSpPr>
              <p:cNvPr id="505" name="Freeform 96">
                <a:extLst>
                  <a:ext uri="{FF2B5EF4-FFF2-40B4-BE49-F238E27FC236}">
                    <a16:creationId xmlns:a16="http://schemas.microsoft.com/office/drawing/2014/main" id="{12B77295-73CF-42E8-A6A7-1C95B8EAEC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" y="2680"/>
                <a:ext cx="485" cy="415"/>
              </a:xfrm>
              <a:custGeom>
                <a:avLst/>
                <a:gdLst>
                  <a:gd name="T0" fmla="*/ 471 w 485"/>
                  <a:gd name="T1" fmla="*/ 53 h 415"/>
                  <a:gd name="T2" fmla="*/ 460 w 485"/>
                  <a:gd name="T3" fmla="*/ 30 h 415"/>
                  <a:gd name="T4" fmla="*/ 433 w 485"/>
                  <a:gd name="T5" fmla="*/ 19 h 415"/>
                  <a:gd name="T6" fmla="*/ 400 w 485"/>
                  <a:gd name="T7" fmla="*/ 0 h 415"/>
                  <a:gd name="T8" fmla="*/ 384 w 485"/>
                  <a:gd name="T9" fmla="*/ 29 h 415"/>
                  <a:gd name="T10" fmla="*/ 398 w 485"/>
                  <a:gd name="T11" fmla="*/ 46 h 415"/>
                  <a:gd name="T12" fmla="*/ 415 w 485"/>
                  <a:gd name="T13" fmla="*/ 66 h 415"/>
                  <a:gd name="T14" fmla="*/ 397 w 485"/>
                  <a:gd name="T15" fmla="*/ 78 h 415"/>
                  <a:gd name="T16" fmla="*/ 351 w 485"/>
                  <a:gd name="T17" fmla="*/ 91 h 415"/>
                  <a:gd name="T18" fmla="*/ 310 w 485"/>
                  <a:gd name="T19" fmla="*/ 102 h 415"/>
                  <a:gd name="T20" fmla="*/ 277 w 485"/>
                  <a:gd name="T21" fmla="*/ 108 h 415"/>
                  <a:gd name="T22" fmla="*/ 257 w 485"/>
                  <a:gd name="T23" fmla="*/ 133 h 415"/>
                  <a:gd name="T24" fmla="*/ 232 w 485"/>
                  <a:gd name="T25" fmla="*/ 129 h 415"/>
                  <a:gd name="T26" fmla="*/ 191 w 485"/>
                  <a:gd name="T27" fmla="*/ 129 h 415"/>
                  <a:gd name="T28" fmla="*/ 173 w 485"/>
                  <a:gd name="T29" fmla="*/ 147 h 415"/>
                  <a:gd name="T30" fmla="*/ 142 w 485"/>
                  <a:gd name="T31" fmla="*/ 168 h 415"/>
                  <a:gd name="T32" fmla="*/ 128 w 485"/>
                  <a:gd name="T33" fmla="*/ 160 h 415"/>
                  <a:gd name="T34" fmla="*/ 109 w 485"/>
                  <a:gd name="T35" fmla="*/ 179 h 415"/>
                  <a:gd name="T36" fmla="*/ 85 w 485"/>
                  <a:gd name="T37" fmla="*/ 184 h 415"/>
                  <a:gd name="T38" fmla="*/ 60 w 485"/>
                  <a:gd name="T39" fmla="*/ 202 h 415"/>
                  <a:gd name="T40" fmla="*/ 24 w 485"/>
                  <a:gd name="T41" fmla="*/ 220 h 415"/>
                  <a:gd name="T42" fmla="*/ 8 w 485"/>
                  <a:gd name="T43" fmla="*/ 251 h 415"/>
                  <a:gd name="T44" fmla="*/ 40 w 485"/>
                  <a:gd name="T45" fmla="*/ 260 h 415"/>
                  <a:gd name="T46" fmla="*/ 45 w 485"/>
                  <a:gd name="T47" fmla="*/ 276 h 415"/>
                  <a:gd name="T48" fmla="*/ 66 w 485"/>
                  <a:gd name="T49" fmla="*/ 276 h 415"/>
                  <a:gd name="T50" fmla="*/ 69 w 485"/>
                  <a:gd name="T51" fmla="*/ 300 h 415"/>
                  <a:gd name="T52" fmla="*/ 64 w 485"/>
                  <a:gd name="T53" fmla="*/ 316 h 415"/>
                  <a:gd name="T54" fmla="*/ 69 w 485"/>
                  <a:gd name="T55" fmla="*/ 336 h 415"/>
                  <a:gd name="T56" fmla="*/ 70 w 485"/>
                  <a:gd name="T57" fmla="*/ 352 h 415"/>
                  <a:gd name="T58" fmla="*/ 70 w 485"/>
                  <a:gd name="T59" fmla="*/ 375 h 415"/>
                  <a:gd name="T60" fmla="*/ 65 w 485"/>
                  <a:gd name="T61" fmla="*/ 379 h 415"/>
                  <a:gd name="T62" fmla="*/ 72 w 485"/>
                  <a:gd name="T63" fmla="*/ 390 h 415"/>
                  <a:gd name="T64" fmla="*/ 84 w 485"/>
                  <a:gd name="T65" fmla="*/ 408 h 415"/>
                  <a:gd name="T66" fmla="*/ 94 w 485"/>
                  <a:gd name="T67" fmla="*/ 413 h 415"/>
                  <a:gd name="T68" fmla="*/ 110 w 485"/>
                  <a:gd name="T69" fmla="*/ 402 h 415"/>
                  <a:gd name="T70" fmla="*/ 124 w 485"/>
                  <a:gd name="T71" fmla="*/ 396 h 415"/>
                  <a:gd name="T72" fmla="*/ 136 w 485"/>
                  <a:gd name="T73" fmla="*/ 379 h 415"/>
                  <a:gd name="T74" fmla="*/ 150 w 485"/>
                  <a:gd name="T75" fmla="*/ 368 h 415"/>
                  <a:gd name="T76" fmla="*/ 174 w 485"/>
                  <a:gd name="T77" fmla="*/ 361 h 415"/>
                  <a:gd name="T78" fmla="*/ 206 w 485"/>
                  <a:gd name="T79" fmla="*/ 359 h 415"/>
                  <a:gd name="T80" fmla="*/ 226 w 485"/>
                  <a:gd name="T81" fmla="*/ 349 h 415"/>
                  <a:gd name="T82" fmla="*/ 254 w 485"/>
                  <a:gd name="T83" fmla="*/ 347 h 415"/>
                  <a:gd name="T84" fmla="*/ 265 w 485"/>
                  <a:gd name="T85" fmla="*/ 335 h 415"/>
                  <a:gd name="T86" fmla="*/ 274 w 485"/>
                  <a:gd name="T87" fmla="*/ 321 h 415"/>
                  <a:gd name="T88" fmla="*/ 297 w 485"/>
                  <a:gd name="T89" fmla="*/ 326 h 415"/>
                  <a:gd name="T90" fmla="*/ 330 w 485"/>
                  <a:gd name="T91" fmla="*/ 329 h 415"/>
                  <a:gd name="T92" fmla="*/ 350 w 485"/>
                  <a:gd name="T93" fmla="*/ 326 h 415"/>
                  <a:gd name="T94" fmla="*/ 369 w 485"/>
                  <a:gd name="T95" fmla="*/ 327 h 415"/>
                  <a:gd name="T96" fmla="*/ 378 w 485"/>
                  <a:gd name="T97" fmla="*/ 326 h 415"/>
                  <a:gd name="T98" fmla="*/ 378 w 485"/>
                  <a:gd name="T99" fmla="*/ 305 h 415"/>
                  <a:gd name="T100" fmla="*/ 381 w 485"/>
                  <a:gd name="T101" fmla="*/ 293 h 415"/>
                  <a:gd name="T102" fmla="*/ 396 w 485"/>
                  <a:gd name="T103" fmla="*/ 293 h 415"/>
                  <a:gd name="T104" fmla="*/ 411 w 485"/>
                  <a:gd name="T105" fmla="*/ 279 h 415"/>
                  <a:gd name="T106" fmla="*/ 411 w 485"/>
                  <a:gd name="T107" fmla="*/ 253 h 415"/>
                  <a:gd name="T108" fmla="*/ 405 w 485"/>
                  <a:gd name="T109" fmla="*/ 242 h 415"/>
                  <a:gd name="T110" fmla="*/ 397 w 485"/>
                  <a:gd name="T111" fmla="*/ 219 h 415"/>
                  <a:gd name="T112" fmla="*/ 392 w 485"/>
                  <a:gd name="T113" fmla="*/ 187 h 415"/>
                  <a:gd name="T114" fmla="*/ 408 w 485"/>
                  <a:gd name="T115" fmla="*/ 157 h 415"/>
                  <a:gd name="T116" fmla="*/ 418 w 485"/>
                  <a:gd name="T117" fmla="*/ 136 h 415"/>
                  <a:gd name="T118" fmla="*/ 427 w 485"/>
                  <a:gd name="T119" fmla="*/ 123 h 415"/>
                  <a:gd name="T120" fmla="*/ 434 w 485"/>
                  <a:gd name="T121" fmla="*/ 121 h 415"/>
                  <a:gd name="T122" fmla="*/ 454 w 485"/>
                  <a:gd name="T123" fmla="*/ 122 h 415"/>
                  <a:gd name="T124" fmla="*/ 484 w 485"/>
                  <a:gd name="T125" fmla="*/ 83 h 41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85"/>
                  <a:gd name="T190" fmla="*/ 0 h 415"/>
                  <a:gd name="T191" fmla="*/ 485 w 485"/>
                  <a:gd name="T192" fmla="*/ 415 h 41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85" h="415">
                    <a:moveTo>
                      <a:pt x="484" y="72"/>
                    </a:moveTo>
                    <a:lnTo>
                      <a:pt x="482" y="71"/>
                    </a:lnTo>
                    <a:lnTo>
                      <a:pt x="478" y="73"/>
                    </a:lnTo>
                    <a:lnTo>
                      <a:pt x="475" y="73"/>
                    </a:lnTo>
                    <a:lnTo>
                      <a:pt x="473" y="74"/>
                    </a:lnTo>
                    <a:lnTo>
                      <a:pt x="470" y="74"/>
                    </a:lnTo>
                    <a:lnTo>
                      <a:pt x="465" y="77"/>
                    </a:lnTo>
                    <a:lnTo>
                      <a:pt x="464" y="76"/>
                    </a:lnTo>
                    <a:lnTo>
                      <a:pt x="461" y="74"/>
                    </a:lnTo>
                    <a:lnTo>
                      <a:pt x="460" y="71"/>
                    </a:lnTo>
                    <a:lnTo>
                      <a:pt x="463" y="66"/>
                    </a:lnTo>
                    <a:lnTo>
                      <a:pt x="467" y="62"/>
                    </a:lnTo>
                    <a:lnTo>
                      <a:pt x="468" y="60"/>
                    </a:lnTo>
                    <a:lnTo>
                      <a:pt x="471" y="55"/>
                    </a:lnTo>
                    <a:lnTo>
                      <a:pt x="471" y="53"/>
                    </a:lnTo>
                    <a:lnTo>
                      <a:pt x="472" y="52"/>
                    </a:lnTo>
                    <a:lnTo>
                      <a:pt x="472" y="49"/>
                    </a:lnTo>
                    <a:lnTo>
                      <a:pt x="473" y="48"/>
                    </a:lnTo>
                    <a:lnTo>
                      <a:pt x="474" y="43"/>
                    </a:lnTo>
                    <a:lnTo>
                      <a:pt x="473" y="43"/>
                    </a:lnTo>
                    <a:lnTo>
                      <a:pt x="470" y="40"/>
                    </a:lnTo>
                    <a:lnTo>
                      <a:pt x="470" y="37"/>
                    </a:lnTo>
                    <a:lnTo>
                      <a:pt x="467" y="33"/>
                    </a:lnTo>
                    <a:lnTo>
                      <a:pt x="466" y="32"/>
                    </a:lnTo>
                    <a:lnTo>
                      <a:pt x="465" y="32"/>
                    </a:lnTo>
                    <a:lnTo>
                      <a:pt x="459" y="33"/>
                    </a:lnTo>
                    <a:lnTo>
                      <a:pt x="458" y="32"/>
                    </a:lnTo>
                    <a:lnTo>
                      <a:pt x="459" y="31"/>
                    </a:lnTo>
                    <a:lnTo>
                      <a:pt x="460" y="30"/>
                    </a:lnTo>
                    <a:lnTo>
                      <a:pt x="460" y="29"/>
                    </a:lnTo>
                    <a:lnTo>
                      <a:pt x="458" y="26"/>
                    </a:lnTo>
                    <a:lnTo>
                      <a:pt x="450" y="23"/>
                    </a:lnTo>
                    <a:lnTo>
                      <a:pt x="451" y="19"/>
                    </a:lnTo>
                    <a:lnTo>
                      <a:pt x="453" y="14"/>
                    </a:lnTo>
                    <a:lnTo>
                      <a:pt x="452" y="12"/>
                    </a:lnTo>
                    <a:lnTo>
                      <a:pt x="449" y="13"/>
                    </a:lnTo>
                    <a:lnTo>
                      <a:pt x="449" y="17"/>
                    </a:lnTo>
                    <a:lnTo>
                      <a:pt x="448" y="22"/>
                    </a:lnTo>
                    <a:lnTo>
                      <a:pt x="444" y="21"/>
                    </a:lnTo>
                    <a:lnTo>
                      <a:pt x="444" y="19"/>
                    </a:lnTo>
                    <a:lnTo>
                      <a:pt x="443" y="18"/>
                    </a:lnTo>
                    <a:lnTo>
                      <a:pt x="441" y="15"/>
                    </a:lnTo>
                    <a:lnTo>
                      <a:pt x="439" y="15"/>
                    </a:lnTo>
                    <a:lnTo>
                      <a:pt x="433" y="19"/>
                    </a:lnTo>
                    <a:lnTo>
                      <a:pt x="432" y="19"/>
                    </a:lnTo>
                    <a:lnTo>
                      <a:pt x="429" y="21"/>
                    </a:lnTo>
                    <a:lnTo>
                      <a:pt x="427" y="21"/>
                    </a:lnTo>
                    <a:lnTo>
                      <a:pt x="423" y="19"/>
                    </a:lnTo>
                    <a:lnTo>
                      <a:pt x="421" y="18"/>
                    </a:lnTo>
                    <a:lnTo>
                      <a:pt x="419" y="16"/>
                    </a:lnTo>
                    <a:lnTo>
                      <a:pt x="419" y="11"/>
                    </a:lnTo>
                    <a:lnTo>
                      <a:pt x="418" y="10"/>
                    </a:lnTo>
                    <a:lnTo>
                      <a:pt x="415" y="7"/>
                    </a:lnTo>
                    <a:lnTo>
                      <a:pt x="411" y="8"/>
                    </a:lnTo>
                    <a:lnTo>
                      <a:pt x="410" y="8"/>
                    </a:lnTo>
                    <a:lnTo>
                      <a:pt x="408" y="8"/>
                    </a:lnTo>
                    <a:lnTo>
                      <a:pt x="406" y="4"/>
                    </a:lnTo>
                    <a:lnTo>
                      <a:pt x="403" y="0"/>
                    </a:lnTo>
                    <a:lnTo>
                      <a:pt x="400" y="0"/>
                    </a:lnTo>
                    <a:lnTo>
                      <a:pt x="398" y="2"/>
                    </a:lnTo>
                    <a:lnTo>
                      <a:pt x="395" y="6"/>
                    </a:lnTo>
                    <a:lnTo>
                      <a:pt x="392" y="5"/>
                    </a:lnTo>
                    <a:lnTo>
                      <a:pt x="392" y="7"/>
                    </a:lnTo>
                    <a:lnTo>
                      <a:pt x="393" y="8"/>
                    </a:lnTo>
                    <a:lnTo>
                      <a:pt x="394" y="10"/>
                    </a:lnTo>
                    <a:lnTo>
                      <a:pt x="394" y="13"/>
                    </a:lnTo>
                    <a:lnTo>
                      <a:pt x="392" y="15"/>
                    </a:lnTo>
                    <a:lnTo>
                      <a:pt x="392" y="17"/>
                    </a:lnTo>
                    <a:lnTo>
                      <a:pt x="388" y="19"/>
                    </a:lnTo>
                    <a:lnTo>
                      <a:pt x="387" y="19"/>
                    </a:lnTo>
                    <a:lnTo>
                      <a:pt x="386" y="21"/>
                    </a:lnTo>
                    <a:lnTo>
                      <a:pt x="388" y="24"/>
                    </a:lnTo>
                    <a:lnTo>
                      <a:pt x="385" y="27"/>
                    </a:lnTo>
                    <a:lnTo>
                      <a:pt x="384" y="29"/>
                    </a:lnTo>
                    <a:lnTo>
                      <a:pt x="386" y="31"/>
                    </a:lnTo>
                    <a:lnTo>
                      <a:pt x="389" y="32"/>
                    </a:lnTo>
                    <a:lnTo>
                      <a:pt x="391" y="35"/>
                    </a:lnTo>
                    <a:lnTo>
                      <a:pt x="392" y="35"/>
                    </a:lnTo>
                    <a:lnTo>
                      <a:pt x="394" y="35"/>
                    </a:lnTo>
                    <a:lnTo>
                      <a:pt x="398" y="33"/>
                    </a:lnTo>
                    <a:lnTo>
                      <a:pt x="401" y="33"/>
                    </a:lnTo>
                    <a:lnTo>
                      <a:pt x="402" y="35"/>
                    </a:lnTo>
                    <a:lnTo>
                      <a:pt x="402" y="36"/>
                    </a:lnTo>
                    <a:lnTo>
                      <a:pt x="402" y="39"/>
                    </a:lnTo>
                    <a:lnTo>
                      <a:pt x="400" y="39"/>
                    </a:lnTo>
                    <a:lnTo>
                      <a:pt x="398" y="38"/>
                    </a:lnTo>
                    <a:lnTo>
                      <a:pt x="394" y="42"/>
                    </a:lnTo>
                    <a:lnTo>
                      <a:pt x="398" y="45"/>
                    </a:lnTo>
                    <a:lnTo>
                      <a:pt x="398" y="46"/>
                    </a:lnTo>
                    <a:lnTo>
                      <a:pt x="397" y="47"/>
                    </a:lnTo>
                    <a:lnTo>
                      <a:pt x="400" y="50"/>
                    </a:lnTo>
                    <a:lnTo>
                      <a:pt x="405" y="51"/>
                    </a:lnTo>
                    <a:lnTo>
                      <a:pt x="406" y="53"/>
                    </a:lnTo>
                    <a:lnTo>
                      <a:pt x="407" y="53"/>
                    </a:lnTo>
                    <a:lnTo>
                      <a:pt x="409" y="55"/>
                    </a:lnTo>
                    <a:lnTo>
                      <a:pt x="411" y="55"/>
                    </a:lnTo>
                    <a:lnTo>
                      <a:pt x="411" y="57"/>
                    </a:lnTo>
                    <a:lnTo>
                      <a:pt x="412" y="57"/>
                    </a:lnTo>
                    <a:lnTo>
                      <a:pt x="416" y="56"/>
                    </a:lnTo>
                    <a:lnTo>
                      <a:pt x="418" y="59"/>
                    </a:lnTo>
                    <a:lnTo>
                      <a:pt x="419" y="61"/>
                    </a:lnTo>
                    <a:lnTo>
                      <a:pt x="418" y="62"/>
                    </a:lnTo>
                    <a:lnTo>
                      <a:pt x="418" y="65"/>
                    </a:lnTo>
                    <a:lnTo>
                      <a:pt x="415" y="66"/>
                    </a:lnTo>
                    <a:lnTo>
                      <a:pt x="416" y="66"/>
                    </a:lnTo>
                    <a:lnTo>
                      <a:pt x="416" y="68"/>
                    </a:lnTo>
                    <a:lnTo>
                      <a:pt x="414" y="67"/>
                    </a:lnTo>
                    <a:lnTo>
                      <a:pt x="414" y="68"/>
                    </a:lnTo>
                    <a:lnTo>
                      <a:pt x="414" y="72"/>
                    </a:lnTo>
                    <a:lnTo>
                      <a:pt x="413" y="76"/>
                    </a:lnTo>
                    <a:lnTo>
                      <a:pt x="410" y="76"/>
                    </a:lnTo>
                    <a:lnTo>
                      <a:pt x="405" y="74"/>
                    </a:lnTo>
                    <a:lnTo>
                      <a:pt x="405" y="75"/>
                    </a:lnTo>
                    <a:lnTo>
                      <a:pt x="403" y="73"/>
                    </a:lnTo>
                    <a:lnTo>
                      <a:pt x="403" y="76"/>
                    </a:lnTo>
                    <a:lnTo>
                      <a:pt x="402" y="78"/>
                    </a:lnTo>
                    <a:lnTo>
                      <a:pt x="397" y="78"/>
                    </a:lnTo>
                    <a:lnTo>
                      <a:pt x="395" y="78"/>
                    </a:lnTo>
                    <a:lnTo>
                      <a:pt x="390" y="79"/>
                    </a:lnTo>
                    <a:lnTo>
                      <a:pt x="387" y="78"/>
                    </a:lnTo>
                    <a:lnTo>
                      <a:pt x="386" y="75"/>
                    </a:lnTo>
                    <a:lnTo>
                      <a:pt x="382" y="73"/>
                    </a:lnTo>
                    <a:lnTo>
                      <a:pt x="377" y="76"/>
                    </a:lnTo>
                    <a:lnTo>
                      <a:pt x="375" y="76"/>
                    </a:lnTo>
                    <a:lnTo>
                      <a:pt x="372" y="75"/>
                    </a:lnTo>
                    <a:lnTo>
                      <a:pt x="372" y="79"/>
                    </a:lnTo>
                    <a:lnTo>
                      <a:pt x="367" y="87"/>
                    </a:lnTo>
                    <a:lnTo>
                      <a:pt x="366" y="87"/>
                    </a:lnTo>
                    <a:lnTo>
                      <a:pt x="361" y="90"/>
                    </a:lnTo>
                    <a:lnTo>
                      <a:pt x="360" y="90"/>
                    </a:lnTo>
                    <a:lnTo>
                      <a:pt x="358" y="91"/>
                    </a:lnTo>
                    <a:lnTo>
                      <a:pt x="351" y="91"/>
                    </a:lnTo>
                    <a:lnTo>
                      <a:pt x="342" y="96"/>
                    </a:lnTo>
                    <a:lnTo>
                      <a:pt x="340" y="95"/>
                    </a:lnTo>
                    <a:lnTo>
                      <a:pt x="337" y="97"/>
                    </a:lnTo>
                    <a:lnTo>
                      <a:pt x="335" y="97"/>
                    </a:lnTo>
                    <a:lnTo>
                      <a:pt x="333" y="98"/>
                    </a:lnTo>
                    <a:lnTo>
                      <a:pt x="330" y="98"/>
                    </a:lnTo>
                    <a:lnTo>
                      <a:pt x="327" y="101"/>
                    </a:lnTo>
                    <a:lnTo>
                      <a:pt x="326" y="103"/>
                    </a:lnTo>
                    <a:lnTo>
                      <a:pt x="325" y="104"/>
                    </a:lnTo>
                    <a:lnTo>
                      <a:pt x="322" y="104"/>
                    </a:lnTo>
                    <a:lnTo>
                      <a:pt x="321" y="103"/>
                    </a:lnTo>
                    <a:lnTo>
                      <a:pt x="318" y="103"/>
                    </a:lnTo>
                    <a:lnTo>
                      <a:pt x="316" y="103"/>
                    </a:lnTo>
                    <a:lnTo>
                      <a:pt x="314" y="106"/>
                    </a:lnTo>
                    <a:lnTo>
                      <a:pt x="310" y="102"/>
                    </a:lnTo>
                    <a:lnTo>
                      <a:pt x="307" y="101"/>
                    </a:lnTo>
                    <a:lnTo>
                      <a:pt x="307" y="99"/>
                    </a:lnTo>
                    <a:lnTo>
                      <a:pt x="304" y="96"/>
                    </a:lnTo>
                    <a:lnTo>
                      <a:pt x="302" y="98"/>
                    </a:lnTo>
                    <a:lnTo>
                      <a:pt x="298" y="100"/>
                    </a:lnTo>
                    <a:lnTo>
                      <a:pt x="294" y="100"/>
                    </a:lnTo>
                    <a:lnTo>
                      <a:pt x="293" y="100"/>
                    </a:lnTo>
                    <a:lnTo>
                      <a:pt x="293" y="104"/>
                    </a:lnTo>
                    <a:lnTo>
                      <a:pt x="291" y="105"/>
                    </a:lnTo>
                    <a:lnTo>
                      <a:pt x="290" y="106"/>
                    </a:lnTo>
                    <a:lnTo>
                      <a:pt x="288" y="108"/>
                    </a:lnTo>
                    <a:lnTo>
                      <a:pt x="283" y="107"/>
                    </a:lnTo>
                    <a:lnTo>
                      <a:pt x="280" y="104"/>
                    </a:lnTo>
                    <a:lnTo>
                      <a:pt x="277" y="106"/>
                    </a:lnTo>
                    <a:lnTo>
                      <a:pt x="277" y="108"/>
                    </a:lnTo>
                    <a:lnTo>
                      <a:pt x="276" y="111"/>
                    </a:lnTo>
                    <a:lnTo>
                      <a:pt x="275" y="113"/>
                    </a:lnTo>
                    <a:lnTo>
                      <a:pt x="273" y="116"/>
                    </a:lnTo>
                    <a:lnTo>
                      <a:pt x="274" y="119"/>
                    </a:lnTo>
                    <a:lnTo>
                      <a:pt x="276" y="123"/>
                    </a:lnTo>
                    <a:lnTo>
                      <a:pt x="274" y="127"/>
                    </a:lnTo>
                    <a:lnTo>
                      <a:pt x="271" y="129"/>
                    </a:lnTo>
                    <a:lnTo>
                      <a:pt x="269" y="130"/>
                    </a:lnTo>
                    <a:lnTo>
                      <a:pt x="267" y="127"/>
                    </a:lnTo>
                    <a:lnTo>
                      <a:pt x="265" y="127"/>
                    </a:lnTo>
                    <a:lnTo>
                      <a:pt x="264" y="130"/>
                    </a:lnTo>
                    <a:lnTo>
                      <a:pt x="263" y="134"/>
                    </a:lnTo>
                    <a:lnTo>
                      <a:pt x="260" y="134"/>
                    </a:lnTo>
                    <a:lnTo>
                      <a:pt x="257" y="133"/>
                    </a:lnTo>
                    <a:lnTo>
                      <a:pt x="256" y="134"/>
                    </a:lnTo>
                    <a:lnTo>
                      <a:pt x="255" y="134"/>
                    </a:lnTo>
                    <a:lnTo>
                      <a:pt x="252" y="130"/>
                    </a:lnTo>
                    <a:lnTo>
                      <a:pt x="250" y="129"/>
                    </a:lnTo>
                    <a:lnTo>
                      <a:pt x="248" y="128"/>
                    </a:lnTo>
                    <a:lnTo>
                      <a:pt x="246" y="129"/>
                    </a:lnTo>
                    <a:lnTo>
                      <a:pt x="245" y="127"/>
                    </a:lnTo>
                    <a:lnTo>
                      <a:pt x="244" y="128"/>
                    </a:lnTo>
                    <a:lnTo>
                      <a:pt x="243" y="126"/>
                    </a:lnTo>
                    <a:lnTo>
                      <a:pt x="241" y="127"/>
                    </a:lnTo>
                    <a:lnTo>
                      <a:pt x="239" y="126"/>
                    </a:lnTo>
                    <a:lnTo>
                      <a:pt x="237" y="126"/>
                    </a:lnTo>
                    <a:lnTo>
                      <a:pt x="236" y="128"/>
                    </a:lnTo>
                    <a:lnTo>
                      <a:pt x="234" y="129"/>
                    </a:lnTo>
                    <a:lnTo>
                      <a:pt x="232" y="129"/>
                    </a:lnTo>
                    <a:lnTo>
                      <a:pt x="229" y="125"/>
                    </a:lnTo>
                    <a:lnTo>
                      <a:pt x="225" y="129"/>
                    </a:lnTo>
                    <a:lnTo>
                      <a:pt x="223" y="129"/>
                    </a:lnTo>
                    <a:lnTo>
                      <a:pt x="224" y="131"/>
                    </a:lnTo>
                    <a:lnTo>
                      <a:pt x="223" y="133"/>
                    </a:lnTo>
                    <a:lnTo>
                      <a:pt x="219" y="130"/>
                    </a:lnTo>
                    <a:lnTo>
                      <a:pt x="217" y="127"/>
                    </a:lnTo>
                    <a:lnTo>
                      <a:pt x="212" y="123"/>
                    </a:lnTo>
                    <a:lnTo>
                      <a:pt x="207" y="123"/>
                    </a:lnTo>
                    <a:lnTo>
                      <a:pt x="204" y="125"/>
                    </a:lnTo>
                    <a:lnTo>
                      <a:pt x="201" y="126"/>
                    </a:lnTo>
                    <a:lnTo>
                      <a:pt x="201" y="129"/>
                    </a:lnTo>
                    <a:lnTo>
                      <a:pt x="197" y="129"/>
                    </a:lnTo>
                    <a:lnTo>
                      <a:pt x="195" y="130"/>
                    </a:lnTo>
                    <a:lnTo>
                      <a:pt x="191" y="129"/>
                    </a:lnTo>
                    <a:lnTo>
                      <a:pt x="187" y="127"/>
                    </a:lnTo>
                    <a:lnTo>
                      <a:pt x="186" y="128"/>
                    </a:lnTo>
                    <a:lnTo>
                      <a:pt x="184" y="127"/>
                    </a:lnTo>
                    <a:lnTo>
                      <a:pt x="182" y="127"/>
                    </a:lnTo>
                    <a:lnTo>
                      <a:pt x="179" y="127"/>
                    </a:lnTo>
                    <a:lnTo>
                      <a:pt x="177" y="130"/>
                    </a:lnTo>
                    <a:lnTo>
                      <a:pt x="174" y="129"/>
                    </a:lnTo>
                    <a:lnTo>
                      <a:pt x="174" y="133"/>
                    </a:lnTo>
                    <a:lnTo>
                      <a:pt x="176" y="137"/>
                    </a:lnTo>
                    <a:lnTo>
                      <a:pt x="177" y="139"/>
                    </a:lnTo>
                    <a:lnTo>
                      <a:pt x="177" y="143"/>
                    </a:lnTo>
                    <a:lnTo>
                      <a:pt x="176" y="144"/>
                    </a:lnTo>
                    <a:lnTo>
                      <a:pt x="176" y="147"/>
                    </a:lnTo>
                    <a:lnTo>
                      <a:pt x="175" y="147"/>
                    </a:lnTo>
                    <a:lnTo>
                      <a:pt x="173" y="147"/>
                    </a:lnTo>
                    <a:lnTo>
                      <a:pt x="167" y="153"/>
                    </a:lnTo>
                    <a:lnTo>
                      <a:pt x="168" y="156"/>
                    </a:lnTo>
                    <a:lnTo>
                      <a:pt x="170" y="156"/>
                    </a:lnTo>
                    <a:lnTo>
                      <a:pt x="170" y="160"/>
                    </a:lnTo>
                    <a:lnTo>
                      <a:pt x="168" y="161"/>
                    </a:lnTo>
                    <a:lnTo>
                      <a:pt x="163" y="161"/>
                    </a:lnTo>
                    <a:lnTo>
                      <a:pt x="162" y="163"/>
                    </a:lnTo>
                    <a:lnTo>
                      <a:pt x="161" y="166"/>
                    </a:lnTo>
                    <a:lnTo>
                      <a:pt x="155" y="169"/>
                    </a:lnTo>
                    <a:lnTo>
                      <a:pt x="155" y="170"/>
                    </a:lnTo>
                    <a:lnTo>
                      <a:pt x="154" y="172"/>
                    </a:lnTo>
                    <a:lnTo>
                      <a:pt x="151" y="174"/>
                    </a:lnTo>
                    <a:lnTo>
                      <a:pt x="146" y="170"/>
                    </a:lnTo>
                    <a:lnTo>
                      <a:pt x="143" y="169"/>
                    </a:lnTo>
                    <a:lnTo>
                      <a:pt x="142" y="168"/>
                    </a:lnTo>
                    <a:lnTo>
                      <a:pt x="142" y="166"/>
                    </a:lnTo>
                    <a:lnTo>
                      <a:pt x="139" y="166"/>
                    </a:lnTo>
                    <a:lnTo>
                      <a:pt x="139" y="165"/>
                    </a:lnTo>
                    <a:lnTo>
                      <a:pt x="139" y="163"/>
                    </a:lnTo>
                    <a:lnTo>
                      <a:pt x="138" y="157"/>
                    </a:lnTo>
                    <a:lnTo>
                      <a:pt x="135" y="153"/>
                    </a:lnTo>
                    <a:lnTo>
                      <a:pt x="135" y="151"/>
                    </a:lnTo>
                    <a:lnTo>
                      <a:pt x="133" y="150"/>
                    </a:lnTo>
                    <a:lnTo>
                      <a:pt x="133" y="151"/>
                    </a:lnTo>
                    <a:lnTo>
                      <a:pt x="131" y="149"/>
                    </a:lnTo>
                    <a:lnTo>
                      <a:pt x="130" y="147"/>
                    </a:lnTo>
                    <a:lnTo>
                      <a:pt x="130" y="157"/>
                    </a:lnTo>
                    <a:lnTo>
                      <a:pt x="130" y="159"/>
                    </a:lnTo>
                    <a:lnTo>
                      <a:pt x="128" y="160"/>
                    </a:lnTo>
                    <a:lnTo>
                      <a:pt x="127" y="162"/>
                    </a:lnTo>
                    <a:lnTo>
                      <a:pt x="126" y="163"/>
                    </a:lnTo>
                    <a:lnTo>
                      <a:pt x="125" y="163"/>
                    </a:lnTo>
                    <a:lnTo>
                      <a:pt x="124" y="163"/>
                    </a:lnTo>
                    <a:lnTo>
                      <a:pt x="118" y="164"/>
                    </a:lnTo>
                    <a:lnTo>
                      <a:pt x="119" y="165"/>
                    </a:lnTo>
                    <a:lnTo>
                      <a:pt x="118" y="166"/>
                    </a:lnTo>
                    <a:lnTo>
                      <a:pt x="114" y="166"/>
                    </a:lnTo>
                    <a:lnTo>
                      <a:pt x="114" y="167"/>
                    </a:lnTo>
                    <a:lnTo>
                      <a:pt x="113" y="168"/>
                    </a:lnTo>
                    <a:lnTo>
                      <a:pt x="113" y="171"/>
                    </a:lnTo>
                    <a:lnTo>
                      <a:pt x="113" y="174"/>
                    </a:lnTo>
                    <a:lnTo>
                      <a:pt x="113" y="175"/>
                    </a:lnTo>
                    <a:lnTo>
                      <a:pt x="113" y="178"/>
                    </a:lnTo>
                    <a:lnTo>
                      <a:pt x="109" y="179"/>
                    </a:lnTo>
                    <a:lnTo>
                      <a:pt x="106" y="178"/>
                    </a:lnTo>
                    <a:lnTo>
                      <a:pt x="104" y="180"/>
                    </a:lnTo>
                    <a:lnTo>
                      <a:pt x="103" y="174"/>
                    </a:lnTo>
                    <a:lnTo>
                      <a:pt x="103" y="173"/>
                    </a:lnTo>
                    <a:lnTo>
                      <a:pt x="102" y="171"/>
                    </a:lnTo>
                    <a:lnTo>
                      <a:pt x="97" y="170"/>
                    </a:lnTo>
                    <a:lnTo>
                      <a:pt x="95" y="168"/>
                    </a:lnTo>
                    <a:lnTo>
                      <a:pt x="93" y="170"/>
                    </a:lnTo>
                    <a:lnTo>
                      <a:pt x="93" y="172"/>
                    </a:lnTo>
                    <a:lnTo>
                      <a:pt x="91" y="173"/>
                    </a:lnTo>
                    <a:lnTo>
                      <a:pt x="89" y="175"/>
                    </a:lnTo>
                    <a:lnTo>
                      <a:pt x="89" y="176"/>
                    </a:lnTo>
                    <a:lnTo>
                      <a:pt x="89" y="179"/>
                    </a:lnTo>
                    <a:lnTo>
                      <a:pt x="85" y="182"/>
                    </a:lnTo>
                    <a:lnTo>
                      <a:pt x="85" y="184"/>
                    </a:lnTo>
                    <a:lnTo>
                      <a:pt x="85" y="186"/>
                    </a:lnTo>
                    <a:lnTo>
                      <a:pt x="85" y="189"/>
                    </a:lnTo>
                    <a:lnTo>
                      <a:pt x="84" y="190"/>
                    </a:lnTo>
                    <a:lnTo>
                      <a:pt x="83" y="192"/>
                    </a:lnTo>
                    <a:lnTo>
                      <a:pt x="79" y="197"/>
                    </a:lnTo>
                    <a:lnTo>
                      <a:pt x="78" y="200"/>
                    </a:lnTo>
                    <a:lnTo>
                      <a:pt x="74" y="202"/>
                    </a:lnTo>
                    <a:lnTo>
                      <a:pt x="74" y="208"/>
                    </a:lnTo>
                    <a:lnTo>
                      <a:pt x="73" y="208"/>
                    </a:lnTo>
                    <a:lnTo>
                      <a:pt x="72" y="208"/>
                    </a:lnTo>
                    <a:lnTo>
                      <a:pt x="69" y="207"/>
                    </a:lnTo>
                    <a:lnTo>
                      <a:pt x="63" y="204"/>
                    </a:lnTo>
                    <a:lnTo>
                      <a:pt x="61" y="205"/>
                    </a:lnTo>
                    <a:lnTo>
                      <a:pt x="59" y="204"/>
                    </a:lnTo>
                    <a:lnTo>
                      <a:pt x="60" y="202"/>
                    </a:lnTo>
                    <a:lnTo>
                      <a:pt x="59" y="200"/>
                    </a:lnTo>
                    <a:lnTo>
                      <a:pt x="58" y="198"/>
                    </a:lnTo>
                    <a:lnTo>
                      <a:pt x="54" y="200"/>
                    </a:lnTo>
                    <a:lnTo>
                      <a:pt x="49" y="204"/>
                    </a:lnTo>
                    <a:lnTo>
                      <a:pt x="46" y="204"/>
                    </a:lnTo>
                    <a:lnTo>
                      <a:pt x="45" y="205"/>
                    </a:lnTo>
                    <a:lnTo>
                      <a:pt x="37" y="203"/>
                    </a:lnTo>
                    <a:lnTo>
                      <a:pt x="36" y="201"/>
                    </a:lnTo>
                    <a:lnTo>
                      <a:pt x="35" y="198"/>
                    </a:lnTo>
                    <a:lnTo>
                      <a:pt x="33" y="198"/>
                    </a:lnTo>
                    <a:lnTo>
                      <a:pt x="31" y="198"/>
                    </a:lnTo>
                    <a:lnTo>
                      <a:pt x="30" y="202"/>
                    </a:lnTo>
                    <a:lnTo>
                      <a:pt x="27" y="208"/>
                    </a:lnTo>
                    <a:lnTo>
                      <a:pt x="25" y="216"/>
                    </a:lnTo>
                    <a:lnTo>
                      <a:pt x="24" y="220"/>
                    </a:lnTo>
                    <a:lnTo>
                      <a:pt x="24" y="224"/>
                    </a:lnTo>
                    <a:lnTo>
                      <a:pt x="23" y="228"/>
                    </a:lnTo>
                    <a:lnTo>
                      <a:pt x="17" y="231"/>
                    </a:lnTo>
                    <a:lnTo>
                      <a:pt x="15" y="233"/>
                    </a:lnTo>
                    <a:lnTo>
                      <a:pt x="13" y="237"/>
                    </a:lnTo>
                    <a:lnTo>
                      <a:pt x="12" y="238"/>
                    </a:lnTo>
                    <a:lnTo>
                      <a:pt x="7" y="239"/>
                    </a:lnTo>
                    <a:lnTo>
                      <a:pt x="2" y="239"/>
                    </a:lnTo>
                    <a:lnTo>
                      <a:pt x="0" y="240"/>
                    </a:lnTo>
                    <a:lnTo>
                      <a:pt x="0" y="241"/>
                    </a:lnTo>
                    <a:lnTo>
                      <a:pt x="2" y="242"/>
                    </a:lnTo>
                    <a:lnTo>
                      <a:pt x="2" y="243"/>
                    </a:lnTo>
                    <a:lnTo>
                      <a:pt x="6" y="245"/>
                    </a:lnTo>
                    <a:lnTo>
                      <a:pt x="7" y="248"/>
                    </a:lnTo>
                    <a:lnTo>
                      <a:pt x="8" y="251"/>
                    </a:lnTo>
                    <a:lnTo>
                      <a:pt x="12" y="250"/>
                    </a:lnTo>
                    <a:lnTo>
                      <a:pt x="13" y="251"/>
                    </a:lnTo>
                    <a:lnTo>
                      <a:pt x="14" y="251"/>
                    </a:lnTo>
                    <a:lnTo>
                      <a:pt x="13" y="252"/>
                    </a:lnTo>
                    <a:lnTo>
                      <a:pt x="14" y="253"/>
                    </a:lnTo>
                    <a:lnTo>
                      <a:pt x="18" y="251"/>
                    </a:lnTo>
                    <a:lnTo>
                      <a:pt x="21" y="250"/>
                    </a:lnTo>
                    <a:lnTo>
                      <a:pt x="21" y="254"/>
                    </a:lnTo>
                    <a:lnTo>
                      <a:pt x="26" y="257"/>
                    </a:lnTo>
                    <a:lnTo>
                      <a:pt x="27" y="255"/>
                    </a:lnTo>
                    <a:lnTo>
                      <a:pt x="33" y="257"/>
                    </a:lnTo>
                    <a:lnTo>
                      <a:pt x="33" y="255"/>
                    </a:lnTo>
                    <a:lnTo>
                      <a:pt x="36" y="260"/>
                    </a:lnTo>
                    <a:lnTo>
                      <a:pt x="38" y="261"/>
                    </a:lnTo>
                    <a:lnTo>
                      <a:pt x="40" y="260"/>
                    </a:lnTo>
                    <a:lnTo>
                      <a:pt x="40" y="261"/>
                    </a:lnTo>
                    <a:lnTo>
                      <a:pt x="43" y="266"/>
                    </a:lnTo>
                    <a:lnTo>
                      <a:pt x="43" y="267"/>
                    </a:lnTo>
                    <a:lnTo>
                      <a:pt x="40" y="267"/>
                    </a:lnTo>
                    <a:lnTo>
                      <a:pt x="39" y="270"/>
                    </a:lnTo>
                    <a:lnTo>
                      <a:pt x="37" y="271"/>
                    </a:lnTo>
                    <a:lnTo>
                      <a:pt x="37" y="273"/>
                    </a:lnTo>
                    <a:lnTo>
                      <a:pt x="38" y="272"/>
                    </a:lnTo>
                    <a:lnTo>
                      <a:pt x="40" y="274"/>
                    </a:lnTo>
                    <a:lnTo>
                      <a:pt x="41" y="274"/>
                    </a:lnTo>
                    <a:lnTo>
                      <a:pt x="42" y="275"/>
                    </a:lnTo>
                    <a:lnTo>
                      <a:pt x="41" y="275"/>
                    </a:lnTo>
                    <a:lnTo>
                      <a:pt x="43" y="277"/>
                    </a:lnTo>
                    <a:lnTo>
                      <a:pt x="44" y="276"/>
                    </a:lnTo>
                    <a:lnTo>
                      <a:pt x="45" y="276"/>
                    </a:lnTo>
                    <a:lnTo>
                      <a:pt x="45" y="274"/>
                    </a:lnTo>
                    <a:lnTo>
                      <a:pt x="48" y="273"/>
                    </a:lnTo>
                    <a:lnTo>
                      <a:pt x="49" y="274"/>
                    </a:lnTo>
                    <a:lnTo>
                      <a:pt x="53" y="274"/>
                    </a:lnTo>
                    <a:lnTo>
                      <a:pt x="53" y="276"/>
                    </a:lnTo>
                    <a:lnTo>
                      <a:pt x="54" y="276"/>
                    </a:lnTo>
                    <a:lnTo>
                      <a:pt x="54" y="277"/>
                    </a:lnTo>
                    <a:lnTo>
                      <a:pt x="56" y="277"/>
                    </a:lnTo>
                    <a:lnTo>
                      <a:pt x="57" y="278"/>
                    </a:lnTo>
                    <a:lnTo>
                      <a:pt x="61" y="278"/>
                    </a:lnTo>
                    <a:lnTo>
                      <a:pt x="61" y="279"/>
                    </a:lnTo>
                    <a:lnTo>
                      <a:pt x="62" y="278"/>
                    </a:lnTo>
                    <a:lnTo>
                      <a:pt x="64" y="278"/>
                    </a:lnTo>
                    <a:lnTo>
                      <a:pt x="66" y="276"/>
                    </a:lnTo>
                    <a:lnTo>
                      <a:pt x="69" y="275"/>
                    </a:lnTo>
                    <a:lnTo>
                      <a:pt x="69" y="276"/>
                    </a:lnTo>
                    <a:lnTo>
                      <a:pt x="67" y="278"/>
                    </a:lnTo>
                    <a:lnTo>
                      <a:pt x="71" y="281"/>
                    </a:lnTo>
                    <a:lnTo>
                      <a:pt x="72" y="286"/>
                    </a:lnTo>
                    <a:lnTo>
                      <a:pt x="74" y="288"/>
                    </a:lnTo>
                    <a:lnTo>
                      <a:pt x="73" y="289"/>
                    </a:lnTo>
                    <a:lnTo>
                      <a:pt x="73" y="292"/>
                    </a:lnTo>
                    <a:lnTo>
                      <a:pt x="73" y="293"/>
                    </a:lnTo>
                    <a:lnTo>
                      <a:pt x="73" y="295"/>
                    </a:lnTo>
                    <a:lnTo>
                      <a:pt x="71" y="295"/>
                    </a:lnTo>
                    <a:lnTo>
                      <a:pt x="70" y="296"/>
                    </a:lnTo>
                    <a:lnTo>
                      <a:pt x="69" y="297"/>
                    </a:lnTo>
                    <a:lnTo>
                      <a:pt x="69" y="298"/>
                    </a:lnTo>
                    <a:lnTo>
                      <a:pt x="69" y="300"/>
                    </a:lnTo>
                    <a:lnTo>
                      <a:pt x="69" y="301"/>
                    </a:lnTo>
                    <a:lnTo>
                      <a:pt x="70" y="301"/>
                    </a:lnTo>
                    <a:lnTo>
                      <a:pt x="69" y="303"/>
                    </a:lnTo>
                    <a:lnTo>
                      <a:pt x="71" y="304"/>
                    </a:lnTo>
                    <a:lnTo>
                      <a:pt x="70" y="306"/>
                    </a:lnTo>
                    <a:lnTo>
                      <a:pt x="68" y="307"/>
                    </a:lnTo>
                    <a:lnTo>
                      <a:pt x="68" y="309"/>
                    </a:lnTo>
                    <a:lnTo>
                      <a:pt x="69" y="309"/>
                    </a:lnTo>
                    <a:lnTo>
                      <a:pt x="67" y="311"/>
                    </a:lnTo>
                    <a:lnTo>
                      <a:pt x="66" y="311"/>
                    </a:lnTo>
                    <a:lnTo>
                      <a:pt x="67" y="312"/>
                    </a:lnTo>
                    <a:lnTo>
                      <a:pt x="65" y="315"/>
                    </a:lnTo>
                    <a:lnTo>
                      <a:pt x="64" y="315"/>
                    </a:lnTo>
                    <a:lnTo>
                      <a:pt x="64" y="316"/>
                    </a:lnTo>
                    <a:lnTo>
                      <a:pt x="65" y="316"/>
                    </a:lnTo>
                    <a:lnTo>
                      <a:pt x="69" y="318"/>
                    </a:lnTo>
                    <a:lnTo>
                      <a:pt x="68" y="319"/>
                    </a:lnTo>
                    <a:lnTo>
                      <a:pt x="67" y="321"/>
                    </a:lnTo>
                    <a:lnTo>
                      <a:pt x="69" y="322"/>
                    </a:lnTo>
                    <a:lnTo>
                      <a:pt x="69" y="326"/>
                    </a:lnTo>
                    <a:lnTo>
                      <a:pt x="69" y="329"/>
                    </a:lnTo>
                    <a:lnTo>
                      <a:pt x="67" y="330"/>
                    </a:lnTo>
                    <a:lnTo>
                      <a:pt x="65" y="330"/>
                    </a:lnTo>
                    <a:lnTo>
                      <a:pt x="64" y="331"/>
                    </a:lnTo>
                    <a:lnTo>
                      <a:pt x="65" y="332"/>
                    </a:lnTo>
                    <a:lnTo>
                      <a:pt x="64" y="332"/>
                    </a:lnTo>
                    <a:lnTo>
                      <a:pt x="65" y="336"/>
                    </a:lnTo>
                    <a:lnTo>
                      <a:pt x="67" y="337"/>
                    </a:lnTo>
                    <a:lnTo>
                      <a:pt x="69" y="336"/>
                    </a:lnTo>
                    <a:lnTo>
                      <a:pt x="70" y="336"/>
                    </a:lnTo>
                    <a:lnTo>
                      <a:pt x="70" y="338"/>
                    </a:lnTo>
                    <a:lnTo>
                      <a:pt x="72" y="339"/>
                    </a:lnTo>
                    <a:lnTo>
                      <a:pt x="70" y="340"/>
                    </a:lnTo>
                    <a:lnTo>
                      <a:pt x="71" y="342"/>
                    </a:lnTo>
                    <a:lnTo>
                      <a:pt x="70" y="342"/>
                    </a:lnTo>
                    <a:lnTo>
                      <a:pt x="70" y="343"/>
                    </a:lnTo>
                    <a:lnTo>
                      <a:pt x="70" y="345"/>
                    </a:lnTo>
                    <a:lnTo>
                      <a:pt x="67" y="345"/>
                    </a:lnTo>
                    <a:lnTo>
                      <a:pt x="67" y="348"/>
                    </a:lnTo>
                    <a:lnTo>
                      <a:pt x="70" y="349"/>
                    </a:lnTo>
                    <a:lnTo>
                      <a:pt x="72" y="349"/>
                    </a:lnTo>
                    <a:lnTo>
                      <a:pt x="72" y="350"/>
                    </a:lnTo>
                    <a:lnTo>
                      <a:pt x="70" y="352"/>
                    </a:lnTo>
                    <a:lnTo>
                      <a:pt x="71" y="353"/>
                    </a:lnTo>
                    <a:lnTo>
                      <a:pt x="72" y="353"/>
                    </a:lnTo>
                    <a:lnTo>
                      <a:pt x="74" y="355"/>
                    </a:lnTo>
                    <a:lnTo>
                      <a:pt x="73" y="357"/>
                    </a:lnTo>
                    <a:lnTo>
                      <a:pt x="75" y="360"/>
                    </a:lnTo>
                    <a:lnTo>
                      <a:pt x="75" y="363"/>
                    </a:lnTo>
                    <a:lnTo>
                      <a:pt x="75" y="364"/>
                    </a:lnTo>
                    <a:lnTo>
                      <a:pt x="75" y="366"/>
                    </a:lnTo>
                    <a:lnTo>
                      <a:pt x="73" y="368"/>
                    </a:lnTo>
                    <a:lnTo>
                      <a:pt x="77" y="368"/>
                    </a:lnTo>
                    <a:lnTo>
                      <a:pt x="75" y="374"/>
                    </a:lnTo>
                    <a:lnTo>
                      <a:pt x="72" y="372"/>
                    </a:lnTo>
                    <a:lnTo>
                      <a:pt x="70" y="373"/>
                    </a:lnTo>
                    <a:lnTo>
                      <a:pt x="71" y="373"/>
                    </a:lnTo>
                    <a:lnTo>
                      <a:pt x="70" y="375"/>
                    </a:lnTo>
                    <a:lnTo>
                      <a:pt x="73" y="377"/>
                    </a:lnTo>
                    <a:lnTo>
                      <a:pt x="73" y="378"/>
                    </a:lnTo>
                    <a:lnTo>
                      <a:pt x="75" y="379"/>
                    </a:lnTo>
                    <a:lnTo>
                      <a:pt x="73" y="380"/>
                    </a:lnTo>
                    <a:lnTo>
                      <a:pt x="74" y="383"/>
                    </a:lnTo>
                    <a:lnTo>
                      <a:pt x="73" y="383"/>
                    </a:lnTo>
                    <a:lnTo>
                      <a:pt x="70" y="380"/>
                    </a:lnTo>
                    <a:lnTo>
                      <a:pt x="71" y="379"/>
                    </a:lnTo>
                    <a:lnTo>
                      <a:pt x="70" y="379"/>
                    </a:lnTo>
                    <a:lnTo>
                      <a:pt x="69" y="379"/>
                    </a:lnTo>
                    <a:lnTo>
                      <a:pt x="65" y="378"/>
                    </a:lnTo>
                    <a:lnTo>
                      <a:pt x="65" y="379"/>
                    </a:lnTo>
                    <a:lnTo>
                      <a:pt x="65" y="378"/>
                    </a:lnTo>
                    <a:lnTo>
                      <a:pt x="62" y="379"/>
                    </a:lnTo>
                    <a:lnTo>
                      <a:pt x="61" y="380"/>
                    </a:lnTo>
                    <a:lnTo>
                      <a:pt x="62" y="381"/>
                    </a:lnTo>
                    <a:lnTo>
                      <a:pt x="62" y="382"/>
                    </a:lnTo>
                    <a:lnTo>
                      <a:pt x="59" y="382"/>
                    </a:lnTo>
                    <a:lnTo>
                      <a:pt x="60" y="383"/>
                    </a:lnTo>
                    <a:lnTo>
                      <a:pt x="61" y="383"/>
                    </a:lnTo>
                    <a:lnTo>
                      <a:pt x="63" y="387"/>
                    </a:lnTo>
                    <a:lnTo>
                      <a:pt x="64" y="385"/>
                    </a:lnTo>
                    <a:lnTo>
                      <a:pt x="66" y="387"/>
                    </a:lnTo>
                    <a:lnTo>
                      <a:pt x="69" y="386"/>
                    </a:lnTo>
                    <a:lnTo>
                      <a:pt x="71" y="387"/>
                    </a:lnTo>
                    <a:lnTo>
                      <a:pt x="72" y="389"/>
                    </a:lnTo>
                    <a:lnTo>
                      <a:pt x="72" y="390"/>
                    </a:lnTo>
                    <a:lnTo>
                      <a:pt x="74" y="392"/>
                    </a:lnTo>
                    <a:lnTo>
                      <a:pt x="72" y="393"/>
                    </a:lnTo>
                    <a:lnTo>
                      <a:pt x="75" y="393"/>
                    </a:lnTo>
                    <a:lnTo>
                      <a:pt x="75" y="394"/>
                    </a:lnTo>
                    <a:lnTo>
                      <a:pt x="75" y="399"/>
                    </a:lnTo>
                    <a:lnTo>
                      <a:pt x="75" y="400"/>
                    </a:lnTo>
                    <a:lnTo>
                      <a:pt x="76" y="401"/>
                    </a:lnTo>
                    <a:lnTo>
                      <a:pt x="77" y="400"/>
                    </a:lnTo>
                    <a:lnTo>
                      <a:pt x="82" y="402"/>
                    </a:lnTo>
                    <a:lnTo>
                      <a:pt x="82" y="400"/>
                    </a:lnTo>
                    <a:lnTo>
                      <a:pt x="83" y="400"/>
                    </a:lnTo>
                    <a:lnTo>
                      <a:pt x="83" y="404"/>
                    </a:lnTo>
                    <a:lnTo>
                      <a:pt x="82" y="408"/>
                    </a:lnTo>
                    <a:lnTo>
                      <a:pt x="84" y="408"/>
                    </a:lnTo>
                    <a:lnTo>
                      <a:pt x="85" y="406"/>
                    </a:lnTo>
                    <a:lnTo>
                      <a:pt x="87" y="406"/>
                    </a:lnTo>
                    <a:lnTo>
                      <a:pt x="87" y="404"/>
                    </a:lnTo>
                    <a:lnTo>
                      <a:pt x="88" y="403"/>
                    </a:lnTo>
                    <a:lnTo>
                      <a:pt x="89" y="403"/>
                    </a:lnTo>
                    <a:lnTo>
                      <a:pt x="91" y="402"/>
                    </a:lnTo>
                    <a:lnTo>
                      <a:pt x="92" y="403"/>
                    </a:lnTo>
                    <a:lnTo>
                      <a:pt x="90" y="403"/>
                    </a:lnTo>
                    <a:lnTo>
                      <a:pt x="92" y="405"/>
                    </a:lnTo>
                    <a:lnTo>
                      <a:pt x="91" y="408"/>
                    </a:lnTo>
                    <a:lnTo>
                      <a:pt x="92" y="408"/>
                    </a:lnTo>
                    <a:lnTo>
                      <a:pt x="93" y="408"/>
                    </a:lnTo>
                    <a:lnTo>
                      <a:pt x="94" y="408"/>
                    </a:lnTo>
                    <a:lnTo>
                      <a:pt x="94" y="413"/>
                    </a:lnTo>
                    <a:lnTo>
                      <a:pt x="95" y="415"/>
                    </a:lnTo>
                    <a:lnTo>
                      <a:pt x="98" y="413"/>
                    </a:lnTo>
                    <a:lnTo>
                      <a:pt x="99" y="413"/>
                    </a:lnTo>
                    <a:lnTo>
                      <a:pt x="100" y="414"/>
                    </a:lnTo>
                    <a:lnTo>
                      <a:pt x="100" y="413"/>
                    </a:lnTo>
                    <a:lnTo>
                      <a:pt x="103" y="413"/>
                    </a:lnTo>
                    <a:lnTo>
                      <a:pt x="103" y="410"/>
                    </a:lnTo>
                    <a:lnTo>
                      <a:pt x="104" y="411"/>
                    </a:lnTo>
                    <a:lnTo>
                      <a:pt x="105" y="408"/>
                    </a:lnTo>
                    <a:lnTo>
                      <a:pt x="104" y="407"/>
                    </a:lnTo>
                    <a:lnTo>
                      <a:pt x="106" y="406"/>
                    </a:lnTo>
                    <a:lnTo>
                      <a:pt x="107" y="406"/>
                    </a:lnTo>
                    <a:lnTo>
                      <a:pt x="108" y="405"/>
                    </a:lnTo>
                    <a:lnTo>
                      <a:pt x="110" y="405"/>
                    </a:lnTo>
                    <a:lnTo>
                      <a:pt x="110" y="402"/>
                    </a:lnTo>
                    <a:lnTo>
                      <a:pt x="114" y="403"/>
                    </a:lnTo>
                    <a:lnTo>
                      <a:pt x="118" y="406"/>
                    </a:lnTo>
                    <a:lnTo>
                      <a:pt x="119" y="406"/>
                    </a:lnTo>
                    <a:lnTo>
                      <a:pt x="120" y="403"/>
                    </a:lnTo>
                    <a:lnTo>
                      <a:pt x="119" y="403"/>
                    </a:lnTo>
                    <a:lnTo>
                      <a:pt x="120" y="402"/>
                    </a:lnTo>
                    <a:lnTo>
                      <a:pt x="121" y="402"/>
                    </a:lnTo>
                    <a:lnTo>
                      <a:pt x="122" y="402"/>
                    </a:lnTo>
                    <a:lnTo>
                      <a:pt x="122" y="399"/>
                    </a:lnTo>
                    <a:lnTo>
                      <a:pt x="122" y="398"/>
                    </a:lnTo>
                    <a:lnTo>
                      <a:pt x="123" y="394"/>
                    </a:lnTo>
                    <a:lnTo>
                      <a:pt x="123" y="395"/>
                    </a:lnTo>
                    <a:lnTo>
                      <a:pt x="124" y="395"/>
                    </a:lnTo>
                    <a:lnTo>
                      <a:pt x="124" y="396"/>
                    </a:lnTo>
                    <a:lnTo>
                      <a:pt x="126" y="397"/>
                    </a:lnTo>
                    <a:lnTo>
                      <a:pt x="128" y="398"/>
                    </a:lnTo>
                    <a:lnTo>
                      <a:pt x="129" y="396"/>
                    </a:lnTo>
                    <a:lnTo>
                      <a:pt x="129" y="393"/>
                    </a:lnTo>
                    <a:lnTo>
                      <a:pt x="129" y="391"/>
                    </a:lnTo>
                    <a:lnTo>
                      <a:pt x="127" y="389"/>
                    </a:lnTo>
                    <a:lnTo>
                      <a:pt x="131" y="389"/>
                    </a:lnTo>
                    <a:lnTo>
                      <a:pt x="131" y="387"/>
                    </a:lnTo>
                    <a:lnTo>
                      <a:pt x="130" y="383"/>
                    </a:lnTo>
                    <a:lnTo>
                      <a:pt x="131" y="382"/>
                    </a:lnTo>
                    <a:lnTo>
                      <a:pt x="131" y="378"/>
                    </a:lnTo>
                    <a:lnTo>
                      <a:pt x="132" y="380"/>
                    </a:lnTo>
                    <a:lnTo>
                      <a:pt x="132" y="379"/>
                    </a:lnTo>
                    <a:lnTo>
                      <a:pt x="135" y="379"/>
                    </a:lnTo>
                    <a:lnTo>
                      <a:pt x="136" y="379"/>
                    </a:lnTo>
                    <a:lnTo>
                      <a:pt x="136" y="378"/>
                    </a:lnTo>
                    <a:lnTo>
                      <a:pt x="138" y="378"/>
                    </a:lnTo>
                    <a:lnTo>
                      <a:pt x="138" y="377"/>
                    </a:lnTo>
                    <a:lnTo>
                      <a:pt x="139" y="377"/>
                    </a:lnTo>
                    <a:lnTo>
                      <a:pt x="139" y="376"/>
                    </a:lnTo>
                    <a:lnTo>
                      <a:pt x="139" y="374"/>
                    </a:lnTo>
                    <a:lnTo>
                      <a:pt x="141" y="374"/>
                    </a:lnTo>
                    <a:lnTo>
                      <a:pt x="141" y="373"/>
                    </a:lnTo>
                    <a:lnTo>
                      <a:pt x="144" y="373"/>
                    </a:lnTo>
                    <a:lnTo>
                      <a:pt x="145" y="370"/>
                    </a:lnTo>
                    <a:lnTo>
                      <a:pt x="148" y="370"/>
                    </a:lnTo>
                    <a:lnTo>
                      <a:pt x="149" y="370"/>
                    </a:lnTo>
                    <a:lnTo>
                      <a:pt x="149" y="369"/>
                    </a:lnTo>
                    <a:lnTo>
                      <a:pt x="150" y="368"/>
                    </a:lnTo>
                    <a:lnTo>
                      <a:pt x="153" y="373"/>
                    </a:lnTo>
                    <a:lnTo>
                      <a:pt x="154" y="374"/>
                    </a:lnTo>
                    <a:lnTo>
                      <a:pt x="155" y="373"/>
                    </a:lnTo>
                    <a:lnTo>
                      <a:pt x="158" y="373"/>
                    </a:lnTo>
                    <a:lnTo>
                      <a:pt x="162" y="370"/>
                    </a:lnTo>
                    <a:lnTo>
                      <a:pt x="163" y="372"/>
                    </a:lnTo>
                    <a:lnTo>
                      <a:pt x="163" y="370"/>
                    </a:lnTo>
                    <a:lnTo>
                      <a:pt x="169" y="368"/>
                    </a:lnTo>
                    <a:lnTo>
                      <a:pt x="168" y="365"/>
                    </a:lnTo>
                    <a:lnTo>
                      <a:pt x="171" y="366"/>
                    </a:lnTo>
                    <a:lnTo>
                      <a:pt x="172" y="365"/>
                    </a:lnTo>
                    <a:lnTo>
                      <a:pt x="174" y="362"/>
                    </a:lnTo>
                    <a:lnTo>
                      <a:pt x="173" y="361"/>
                    </a:lnTo>
                    <a:lnTo>
                      <a:pt x="174" y="361"/>
                    </a:lnTo>
                    <a:lnTo>
                      <a:pt x="176" y="361"/>
                    </a:lnTo>
                    <a:lnTo>
                      <a:pt x="178" y="359"/>
                    </a:lnTo>
                    <a:lnTo>
                      <a:pt x="183" y="353"/>
                    </a:lnTo>
                    <a:lnTo>
                      <a:pt x="184" y="355"/>
                    </a:lnTo>
                    <a:lnTo>
                      <a:pt x="183" y="355"/>
                    </a:lnTo>
                    <a:lnTo>
                      <a:pt x="183" y="361"/>
                    </a:lnTo>
                    <a:lnTo>
                      <a:pt x="187" y="360"/>
                    </a:lnTo>
                    <a:lnTo>
                      <a:pt x="188" y="361"/>
                    </a:lnTo>
                    <a:lnTo>
                      <a:pt x="190" y="362"/>
                    </a:lnTo>
                    <a:lnTo>
                      <a:pt x="191" y="362"/>
                    </a:lnTo>
                    <a:lnTo>
                      <a:pt x="195" y="361"/>
                    </a:lnTo>
                    <a:lnTo>
                      <a:pt x="202" y="362"/>
                    </a:lnTo>
                    <a:lnTo>
                      <a:pt x="204" y="364"/>
                    </a:lnTo>
                    <a:lnTo>
                      <a:pt x="205" y="361"/>
                    </a:lnTo>
                    <a:lnTo>
                      <a:pt x="206" y="359"/>
                    </a:lnTo>
                    <a:lnTo>
                      <a:pt x="206" y="360"/>
                    </a:lnTo>
                    <a:lnTo>
                      <a:pt x="208" y="356"/>
                    </a:lnTo>
                    <a:lnTo>
                      <a:pt x="209" y="358"/>
                    </a:lnTo>
                    <a:lnTo>
                      <a:pt x="208" y="361"/>
                    </a:lnTo>
                    <a:lnTo>
                      <a:pt x="209" y="361"/>
                    </a:lnTo>
                    <a:lnTo>
                      <a:pt x="211" y="359"/>
                    </a:lnTo>
                    <a:lnTo>
                      <a:pt x="212" y="359"/>
                    </a:lnTo>
                    <a:lnTo>
                      <a:pt x="215" y="355"/>
                    </a:lnTo>
                    <a:lnTo>
                      <a:pt x="218" y="352"/>
                    </a:lnTo>
                    <a:lnTo>
                      <a:pt x="219" y="349"/>
                    </a:lnTo>
                    <a:lnTo>
                      <a:pt x="220" y="349"/>
                    </a:lnTo>
                    <a:lnTo>
                      <a:pt x="223" y="348"/>
                    </a:lnTo>
                    <a:lnTo>
                      <a:pt x="224" y="348"/>
                    </a:lnTo>
                    <a:lnTo>
                      <a:pt x="225" y="351"/>
                    </a:lnTo>
                    <a:lnTo>
                      <a:pt x="226" y="349"/>
                    </a:lnTo>
                    <a:lnTo>
                      <a:pt x="227" y="350"/>
                    </a:lnTo>
                    <a:lnTo>
                      <a:pt x="229" y="356"/>
                    </a:lnTo>
                    <a:lnTo>
                      <a:pt x="228" y="359"/>
                    </a:lnTo>
                    <a:lnTo>
                      <a:pt x="229" y="360"/>
                    </a:lnTo>
                    <a:lnTo>
                      <a:pt x="236" y="359"/>
                    </a:lnTo>
                    <a:lnTo>
                      <a:pt x="236" y="355"/>
                    </a:lnTo>
                    <a:lnTo>
                      <a:pt x="237" y="355"/>
                    </a:lnTo>
                    <a:lnTo>
                      <a:pt x="237" y="352"/>
                    </a:lnTo>
                    <a:lnTo>
                      <a:pt x="239" y="350"/>
                    </a:lnTo>
                    <a:lnTo>
                      <a:pt x="241" y="348"/>
                    </a:lnTo>
                    <a:lnTo>
                      <a:pt x="244" y="348"/>
                    </a:lnTo>
                    <a:lnTo>
                      <a:pt x="250" y="347"/>
                    </a:lnTo>
                    <a:lnTo>
                      <a:pt x="251" y="347"/>
                    </a:lnTo>
                    <a:lnTo>
                      <a:pt x="250" y="348"/>
                    </a:lnTo>
                    <a:lnTo>
                      <a:pt x="254" y="347"/>
                    </a:lnTo>
                    <a:lnTo>
                      <a:pt x="255" y="345"/>
                    </a:lnTo>
                    <a:lnTo>
                      <a:pt x="256" y="345"/>
                    </a:lnTo>
                    <a:lnTo>
                      <a:pt x="258" y="345"/>
                    </a:lnTo>
                    <a:lnTo>
                      <a:pt x="259" y="342"/>
                    </a:lnTo>
                    <a:lnTo>
                      <a:pt x="260" y="342"/>
                    </a:lnTo>
                    <a:lnTo>
                      <a:pt x="261" y="342"/>
                    </a:lnTo>
                    <a:lnTo>
                      <a:pt x="263" y="341"/>
                    </a:lnTo>
                    <a:lnTo>
                      <a:pt x="263" y="339"/>
                    </a:lnTo>
                    <a:lnTo>
                      <a:pt x="263" y="335"/>
                    </a:lnTo>
                    <a:lnTo>
                      <a:pt x="262" y="335"/>
                    </a:lnTo>
                    <a:lnTo>
                      <a:pt x="263" y="335"/>
                    </a:lnTo>
                    <a:lnTo>
                      <a:pt x="263" y="334"/>
                    </a:lnTo>
                    <a:lnTo>
                      <a:pt x="265" y="335"/>
                    </a:lnTo>
                    <a:lnTo>
                      <a:pt x="268" y="335"/>
                    </a:lnTo>
                    <a:lnTo>
                      <a:pt x="268" y="336"/>
                    </a:lnTo>
                    <a:lnTo>
                      <a:pt x="272" y="337"/>
                    </a:lnTo>
                    <a:lnTo>
                      <a:pt x="274" y="337"/>
                    </a:lnTo>
                    <a:lnTo>
                      <a:pt x="274" y="336"/>
                    </a:lnTo>
                    <a:lnTo>
                      <a:pt x="273" y="335"/>
                    </a:lnTo>
                    <a:lnTo>
                      <a:pt x="274" y="335"/>
                    </a:lnTo>
                    <a:lnTo>
                      <a:pt x="273" y="334"/>
                    </a:lnTo>
                    <a:lnTo>
                      <a:pt x="274" y="331"/>
                    </a:lnTo>
                    <a:lnTo>
                      <a:pt x="273" y="329"/>
                    </a:lnTo>
                    <a:lnTo>
                      <a:pt x="272" y="329"/>
                    </a:lnTo>
                    <a:lnTo>
                      <a:pt x="272" y="322"/>
                    </a:lnTo>
                    <a:lnTo>
                      <a:pt x="275" y="322"/>
                    </a:lnTo>
                    <a:lnTo>
                      <a:pt x="274" y="321"/>
                    </a:lnTo>
                    <a:lnTo>
                      <a:pt x="276" y="321"/>
                    </a:lnTo>
                    <a:lnTo>
                      <a:pt x="277" y="319"/>
                    </a:lnTo>
                    <a:lnTo>
                      <a:pt x="279" y="319"/>
                    </a:lnTo>
                    <a:lnTo>
                      <a:pt x="280" y="318"/>
                    </a:lnTo>
                    <a:lnTo>
                      <a:pt x="283" y="318"/>
                    </a:lnTo>
                    <a:lnTo>
                      <a:pt x="285" y="321"/>
                    </a:lnTo>
                    <a:lnTo>
                      <a:pt x="286" y="321"/>
                    </a:lnTo>
                    <a:lnTo>
                      <a:pt x="286" y="319"/>
                    </a:lnTo>
                    <a:lnTo>
                      <a:pt x="288" y="319"/>
                    </a:lnTo>
                    <a:lnTo>
                      <a:pt x="292" y="322"/>
                    </a:lnTo>
                    <a:lnTo>
                      <a:pt x="296" y="323"/>
                    </a:lnTo>
                    <a:lnTo>
                      <a:pt x="296" y="325"/>
                    </a:lnTo>
                    <a:lnTo>
                      <a:pt x="297" y="325"/>
                    </a:lnTo>
                    <a:lnTo>
                      <a:pt x="297" y="326"/>
                    </a:lnTo>
                    <a:lnTo>
                      <a:pt x="298" y="326"/>
                    </a:lnTo>
                    <a:lnTo>
                      <a:pt x="303" y="326"/>
                    </a:lnTo>
                    <a:lnTo>
                      <a:pt x="309" y="327"/>
                    </a:lnTo>
                    <a:lnTo>
                      <a:pt x="309" y="329"/>
                    </a:lnTo>
                    <a:lnTo>
                      <a:pt x="311" y="329"/>
                    </a:lnTo>
                    <a:lnTo>
                      <a:pt x="315" y="330"/>
                    </a:lnTo>
                    <a:lnTo>
                      <a:pt x="315" y="331"/>
                    </a:lnTo>
                    <a:lnTo>
                      <a:pt x="316" y="330"/>
                    </a:lnTo>
                    <a:lnTo>
                      <a:pt x="322" y="330"/>
                    </a:lnTo>
                    <a:lnTo>
                      <a:pt x="323" y="329"/>
                    </a:lnTo>
                    <a:lnTo>
                      <a:pt x="326" y="331"/>
                    </a:lnTo>
                    <a:lnTo>
                      <a:pt x="327" y="328"/>
                    </a:lnTo>
                    <a:lnTo>
                      <a:pt x="326" y="326"/>
                    </a:lnTo>
                    <a:lnTo>
                      <a:pt x="330" y="328"/>
                    </a:lnTo>
                    <a:lnTo>
                      <a:pt x="330" y="329"/>
                    </a:lnTo>
                    <a:lnTo>
                      <a:pt x="331" y="331"/>
                    </a:lnTo>
                    <a:lnTo>
                      <a:pt x="331" y="330"/>
                    </a:lnTo>
                    <a:lnTo>
                      <a:pt x="334" y="332"/>
                    </a:lnTo>
                    <a:lnTo>
                      <a:pt x="334" y="331"/>
                    </a:lnTo>
                    <a:lnTo>
                      <a:pt x="335" y="331"/>
                    </a:lnTo>
                    <a:lnTo>
                      <a:pt x="336" y="329"/>
                    </a:lnTo>
                    <a:lnTo>
                      <a:pt x="341" y="334"/>
                    </a:lnTo>
                    <a:lnTo>
                      <a:pt x="343" y="335"/>
                    </a:lnTo>
                    <a:lnTo>
                      <a:pt x="343" y="336"/>
                    </a:lnTo>
                    <a:lnTo>
                      <a:pt x="344" y="336"/>
                    </a:lnTo>
                    <a:lnTo>
                      <a:pt x="346" y="332"/>
                    </a:lnTo>
                    <a:lnTo>
                      <a:pt x="348" y="331"/>
                    </a:lnTo>
                    <a:lnTo>
                      <a:pt x="348" y="330"/>
                    </a:lnTo>
                    <a:lnTo>
                      <a:pt x="350" y="326"/>
                    </a:lnTo>
                    <a:lnTo>
                      <a:pt x="351" y="327"/>
                    </a:lnTo>
                    <a:lnTo>
                      <a:pt x="353" y="325"/>
                    </a:lnTo>
                    <a:lnTo>
                      <a:pt x="355" y="328"/>
                    </a:lnTo>
                    <a:lnTo>
                      <a:pt x="357" y="329"/>
                    </a:lnTo>
                    <a:lnTo>
                      <a:pt x="358" y="328"/>
                    </a:lnTo>
                    <a:lnTo>
                      <a:pt x="358" y="327"/>
                    </a:lnTo>
                    <a:lnTo>
                      <a:pt x="359" y="329"/>
                    </a:lnTo>
                    <a:lnTo>
                      <a:pt x="361" y="329"/>
                    </a:lnTo>
                    <a:lnTo>
                      <a:pt x="361" y="326"/>
                    </a:lnTo>
                    <a:lnTo>
                      <a:pt x="365" y="328"/>
                    </a:lnTo>
                    <a:lnTo>
                      <a:pt x="365" y="326"/>
                    </a:lnTo>
                    <a:lnTo>
                      <a:pt x="366" y="326"/>
                    </a:lnTo>
                    <a:lnTo>
                      <a:pt x="367" y="326"/>
                    </a:lnTo>
                    <a:lnTo>
                      <a:pt x="369" y="326"/>
                    </a:lnTo>
                    <a:lnTo>
                      <a:pt x="369" y="327"/>
                    </a:lnTo>
                    <a:lnTo>
                      <a:pt x="370" y="328"/>
                    </a:lnTo>
                    <a:lnTo>
                      <a:pt x="370" y="329"/>
                    </a:lnTo>
                    <a:lnTo>
                      <a:pt x="372" y="329"/>
                    </a:lnTo>
                    <a:lnTo>
                      <a:pt x="372" y="331"/>
                    </a:lnTo>
                    <a:lnTo>
                      <a:pt x="372" y="330"/>
                    </a:lnTo>
                    <a:lnTo>
                      <a:pt x="374" y="331"/>
                    </a:lnTo>
                    <a:lnTo>
                      <a:pt x="372" y="329"/>
                    </a:lnTo>
                    <a:lnTo>
                      <a:pt x="374" y="329"/>
                    </a:lnTo>
                    <a:lnTo>
                      <a:pt x="374" y="330"/>
                    </a:lnTo>
                    <a:lnTo>
                      <a:pt x="374" y="331"/>
                    </a:lnTo>
                    <a:lnTo>
                      <a:pt x="375" y="330"/>
                    </a:lnTo>
                    <a:lnTo>
                      <a:pt x="376" y="330"/>
                    </a:lnTo>
                    <a:lnTo>
                      <a:pt x="378" y="326"/>
                    </a:lnTo>
                    <a:lnTo>
                      <a:pt x="378" y="324"/>
                    </a:lnTo>
                    <a:lnTo>
                      <a:pt x="378" y="323"/>
                    </a:lnTo>
                    <a:lnTo>
                      <a:pt x="377" y="322"/>
                    </a:lnTo>
                    <a:lnTo>
                      <a:pt x="378" y="322"/>
                    </a:lnTo>
                    <a:lnTo>
                      <a:pt x="378" y="318"/>
                    </a:lnTo>
                    <a:lnTo>
                      <a:pt x="381" y="319"/>
                    </a:lnTo>
                    <a:lnTo>
                      <a:pt x="381" y="314"/>
                    </a:lnTo>
                    <a:lnTo>
                      <a:pt x="381" y="312"/>
                    </a:lnTo>
                    <a:lnTo>
                      <a:pt x="382" y="312"/>
                    </a:lnTo>
                    <a:lnTo>
                      <a:pt x="382" y="310"/>
                    </a:lnTo>
                    <a:lnTo>
                      <a:pt x="381" y="309"/>
                    </a:lnTo>
                    <a:lnTo>
                      <a:pt x="380" y="308"/>
                    </a:lnTo>
                    <a:lnTo>
                      <a:pt x="380" y="306"/>
                    </a:lnTo>
                    <a:lnTo>
                      <a:pt x="378" y="305"/>
                    </a:lnTo>
                    <a:lnTo>
                      <a:pt x="378" y="304"/>
                    </a:lnTo>
                    <a:lnTo>
                      <a:pt x="381" y="302"/>
                    </a:lnTo>
                    <a:lnTo>
                      <a:pt x="381" y="304"/>
                    </a:lnTo>
                    <a:lnTo>
                      <a:pt x="382" y="303"/>
                    </a:lnTo>
                    <a:lnTo>
                      <a:pt x="381" y="302"/>
                    </a:lnTo>
                    <a:lnTo>
                      <a:pt x="381" y="301"/>
                    </a:lnTo>
                    <a:lnTo>
                      <a:pt x="380" y="299"/>
                    </a:lnTo>
                    <a:lnTo>
                      <a:pt x="381" y="298"/>
                    </a:lnTo>
                    <a:lnTo>
                      <a:pt x="381" y="297"/>
                    </a:lnTo>
                    <a:lnTo>
                      <a:pt x="381" y="296"/>
                    </a:lnTo>
                    <a:lnTo>
                      <a:pt x="379" y="295"/>
                    </a:lnTo>
                    <a:lnTo>
                      <a:pt x="379" y="294"/>
                    </a:lnTo>
                    <a:lnTo>
                      <a:pt x="381" y="293"/>
                    </a:lnTo>
                    <a:lnTo>
                      <a:pt x="382" y="293"/>
                    </a:lnTo>
                    <a:lnTo>
                      <a:pt x="382" y="292"/>
                    </a:lnTo>
                    <a:lnTo>
                      <a:pt x="384" y="291"/>
                    </a:lnTo>
                    <a:lnTo>
                      <a:pt x="388" y="296"/>
                    </a:lnTo>
                    <a:lnTo>
                      <a:pt x="394" y="300"/>
                    </a:lnTo>
                    <a:lnTo>
                      <a:pt x="394" y="298"/>
                    </a:lnTo>
                    <a:lnTo>
                      <a:pt x="395" y="299"/>
                    </a:lnTo>
                    <a:lnTo>
                      <a:pt x="394" y="298"/>
                    </a:lnTo>
                    <a:lnTo>
                      <a:pt x="395" y="296"/>
                    </a:lnTo>
                    <a:lnTo>
                      <a:pt x="393" y="296"/>
                    </a:lnTo>
                    <a:lnTo>
                      <a:pt x="392" y="295"/>
                    </a:lnTo>
                    <a:lnTo>
                      <a:pt x="394" y="293"/>
                    </a:lnTo>
                    <a:lnTo>
                      <a:pt x="395" y="295"/>
                    </a:lnTo>
                    <a:lnTo>
                      <a:pt x="396" y="293"/>
                    </a:lnTo>
                    <a:lnTo>
                      <a:pt x="395" y="292"/>
                    </a:lnTo>
                    <a:lnTo>
                      <a:pt x="397" y="292"/>
                    </a:lnTo>
                    <a:lnTo>
                      <a:pt x="397" y="285"/>
                    </a:lnTo>
                    <a:lnTo>
                      <a:pt x="401" y="289"/>
                    </a:lnTo>
                    <a:lnTo>
                      <a:pt x="404" y="289"/>
                    </a:lnTo>
                    <a:lnTo>
                      <a:pt x="404" y="286"/>
                    </a:lnTo>
                    <a:lnTo>
                      <a:pt x="407" y="289"/>
                    </a:lnTo>
                    <a:lnTo>
                      <a:pt x="410" y="289"/>
                    </a:lnTo>
                    <a:lnTo>
                      <a:pt x="410" y="285"/>
                    </a:lnTo>
                    <a:lnTo>
                      <a:pt x="411" y="284"/>
                    </a:lnTo>
                    <a:lnTo>
                      <a:pt x="411" y="281"/>
                    </a:lnTo>
                    <a:lnTo>
                      <a:pt x="411" y="280"/>
                    </a:lnTo>
                    <a:lnTo>
                      <a:pt x="410" y="279"/>
                    </a:lnTo>
                    <a:lnTo>
                      <a:pt x="411" y="279"/>
                    </a:lnTo>
                    <a:lnTo>
                      <a:pt x="411" y="275"/>
                    </a:lnTo>
                    <a:lnTo>
                      <a:pt x="408" y="267"/>
                    </a:lnTo>
                    <a:lnTo>
                      <a:pt x="413" y="266"/>
                    </a:lnTo>
                    <a:lnTo>
                      <a:pt x="413" y="261"/>
                    </a:lnTo>
                    <a:lnTo>
                      <a:pt x="417" y="264"/>
                    </a:lnTo>
                    <a:lnTo>
                      <a:pt x="416" y="261"/>
                    </a:lnTo>
                    <a:lnTo>
                      <a:pt x="416" y="258"/>
                    </a:lnTo>
                    <a:lnTo>
                      <a:pt x="414" y="258"/>
                    </a:lnTo>
                    <a:lnTo>
                      <a:pt x="415" y="255"/>
                    </a:lnTo>
                    <a:lnTo>
                      <a:pt x="413" y="254"/>
                    </a:lnTo>
                    <a:lnTo>
                      <a:pt x="414" y="254"/>
                    </a:lnTo>
                    <a:lnTo>
                      <a:pt x="414" y="253"/>
                    </a:lnTo>
                    <a:lnTo>
                      <a:pt x="413" y="253"/>
                    </a:lnTo>
                    <a:lnTo>
                      <a:pt x="411" y="252"/>
                    </a:lnTo>
                    <a:lnTo>
                      <a:pt x="411" y="253"/>
                    </a:lnTo>
                    <a:lnTo>
                      <a:pt x="410" y="252"/>
                    </a:lnTo>
                    <a:lnTo>
                      <a:pt x="410" y="251"/>
                    </a:lnTo>
                    <a:lnTo>
                      <a:pt x="410" y="252"/>
                    </a:lnTo>
                    <a:lnTo>
                      <a:pt x="406" y="251"/>
                    </a:lnTo>
                    <a:lnTo>
                      <a:pt x="407" y="248"/>
                    </a:lnTo>
                    <a:lnTo>
                      <a:pt x="406" y="249"/>
                    </a:lnTo>
                    <a:lnTo>
                      <a:pt x="406" y="248"/>
                    </a:lnTo>
                    <a:lnTo>
                      <a:pt x="406" y="245"/>
                    </a:lnTo>
                    <a:lnTo>
                      <a:pt x="405" y="245"/>
                    </a:lnTo>
                    <a:lnTo>
                      <a:pt x="406" y="244"/>
                    </a:lnTo>
                    <a:lnTo>
                      <a:pt x="405" y="244"/>
                    </a:lnTo>
                    <a:lnTo>
                      <a:pt x="406" y="242"/>
                    </a:lnTo>
                    <a:lnTo>
                      <a:pt x="405" y="242"/>
                    </a:lnTo>
                    <a:lnTo>
                      <a:pt x="405" y="241"/>
                    </a:lnTo>
                    <a:lnTo>
                      <a:pt x="404" y="238"/>
                    </a:lnTo>
                    <a:lnTo>
                      <a:pt x="402" y="237"/>
                    </a:lnTo>
                    <a:lnTo>
                      <a:pt x="402" y="235"/>
                    </a:lnTo>
                    <a:lnTo>
                      <a:pt x="402" y="231"/>
                    </a:lnTo>
                    <a:lnTo>
                      <a:pt x="402" y="230"/>
                    </a:lnTo>
                    <a:lnTo>
                      <a:pt x="402" y="228"/>
                    </a:lnTo>
                    <a:lnTo>
                      <a:pt x="401" y="228"/>
                    </a:lnTo>
                    <a:lnTo>
                      <a:pt x="401" y="225"/>
                    </a:lnTo>
                    <a:lnTo>
                      <a:pt x="400" y="225"/>
                    </a:lnTo>
                    <a:lnTo>
                      <a:pt x="400" y="224"/>
                    </a:lnTo>
                    <a:lnTo>
                      <a:pt x="400" y="221"/>
                    </a:lnTo>
                    <a:lnTo>
                      <a:pt x="397" y="219"/>
                    </a:lnTo>
                    <a:lnTo>
                      <a:pt x="397" y="218"/>
                    </a:lnTo>
                    <a:lnTo>
                      <a:pt x="396" y="215"/>
                    </a:lnTo>
                    <a:lnTo>
                      <a:pt x="394" y="215"/>
                    </a:lnTo>
                    <a:lnTo>
                      <a:pt x="395" y="213"/>
                    </a:lnTo>
                    <a:lnTo>
                      <a:pt x="395" y="208"/>
                    </a:lnTo>
                    <a:lnTo>
                      <a:pt x="392" y="206"/>
                    </a:lnTo>
                    <a:lnTo>
                      <a:pt x="392" y="204"/>
                    </a:lnTo>
                    <a:lnTo>
                      <a:pt x="393" y="204"/>
                    </a:lnTo>
                    <a:lnTo>
                      <a:pt x="390" y="201"/>
                    </a:lnTo>
                    <a:lnTo>
                      <a:pt x="392" y="197"/>
                    </a:lnTo>
                    <a:lnTo>
                      <a:pt x="392" y="196"/>
                    </a:lnTo>
                    <a:lnTo>
                      <a:pt x="392" y="192"/>
                    </a:lnTo>
                    <a:lnTo>
                      <a:pt x="392" y="191"/>
                    </a:lnTo>
                    <a:lnTo>
                      <a:pt x="392" y="190"/>
                    </a:lnTo>
                    <a:lnTo>
                      <a:pt x="392" y="187"/>
                    </a:lnTo>
                    <a:lnTo>
                      <a:pt x="390" y="187"/>
                    </a:lnTo>
                    <a:lnTo>
                      <a:pt x="388" y="187"/>
                    </a:lnTo>
                    <a:lnTo>
                      <a:pt x="389" y="182"/>
                    </a:lnTo>
                    <a:lnTo>
                      <a:pt x="392" y="177"/>
                    </a:lnTo>
                    <a:lnTo>
                      <a:pt x="398" y="173"/>
                    </a:lnTo>
                    <a:lnTo>
                      <a:pt x="398" y="171"/>
                    </a:lnTo>
                    <a:lnTo>
                      <a:pt x="396" y="169"/>
                    </a:lnTo>
                    <a:lnTo>
                      <a:pt x="397" y="166"/>
                    </a:lnTo>
                    <a:lnTo>
                      <a:pt x="398" y="164"/>
                    </a:lnTo>
                    <a:lnTo>
                      <a:pt x="398" y="161"/>
                    </a:lnTo>
                    <a:lnTo>
                      <a:pt x="400" y="159"/>
                    </a:lnTo>
                    <a:lnTo>
                      <a:pt x="404" y="158"/>
                    </a:lnTo>
                    <a:lnTo>
                      <a:pt x="408" y="157"/>
                    </a:lnTo>
                    <a:lnTo>
                      <a:pt x="410" y="153"/>
                    </a:lnTo>
                    <a:lnTo>
                      <a:pt x="411" y="151"/>
                    </a:lnTo>
                    <a:lnTo>
                      <a:pt x="411" y="153"/>
                    </a:lnTo>
                    <a:lnTo>
                      <a:pt x="411" y="155"/>
                    </a:lnTo>
                    <a:lnTo>
                      <a:pt x="414" y="155"/>
                    </a:lnTo>
                    <a:lnTo>
                      <a:pt x="415" y="153"/>
                    </a:lnTo>
                    <a:lnTo>
                      <a:pt x="412" y="150"/>
                    </a:lnTo>
                    <a:lnTo>
                      <a:pt x="413" y="147"/>
                    </a:lnTo>
                    <a:lnTo>
                      <a:pt x="414" y="147"/>
                    </a:lnTo>
                    <a:lnTo>
                      <a:pt x="414" y="145"/>
                    </a:lnTo>
                    <a:lnTo>
                      <a:pt x="416" y="140"/>
                    </a:lnTo>
                    <a:lnTo>
                      <a:pt x="418" y="137"/>
                    </a:lnTo>
                    <a:lnTo>
                      <a:pt x="418" y="136"/>
                    </a:lnTo>
                    <a:lnTo>
                      <a:pt x="420" y="136"/>
                    </a:lnTo>
                    <a:lnTo>
                      <a:pt x="422" y="138"/>
                    </a:lnTo>
                    <a:lnTo>
                      <a:pt x="424" y="134"/>
                    </a:lnTo>
                    <a:lnTo>
                      <a:pt x="422" y="132"/>
                    </a:lnTo>
                    <a:lnTo>
                      <a:pt x="423" y="130"/>
                    </a:lnTo>
                    <a:lnTo>
                      <a:pt x="426" y="129"/>
                    </a:lnTo>
                    <a:lnTo>
                      <a:pt x="426" y="128"/>
                    </a:lnTo>
                    <a:lnTo>
                      <a:pt x="425" y="127"/>
                    </a:lnTo>
                    <a:lnTo>
                      <a:pt x="424" y="127"/>
                    </a:lnTo>
                    <a:lnTo>
                      <a:pt x="424" y="125"/>
                    </a:lnTo>
                    <a:lnTo>
                      <a:pt x="424" y="124"/>
                    </a:lnTo>
                    <a:lnTo>
                      <a:pt x="425" y="122"/>
                    </a:lnTo>
                    <a:lnTo>
                      <a:pt x="427" y="123"/>
                    </a:lnTo>
                    <a:lnTo>
                      <a:pt x="427" y="122"/>
                    </a:lnTo>
                    <a:lnTo>
                      <a:pt x="425" y="121"/>
                    </a:lnTo>
                    <a:lnTo>
                      <a:pt x="424" y="122"/>
                    </a:lnTo>
                    <a:lnTo>
                      <a:pt x="423" y="121"/>
                    </a:lnTo>
                    <a:lnTo>
                      <a:pt x="424" y="121"/>
                    </a:lnTo>
                    <a:lnTo>
                      <a:pt x="422" y="119"/>
                    </a:lnTo>
                    <a:lnTo>
                      <a:pt x="425" y="118"/>
                    </a:lnTo>
                    <a:lnTo>
                      <a:pt x="427" y="121"/>
                    </a:lnTo>
                    <a:lnTo>
                      <a:pt x="429" y="119"/>
                    </a:lnTo>
                    <a:lnTo>
                      <a:pt x="432" y="118"/>
                    </a:lnTo>
                    <a:lnTo>
                      <a:pt x="433" y="119"/>
                    </a:lnTo>
                    <a:lnTo>
                      <a:pt x="434" y="119"/>
                    </a:lnTo>
                    <a:lnTo>
                      <a:pt x="433" y="121"/>
                    </a:lnTo>
                    <a:lnTo>
                      <a:pt x="432" y="122"/>
                    </a:lnTo>
                    <a:lnTo>
                      <a:pt x="434" y="121"/>
                    </a:lnTo>
                    <a:lnTo>
                      <a:pt x="435" y="122"/>
                    </a:lnTo>
                    <a:lnTo>
                      <a:pt x="435" y="121"/>
                    </a:lnTo>
                    <a:lnTo>
                      <a:pt x="436" y="121"/>
                    </a:lnTo>
                    <a:lnTo>
                      <a:pt x="439" y="124"/>
                    </a:lnTo>
                    <a:lnTo>
                      <a:pt x="440" y="127"/>
                    </a:lnTo>
                    <a:lnTo>
                      <a:pt x="443" y="128"/>
                    </a:lnTo>
                    <a:lnTo>
                      <a:pt x="444" y="129"/>
                    </a:lnTo>
                    <a:lnTo>
                      <a:pt x="446" y="129"/>
                    </a:lnTo>
                    <a:lnTo>
                      <a:pt x="447" y="131"/>
                    </a:lnTo>
                    <a:lnTo>
                      <a:pt x="448" y="129"/>
                    </a:lnTo>
                    <a:lnTo>
                      <a:pt x="448" y="130"/>
                    </a:lnTo>
                    <a:lnTo>
                      <a:pt x="450" y="130"/>
                    </a:lnTo>
                    <a:lnTo>
                      <a:pt x="453" y="129"/>
                    </a:lnTo>
                    <a:lnTo>
                      <a:pt x="454" y="126"/>
                    </a:lnTo>
                    <a:lnTo>
                      <a:pt x="454" y="122"/>
                    </a:lnTo>
                    <a:lnTo>
                      <a:pt x="455" y="120"/>
                    </a:lnTo>
                    <a:lnTo>
                      <a:pt x="455" y="117"/>
                    </a:lnTo>
                    <a:lnTo>
                      <a:pt x="457" y="116"/>
                    </a:lnTo>
                    <a:lnTo>
                      <a:pt x="457" y="112"/>
                    </a:lnTo>
                    <a:lnTo>
                      <a:pt x="457" y="111"/>
                    </a:lnTo>
                    <a:lnTo>
                      <a:pt x="463" y="113"/>
                    </a:lnTo>
                    <a:lnTo>
                      <a:pt x="465" y="112"/>
                    </a:lnTo>
                    <a:lnTo>
                      <a:pt x="467" y="112"/>
                    </a:lnTo>
                    <a:lnTo>
                      <a:pt x="468" y="111"/>
                    </a:lnTo>
                    <a:lnTo>
                      <a:pt x="471" y="104"/>
                    </a:lnTo>
                    <a:lnTo>
                      <a:pt x="472" y="101"/>
                    </a:lnTo>
                    <a:lnTo>
                      <a:pt x="473" y="100"/>
                    </a:lnTo>
                    <a:lnTo>
                      <a:pt x="477" y="91"/>
                    </a:lnTo>
                    <a:lnTo>
                      <a:pt x="479" y="86"/>
                    </a:lnTo>
                    <a:lnTo>
                      <a:pt x="484" y="83"/>
                    </a:lnTo>
                    <a:lnTo>
                      <a:pt x="485" y="74"/>
                    </a:lnTo>
                    <a:lnTo>
                      <a:pt x="484" y="7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6" name="Freeform 97">
                <a:extLst>
                  <a:ext uri="{FF2B5EF4-FFF2-40B4-BE49-F238E27FC236}">
                    <a16:creationId xmlns:a16="http://schemas.microsoft.com/office/drawing/2014/main" id="{EB889995-D637-4FCD-B233-3CBE2C96E2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" y="2680"/>
                <a:ext cx="485" cy="415"/>
              </a:xfrm>
              <a:custGeom>
                <a:avLst/>
                <a:gdLst>
                  <a:gd name="T0" fmla="*/ 471 w 485"/>
                  <a:gd name="T1" fmla="*/ 53 h 415"/>
                  <a:gd name="T2" fmla="*/ 460 w 485"/>
                  <a:gd name="T3" fmla="*/ 30 h 415"/>
                  <a:gd name="T4" fmla="*/ 433 w 485"/>
                  <a:gd name="T5" fmla="*/ 19 h 415"/>
                  <a:gd name="T6" fmla="*/ 400 w 485"/>
                  <a:gd name="T7" fmla="*/ 0 h 415"/>
                  <a:gd name="T8" fmla="*/ 384 w 485"/>
                  <a:gd name="T9" fmla="*/ 29 h 415"/>
                  <a:gd name="T10" fmla="*/ 398 w 485"/>
                  <a:gd name="T11" fmla="*/ 46 h 415"/>
                  <a:gd name="T12" fmla="*/ 415 w 485"/>
                  <a:gd name="T13" fmla="*/ 66 h 415"/>
                  <a:gd name="T14" fmla="*/ 397 w 485"/>
                  <a:gd name="T15" fmla="*/ 78 h 415"/>
                  <a:gd name="T16" fmla="*/ 351 w 485"/>
                  <a:gd name="T17" fmla="*/ 91 h 415"/>
                  <a:gd name="T18" fmla="*/ 310 w 485"/>
                  <a:gd name="T19" fmla="*/ 102 h 415"/>
                  <a:gd name="T20" fmla="*/ 277 w 485"/>
                  <a:gd name="T21" fmla="*/ 108 h 415"/>
                  <a:gd name="T22" fmla="*/ 257 w 485"/>
                  <a:gd name="T23" fmla="*/ 133 h 415"/>
                  <a:gd name="T24" fmla="*/ 232 w 485"/>
                  <a:gd name="T25" fmla="*/ 129 h 415"/>
                  <a:gd name="T26" fmla="*/ 191 w 485"/>
                  <a:gd name="T27" fmla="*/ 129 h 415"/>
                  <a:gd name="T28" fmla="*/ 173 w 485"/>
                  <a:gd name="T29" fmla="*/ 147 h 415"/>
                  <a:gd name="T30" fmla="*/ 142 w 485"/>
                  <a:gd name="T31" fmla="*/ 168 h 415"/>
                  <a:gd name="T32" fmla="*/ 128 w 485"/>
                  <a:gd name="T33" fmla="*/ 160 h 415"/>
                  <a:gd name="T34" fmla="*/ 109 w 485"/>
                  <a:gd name="T35" fmla="*/ 179 h 415"/>
                  <a:gd name="T36" fmla="*/ 85 w 485"/>
                  <a:gd name="T37" fmla="*/ 184 h 415"/>
                  <a:gd name="T38" fmla="*/ 60 w 485"/>
                  <a:gd name="T39" fmla="*/ 202 h 415"/>
                  <a:gd name="T40" fmla="*/ 24 w 485"/>
                  <a:gd name="T41" fmla="*/ 220 h 415"/>
                  <a:gd name="T42" fmla="*/ 8 w 485"/>
                  <a:gd name="T43" fmla="*/ 251 h 415"/>
                  <a:gd name="T44" fmla="*/ 40 w 485"/>
                  <a:gd name="T45" fmla="*/ 260 h 415"/>
                  <a:gd name="T46" fmla="*/ 45 w 485"/>
                  <a:gd name="T47" fmla="*/ 276 h 415"/>
                  <a:gd name="T48" fmla="*/ 66 w 485"/>
                  <a:gd name="T49" fmla="*/ 276 h 415"/>
                  <a:gd name="T50" fmla="*/ 69 w 485"/>
                  <a:gd name="T51" fmla="*/ 300 h 415"/>
                  <a:gd name="T52" fmla="*/ 64 w 485"/>
                  <a:gd name="T53" fmla="*/ 316 h 415"/>
                  <a:gd name="T54" fmla="*/ 69 w 485"/>
                  <a:gd name="T55" fmla="*/ 336 h 415"/>
                  <a:gd name="T56" fmla="*/ 70 w 485"/>
                  <a:gd name="T57" fmla="*/ 352 h 415"/>
                  <a:gd name="T58" fmla="*/ 70 w 485"/>
                  <a:gd name="T59" fmla="*/ 375 h 415"/>
                  <a:gd name="T60" fmla="*/ 65 w 485"/>
                  <a:gd name="T61" fmla="*/ 379 h 415"/>
                  <a:gd name="T62" fmla="*/ 72 w 485"/>
                  <a:gd name="T63" fmla="*/ 390 h 415"/>
                  <a:gd name="T64" fmla="*/ 84 w 485"/>
                  <a:gd name="T65" fmla="*/ 408 h 415"/>
                  <a:gd name="T66" fmla="*/ 94 w 485"/>
                  <a:gd name="T67" fmla="*/ 413 h 415"/>
                  <a:gd name="T68" fmla="*/ 110 w 485"/>
                  <a:gd name="T69" fmla="*/ 402 h 415"/>
                  <a:gd name="T70" fmla="*/ 124 w 485"/>
                  <a:gd name="T71" fmla="*/ 396 h 415"/>
                  <a:gd name="T72" fmla="*/ 136 w 485"/>
                  <a:gd name="T73" fmla="*/ 379 h 415"/>
                  <a:gd name="T74" fmla="*/ 150 w 485"/>
                  <a:gd name="T75" fmla="*/ 368 h 415"/>
                  <a:gd name="T76" fmla="*/ 174 w 485"/>
                  <a:gd name="T77" fmla="*/ 361 h 415"/>
                  <a:gd name="T78" fmla="*/ 206 w 485"/>
                  <a:gd name="T79" fmla="*/ 359 h 415"/>
                  <a:gd name="T80" fmla="*/ 226 w 485"/>
                  <a:gd name="T81" fmla="*/ 349 h 415"/>
                  <a:gd name="T82" fmla="*/ 254 w 485"/>
                  <a:gd name="T83" fmla="*/ 347 h 415"/>
                  <a:gd name="T84" fmla="*/ 265 w 485"/>
                  <a:gd name="T85" fmla="*/ 335 h 415"/>
                  <a:gd name="T86" fmla="*/ 274 w 485"/>
                  <a:gd name="T87" fmla="*/ 321 h 415"/>
                  <a:gd name="T88" fmla="*/ 297 w 485"/>
                  <a:gd name="T89" fmla="*/ 326 h 415"/>
                  <a:gd name="T90" fmla="*/ 330 w 485"/>
                  <a:gd name="T91" fmla="*/ 329 h 415"/>
                  <a:gd name="T92" fmla="*/ 350 w 485"/>
                  <a:gd name="T93" fmla="*/ 326 h 415"/>
                  <a:gd name="T94" fmla="*/ 369 w 485"/>
                  <a:gd name="T95" fmla="*/ 327 h 415"/>
                  <a:gd name="T96" fmla="*/ 378 w 485"/>
                  <a:gd name="T97" fmla="*/ 326 h 415"/>
                  <a:gd name="T98" fmla="*/ 378 w 485"/>
                  <a:gd name="T99" fmla="*/ 305 h 415"/>
                  <a:gd name="T100" fmla="*/ 381 w 485"/>
                  <a:gd name="T101" fmla="*/ 293 h 415"/>
                  <a:gd name="T102" fmla="*/ 396 w 485"/>
                  <a:gd name="T103" fmla="*/ 293 h 415"/>
                  <a:gd name="T104" fmla="*/ 411 w 485"/>
                  <a:gd name="T105" fmla="*/ 279 h 415"/>
                  <a:gd name="T106" fmla="*/ 411 w 485"/>
                  <a:gd name="T107" fmla="*/ 253 h 415"/>
                  <a:gd name="T108" fmla="*/ 405 w 485"/>
                  <a:gd name="T109" fmla="*/ 242 h 415"/>
                  <a:gd name="T110" fmla="*/ 397 w 485"/>
                  <a:gd name="T111" fmla="*/ 219 h 415"/>
                  <a:gd name="T112" fmla="*/ 392 w 485"/>
                  <a:gd name="T113" fmla="*/ 187 h 415"/>
                  <a:gd name="T114" fmla="*/ 408 w 485"/>
                  <a:gd name="T115" fmla="*/ 157 h 415"/>
                  <a:gd name="T116" fmla="*/ 418 w 485"/>
                  <a:gd name="T117" fmla="*/ 136 h 415"/>
                  <a:gd name="T118" fmla="*/ 427 w 485"/>
                  <a:gd name="T119" fmla="*/ 123 h 415"/>
                  <a:gd name="T120" fmla="*/ 434 w 485"/>
                  <a:gd name="T121" fmla="*/ 121 h 415"/>
                  <a:gd name="T122" fmla="*/ 454 w 485"/>
                  <a:gd name="T123" fmla="*/ 122 h 415"/>
                  <a:gd name="T124" fmla="*/ 484 w 485"/>
                  <a:gd name="T125" fmla="*/ 83 h 41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85"/>
                  <a:gd name="T190" fmla="*/ 0 h 415"/>
                  <a:gd name="T191" fmla="*/ 485 w 485"/>
                  <a:gd name="T192" fmla="*/ 415 h 41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85" h="415">
                    <a:moveTo>
                      <a:pt x="484" y="72"/>
                    </a:moveTo>
                    <a:lnTo>
                      <a:pt x="482" y="71"/>
                    </a:lnTo>
                    <a:lnTo>
                      <a:pt x="478" y="73"/>
                    </a:lnTo>
                    <a:lnTo>
                      <a:pt x="475" y="73"/>
                    </a:lnTo>
                    <a:lnTo>
                      <a:pt x="473" y="74"/>
                    </a:lnTo>
                    <a:lnTo>
                      <a:pt x="470" y="74"/>
                    </a:lnTo>
                    <a:lnTo>
                      <a:pt x="465" y="77"/>
                    </a:lnTo>
                    <a:lnTo>
                      <a:pt x="464" y="76"/>
                    </a:lnTo>
                    <a:lnTo>
                      <a:pt x="461" y="74"/>
                    </a:lnTo>
                    <a:lnTo>
                      <a:pt x="460" y="71"/>
                    </a:lnTo>
                    <a:lnTo>
                      <a:pt x="463" y="66"/>
                    </a:lnTo>
                    <a:lnTo>
                      <a:pt x="467" y="62"/>
                    </a:lnTo>
                    <a:lnTo>
                      <a:pt x="468" y="60"/>
                    </a:lnTo>
                    <a:lnTo>
                      <a:pt x="471" y="55"/>
                    </a:lnTo>
                    <a:lnTo>
                      <a:pt x="471" y="53"/>
                    </a:lnTo>
                    <a:lnTo>
                      <a:pt x="472" y="52"/>
                    </a:lnTo>
                    <a:lnTo>
                      <a:pt x="472" y="49"/>
                    </a:lnTo>
                    <a:lnTo>
                      <a:pt x="473" y="48"/>
                    </a:lnTo>
                    <a:lnTo>
                      <a:pt x="474" y="43"/>
                    </a:lnTo>
                    <a:lnTo>
                      <a:pt x="473" y="43"/>
                    </a:lnTo>
                    <a:lnTo>
                      <a:pt x="470" y="40"/>
                    </a:lnTo>
                    <a:lnTo>
                      <a:pt x="470" y="37"/>
                    </a:lnTo>
                    <a:lnTo>
                      <a:pt x="467" y="33"/>
                    </a:lnTo>
                    <a:lnTo>
                      <a:pt x="466" y="32"/>
                    </a:lnTo>
                    <a:lnTo>
                      <a:pt x="465" y="32"/>
                    </a:lnTo>
                    <a:lnTo>
                      <a:pt x="459" y="33"/>
                    </a:lnTo>
                    <a:lnTo>
                      <a:pt x="458" y="32"/>
                    </a:lnTo>
                    <a:lnTo>
                      <a:pt x="459" y="31"/>
                    </a:lnTo>
                    <a:lnTo>
                      <a:pt x="460" y="30"/>
                    </a:lnTo>
                    <a:lnTo>
                      <a:pt x="460" y="29"/>
                    </a:lnTo>
                    <a:lnTo>
                      <a:pt x="458" y="26"/>
                    </a:lnTo>
                    <a:lnTo>
                      <a:pt x="450" y="23"/>
                    </a:lnTo>
                    <a:lnTo>
                      <a:pt x="451" y="19"/>
                    </a:lnTo>
                    <a:lnTo>
                      <a:pt x="453" y="14"/>
                    </a:lnTo>
                    <a:lnTo>
                      <a:pt x="452" y="12"/>
                    </a:lnTo>
                    <a:lnTo>
                      <a:pt x="449" y="13"/>
                    </a:lnTo>
                    <a:lnTo>
                      <a:pt x="449" y="17"/>
                    </a:lnTo>
                    <a:lnTo>
                      <a:pt x="448" y="22"/>
                    </a:lnTo>
                    <a:lnTo>
                      <a:pt x="444" y="21"/>
                    </a:lnTo>
                    <a:lnTo>
                      <a:pt x="444" y="19"/>
                    </a:lnTo>
                    <a:lnTo>
                      <a:pt x="443" y="18"/>
                    </a:lnTo>
                    <a:lnTo>
                      <a:pt x="441" y="15"/>
                    </a:lnTo>
                    <a:lnTo>
                      <a:pt x="439" y="15"/>
                    </a:lnTo>
                    <a:lnTo>
                      <a:pt x="433" y="19"/>
                    </a:lnTo>
                    <a:lnTo>
                      <a:pt x="432" y="19"/>
                    </a:lnTo>
                    <a:lnTo>
                      <a:pt x="429" y="21"/>
                    </a:lnTo>
                    <a:lnTo>
                      <a:pt x="427" y="21"/>
                    </a:lnTo>
                    <a:lnTo>
                      <a:pt x="423" y="19"/>
                    </a:lnTo>
                    <a:lnTo>
                      <a:pt x="421" y="18"/>
                    </a:lnTo>
                    <a:lnTo>
                      <a:pt x="419" y="16"/>
                    </a:lnTo>
                    <a:lnTo>
                      <a:pt x="419" y="11"/>
                    </a:lnTo>
                    <a:lnTo>
                      <a:pt x="418" y="10"/>
                    </a:lnTo>
                    <a:lnTo>
                      <a:pt x="415" y="7"/>
                    </a:lnTo>
                    <a:lnTo>
                      <a:pt x="411" y="8"/>
                    </a:lnTo>
                    <a:lnTo>
                      <a:pt x="410" y="8"/>
                    </a:lnTo>
                    <a:lnTo>
                      <a:pt x="408" y="8"/>
                    </a:lnTo>
                    <a:lnTo>
                      <a:pt x="406" y="4"/>
                    </a:lnTo>
                    <a:lnTo>
                      <a:pt x="403" y="0"/>
                    </a:lnTo>
                    <a:lnTo>
                      <a:pt x="400" y="0"/>
                    </a:lnTo>
                    <a:lnTo>
                      <a:pt x="398" y="2"/>
                    </a:lnTo>
                    <a:lnTo>
                      <a:pt x="395" y="6"/>
                    </a:lnTo>
                    <a:lnTo>
                      <a:pt x="392" y="5"/>
                    </a:lnTo>
                    <a:lnTo>
                      <a:pt x="392" y="7"/>
                    </a:lnTo>
                    <a:lnTo>
                      <a:pt x="393" y="8"/>
                    </a:lnTo>
                    <a:lnTo>
                      <a:pt x="394" y="10"/>
                    </a:lnTo>
                    <a:lnTo>
                      <a:pt x="394" y="13"/>
                    </a:lnTo>
                    <a:lnTo>
                      <a:pt x="392" y="15"/>
                    </a:lnTo>
                    <a:lnTo>
                      <a:pt x="392" y="17"/>
                    </a:lnTo>
                    <a:lnTo>
                      <a:pt x="388" y="19"/>
                    </a:lnTo>
                    <a:lnTo>
                      <a:pt x="387" y="19"/>
                    </a:lnTo>
                    <a:lnTo>
                      <a:pt x="386" y="21"/>
                    </a:lnTo>
                    <a:lnTo>
                      <a:pt x="388" y="24"/>
                    </a:lnTo>
                    <a:lnTo>
                      <a:pt x="385" y="27"/>
                    </a:lnTo>
                    <a:lnTo>
                      <a:pt x="384" y="29"/>
                    </a:lnTo>
                    <a:lnTo>
                      <a:pt x="386" y="31"/>
                    </a:lnTo>
                    <a:lnTo>
                      <a:pt x="389" y="32"/>
                    </a:lnTo>
                    <a:lnTo>
                      <a:pt x="391" y="35"/>
                    </a:lnTo>
                    <a:lnTo>
                      <a:pt x="392" y="35"/>
                    </a:lnTo>
                    <a:lnTo>
                      <a:pt x="394" y="35"/>
                    </a:lnTo>
                    <a:lnTo>
                      <a:pt x="398" y="33"/>
                    </a:lnTo>
                    <a:lnTo>
                      <a:pt x="401" y="33"/>
                    </a:lnTo>
                    <a:lnTo>
                      <a:pt x="402" y="35"/>
                    </a:lnTo>
                    <a:lnTo>
                      <a:pt x="402" y="36"/>
                    </a:lnTo>
                    <a:lnTo>
                      <a:pt x="402" y="39"/>
                    </a:lnTo>
                    <a:lnTo>
                      <a:pt x="400" y="39"/>
                    </a:lnTo>
                    <a:lnTo>
                      <a:pt x="398" y="38"/>
                    </a:lnTo>
                    <a:lnTo>
                      <a:pt x="394" y="42"/>
                    </a:lnTo>
                    <a:lnTo>
                      <a:pt x="398" y="45"/>
                    </a:lnTo>
                    <a:lnTo>
                      <a:pt x="398" y="46"/>
                    </a:lnTo>
                    <a:lnTo>
                      <a:pt x="397" y="47"/>
                    </a:lnTo>
                    <a:lnTo>
                      <a:pt x="400" y="50"/>
                    </a:lnTo>
                    <a:lnTo>
                      <a:pt x="405" y="51"/>
                    </a:lnTo>
                    <a:lnTo>
                      <a:pt x="406" y="53"/>
                    </a:lnTo>
                    <a:lnTo>
                      <a:pt x="407" y="53"/>
                    </a:lnTo>
                    <a:lnTo>
                      <a:pt x="409" y="55"/>
                    </a:lnTo>
                    <a:lnTo>
                      <a:pt x="411" y="55"/>
                    </a:lnTo>
                    <a:lnTo>
                      <a:pt x="411" y="57"/>
                    </a:lnTo>
                    <a:lnTo>
                      <a:pt x="412" y="57"/>
                    </a:lnTo>
                    <a:lnTo>
                      <a:pt x="416" y="56"/>
                    </a:lnTo>
                    <a:lnTo>
                      <a:pt x="418" y="59"/>
                    </a:lnTo>
                    <a:lnTo>
                      <a:pt x="419" y="61"/>
                    </a:lnTo>
                    <a:lnTo>
                      <a:pt x="418" y="62"/>
                    </a:lnTo>
                    <a:lnTo>
                      <a:pt x="418" y="65"/>
                    </a:lnTo>
                    <a:lnTo>
                      <a:pt x="415" y="66"/>
                    </a:lnTo>
                    <a:lnTo>
                      <a:pt x="416" y="66"/>
                    </a:lnTo>
                    <a:lnTo>
                      <a:pt x="416" y="68"/>
                    </a:lnTo>
                    <a:lnTo>
                      <a:pt x="414" y="67"/>
                    </a:lnTo>
                    <a:lnTo>
                      <a:pt x="414" y="68"/>
                    </a:lnTo>
                    <a:lnTo>
                      <a:pt x="414" y="72"/>
                    </a:lnTo>
                    <a:lnTo>
                      <a:pt x="413" y="76"/>
                    </a:lnTo>
                    <a:lnTo>
                      <a:pt x="410" y="76"/>
                    </a:lnTo>
                    <a:lnTo>
                      <a:pt x="405" y="74"/>
                    </a:lnTo>
                    <a:lnTo>
                      <a:pt x="405" y="75"/>
                    </a:lnTo>
                    <a:lnTo>
                      <a:pt x="403" y="73"/>
                    </a:lnTo>
                    <a:lnTo>
                      <a:pt x="403" y="76"/>
                    </a:lnTo>
                    <a:lnTo>
                      <a:pt x="402" y="78"/>
                    </a:lnTo>
                    <a:lnTo>
                      <a:pt x="397" y="78"/>
                    </a:lnTo>
                    <a:lnTo>
                      <a:pt x="395" y="78"/>
                    </a:lnTo>
                    <a:lnTo>
                      <a:pt x="390" y="79"/>
                    </a:lnTo>
                    <a:lnTo>
                      <a:pt x="387" y="78"/>
                    </a:lnTo>
                    <a:lnTo>
                      <a:pt x="386" y="75"/>
                    </a:lnTo>
                    <a:lnTo>
                      <a:pt x="382" y="73"/>
                    </a:lnTo>
                    <a:lnTo>
                      <a:pt x="377" y="76"/>
                    </a:lnTo>
                    <a:lnTo>
                      <a:pt x="375" y="76"/>
                    </a:lnTo>
                    <a:lnTo>
                      <a:pt x="372" y="75"/>
                    </a:lnTo>
                    <a:lnTo>
                      <a:pt x="372" y="79"/>
                    </a:lnTo>
                    <a:lnTo>
                      <a:pt x="367" y="87"/>
                    </a:lnTo>
                    <a:lnTo>
                      <a:pt x="366" y="87"/>
                    </a:lnTo>
                    <a:lnTo>
                      <a:pt x="361" y="90"/>
                    </a:lnTo>
                    <a:lnTo>
                      <a:pt x="360" y="90"/>
                    </a:lnTo>
                    <a:lnTo>
                      <a:pt x="358" y="91"/>
                    </a:lnTo>
                    <a:lnTo>
                      <a:pt x="351" y="91"/>
                    </a:lnTo>
                    <a:lnTo>
                      <a:pt x="342" y="96"/>
                    </a:lnTo>
                    <a:lnTo>
                      <a:pt x="340" y="95"/>
                    </a:lnTo>
                    <a:lnTo>
                      <a:pt x="337" y="97"/>
                    </a:lnTo>
                    <a:lnTo>
                      <a:pt x="335" y="97"/>
                    </a:lnTo>
                    <a:lnTo>
                      <a:pt x="333" y="98"/>
                    </a:lnTo>
                    <a:lnTo>
                      <a:pt x="330" y="98"/>
                    </a:lnTo>
                    <a:lnTo>
                      <a:pt x="327" y="101"/>
                    </a:lnTo>
                    <a:lnTo>
                      <a:pt x="326" y="103"/>
                    </a:lnTo>
                    <a:lnTo>
                      <a:pt x="325" y="104"/>
                    </a:lnTo>
                    <a:lnTo>
                      <a:pt x="322" y="104"/>
                    </a:lnTo>
                    <a:lnTo>
                      <a:pt x="321" y="103"/>
                    </a:lnTo>
                    <a:lnTo>
                      <a:pt x="318" y="103"/>
                    </a:lnTo>
                    <a:lnTo>
                      <a:pt x="316" y="103"/>
                    </a:lnTo>
                    <a:lnTo>
                      <a:pt x="314" y="106"/>
                    </a:lnTo>
                    <a:lnTo>
                      <a:pt x="310" y="102"/>
                    </a:lnTo>
                    <a:lnTo>
                      <a:pt x="307" y="101"/>
                    </a:lnTo>
                    <a:lnTo>
                      <a:pt x="307" y="99"/>
                    </a:lnTo>
                    <a:lnTo>
                      <a:pt x="304" y="96"/>
                    </a:lnTo>
                    <a:lnTo>
                      <a:pt x="302" y="98"/>
                    </a:lnTo>
                    <a:lnTo>
                      <a:pt x="298" y="100"/>
                    </a:lnTo>
                    <a:lnTo>
                      <a:pt x="294" y="100"/>
                    </a:lnTo>
                    <a:lnTo>
                      <a:pt x="293" y="100"/>
                    </a:lnTo>
                    <a:lnTo>
                      <a:pt x="293" y="104"/>
                    </a:lnTo>
                    <a:lnTo>
                      <a:pt x="291" y="105"/>
                    </a:lnTo>
                    <a:lnTo>
                      <a:pt x="290" y="106"/>
                    </a:lnTo>
                    <a:lnTo>
                      <a:pt x="288" y="108"/>
                    </a:lnTo>
                    <a:lnTo>
                      <a:pt x="283" y="107"/>
                    </a:lnTo>
                    <a:lnTo>
                      <a:pt x="280" y="104"/>
                    </a:lnTo>
                    <a:lnTo>
                      <a:pt x="277" y="106"/>
                    </a:lnTo>
                    <a:lnTo>
                      <a:pt x="277" y="108"/>
                    </a:lnTo>
                    <a:lnTo>
                      <a:pt x="276" y="111"/>
                    </a:lnTo>
                    <a:lnTo>
                      <a:pt x="275" y="113"/>
                    </a:lnTo>
                    <a:lnTo>
                      <a:pt x="273" y="116"/>
                    </a:lnTo>
                    <a:lnTo>
                      <a:pt x="274" y="119"/>
                    </a:lnTo>
                    <a:lnTo>
                      <a:pt x="276" y="123"/>
                    </a:lnTo>
                    <a:lnTo>
                      <a:pt x="274" y="127"/>
                    </a:lnTo>
                    <a:lnTo>
                      <a:pt x="271" y="129"/>
                    </a:lnTo>
                    <a:lnTo>
                      <a:pt x="269" y="130"/>
                    </a:lnTo>
                    <a:lnTo>
                      <a:pt x="267" y="127"/>
                    </a:lnTo>
                    <a:lnTo>
                      <a:pt x="265" y="127"/>
                    </a:lnTo>
                    <a:lnTo>
                      <a:pt x="264" y="130"/>
                    </a:lnTo>
                    <a:lnTo>
                      <a:pt x="263" y="134"/>
                    </a:lnTo>
                    <a:lnTo>
                      <a:pt x="260" y="134"/>
                    </a:lnTo>
                    <a:lnTo>
                      <a:pt x="257" y="133"/>
                    </a:lnTo>
                    <a:lnTo>
                      <a:pt x="256" y="134"/>
                    </a:lnTo>
                    <a:lnTo>
                      <a:pt x="255" y="134"/>
                    </a:lnTo>
                    <a:lnTo>
                      <a:pt x="252" y="130"/>
                    </a:lnTo>
                    <a:lnTo>
                      <a:pt x="250" y="129"/>
                    </a:lnTo>
                    <a:lnTo>
                      <a:pt x="248" y="128"/>
                    </a:lnTo>
                    <a:lnTo>
                      <a:pt x="246" y="129"/>
                    </a:lnTo>
                    <a:lnTo>
                      <a:pt x="245" y="127"/>
                    </a:lnTo>
                    <a:lnTo>
                      <a:pt x="244" y="128"/>
                    </a:lnTo>
                    <a:lnTo>
                      <a:pt x="243" y="126"/>
                    </a:lnTo>
                    <a:lnTo>
                      <a:pt x="241" y="127"/>
                    </a:lnTo>
                    <a:lnTo>
                      <a:pt x="239" y="126"/>
                    </a:lnTo>
                    <a:lnTo>
                      <a:pt x="237" y="126"/>
                    </a:lnTo>
                    <a:lnTo>
                      <a:pt x="236" y="128"/>
                    </a:lnTo>
                    <a:lnTo>
                      <a:pt x="234" y="129"/>
                    </a:lnTo>
                    <a:lnTo>
                      <a:pt x="232" y="129"/>
                    </a:lnTo>
                    <a:lnTo>
                      <a:pt x="229" y="125"/>
                    </a:lnTo>
                    <a:lnTo>
                      <a:pt x="225" y="129"/>
                    </a:lnTo>
                    <a:lnTo>
                      <a:pt x="223" y="129"/>
                    </a:lnTo>
                    <a:lnTo>
                      <a:pt x="224" y="131"/>
                    </a:lnTo>
                    <a:lnTo>
                      <a:pt x="223" y="133"/>
                    </a:lnTo>
                    <a:lnTo>
                      <a:pt x="219" y="130"/>
                    </a:lnTo>
                    <a:lnTo>
                      <a:pt x="217" y="127"/>
                    </a:lnTo>
                    <a:lnTo>
                      <a:pt x="212" y="123"/>
                    </a:lnTo>
                    <a:lnTo>
                      <a:pt x="207" y="123"/>
                    </a:lnTo>
                    <a:lnTo>
                      <a:pt x="204" y="125"/>
                    </a:lnTo>
                    <a:lnTo>
                      <a:pt x="201" y="126"/>
                    </a:lnTo>
                    <a:lnTo>
                      <a:pt x="201" y="129"/>
                    </a:lnTo>
                    <a:lnTo>
                      <a:pt x="197" y="129"/>
                    </a:lnTo>
                    <a:lnTo>
                      <a:pt x="195" y="130"/>
                    </a:lnTo>
                    <a:lnTo>
                      <a:pt x="191" y="129"/>
                    </a:lnTo>
                    <a:lnTo>
                      <a:pt x="187" y="127"/>
                    </a:lnTo>
                    <a:lnTo>
                      <a:pt x="186" y="128"/>
                    </a:lnTo>
                    <a:lnTo>
                      <a:pt x="184" y="127"/>
                    </a:lnTo>
                    <a:lnTo>
                      <a:pt x="182" y="127"/>
                    </a:lnTo>
                    <a:lnTo>
                      <a:pt x="179" y="127"/>
                    </a:lnTo>
                    <a:lnTo>
                      <a:pt x="177" y="130"/>
                    </a:lnTo>
                    <a:lnTo>
                      <a:pt x="174" y="129"/>
                    </a:lnTo>
                    <a:lnTo>
                      <a:pt x="174" y="133"/>
                    </a:lnTo>
                    <a:lnTo>
                      <a:pt x="176" y="137"/>
                    </a:lnTo>
                    <a:lnTo>
                      <a:pt x="177" y="139"/>
                    </a:lnTo>
                    <a:lnTo>
                      <a:pt x="177" y="143"/>
                    </a:lnTo>
                    <a:lnTo>
                      <a:pt x="176" y="144"/>
                    </a:lnTo>
                    <a:lnTo>
                      <a:pt x="176" y="147"/>
                    </a:lnTo>
                    <a:lnTo>
                      <a:pt x="175" y="147"/>
                    </a:lnTo>
                    <a:lnTo>
                      <a:pt x="173" y="147"/>
                    </a:lnTo>
                    <a:lnTo>
                      <a:pt x="167" y="153"/>
                    </a:lnTo>
                    <a:lnTo>
                      <a:pt x="168" y="156"/>
                    </a:lnTo>
                    <a:lnTo>
                      <a:pt x="170" y="156"/>
                    </a:lnTo>
                    <a:lnTo>
                      <a:pt x="170" y="160"/>
                    </a:lnTo>
                    <a:lnTo>
                      <a:pt x="168" y="161"/>
                    </a:lnTo>
                    <a:lnTo>
                      <a:pt x="163" y="161"/>
                    </a:lnTo>
                    <a:lnTo>
                      <a:pt x="162" y="163"/>
                    </a:lnTo>
                    <a:lnTo>
                      <a:pt x="161" y="166"/>
                    </a:lnTo>
                    <a:lnTo>
                      <a:pt x="155" y="169"/>
                    </a:lnTo>
                    <a:lnTo>
                      <a:pt x="155" y="170"/>
                    </a:lnTo>
                    <a:lnTo>
                      <a:pt x="154" y="172"/>
                    </a:lnTo>
                    <a:lnTo>
                      <a:pt x="151" y="174"/>
                    </a:lnTo>
                    <a:lnTo>
                      <a:pt x="146" y="170"/>
                    </a:lnTo>
                    <a:lnTo>
                      <a:pt x="143" y="169"/>
                    </a:lnTo>
                    <a:lnTo>
                      <a:pt x="142" y="168"/>
                    </a:lnTo>
                    <a:lnTo>
                      <a:pt x="142" y="166"/>
                    </a:lnTo>
                    <a:lnTo>
                      <a:pt x="139" y="166"/>
                    </a:lnTo>
                    <a:lnTo>
                      <a:pt x="139" y="165"/>
                    </a:lnTo>
                    <a:lnTo>
                      <a:pt x="139" y="163"/>
                    </a:lnTo>
                    <a:lnTo>
                      <a:pt x="138" y="157"/>
                    </a:lnTo>
                    <a:lnTo>
                      <a:pt x="135" y="153"/>
                    </a:lnTo>
                    <a:lnTo>
                      <a:pt x="135" y="151"/>
                    </a:lnTo>
                    <a:lnTo>
                      <a:pt x="133" y="150"/>
                    </a:lnTo>
                    <a:lnTo>
                      <a:pt x="133" y="151"/>
                    </a:lnTo>
                    <a:lnTo>
                      <a:pt x="131" y="149"/>
                    </a:lnTo>
                    <a:lnTo>
                      <a:pt x="130" y="147"/>
                    </a:lnTo>
                    <a:lnTo>
                      <a:pt x="130" y="157"/>
                    </a:lnTo>
                    <a:lnTo>
                      <a:pt x="130" y="159"/>
                    </a:lnTo>
                    <a:lnTo>
                      <a:pt x="128" y="160"/>
                    </a:lnTo>
                    <a:lnTo>
                      <a:pt x="127" y="162"/>
                    </a:lnTo>
                    <a:lnTo>
                      <a:pt x="126" y="163"/>
                    </a:lnTo>
                    <a:lnTo>
                      <a:pt x="125" y="163"/>
                    </a:lnTo>
                    <a:lnTo>
                      <a:pt x="124" y="163"/>
                    </a:lnTo>
                    <a:lnTo>
                      <a:pt x="118" y="164"/>
                    </a:lnTo>
                    <a:lnTo>
                      <a:pt x="119" y="165"/>
                    </a:lnTo>
                    <a:lnTo>
                      <a:pt x="118" y="166"/>
                    </a:lnTo>
                    <a:lnTo>
                      <a:pt x="114" y="166"/>
                    </a:lnTo>
                    <a:lnTo>
                      <a:pt x="114" y="167"/>
                    </a:lnTo>
                    <a:lnTo>
                      <a:pt x="113" y="168"/>
                    </a:lnTo>
                    <a:lnTo>
                      <a:pt x="113" y="171"/>
                    </a:lnTo>
                    <a:lnTo>
                      <a:pt x="113" y="174"/>
                    </a:lnTo>
                    <a:lnTo>
                      <a:pt x="113" y="175"/>
                    </a:lnTo>
                    <a:lnTo>
                      <a:pt x="113" y="178"/>
                    </a:lnTo>
                    <a:lnTo>
                      <a:pt x="109" y="179"/>
                    </a:lnTo>
                    <a:lnTo>
                      <a:pt x="106" y="178"/>
                    </a:lnTo>
                    <a:lnTo>
                      <a:pt x="104" y="180"/>
                    </a:lnTo>
                    <a:lnTo>
                      <a:pt x="103" y="174"/>
                    </a:lnTo>
                    <a:lnTo>
                      <a:pt x="103" y="173"/>
                    </a:lnTo>
                    <a:lnTo>
                      <a:pt x="102" y="171"/>
                    </a:lnTo>
                    <a:lnTo>
                      <a:pt x="97" y="170"/>
                    </a:lnTo>
                    <a:lnTo>
                      <a:pt x="95" y="168"/>
                    </a:lnTo>
                    <a:lnTo>
                      <a:pt x="93" y="170"/>
                    </a:lnTo>
                    <a:lnTo>
                      <a:pt x="93" y="172"/>
                    </a:lnTo>
                    <a:lnTo>
                      <a:pt x="91" y="173"/>
                    </a:lnTo>
                    <a:lnTo>
                      <a:pt x="89" y="175"/>
                    </a:lnTo>
                    <a:lnTo>
                      <a:pt x="89" y="176"/>
                    </a:lnTo>
                    <a:lnTo>
                      <a:pt x="89" y="179"/>
                    </a:lnTo>
                    <a:lnTo>
                      <a:pt x="85" y="182"/>
                    </a:lnTo>
                    <a:lnTo>
                      <a:pt x="85" y="184"/>
                    </a:lnTo>
                    <a:lnTo>
                      <a:pt x="85" y="186"/>
                    </a:lnTo>
                    <a:lnTo>
                      <a:pt x="85" y="189"/>
                    </a:lnTo>
                    <a:lnTo>
                      <a:pt x="84" y="190"/>
                    </a:lnTo>
                    <a:lnTo>
                      <a:pt x="83" y="192"/>
                    </a:lnTo>
                    <a:lnTo>
                      <a:pt x="79" y="197"/>
                    </a:lnTo>
                    <a:lnTo>
                      <a:pt x="78" y="200"/>
                    </a:lnTo>
                    <a:lnTo>
                      <a:pt x="74" y="202"/>
                    </a:lnTo>
                    <a:lnTo>
                      <a:pt x="74" y="208"/>
                    </a:lnTo>
                    <a:lnTo>
                      <a:pt x="73" y="208"/>
                    </a:lnTo>
                    <a:lnTo>
                      <a:pt x="72" y="208"/>
                    </a:lnTo>
                    <a:lnTo>
                      <a:pt x="69" y="207"/>
                    </a:lnTo>
                    <a:lnTo>
                      <a:pt x="63" y="204"/>
                    </a:lnTo>
                    <a:lnTo>
                      <a:pt x="61" y="205"/>
                    </a:lnTo>
                    <a:lnTo>
                      <a:pt x="59" y="204"/>
                    </a:lnTo>
                    <a:lnTo>
                      <a:pt x="60" y="202"/>
                    </a:lnTo>
                    <a:lnTo>
                      <a:pt x="59" y="200"/>
                    </a:lnTo>
                    <a:lnTo>
                      <a:pt x="58" y="198"/>
                    </a:lnTo>
                    <a:lnTo>
                      <a:pt x="54" y="200"/>
                    </a:lnTo>
                    <a:lnTo>
                      <a:pt x="49" y="204"/>
                    </a:lnTo>
                    <a:lnTo>
                      <a:pt x="46" y="204"/>
                    </a:lnTo>
                    <a:lnTo>
                      <a:pt x="45" y="205"/>
                    </a:lnTo>
                    <a:lnTo>
                      <a:pt x="37" y="203"/>
                    </a:lnTo>
                    <a:lnTo>
                      <a:pt x="36" y="201"/>
                    </a:lnTo>
                    <a:lnTo>
                      <a:pt x="35" y="198"/>
                    </a:lnTo>
                    <a:lnTo>
                      <a:pt x="33" y="198"/>
                    </a:lnTo>
                    <a:lnTo>
                      <a:pt x="31" y="198"/>
                    </a:lnTo>
                    <a:lnTo>
                      <a:pt x="30" y="202"/>
                    </a:lnTo>
                    <a:lnTo>
                      <a:pt x="27" y="208"/>
                    </a:lnTo>
                    <a:lnTo>
                      <a:pt x="25" y="216"/>
                    </a:lnTo>
                    <a:lnTo>
                      <a:pt x="24" y="220"/>
                    </a:lnTo>
                    <a:lnTo>
                      <a:pt x="24" y="224"/>
                    </a:lnTo>
                    <a:lnTo>
                      <a:pt x="23" y="228"/>
                    </a:lnTo>
                    <a:lnTo>
                      <a:pt x="17" y="231"/>
                    </a:lnTo>
                    <a:lnTo>
                      <a:pt x="15" y="233"/>
                    </a:lnTo>
                    <a:lnTo>
                      <a:pt x="13" y="237"/>
                    </a:lnTo>
                    <a:lnTo>
                      <a:pt x="12" y="238"/>
                    </a:lnTo>
                    <a:lnTo>
                      <a:pt x="7" y="239"/>
                    </a:lnTo>
                    <a:lnTo>
                      <a:pt x="2" y="239"/>
                    </a:lnTo>
                    <a:lnTo>
                      <a:pt x="0" y="240"/>
                    </a:lnTo>
                    <a:lnTo>
                      <a:pt x="0" y="241"/>
                    </a:lnTo>
                    <a:lnTo>
                      <a:pt x="2" y="242"/>
                    </a:lnTo>
                    <a:lnTo>
                      <a:pt x="2" y="243"/>
                    </a:lnTo>
                    <a:lnTo>
                      <a:pt x="6" y="245"/>
                    </a:lnTo>
                    <a:lnTo>
                      <a:pt x="7" y="248"/>
                    </a:lnTo>
                    <a:lnTo>
                      <a:pt x="8" y="251"/>
                    </a:lnTo>
                    <a:lnTo>
                      <a:pt x="12" y="250"/>
                    </a:lnTo>
                    <a:lnTo>
                      <a:pt x="13" y="251"/>
                    </a:lnTo>
                    <a:lnTo>
                      <a:pt x="14" y="251"/>
                    </a:lnTo>
                    <a:lnTo>
                      <a:pt x="13" y="252"/>
                    </a:lnTo>
                    <a:lnTo>
                      <a:pt x="14" y="253"/>
                    </a:lnTo>
                    <a:lnTo>
                      <a:pt x="18" y="251"/>
                    </a:lnTo>
                    <a:lnTo>
                      <a:pt x="21" y="250"/>
                    </a:lnTo>
                    <a:lnTo>
                      <a:pt x="21" y="254"/>
                    </a:lnTo>
                    <a:lnTo>
                      <a:pt x="26" y="257"/>
                    </a:lnTo>
                    <a:lnTo>
                      <a:pt x="27" y="255"/>
                    </a:lnTo>
                    <a:lnTo>
                      <a:pt x="33" y="257"/>
                    </a:lnTo>
                    <a:lnTo>
                      <a:pt x="33" y="255"/>
                    </a:lnTo>
                    <a:lnTo>
                      <a:pt x="36" y="260"/>
                    </a:lnTo>
                    <a:lnTo>
                      <a:pt x="38" y="261"/>
                    </a:lnTo>
                    <a:lnTo>
                      <a:pt x="40" y="260"/>
                    </a:lnTo>
                    <a:lnTo>
                      <a:pt x="40" y="261"/>
                    </a:lnTo>
                    <a:lnTo>
                      <a:pt x="43" y="266"/>
                    </a:lnTo>
                    <a:lnTo>
                      <a:pt x="43" y="267"/>
                    </a:lnTo>
                    <a:lnTo>
                      <a:pt x="40" y="267"/>
                    </a:lnTo>
                    <a:lnTo>
                      <a:pt x="39" y="270"/>
                    </a:lnTo>
                    <a:lnTo>
                      <a:pt x="37" y="271"/>
                    </a:lnTo>
                    <a:lnTo>
                      <a:pt x="37" y="273"/>
                    </a:lnTo>
                    <a:lnTo>
                      <a:pt x="38" y="272"/>
                    </a:lnTo>
                    <a:lnTo>
                      <a:pt x="40" y="274"/>
                    </a:lnTo>
                    <a:lnTo>
                      <a:pt x="41" y="274"/>
                    </a:lnTo>
                    <a:lnTo>
                      <a:pt x="42" y="275"/>
                    </a:lnTo>
                    <a:lnTo>
                      <a:pt x="41" y="275"/>
                    </a:lnTo>
                    <a:lnTo>
                      <a:pt x="43" y="277"/>
                    </a:lnTo>
                    <a:lnTo>
                      <a:pt x="44" y="276"/>
                    </a:lnTo>
                    <a:lnTo>
                      <a:pt x="45" y="276"/>
                    </a:lnTo>
                    <a:lnTo>
                      <a:pt x="45" y="274"/>
                    </a:lnTo>
                    <a:lnTo>
                      <a:pt x="48" y="273"/>
                    </a:lnTo>
                    <a:lnTo>
                      <a:pt x="49" y="274"/>
                    </a:lnTo>
                    <a:lnTo>
                      <a:pt x="53" y="274"/>
                    </a:lnTo>
                    <a:lnTo>
                      <a:pt x="53" y="276"/>
                    </a:lnTo>
                    <a:lnTo>
                      <a:pt x="54" y="276"/>
                    </a:lnTo>
                    <a:lnTo>
                      <a:pt x="54" y="277"/>
                    </a:lnTo>
                    <a:lnTo>
                      <a:pt x="56" y="277"/>
                    </a:lnTo>
                    <a:lnTo>
                      <a:pt x="57" y="278"/>
                    </a:lnTo>
                    <a:lnTo>
                      <a:pt x="61" y="278"/>
                    </a:lnTo>
                    <a:lnTo>
                      <a:pt x="61" y="279"/>
                    </a:lnTo>
                    <a:lnTo>
                      <a:pt x="62" y="278"/>
                    </a:lnTo>
                    <a:lnTo>
                      <a:pt x="64" y="278"/>
                    </a:lnTo>
                    <a:lnTo>
                      <a:pt x="66" y="276"/>
                    </a:lnTo>
                    <a:lnTo>
                      <a:pt x="69" y="275"/>
                    </a:lnTo>
                    <a:lnTo>
                      <a:pt x="69" y="276"/>
                    </a:lnTo>
                    <a:lnTo>
                      <a:pt x="67" y="278"/>
                    </a:lnTo>
                    <a:lnTo>
                      <a:pt x="71" y="281"/>
                    </a:lnTo>
                    <a:lnTo>
                      <a:pt x="72" y="286"/>
                    </a:lnTo>
                    <a:lnTo>
                      <a:pt x="74" y="288"/>
                    </a:lnTo>
                    <a:lnTo>
                      <a:pt x="73" y="289"/>
                    </a:lnTo>
                    <a:lnTo>
                      <a:pt x="73" y="292"/>
                    </a:lnTo>
                    <a:lnTo>
                      <a:pt x="73" y="293"/>
                    </a:lnTo>
                    <a:lnTo>
                      <a:pt x="73" y="295"/>
                    </a:lnTo>
                    <a:lnTo>
                      <a:pt x="71" y="295"/>
                    </a:lnTo>
                    <a:lnTo>
                      <a:pt x="70" y="296"/>
                    </a:lnTo>
                    <a:lnTo>
                      <a:pt x="69" y="297"/>
                    </a:lnTo>
                    <a:lnTo>
                      <a:pt x="69" y="298"/>
                    </a:lnTo>
                    <a:lnTo>
                      <a:pt x="69" y="300"/>
                    </a:lnTo>
                    <a:lnTo>
                      <a:pt x="69" y="301"/>
                    </a:lnTo>
                    <a:lnTo>
                      <a:pt x="70" y="301"/>
                    </a:lnTo>
                    <a:lnTo>
                      <a:pt x="69" y="303"/>
                    </a:lnTo>
                    <a:lnTo>
                      <a:pt x="71" y="304"/>
                    </a:lnTo>
                    <a:lnTo>
                      <a:pt x="70" y="306"/>
                    </a:lnTo>
                    <a:lnTo>
                      <a:pt x="68" y="307"/>
                    </a:lnTo>
                    <a:lnTo>
                      <a:pt x="68" y="309"/>
                    </a:lnTo>
                    <a:lnTo>
                      <a:pt x="69" y="309"/>
                    </a:lnTo>
                    <a:lnTo>
                      <a:pt x="67" y="311"/>
                    </a:lnTo>
                    <a:lnTo>
                      <a:pt x="66" y="311"/>
                    </a:lnTo>
                    <a:lnTo>
                      <a:pt x="67" y="312"/>
                    </a:lnTo>
                    <a:lnTo>
                      <a:pt x="65" y="315"/>
                    </a:lnTo>
                    <a:lnTo>
                      <a:pt x="64" y="315"/>
                    </a:lnTo>
                    <a:lnTo>
                      <a:pt x="64" y="316"/>
                    </a:lnTo>
                    <a:lnTo>
                      <a:pt x="65" y="316"/>
                    </a:lnTo>
                    <a:lnTo>
                      <a:pt x="69" y="318"/>
                    </a:lnTo>
                    <a:lnTo>
                      <a:pt x="68" y="319"/>
                    </a:lnTo>
                    <a:lnTo>
                      <a:pt x="67" y="321"/>
                    </a:lnTo>
                    <a:lnTo>
                      <a:pt x="69" y="322"/>
                    </a:lnTo>
                    <a:lnTo>
                      <a:pt x="69" y="326"/>
                    </a:lnTo>
                    <a:lnTo>
                      <a:pt x="69" y="329"/>
                    </a:lnTo>
                    <a:lnTo>
                      <a:pt x="67" y="330"/>
                    </a:lnTo>
                    <a:lnTo>
                      <a:pt x="65" y="330"/>
                    </a:lnTo>
                    <a:lnTo>
                      <a:pt x="64" y="331"/>
                    </a:lnTo>
                    <a:lnTo>
                      <a:pt x="65" y="332"/>
                    </a:lnTo>
                    <a:lnTo>
                      <a:pt x="64" y="332"/>
                    </a:lnTo>
                    <a:lnTo>
                      <a:pt x="65" y="336"/>
                    </a:lnTo>
                    <a:lnTo>
                      <a:pt x="67" y="337"/>
                    </a:lnTo>
                    <a:lnTo>
                      <a:pt x="69" y="336"/>
                    </a:lnTo>
                    <a:lnTo>
                      <a:pt x="70" y="336"/>
                    </a:lnTo>
                    <a:lnTo>
                      <a:pt x="70" y="338"/>
                    </a:lnTo>
                    <a:lnTo>
                      <a:pt x="72" y="339"/>
                    </a:lnTo>
                    <a:lnTo>
                      <a:pt x="70" y="340"/>
                    </a:lnTo>
                    <a:lnTo>
                      <a:pt x="71" y="342"/>
                    </a:lnTo>
                    <a:lnTo>
                      <a:pt x="70" y="342"/>
                    </a:lnTo>
                    <a:lnTo>
                      <a:pt x="70" y="343"/>
                    </a:lnTo>
                    <a:lnTo>
                      <a:pt x="70" y="345"/>
                    </a:lnTo>
                    <a:lnTo>
                      <a:pt x="67" y="345"/>
                    </a:lnTo>
                    <a:lnTo>
                      <a:pt x="67" y="348"/>
                    </a:lnTo>
                    <a:lnTo>
                      <a:pt x="70" y="349"/>
                    </a:lnTo>
                    <a:lnTo>
                      <a:pt x="72" y="349"/>
                    </a:lnTo>
                    <a:lnTo>
                      <a:pt x="72" y="350"/>
                    </a:lnTo>
                    <a:lnTo>
                      <a:pt x="70" y="352"/>
                    </a:lnTo>
                    <a:lnTo>
                      <a:pt x="71" y="353"/>
                    </a:lnTo>
                    <a:lnTo>
                      <a:pt x="72" y="353"/>
                    </a:lnTo>
                    <a:lnTo>
                      <a:pt x="74" y="355"/>
                    </a:lnTo>
                    <a:lnTo>
                      <a:pt x="73" y="357"/>
                    </a:lnTo>
                    <a:lnTo>
                      <a:pt x="75" y="360"/>
                    </a:lnTo>
                    <a:lnTo>
                      <a:pt x="75" y="363"/>
                    </a:lnTo>
                    <a:lnTo>
                      <a:pt x="75" y="364"/>
                    </a:lnTo>
                    <a:lnTo>
                      <a:pt x="75" y="366"/>
                    </a:lnTo>
                    <a:lnTo>
                      <a:pt x="73" y="368"/>
                    </a:lnTo>
                    <a:lnTo>
                      <a:pt x="77" y="368"/>
                    </a:lnTo>
                    <a:lnTo>
                      <a:pt x="75" y="374"/>
                    </a:lnTo>
                    <a:lnTo>
                      <a:pt x="72" y="372"/>
                    </a:lnTo>
                    <a:lnTo>
                      <a:pt x="70" y="373"/>
                    </a:lnTo>
                    <a:lnTo>
                      <a:pt x="71" y="373"/>
                    </a:lnTo>
                    <a:lnTo>
                      <a:pt x="70" y="375"/>
                    </a:lnTo>
                    <a:lnTo>
                      <a:pt x="73" y="377"/>
                    </a:lnTo>
                    <a:lnTo>
                      <a:pt x="73" y="378"/>
                    </a:lnTo>
                    <a:lnTo>
                      <a:pt x="75" y="379"/>
                    </a:lnTo>
                    <a:lnTo>
                      <a:pt x="73" y="380"/>
                    </a:lnTo>
                    <a:lnTo>
                      <a:pt x="74" y="383"/>
                    </a:lnTo>
                    <a:lnTo>
                      <a:pt x="73" y="383"/>
                    </a:lnTo>
                    <a:lnTo>
                      <a:pt x="70" y="380"/>
                    </a:lnTo>
                    <a:lnTo>
                      <a:pt x="71" y="379"/>
                    </a:lnTo>
                    <a:lnTo>
                      <a:pt x="70" y="379"/>
                    </a:lnTo>
                    <a:lnTo>
                      <a:pt x="69" y="379"/>
                    </a:lnTo>
                    <a:lnTo>
                      <a:pt x="65" y="378"/>
                    </a:lnTo>
                    <a:lnTo>
                      <a:pt x="65" y="379"/>
                    </a:lnTo>
                    <a:lnTo>
                      <a:pt x="65" y="378"/>
                    </a:lnTo>
                    <a:lnTo>
                      <a:pt x="62" y="379"/>
                    </a:lnTo>
                    <a:lnTo>
                      <a:pt x="61" y="380"/>
                    </a:lnTo>
                    <a:lnTo>
                      <a:pt x="62" y="381"/>
                    </a:lnTo>
                    <a:lnTo>
                      <a:pt x="62" y="382"/>
                    </a:lnTo>
                    <a:lnTo>
                      <a:pt x="59" y="382"/>
                    </a:lnTo>
                    <a:lnTo>
                      <a:pt x="60" y="383"/>
                    </a:lnTo>
                    <a:lnTo>
                      <a:pt x="61" y="383"/>
                    </a:lnTo>
                    <a:lnTo>
                      <a:pt x="63" y="387"/>
                    </a:lnTo>
                    <a:lnTo>
                      <a:pt x="64" y="385"/>
                    </a:lnTo>
                    <a:lnTo>
                      <a:pt x="66" y="387"/>
                    </a:lnTo>
                    <a:lnTo>
                      <a:pt x="69" y="386"/>
                    </a:lnTo>
                    <a:lnTo>
                      <a:pt x="71" y="387"/>
                    </a:lnTo>
                    <a:lnTo>
                      <a:pt x="72" y="389"/>
                    </a:lnTo>
                    <a:lnTo>
                      <a:pt x="72" y="390"/>
                    </a:lnTo>
                    <a:lnTo>
                      <a:pt x="74" y="392"/>
                    </a:lnTo>
                    <a:lnTo>
                      <a:pt x="72" y="393"/>
                    </a:lnTo>
                    <a:lnTo>
                      <a:pt x="75" y="393"/>
                    </a:lnTo>
                    <a:lnTo>
                      <a:pt x="75" y="394"/>
                    </a:lnTo>
                    <a:lnTo>
                      <a:pt x="75" y="399"/>
                    </a:lnTo>
                    <a:lnTo>
                      <a:pt x="75" y="400"/>
                    </a:lnTo>
                    <a:lnTo>
                      <a:pt x="76" y="401"/>
                    </a:lnTo>
                    <a:lnTo>
                      <a:pt x="77" y="400"/>
                    </a:lnTo>
                    <a:lnTo>
                      <a:pt x="82" y="402"/>
                    </a:lnTo>
                    <a:lnTo>
                      <a:pt x="82" y="400"/>
                    </a:lnTo>
                    <a:lnTo>
                      <a:pt x="83" y="400"/>
                    </a:lnTo>
                    <a:lnTo>
                      <a:pt x="83" y="404"/>
                    </a:lnTo>
                    <a:lnTo>
                      <a:pt x="82" y="408"/>
                    </a:lnTo>
                    <a:lnTo>
                      <a:pt x="84" y="408"/>
                    </a:lnTo>
                    <a:lnTo>
                      <a:pt x="85" y="406"/>
                    </a:lnTo>
                    <a:lnTo>
                      <a:pt x="87" y="406"/>
                    </a:lnTo>
                    <a:lnTo>
                      <a:pt x="87" y="404"/>
                    </a:lnTo>
                    <a:lnTo>
                      <a:pt x="88" y="403"/>
                    </a:lnTo>
                    <a:lnTo>
                      <a:pt x="89" y="403"/>
                    </a:lnTo>
                    <a:lnTo>
                      <a:pt x="91" y="402"/>
                    </a:lnTo>
                    <a:lnTo>
                      <a:pt x="92" y="403"/>
                    </a:lnTo>
                    <a:lnTo>
                      <a:pt x="90" y="403"/>
                    </a:lnTo>
                    <a:lnTo>
                      <a:pt x="92" y="405"/>
                    </a:lnTo>
                    <a:lnTo>
                      <a:pt x="91" y="408"/>
                    </a:lnTo>
                    <a:lnTo>
                      <a:pt x="92" y="408"/>
                    </a:lnTo>
                    <a:lnTo>
                      <a:pt x="93" y="408"/>
                    </a:lnTo>
                    <a:lnTo>
                      <a:pt x="94" y="408"/>
                    </a:lnTo>
                    <a:lnTo>
                      <a:pt x="94" y="413"/>
                    </a:lnTo>
                    <a:lnTo>
                      <a:pt x="95" y="415"/>
                    </a:lnTo>
                    <a:lnTo>
                      <a:pt x="98" y="413"/>
                    </a:lnTo>
                    <a:lnTo>
                      <a:pt x="99" y="413"/>
                    </a:lnTo>
                    <a:lnTo>
                      <a:pt x="100" y="414"/>
                    </a:lnTo>
                    <a:lnTo>
                      <a:pt x="100" y="413"/>
                    </a:lnTo>
                    <a:lnTo>
                      <a:pt x="103" y="413"/>
                    </a:lnTo>
                    <a:lnTo>
                      <a:pt x="103" y="410"/>
                    </a:lnTo>
                    <a:lnTo>
                      <a:pt x="104" y="411"/>
                    </a:lnTo>
                    <a:lnTo>
                      <a:pt x="105" y="408"/>
                    </a:lnTo>
                    <a:lnTo>
                      <a:pt x="104" y="407"/>
                    </a:lnTo>
                    <a:lnTo>
                      <a:pt x="106" y="406"/>
                    </a:lnTo>
                    <a:lnTo>
                      <a:pt x="107" y="406"/>
                    </a:lnTo>
                    <a:lnTo>
                      <a:pt x="108" y="405"/>
                    </a:lnTo>
                    <a:lnTo>
                      <a:pt x="110" y="405"/>
                    </a:lnTo>
                    <a:lnTo>
                      <a:pt x="110" y="402"/>
                    </a:lnTo>
                    <a:lnTo>
                      <a:pt x="114" y="403"/>
                    </a:lnTo>
                    <a:lnTo>
                      <a:pt x="118" y="406"/>
                    </a:lnTo>
                    <a:lnTo>
                      <a:pt x="119" y="406"/>
                    </a:lnTo>
                    <a:lnTo>
                      <a:pt x="120" y="403"/>
                    </a:lnTo>
                    <a:lnTo>
                      <a:pt x="119" y="403"/>
                    </a:lnTo>
                    <a:lnTo>
                      <a:pt x="120" y="402"/>
                    </a:lnTo>
                    <a:lnTo>
                      <a:pt x="121" y="402"/>
                    </a:lnTo>
                    <a:lnTo>
                      <a:pt x="122" y="402"/>
                    </a:lnTo>
                    <a:lnTo>
                      <a:pt x="122" y="399"/>
                    </a:lnTo>
                    <a:lnTo>
                      <a:pt x="122" y="398"/>
                    </a:lnTo>
                    <a:lnTo>
                      <a:pt x="123" y="394"/>
                    </a:lnTo>
                    <a:lnTo>
                      <a:pt x="123" y="395"/>
                    </a:lnTo>
                    <a:lnTo>
                      <a:pt x="124" y="395"/>
                    </a:lnTo>
                    <a:lnTo>
                      <a:pt x="124" y="396"/>
                    </a:lnTo>
                    <a:lnTo>
                      <a:pt x="126" y="397"/>
                    </a:lnTo>
                    <a:lnTo>
                      <a:pt x="128" y="398"/>
                    </a:lnTo>
                    <a:lnTo>
                      <a:pt x="129" y="396"/>
                    </a:lnTo>
                    <a:lnTo>
                      <a:pt x="129" y="393"/>
                    </a:lnTo>
                    <a:lnTo>
                      <a:pt x="129" y="391"/>
                    </a:lnTo>
                    <a:lnTo>
                      <a:pt x="127" y="389"/>
                    </a:lnTo>
                    <a:lnTo>
                      <a:pt x="131" y="389"/>
                    </a:lnTo>
                    <a:lnTo>
                      <a:pt x="131" y="387"/>
                    </a:lnTo>
                    <a:lnTo>
                      <a:pt x="130" y="383"/>
                    </a:lnTo>
                    <a:lnTo>
                      <a:pt x="131" y="382"/>
                    </a:lnTo>
                    <a:lnTo>
                      <a:pt x="131" y="378"/>
                    </a:lnTo>
                    <a:lnTo>
                      <a:pt x="132" y="380"/>
                    </a:lnTo>
                    <a:lnTo>
                      <a:pt x="132" y="379"/>
                    </a:lnTo>
                    <a:lnTo>
                      <a:pt x="135" y="379"/>
                    </a:lnTo>
                    <a:lnTo>
                      <a:pt x="136" y="379"/>
                    </a:lnTo>
                    <a:lnTo>
                      <a:pt x="136" y="378"/>
                    </a:lnTo>
                    <a:lnTo>
                      <a:pt x="138" y="378"/>
                    </a:lnTo>
                    <a:lnTo>
                      <a:pt x="138" y="377"/>
                    </a:lnTo>
                    <a:lnTo>
                      <a:pt x="139" y="377"/>
                    </a:lnTo>
                    <a:lnTo>
                      <a:pt x="139" y="376"/>
                    </a:lnTo>
                    <a:lnTo>
                      <a:pt x="139" y="374"/>
                    </a:lnTo>
                    <a:lnTo>
                      <a:pt x="141" y="374"/>
                    </a:lnTo>
                    <a:lnTo>
                      <a:pt x="141" y="373"/>
                    </a:lnTo>
                    <a:lnTo>
                      <a:pt x="144" y="373"/>
                    </a:lnTo>
                    <a:lnTo>
                      <a:pt x="145" y="370"/>
                    </a:lnTo>
                    <a:lnTo>
                      <a:pt x="148" y="370"/>
                    </a:lnTo>
                    <a:lnTo>
                      <a:pt x="149" y="370"/>
                    </a:lnTo>
                    <a:lnTo>
                      <a:pt x="149" y="369"/>
                    </a:lnTo>
                    <a:lnTo>
                      <a:pt x="150" y="368"/>
                    </a:lnTo>
                    <a:lnTo>
                      <a:pt x="153" y="373"/>
                    </a:lnTo>
                    <a:lnTo>
                      <a:pt x="154" y="374"/>
                    </a:lnTo>
                    <a:lnTo>
                      <a:pt x="155" y="373"/>
                    </a:lnTo>
                    <a:lnTo>
                      <a:pt x="158" y="373"/>
                    </a:lnTo>
                    <a:lnTo>
                      <a:pt x="162" y="370"/>
                    </a:lnTo>
                    <a:lnTo>
                      <a:pt x="163" y="372"/>
                    </a:lnTo>
                    <a:lnTo>
                      <a:pt x="163" y="370"/>
                    </a:lnTo>
                    <a:lnTo>
                      <a:pt x="169" y="368"/>
                    </a:lnTo>
                    <a:lnTo>
                      <a:pt x="168" y="365"/>
                    </a:lnTo>
                    <a:lnTo>
                      <a:pt x="171" y="366"/>
                    </a:lnTo>
                    <a:lnTo>
                      <a:pt x="172" y="365"/>
                    </a:lnTo>
                    <a:lnTo>
                      <a:pt x="174" y="362"/>
                    </a:lnTo>
                    <a:lnTo>
                      <a:pt x="173" y="361"/>
                    </a:lnTo>
                    <a:lnTo>
                      <a:pt x="174" y="361"/>
                    </a:lnTo>
                    <a:lnTo>
                      <a:pt x="176" y="361"/>
                    </a:lnTo>
                    <a:lnTo>
                      <a:pt x="178" y="359"/>
                    </a:lnTo>
                    <a:lnTo>
                      <a:pt x="183" y="353"/>
                    </a:lnTo>
                    <a:lnTo>
                      <a:pt x="184" y="355"/>
                    </a:lnTo>
                    <a:lnTo>
                      <a:pt x="183" y="355"/>
                    </a:lnTo>
                    <a:lnTo>
                      <a:pt x="183" y="361"/>
                    </a:lnTo>
                    <a:lnTo>
                      <a:pt x="187" y="360"/>
                    </a:lnTo>
                    <a:lnTo>
                      <a:pt x="188" y="361"/>
                    </a:lnTo>
                    <a:lnTo>
                      <a:pt x="190" y="362"/>
                    </a:lnTo>
                    <a:lnTo>
                      <a:pt x="191" y="362"/>
                    </a:lnTo>
                    <a:lnTo>
                      <a:pt x="195" y="361"/>
                    </a:lnTo>
                    <a:lnTo>
                      <a:pt x="202" y="362"/>
                    </a:lnTo>
                    <a:lnTo>
                      <a:pt x="204" y="364"/>
                    </a:lnTo>
                    <a:lnTo>
                      <a:pt x="205" y="361"/>
                    </a:lnTo>
                    <a:lnTo>
                      <a:pt x="206" y="359"/>
                    </a:lnTo>
                    <a:lnTo>
                      <a:pt x="206" y="360"/>
                    </a:lnTo>
                    <a:lnTo>
                      <a:pt x="208" y="356"/>
                    </a:lnTo>
                    <a:lnTo>
                      <a:pt x="209" y="358"/>
                    </a:lnTo>
                    <a:lnTo>
                      <a:pt x="208" y="361"/>
                    </a:lnTo>
                    <a:lnTo>
                      <a:pt x="209" y="361"/>
                    </a:lnTo>
                    <a:lnTo>
                      <a:pt x="211" y="359"/>
                    </a:lnTo>
                    <a:lnTo>
                      <a:pt x="212" y="359"/>
                    </a:lnTo>
                    <a:lnTo>
                      <a:pt x="215" y="355"/>
                    </a:lnTo>
                    <a:lnTo>
                      <a:pt x="218" y="352"/>
                    </a:lnTo>
                    <a:lnTo>
                      <a:pt x="219" y="349"/>
                    </a:lnTo>
                    <a:lnTo>
                      <a:pt x="220" y="349"/>
                    </a:lnTo>
                    <a:lnTo>
                      <a:pt x="223" y="348"/>
                    </a:lnTo>
                    <a:lnTo>
                      <a:pt x="224" y="348"/>
                    </a:lnTo>
                    <a:lnTo>
                      <a:pt x="225" y="351"/>
                    </a:lnTo>
                    <a:lnTo>
                      <a:pt x="226" y="349"/>
                    </a:lnTo>
                    <a:lnTo>
                      <a:pt x="227" y="350"/>
                    </a:lnTo>
                    <a:lnTo>
                      <a:pt x="229" y="356"/>
                    </a:lnTo>
                    <a:lnTo>
                      <a:pt x="228" y="359"/>
                    </a:lnTo>
                    <a:lnTo>
                      <a:pt x="229" y="360"/>
                    </a:lnTo>
                    <a:lnTo>
                      <a:pt x="236" y="359"/>
                    </a:lnTo>
                    <a:lnTo>
                      <a:pt x="236" y="355"/>
                    </a:lnTo>
                    <a:lnTo>
                      <a:pt x="237" y="355"/>
                    </a:lnTo>
                    <a:lnTo>
                      <a:pt x="237" y="352"/>
                    </a:lnTo>
                    <a:lnTo>
                      <a:pt x="239" y="350"/>
                    </a:lnTo>
                    <a:lnTo>
                      <a:pt x="241" y="348"/>
                    </a:lnTo>
                    <a:lnTo>
                      <a:pt x="244" y="348"/>
                    </a:lnTo>
                    <a:lnTo>
                      <a:pt x="250" y="347"/>
                    </a:lnTo>
                    <a:lnTo>
                      <a:pt x="251" y="347"/>
                    </a:lnTo>
                    <a:lnTo>
                      <a:pt x="250" y="348"/>
                    </a:lnTo>
                    <a:lnTo>
                      <a:pt x="254" y="347"/>
                    </a:lnTo>
                    <a:lnTo>
                      <a:pt x="255" y="345"/>
                    </a:lnTo>
                    <a:lnTo>
                      <a:pt x="256" y="345"/>
                    </a:lnTo>
                    <a:lnTo>
                      <a:pt x="258" y="345"/>
                    </a:lnTo>
                    <a:lnTo>
                      <a:pt x="259" y="342"/>
                    </a:lnTo>
                    <a:lnTo>
                      <a:pt x="260" y="342"/>
                    </a:lnTo>
                    <a:lnTo>
                      <a:pt x="261" y="342"/>
                    </a:lnTo>
                    <a:lnTo>
                      <a:pt x="263" y="341"/>
                    </a:lnTo>
                    <a:lnTo>
                      <a:pt x="263" y="339"/>
                    </a:lnTo>
                    <a:lnTo>
                      <a:pt x="263" y="335"/>
                    </a:lnTo>
                    <a:lnTo>
                      <a:pt x="262" y="335"/>
                    </a:lnTo>
                    <a:lnTo>
                      <a:pt x="263" y="335"/>
                    </a:lnTo>
                    <a:lnTo>
                      <a:pt x="263" y="334"/>
                    </a:lnTo>
                    <a:lnTo>
                      <a:pt x="265" y="335"/>
                    </a:lnTo>
                    <a:lnTo>
                      <a:pt x="268" y="335"/>
                    </a:lnTo>
                    <a:lnTo>
                      <a:pt x="268" y="336"/>
                    </a:lnTo>
                    <a:lnTo>
                      <a:pt x="272" y="337"/>
                    </a:lnTo>
                    <a:lnTo>
                      <a:pt x="274" y="337"/>
                    </a:lnTo>
                    <a:lnTo>
                      <a:pt x="274" y="336"/>
                    </a:lnTo>
                    <a:lnTo>
                      <a:pt x="273" y="335"/>
                    </a:lnTo>
                    <a:lnTo>
                      <a:pt x="274" y="335"/>
                    </a:lnTo>
                    <a:lnTo>
                      <a:pt x="273" y="334"/>
                    </a:lnTo>
                    <a:lnTo>
                      <a:pt x="274" y="331"/>
                    </a:lnTo>
                    <a:lnTo>
                      <a:pt x="273" y="329"/>
                    </a:lnTo>
                    <a:lnTo>
                      <a:pt x="272" y="329"/>
                    </a:lnTo>
                    <a:lnTo>
                      <a:pt x="272" y="322"/>
                    </a:lnTo>
                    <a:lnTo>
                      <a:pt x="275" y="322"/>
                    </a:lnTo>
                    <a:lnTo>
                      <a:pt x="274" y="321"/>
                    </a:lnTo>
                    <a:lnTo>
                      <a:pt x="276" y="321"/>
                    </a:lnTo>
                    <a:lnTo>
                      <a:pt x="277" y="319"/>
                    </a:lnTo>
                    <a:lnTo>
                      <a:pt x="279" y="319"/>
                    </a:lnTo>
                    <a:lnTo>
                      <a:pt x="280" y="318"/>
                    </a:lnTo>
                    <a:lnTo>
                      <a:pt x="283" y="318"/>
                    </a:lnTo>
                    <a:lnTo>
                      <a:pt x="285" y="321"/>
                    </a:lnTo>
                    <a:lnTo>
                      <a:pt x="286" y="321"/>
                    </a:lnTo>
                    <a:lnTo>
                      <a:pt x="286" y="319"/>
                    </a:lnTo>
                    <a:lnTo>
                      <a:pt x="288" y="319"/>
                    </a:lnTo>
                    <a:lnTo>
                      <a:pt x="292" y="322"/>
                    </a:lnTo>
                    <a:lnTo>
                      <a:pt x="296" y="323"/>
                    </a:lnTo>
                    <a:lnTo>
                      <a:pt x="296" y="325"/>
                    </a:lnTo>
                    <a:lnTo>
                      <a:pt x="297" y="325"/>
                    </a:lnTo>
                    <a:lnTo>
                      <a:pt x="297" y="326"/>
                    </a:lnTo>
                    <a:lnTo>
                      <a:pt x="298" y="326"/>
                    </a:lnTo>
                    <a:lnTo>
                      <a:pt x="303" y="326"/>
                    </a:lnTo>
                    <a:lnTo>
                      <a:pt x="309" y="327"/>
                    </a:lnTo>
                    <a:lnTo>
                      <a:pt x="309" y="329"/>
                    </a:lnTo>
                    <a:lnTo>
                      <a:pt x="311" y="329"/>
                    </a:lnTo>
                    <a:lnTo>
                      <a:pt x="315" y="330"/>
                    </a:lnTo>
                    <a:lnTo>
                      <a:pt x="315" y="331"/>
                    </a:lnTo>
                    <a:lnTo>
                      <a:pt x="316" y="330"/>
                    </a:lnTo>
                    <a:lnTo>
                      <a:pt x="322" y="330"/>
                    </a:lnTo>
                    <a:lnTo>
                      <a:pt x="323" y="329"/>
                    </a:lnTo>
                    <a:lnTo>
                      <a:pt x="326" y="331"/>
                    </a:lnTo>
                    <a:lnTo>
                      <a:pt x="327" y="328"/>
                    </a:lnTo>
                    <a:lnTo>
                      <a:pt x="326" y="326"/>
                    </a:lnTo>
                    <a:lnTo>
                      <a:pt x="330" y="328"/>
                    </a:lnTo>
                    <a:lnTo>
                      <a:pt x="330" y="329"/>
                    </a:lnTo>
                    <a:lnTo>
                      <a:pt x="331" y="331"/>
                    </a:lnTo>
                    <a:lnTo>
                      <a:pt x="331" y="330"/>
                    </a:lnTo>
                    <a:lnTo>
                      <a:pt x="334" y="332"/>
                    </a:lnTo>
                    <a:lnTo>
                      <a:pt x="334" y="331"/>
                    </a:lnTo>
                    <a:lnTo>
                      <a:pt x="335" y="331"/>
                    </a:lnTo>
                    <a:lnTo>
                      <a:pt x="336" y="329"/>
                    </a:lnTo>
                    <a:lnTo>
                      <a:pt x="341" y="334"/>
                    </a:lnTo>
                    <a:lnTo>
                      <a:pt x="343" y="335"/>
                    </a:lnTo>
                    <a:lnTo>
                      <a:pt x="343" y="336"/>
                    </a:lnTo>
                    <a:lnTo>
                      <a:pt x="344" y="336"/>
                    </a:lnTo>
                    <a:lnTo>
                      <a:pt x="346" y="332"/>
                    </a:lnTo>
                    <a:lnTo>
                      <a:pt x="348" y="331"/>
                    </a:lnTo>
                    <a:lnTo>
                      <a:pt x="348" y="330"/>
                    </a:lnTo>
                    <a:lnTo>
                      <a:pt x="350" y="326"/>
                    </a:lnTo>
                    <a:lnTo>
                      <a:pt x="351" y="327"/>
                    </a:lnTo>
                    <a:lnTo>
                      <a:pt x="353" y="325"/>
                    </a:lnTo>
                    <a:lnTo>
                      <a:pt x="355" y="328"/>
                    </a:lnTo>
                    <a:lnTo>
                      <a:pt x="357" y="329"/>
                    </a:lnTo>
                    <a:lnTo>
                      <a:pt x="358" y="328"/>
                    </a:lnTo>
                    <a:lnTo>
                      <a:pt x="358" y="327"/>
                    </a:lnTo>
                    <a:lnTo>
                      <a:pt x="359" y="329"/>
                    </a:lnTo>
                    <a:lnTo>
                      <a:pt x="361" y="329"/>
                    </a:lnTo>
                    <a:lnTo>
                      <a:pt x="361" y="326"/>
                    </a:lnTo>
                    <a:lnTo>
                      <a:pt x="365" y="328"/>
                    </a:lnTo>
                    <a:lnTo>
                      <a:pt x="365" y="326"/>
                    </a:lnTo>
                    <a:lnTo>
                      <a:pt x="366" y="326"/>
                    </a:lnTo>
                    <a:lnTo>
                      <a:pt x="367" y="326"/>
                    </a:lnTo>
                    <a:lnTo>
                      <a:pt x="369" y="326"/>
                    </a:lnTo>
                    <a:lnTo>
                      <a:pt x="369" y="327"/>
                    </a:lnTo>
                    <a:lnTo>
                      <a:pt x="370" y="328"/>
                    </a:lnTo>
                    <a:lnTo>
                      <a:pt x="370" y="329"/>
                    </a:lnTo>
                    <a:lnTo>
                      <a:pt x="372" y="329"/>
                    </a:lnTo>
                    <a:lnTo>
                      <a:pt x="372" y="331"/>
                    </a:lnTo>
                    <a:lnTo>
                      <a:pt x="372" y="330"/>
                    </a:lnTo>
                    <a:lnTo>
                      <a:pt x="374" y="331"/>
                    </a:lnTo>
                    <a:lnTo>
                      <a:pt x="372" y="329"/>
                    </a:lnTo>
                    <a:lnTo>
                      <a:pt x="374" y="329"/>
                    </a:lnTo>
                    <a:lnTo>
                      <a:pt x="374" y="330"/>
                    </a:lnTo>
                    <a:lnTo>
                      <a:pt x="374" y="331"/>
                    </a:lnTo>
                    <a:lnTo>
                      <a:pt x="375" y="330"/>
                    </a:lnTo>
                    <a:lnTo>
                      <a:pt x="376" y="330"/>
                    </a:lnTo>
                    <a:lnTo>
                      <a:pt x="378" y="326"/>
                    </a:lnTo>
                    <a:lnTo>
                      <a:pt x="378" y="324"/>
                    </a:lnTo>
                    <a:lnTo>
                      <a:pt x="378" y="323"/>
                    </a:lnTo>
                    <a:lnTo>
                      <a:pt x="377" y="322"/>
                    </a:lnTo>
                    <a:lnTo>
                      <a:pt x="378" y="322"/>
                    </a:lnTo>
                    <a:lnTo>
                      <a:pt x="378" y="318"/>
                    </a:lnTo>
                    <a:lnTo>
                      <a:pt x="381" y="319"/>
                    </a:lnTo>
                    <a:lnTo>
                      <a:pt x="381" y="314"/>
                    </a:lnTo>
                    <a:lnTo>
                      <a:pt x="381" y="312"/>
                    </a:lnTo>
                    <a:lnTo>
                      <a:pt x="382" y="312"/>
                    </a:lnTo>
                    <a:lnTo>
                      <a:pt x="382" y="310"/>
                    </a:lnTo>
                    <a:lnTo>
                      <a:pt x="381" y="309"/>
                    </a:lnTo>
                    <a:lnTo>
                      <a:pt x="380" y="308"/>
                    </a:lnTo>
                    <a:lnTo>
                      <a:pt x="380" y="306"/>
                    </a:lnTo>
                    <a:lnTo>
                      <a:pt x="378" y="305"/>
                    </a:lnTo>
                    <a:lnTo>
                      <a:pt x="378" y="304"/>
                    </a:lnTo>
                    <a:lnTo>
                      <a:pt x="381" y="302"/>
                    </a:lnTo>
                    <a:lnTo>
                      <a:pt x="381" y="304"/>
                    </a:lnTo>
                    <a:lnTo>
                      <a:pt x="382" y="303"/>
                    </a:lnTo>
                    <a:lnTo>
                      <a:pt x="381" y="302"/>
                    </a:lnTo>
                    <a:lnTo>
                      <a:pt x="381" y="301"/>
                    </a:lnTo>
                    <a:lnTo>
                      <a:pt x="380" y="299"/>
                    </a:lnTo>
                    <a:lnTo>
                      <a:pt x="381" y="298"/>
                    </a:lnTo>
                    <a:lnTo>
                      <a:pt x="381" y="297"/>
                    </a:lnTo>
                    <a:lnTo>
                      <a:pt x="381" y="296"/>
                    </a:lnTo>
                    <a:lnTo>
                      <a:pt x="379" y="295"/>
                    </a:lnTo>
                    <a:lnTo>
                      <a:pt x="379" y="294"/>
                    </a:lnTo>
                    <a:lnTo>
                      <a:pt x="381" y="293"/>
                    </a:lnTo>
                    <a:lnTo>
                      <a:pt x="382" y="293"/>
                    </a:lnTo>
                    <a:lnTo>
                      <a:pt x="382" y="292"/>
                    </a:lnTo>
                    <a:lnTo>
                      <a:pt x="384" y="291"/>
                    </a:lnTo>
                    <a:lnTo>
                      <a:pt x="388" y="296"/>
                    </a:lnTo>
                    <a:lnTo>
                      <a:pt x="394" y="300"/>
                    </a:lnTo>
                    <a:lnTo>
                      <a:pt x="394" y="298"/>
                    </a:lnTo>
                    <a:lnTo>
                      <a:pt x="395" y="299"/>
                    </a:lnTo>
                    <a:lnTo>
                      <a:pt x="394" y="298"/>
                    </a:lnTo>
                    <a:lnTo>
                      <a:pt x="395" y="296"/>
                    </a:lnTo>
                    <a:lnTo>
                      <a:pt x="393" y="296"/>
                    </a:lnTo>
                    <a:lnTo>
                      <a:pt x="392" y="295"/>
                    </a:lnTo>
                    <a:lnTo>
                      <a:pt x="394" y="293"/>
                    </a:lnTo>
                    <a:lnTo>
                      <a:pt x="395" y="295"/>
                    </a:lnTo>
                    <a:lnTo>
                      <a:pt x="396" y="293"/>
                    </a:lnTo>
                    <a:lnTo>
                      <a:pt x="395" y="292"/>
                    </a:lnTo>
                    <a:lnTo>
                      <a:pt x="397" y="292"/>
                    </a:lnTo>
                    <a:lnTo>
                      <a:pt x="397" y="285"/>
                    </a:lnTo>
                    <a:lnTo>
                      <a:pt x="401" y="289"/>
                    </a:lnTo>
                    <a:lnTo>
                      <a:pt x="404" y="289"/>
                    </a:lnTo>
                    <a:lnTo>
                      <a:pt x="404" y="286"/>
                    </a:lnTo>
                    <a:lnTo>
                      <a:pt x="407" y="289"/>
                    </a:lnTo>
                    <a:lnTo>
                      <a:pt x="410" y="289"/>
                    </a:lnTo>
                    <a:lnTo>
                      <a:pt x="410" y="285"/>
                    </a:lnTo>
                    <a:lnTo>
                      <a:pt x="411" y="284"/>
                    </a:lnTo>
                    <a:lnTo>
                      <a:pt x="411" y="281"/>
                    </a:lnTo>
                    <a:lnTo>
                      <a:pt x="411" y="280"/>
                    </a:lnTo>
                    <a:lnTo>
                      <a:pt x="410" y="279"/>
                    </a:lnTo>
                    <a:lnTo>
                      <a:pt x="411" y="279"/>
                    </a:lnTo>
                    <a:lnTo>
                      <a:pt x="411" y="275"/>
                    </a:lnTo>
                    <a:lnTo>
                      <a:pt x="408" y="267"/>
                    </a:lnTo>
                    <a:lnTo>
                      <a:pt x="413" y="266"/>
                    </a:lnTo>
                    <a:lnTo>
                      <a:pt x="413" y="261"/>
                    </a:lnTo>
                    <a:lnTo>
                      <a:pt x="417" y="264"/>
                    </a:lnTo>
                    <a:lnTo>
                      <a:pt x="416" y="261"/>
                    </a:lnTo>
                    <a:lnTo>
                      <a:pt x="416" y="258"/>
                    </a:lnTo>
                    <a:lnTo>
                      <a:pt x="414" y="258"/>
                    </a:lnTo>
                    <a:lnTo>
                      <a:pt x="415" y="255"/>
                    </a:lnTo>
                    <a:lnTo>
                      <a:pt x="413" y="254"/>
                    </a:lnTo>
                    <a:lnTo>
                      <a:pt x="414" y="254"/>
                    </a:lnTo>
                    <a:lnTo>
                      <a:pt x="414" y="253"/>
                    </a:lnTo>
                    <a:lnTo>
                      <a:pt x="413" y="253"/>
                    </a:lnTo>
                    <a:lnTo>
                      <a:pt x="411" y="252"/>
                    </a:lnTo>
                    <a:lnTo>
                      <a:pt x="411" y="253"/>
                    </a:lnTo>
                    <a:lnTo>
                      <a:pt x="410" y="252"/>
                    </a:lnTo>
                    <a:lnTo>
                      <a:pt x="410" y="251"/>
                    </a:lnTo>
                    <a:lnTo>
                      <a:pt x="410" y="252"/>
                    </a:lnTo>
                    <a:lnTo>
                      <a:pt x="406" y="251"/>
                    </a:lnTo>
                    <a:lnTo>
                      <a:pt x="407" y="248"/>
                    </a:lnTo>
                    <a:lnTo>
                      <a:pt x="406" y="249"/>
                    </a:lnTo>
                    <a:lnTo>
                      <a:pt x="406" y="248"/>
                    </a:lnTo>
                    <a:lnTo>
                      <a:pt x="406" y="245"/>
                    </a:lnTo>
                    <a:lnTo>
                      <a:pt x="405" y="245"/>
                    </a:lnTo>
                    <a:lnTo>
                      <a:pt x="406" y="244"/>
                    </a:lnTo>
                    <a:lnTo>
                      <a:pt x="405" y="244"/>
                    </a:lnTo>
                    <a:lnTo>
                      <a:pt x="406" y="242"/>
                    </a:lnTo>
                    <a:lnTo>
                      <a:pt x="405" y="242"/>
                    </a:lnTo>
                    <a:lnTo>
                      <a:pt x="405" y="241"/>
                    </a:lnTo>
                    <a:lnTo>
                      <a:pt x="404" y="238"/>
                    </a:lnTo>
                    <a:lnTo>
                      <a:pt x="402" y="237"/>
                    </a:lnTo>
                    <a:lnTo>
                      <a:pt x="402" y="235"/>
                    </a:lnTo>
                    <a:lnTo>
                      <a:pt x="402" y="231"/>
                    </a:lnTo>
                    <a:lnTo>
                      <a:pt x="402" y="230"/>
                    </a:lnTo>
                    <a:lnTo>
                      <a:pt x="402" y="228"/>
                    </a:lnTo>
                    <a:lnTo>
                      <a:pt x="401" y="228"/>
                    </a:lnTo>
                    <a:lnTo>
                      <a:pt x="401" y="225"/>
                    </a:lnTo>
                    <a:lnTo>
                      <a:pt x="400" y="225"/>
                    </a:lnTo>
                    <a:lnTo>
                      <a:pt x="400" y="224"/>
                    </a:lnTo>
                    <a:lnTo>
                      <a:pt x="400" y="221"/>
                    </a:lnTo>
                    <a:lnTo>
                      <a:pt x="397" y="219"/>
                    </a:lnTo>
                    <a:lnTo>
                      <a:pt x="397" y="218"/>
                    </a:lnTo>
                    <a:lnTo>
                      <a:pt x="396" y="215"/>
                    </a:lnTo>
                    <a:lnTo>
                      <a:pt x="394" y="215"/>
                    </a:lnTo>
                    <a:lnTo>
                      <a:pt x="395" y="213"/>
                    </a:lnTo>
                    <a:lnTo>
                      <a:pt x="395" y="208"/>
                    </a:lnTo>
                    <a:lnTo>
                      <a:pt x="392" y="206"/>
                    </a:lnTo>
                    <a:lnTo>
                      <a:pt x="392" y="204"/>
                    </a:lnTo>
                    <a:lnTo>
                      <a:pt x="393" y="204"/>
                    </a:lnTo>
                    <a:lnTo>
                      <a:pt x="390" y="201"/>
                    </a:lnTo>
                    <a:lnTo>
                      <a:pt x="392" y="197"/>
                    </a:lnTo>
                    <a:lnTo>
                      <a:pt x="392" y="196"/>
                    </a:lnTo>
                    <a:lnTo>
                      <a:pt x="392" y="192"/>
                    </a:lnTo>
                    <a:lnTo>
                      <a:pt x="392" y="191"/>
                    </a:lnTo>
                    <a:lnTo>
                      <a:pt x="392" y="190"/>
                    </a:lnTo>
                    <a:lnTo>
                      <a:pt x="392" y="187"/>
                    </a:lnTo>
                    <a:lnTo>
                      <a:pt x="390" y="187"/>
                    </a:lnTo>
                    <a:lnTo>
                      <a:pt x="388" y="187"/>
                    </a:lnTo>
                    <a:lnTo>
                      <a:pt x="389" y="182"/>
                    </a:lnTo>
                    <a:lnTo>
                      <a:pt x="392" y="177"/>
                    </a:lnTo>
                    <a:lnTo>
                      <a:pt x="398" y="173"/>
                    </a:lnTo>
                    <a:lnTo>
                      <a:pt x="398" y="171"/>
                    </a:lnTo>
                    <a:lnTo>
                      <a:pt x="396" y="169"/>
                    </a:lnTo>
                    <a:lnTo>
                      <a:pt x="397" y="166"/>
                    </a:lnTo>
                    <a:lnTo>
                      <a:pt x="398" y="164"/>
                    </a:lnTo>
                    <a:lnTo>
                      <a:pt x="398" y="161"/>
                    </a:lnTo>
                    <a:lnTo>
                      <a:pt x="400" y="159"/>
                    </a:lnTo>
                    <a:lnTo>
                      <a:pt x="404" y="158"/>
                    </a:lnTo>
                    <a:lnTo>
                      <a:pt x="408" y="157"/>
                    </a:lnTo>
                    <a:lnTo>
                      <a:pt x="410" y="153"/>
                    </a:lnTo>
                    <a:lnTo>
                      <a:pt x="411" y="151"/>
                    </a:lnTo>
                    <a:lnTo>
                      <a:pt x="411" y="153"/>
                    </a:lnTo>
                    <a:lnTo>
                      <a:pt x="411" y="155"/>
                    </a:lnTo>
                    <a:lnTo>
                      <a:pt x="414" y="155"/>
                    </a:lnTo>
                    <a:lnTo>
                      <a:pt x="415" y="153"/>
                    </a:lnTo>
                    <a:lnTo>
                      <a:pt x="412" y="150"/>
                    </a:lnTo>
                    <a:lnTo>
                      <a:pt x="413" y="147"/>
                    </a:lnTo>
                    <a:lnTo>
                      <a:pt x="414" y="147"/>
                    </a:lnTo>
                    <a:lnTo>
                      <a:pt x="414" y="145"/>
                    </a:lnTo>
                    <a:lnTo>
                      <a:pt x="416" y="140"/>
                    </a:lnTo>
                    <a:lnTo>
                      <a:pt x="418" y="137"/>
                    </a:lnTo>
                    <a:lnTo>
                      <a:pt x="418" y="136"/>
                    </a:lnTo>
                    <a:lnTo>
                      <a:pt x="420" y="136"/>
                    </a:lnTo>
                    <a:lnTo>
                      <a:pt x="422" y="138"/>
                    </a:lnTo>
                    <a:lnTo>
                      <a:pt x="424" y="134"/>
                    </a:lnTo>
                    <a:lnTo>
                      <a:pt x="422" y="132"/>
                    </a:lnTo>
                    <a:lnTo>
                      <a:pt x="423" y="130"/>
                    </a:lnTo>
                    <a:lnTo>
                      <a:pt x="426" y="129"/>
                    </a:lnTo>
                    <a:lnTo>
                      <a:pt x="426" y="128"/>
                    </a:lnTo>
                    <a:lnTo>
                      <a:pt x="425" y="127"/>
                    </a:lnTo>
                    <a:lnTo>
                      <a:pt x="424" y="127"/>
                    </a:lnTo>
                    <a:lnTo>
                      <a:pt x="424" y="125"/>
                    </a:lnTo>
                    <a:lnTo>
                      <a:pt x="424" y="124"/>
                    </a:lnTo>
                    <a:lnTo>
                      <a:pt x="425" y="122"/>
                    </a:lnTo>
                    <a:lnTo>
                      <a:pt x="427" y="123"/>
                    </a:lnTo>
                    <a:lnTo>
                      <a:pt x="427" y="122"/>
                    </a:lnTo>
                    <a:lnTo>
                      <a:pt x="425" y="121"/>
                    </a:lnTo>
                    <a:lnTo>
                      <a:pt x="424" y="122"/>
                    </a:lnTo>
                    <a:lnTo>
                      <a:pt x="423" y="121"/>
                    </a:lnTo>
                    <a:lnTo>
                      <a:pt x="424" y="121"/>
                    </a:lnTo>
                    <a:lnTo>
                      <a:pt x="422" y="119"/>
                    </a:lnTo>
                    <a:lnTo>
                      <a:pt x="425" y="118"/>
                    </a:lnTo>
                    <a:lnTo>
                      <a:pt x="427" y="121"/>
                    </a:lnTo>
                    <a:lnTo>
                      <a:pt x="429" y="119"/>
                    </a:lnTo>
                    <a:lnTo>
                      <a:pt x="432" y="118"/>
                    </a:lnTo>
                    <a:lnTo>
                      <a:pt x="433" y="119"/>
                    </a:lnTo>
                    <a:lnTo>
                      <a:pt x="434" y="119"/>
                    </a:lnTo>
                    <a:lnTo>
                      <a:pt x="433" y="121"/>
                    </a:lnTo>
                    <a:lnTo>
                      <a:pt x="432" y="122"/>
                    </a:lnTo>
                    <a:lnTo>
                      <a:pt x="434" y="121"/>
                    </a:lnTo>
                    <a:lnTo>
                      <a:pt x="435" y="122"/>
                    </a:lnTo>
                    <a:lnTo>
                      <a:pt x="435" y="121"/>
                    </a:lnTo>
                    <a:lnTo>
                      <a:pt x="436" y="121"/>
                    </a:lnTo>
                    <a:lnTo>
                      <a:pt x="439" y="124"/>
                    </a:lnTo>
                    <a:lnTo>
                      <a:pt x="440" y="127"/>
                    </a:lnTo>
                    <a:lnTo>
                      <a:pt x="443" y="128"/>
                    </a:lnTo>
                    <a:lnTo>
                      <a:pt x="444" y="129"/>
                    </a:lnTo>
                    <a:lnTo>
                      <a:pt x="446" y="129"/>
                    </a:lnTo>
                    <a:lnTo>
                      <a:pt x="447" y="131"/>
                    </a:lnTo>
                    <a:lnTo>
                      <a:pt x="448" y="129"/>
                    </a:lnTo>
                    <a:lnTo>
                      <a:pt x="448" y="130"/>
                    </a:lnTo>
                    <a:lnTo>
                      <a:pt x="450" y="130"/>
                    </a:lnTo>
                    <a:lnTo>
                      <a:pt x="453" y="129"/>
                    </a:lnTo>
                    <a:lnTo>
                      <a:pt x="454" y="126"/>
                    </a:lnTo>
                    <a:lnTo>
                      <a:pt x="454" y="122"/>
                    </a:lnTo>
                    <a:lnTo>
                      <a:pt x="455" y="120"/>
                    </a:lnTo>
                    <a:lnTo>
                      <a:pt x="455" y="117"/>
                    </a:lnTo>
                    <a:lnTo>
                      <a:pt x="457" y="116"/>
                    </a:lnTo>
                    <a:lnTo>
                      <a:pt x="457" y="112"/>
                    </a:lnTo>
                    <a:lnTo>
                      <a:pt x="457" y="111"/>
                    </a:lnTo>
                    <a:lnTo>
                      <a:pt x="463" y="113"/>
                    </a:lnTo>
                    <a:lnTo>
                      <a:pt x="465" y="112"/>
                    </a:lnTo>
                    <a:lnTo>
                      <a:pt x="467" y="112"/>
                    </a:lnTo>
                    <a:lnTo>
                      <a:pt x="468" y="111"/>
                    </a:lnTo>
                    <a:lnTo>
                      <a:pt x="471" y="104"/>
                    </a:lnTo>
                    <a:lnTo>
                      <a:pt x="472" y="101"/>
                    </a:lnTo>
                    <a:lnTo>
                      <a:pt x="473" y="100"/>
                    </a:lnTo>
                    <a:lnTo>
                      <a:pt x="477" y="91"/>
                    </a:lnTo>
                    <a:lnTo>
                      <a:pt x="479" y="86"/>
                    </a:lnTo>
                    <a:lnTo>
                      <a:pt x="484" y="83"/>
                    </a:lnTo>
                    <a:lnTo>
                      <a:pt x="485" y="74"/>
                    </a:lnTo>
                    <a:lnTo>
                      <a:pt x="484" y="72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78" name="Group 101">
              <a:extLst>
                <a:ext uri="{FF2B5EF4-FFF2-40B4-BE49-F238E27FC236}">
                  <a16:creationId xmlns:a16="http://schemas.microsoft.com/office/drawing/2014/main" id="{9F074DC5-E30C-4982-A337-89DF02A296C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67" y="2858"/>
              <a:ext cx="386" cy="374"/>
              <a:chOff x="1267" y="2858"/>
              <a:chExt cx="386" cy="374"/>
            </a:xfrm>
          </p:grpSpPr>
          <p:sp>
            <p:nvSpPr>
              <p:cNvPr id="503" name="Freeform 99">
                <a:extLst>
                  <a:ext uri="{FF2B5EF4-FFF2-40B4-BE49-F238E27FC236}">
                    <a16:creationId xmlns:a16="http://schemas.microsoft.com/office/drawing/2014/main" id="{ED3941C9-524B-452D-A487-4D3781732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7" y="2858"/>
                <a:ext cx="386" cy="374"/>
              </a:xfrm>
              <a:custGeom>
                <a:avLst/>
                <a:gdLst>
                  <a:gd name="T0" fmla="*/ 383 w 386"/>
                  <a:gd name="T1" fmla="*/ 303 h 374"/>
                  <a:gd name="T2" fmla="*/ 367 w 386"/>
                  <a:gd name="T3" fmla="*/ 276 h 374"/>
                  <a:gd name="T4" fmla="*/ 348 w 386"/>
                  <a:gd name="T5" fmla="*/ 244 h 374"/>
                  <a:gd name="T6" fmla="*/ 334 w 386"/>
                  <a:gd name="T7" fmla="*/ 216 h 374"/>
                  <a:gd name="T8" fmla="*/ 311 w 386"/>
                  <a:gd name="T9" fmla="*/ 206 h 374"/>
                  <a:gd name="T10" fmla="*/ 295 w 386"/>
                  <a:gd name="T11" fmla="*/ 185 h 374"/>
                  <a:gd name="T12" fmla="*/ 307 w 386"/>
                  <a:gd name="T13" fmla="*/ 174 h 374"/>
                  <a:gd name="T14" fmla="*/ 325 w 386"/>
                  <a:gd name="T15" fmla="*/ 164 h 374"/>
                  <a:gd name="T16" fmla="*/ 354 w 386"/>
                  <a:gd name="T17" fmla="*/ 146 h 374"/>
                  <a:gd name="T18" fmla="*/ 364 w 386"/>
                  <a:gd name="T19" fmla="*/ 111 h 374"/>
                  <a:gd name="T20" fmla="*/ 336 w 386"/>
                  <a:gd name="T21" fmla="*/ 82 h 374"/>
                  <a:gd name="T22" fmla="*/ 304 w 386"/>
                  <a:gd name="T23" fmla="*/ 92 h 374"/>
                  <a:gd name="T24" fmla="*/ 278 w 386"/>
                  <a:gd name="T25" fmla="*/ 79 h 374"/>
                  <a:gd name="T26" fmla="*/ 249 w 386"/>
                  <a:gd name="T27" fmla="*/ 95 h 374"/>
                  <a:gd name="T28" fmla="*/ 252 w 386"/>
                  <a:gd name="T29" fmla="*/ 63 h 374"/>
                  <a:gd name="T30" fmla="*/ 218 w 386"/>
                  <a:gd name="T31" fmla="*/ 56 h 374"/>
                  <a:gd name="T32" fmla="*/ 188 w 386"/>
                  <a:gd name="T33" fmla="*/ 27 h 374"/>
                  <a:gd name="T34" fmla="*/ 142 w 386"/>
                  <a:gd name="T35" fmla="*/ 3 h 374"/>
                  <a:gd name="T36" fmla="*/ 138 w 386"/>
                  <a:gd name="T37" fmla="*/ 47 h 374"/>
                  <a:gd name="T38" fmla="*/ 137 w 386"/>
                  <a:gd name="T39" fmla="*/ 97 h 374"/>
                  <a:gd name="T40" fmla="*/ 149 w 386"/>
                  <a:gd name="T41" fmla="*/ 122 h 374"/>
                  <a:gd name="T42" fmla="*/ 132 w 386"/>
                  <a:gd name="T43" fmla="*/ 119 h 374"/>
                  <a:gd name="T44" fmla="*/ 114 w 386"/>
                  <a:gd name="T45" fmla="*/ 111 h 374"/>
                  <a:gd name="T46" fmla="*/ 97 w 386"/>
                  <a:gd name="T47" fmla="*/ 116 h 374"/>
                  <a:gd name="T48" fmla="*/ 92 w 386"/>
                  <a:gd name="T49" fmla="*/ 134 h 374"/>
                  <a:gd name="T50" fmla="*/ 83 w 386"/>
                  <a:gd name="T51" fmla="*/ 130 h 374"/>
                  <a:gd name="T52" fmla="*/ 71 w 386"/>
                  <a:gd name="T53" fmla="*/ 117 h 374"/>
                  <a:gd name="T54" fmla="*/ 51 w 386"/>
                  <a:gd name="T55" fmla="*/ 110 h 374"/>
                  <a:gd name="T56" fmla="*/ 35 w 386"/>
                  <a:gd name="T57" fmla="*/ 118 h 374"/>
                  <a:gd name="T58" fmla="*/ 15 w 386"/>
                  <a:gd name="T59" fmla="*/ 109 h 374"/>
                  <a:gd name="T60" fmla="*/ 14 w 386"/>
                  <a:gd name="T61" fmla="*/ 129 h 374"/>
                  <a:gd name="T62" fmla="*/ 17 w 386"/>
                  <a:gd name="T63" fmla="*/ 145 h 374"/>
                  <a:gd name="T64" fmla="*/ 11 w 386"/>
                  <a:gd name="T65" fmla="*/ 164 h 374"/>
                  <a:gd name="T66" fmla="*/ 2 w 386"/>
                  <a:gd name="T67" fmla="*/ 175 h 374"/>
                  <a:gd name="T68" fmla="*/ 21 w 386"/>
                  <a:gd name="T69" fmla="*/ 193 h 374"/>
                  <a:gd name="T70" fmla="*/ 26 w 386"/>
                  <a:gd name="T71" fmla="*/ 205 h 374"/>
                  <a:gd name="T72" fmla="*/ 32 w 386"/>
                  <a:gd name="T73" fmla="*/ 219 h 374"/>
                  <a:gd name="T74" fmla="*/ 49 w 386"/>
                  <a:gd name="T75" fmla="*/ 225 h 374"/>
                  <a:gd name="T76" fmla="*/ 66 w 386"/>
                  <a:gd name="T77" fmla="*/ 223 h 374"/>
                  <a:gd name="T78" fmla="*/ 64 w 386"/>
                  <a:gd name="T79" fmla="*/ 242 h 374"/>
                  <a:gd name="T80" fmla="*/ 69 w 386"/>
                  <a:gd name="T81" fmla="*/ 267 h 374"/>
                  <a:gd name="T82" fmla="*/ 59 w 386"/>
                  <a:gd name="T83" fmla="*/ 278 h 374"/>
                  <a:gd name="T84" fmla="*/ 65 w 386"/>
                  <a:gd name="T85" fmla="*/ 295 h 374"/>
                  <a:gd name="T86" fmla="*/ 79 w 386"/>
                  <a:gd name="T87" fmla="*/ 316 h 374"/>
                  <a:gd name="T88" fmla="*/ 98 w 386"/>
                  <a:gd name="T89" fmla="*/ 309 h 374"/>
                  <a:gd name="T90" fmla="*/ 110 w 386"/>
                  <a:gd name="T91" fmla="*/ 299 h 374"/>
                  <a:gd name="T92" fmla="*/ 120 w 386"/>
                  <a:gd name="T93" fmla="*/ 305 h 374"/>
                  <a:gd name="T94" fmla="*/ 128 w 386"/>
                  <a:gd name="T95" fmla="*/ 303 h 374"/>
                  <a:gd name="T96" fmla="*/ 141 w 386"/>
                  <a:gd name="T97" fmla="*/ 311 h 374"/>
                  <a:gd name="T98" fmla="*/ 156 w 386"/>
                  <a:gd name="T99" fmla="*/ 305 h 374"/>
                  <a:gd name="T100" fmla="*/ 172 w 386"/>
                  <a:gd name="T101" fmla="*/ 293 h 374"/>
                  <a:gd name="T102" fmla="*/ 185 w 386"/>
                  <a:gd name="T103" fmla="*/ 312 h 374"/>
                  <a:gd name="T104" fmla="*/ 227 w 386"/>
                  <a:gd name="T105" fmla="*/ 306 h 374"/>
                  <a:gd name="T106" fmla="*/ 255 w 386"/>
                  <a:gd name="T107" fmla="*/ 345 h 374"/>
                  <a:gd name="T108" fmla="*/ 275 w 386"/>
                  <a:gd name="T109" fmla="*/ 365 h 374"/>
                  <a:gd name="T110" fmla="*/ 290 w 386"/>
                  <a:gd name="T111" fmla="*/ 363 h 374"/>
                  <a:gd name="T112" fmla="*/ 302 w 386"/>
                  <a:gd name="T113" fmla="*/ 368 h 374"/>
                  <a:gd name="T114" fmla="*/ 314 w 386"/>
                  <a:gd name="T115" fmla="*/ 361 h 374"/>
                  <a:gd name="T116" fmla="*/ 333 w 386"/>
                  <a:gd name="T117" fmla="*/ 340 h 374"/>
                  <a:gd name="T118" fmla="*/ 345 w 386"/>
                  <a:gd name="T119" fmla="*/ 335 h 374"/>
                  <a:gd name="T120" fmla="*/ 369 w 386"/>
                  <a:gd name="T121" fmla="*/ 323 h 37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86"/>
                  <a:gd name="T184" fmla="*/ 0 h 374"/>
                  <a:gd name="T185" fmla="*/ 386 w 386"/>
                  <a:gd name="T186" fmla="*/ 374 h 37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86" h="374">
                    <a:moveTo>
                      <a:pt x="386" y="329"/>
                    </a:moveTo>
                    <a:lnTo>
                      <a:pt x="385" y="328"/>
                    </a:lnTo>
                    <a:lnTo>
                      <a:pt x="385" y="326"/>
                    </a:lnTo>
                    <a:lnTo>
                      <a:pt x="381" y="323"/>
                    </a:lnTo>
                    <a:lnTo>
                      <a:pt x="380" y="320"/>
                    </a:lnTo>
                    <a:lnTo>
                      <a:pt x="380" y="319"/>
                    </a:lnTo>
                    <a:lnTo>
                      <a:pt x="382" y="316"/>
                    </a:lnTo>
                    <a:lnTo>
                      <a:pt x="381" y="314"/>
                    </a:lnTo>
                    <a:lnTo>
                      <a:pt x="380" y="313"/>
                    </a:lnTo>
                    <a:lnTo>
                      <a:pt x="381" y="312"/>
                    </a:lnTo>
                    <a:lnTo>
                      <a:pt x="380" y="309"/>
                    </a:lnTo>
                    <a:lnTo>
                      <a:pt x="381" y="306"/>
                    </a:lnTo>
                    <a:lnTo>
                      <a:pt x="381" y="305"/>
                    </a:lnTo>
                    <a:lnTo>
                      <a:pt x="382" y="304"/>
                    </a:lnTo>
                    <a:lnTo>
                      <a:pt x="383" y="303"/>
                    </a:lnTo>
                    <a:lnTo>
                      <a:pt x="382" y="299"/>
                    </a:lnTo>
                    <a:lnTo>
                      <a:pt x="381" y="299"/>
                    </a:lnTo>
                    <a:lnTo>
                      <a:pt x="382" y="296"/>
                    </a:lnTo>
                    <a:lnTo>
                      <a:pt x="380" y="295"/>
                    </a:lnTo>
                    <a:lnTo>
                      <a:pt x="380" y="292"/>
                    </a:lnTo>
                    <a:lnTo>
                      <a:pt x="378" y="289"/>
                    </a:lnTo>
                    <a:lnTo>
                      <a:pt x="378" y="288"/>
                    </a:lnTo>
                    <a:lnTo>
                      <a:pt x="375" y="288"/>
                    </a:lnTo>
                    <a:lnTo>
                      <a:pt x="373" y="287"/>
                    </a:lnTo>
                    <a:lnTo>
                      <a:pt x="371" y="282"/>
                    </a:lnTo>
                    <a:lnTo>
                      <a:pt x="372" y="280"/>
                    </a:lnTo>
                    <a:lnTo>
                      <a:pt x="370" y="279"/>
                    </a:lnTo>
                    <a:lnTo>
                      <a:pt x="370" y="276"/>
                    </a:lnTo>
                    <a:lnTo>
                      <a:pt x="369" y="276"/>
                    </a:lnTo>
                    <a:lnTo>
                      <a:pt x="367" y="276"/>
                    </a:lnTo>
                    <a:lnTo>
                      <a:pt x="366" y="275"/>
                    </a:lnTo>
                    <a:lnTo>
                      <a:pt x="366" y="274"/>
                    </a:lnTo>
                    <a:lnTo>
                      <a:pt x="366" y="272"/>
                    </a:lnTo>
                    <a:lnTo>
                      <a:pt x="363" y="270"/>
                    </a:lnTo>
                    <a:lnTo>
                      <a:pt x="363" y="268"/>
                    </a:lnTo>
                    <a:lnTo>
                      <a:pt x="360" y="262"/>
                    </a:lnTo>
                    <a:lnTo>
                      <a:pt x="361" y="261"/>
                    </a:lnTo>
                    <a:lnTo>
                      <a:pt x="360" y="259"/>
                    </a:lnTo>
                    <a:lnTo>
                      <a:pt x="360" y="258"/>
                    </a:lnTo>
                    <a:lnTo>
                      <a:pt x="357" y="254"/>
                    </a:lnTo>
                    <a:lnTo>
                      <a:pt x="355" y="249"/>
                    </a:lnTo>
                    <a:lnTo>
                      <a:pt x="354" y="248"/>
                    </a:lnTo>
                    <a:lnTo>
                      <a:pt x="354" y="245"/>
                    </a:lnTo>
                    <a:lnTo>
                      <a:pt x="353" y="244"/>
                    </a:lnTo>
                    <a:lnTo>
                      <a:pt x="348" y="244"/>
                    </a:lnTo>
                    <a:lnTo>
                      <a:pt x="347" y="243"/>
                    </a:lnTo>
                    <a:lnTo>
                      <a:pt x="346" y="244"/>
                    </a:lnTo>
                    <a:lnTo>
                      <a:pt x="345" y="245"/>
                    </a:lnTo>
                    <a:lnTo>
                      <a:pt x="344" y="245"/>
                    </a:lnTo>
                    <a:lnTo>
                      <a:pt x="340" y="240"/>
                    </a:lnTo>
                    <a:lnTo>
                      <a:pt x="339" y="233"/>
                    </a:lnTo>
                    <a:lnTo>
                      <a:pt x="336" y="229"/>
                    </a:lnTo>
                    <a:lnTo>
                      <a:pt x="336" y="228"/>
                    </a:lnTo>
                    <a:lnTo>
                      <a:pt x="337" y="226"/>
                    </a:lnTo>
                    <a:lnTo>
                      <a:pt x="337" y="223"/>
                    </a:lnTo>
                    <a:lnTo>
                      <a:pt x="338" y="222"/>
                    </a:lnTo>
                    <a:lnTo>
                      <a:pt x="337" y="219"/>
                    </a:lnTo>
                    <a:lnTo>
                      <a:pt x="337" y="217"/>
                    </a:lnTo>
                    <a:lnTo>
                      <a:pt x="336" y="215"/>
                    </a:lnTo>
                    <a:lnTo>
                      <a:pt x="334" y="216"/>
                    </a:lnTo>
                    <a:lnTo>
                      <a:pt x="333" y="215"/>
                    </a:lnTo>
                    <a:lnTo>
                      <a:pt x="331" y="215"/>
                    </a:lnTo>
                    <a:lnTo>
                      <a:pt x="327" y="214"/>
                    </a:lnTo>
                    <a:lnTo>
                      <a:pt x="325" y="214"/>
                    </a:lnTo>
                    <a:lnTo>
                      <a:pt x="322" y="212"/>
                    </a:lnTo>
                    <a:lnTo>
                      <a:pt x="320" y="213"/>
                    </a:lnTo>
                    <a:lnTo>
                      <a:pt x="318" y="216"/>
                    </a:lnTo>
                    <a:lnTo>
                      <a:pt x="318" y="217"/>
                    </a:lnTo>
                    <a:lnTo>
                      <a:pt x="316" y="219"/>
                    </a:lnTo>
                    <a:lnTo>
                      <a:pt x="314" y="219"/>
                    </a:lnTo>
                    <a:lnTo>
                      <a:pt x="314" y="214"/>
                    </a:lnTo>
                    <a:lnTo>
                      <a:pt x="311" y="211"/>
                    </a:lnTo>
                    <a:lnTo>
                      <a:pt x="312" y="210"/>
                    </a:lnTo>
                    <a:lnTo>
                      <a:pt x="311" y="206"/>
                    </a:lnTo>
                    <a:lnTo>
                      <a:pt x="311" y="205"/>
                    </a:lnTo>
                    <a:lnTo>
                      <a:pt x="307" y="205"/>
                    </a:lnTo>
                    <a:lnTo>
                      <a:pt x="307" y="204"/>
                    </a:lnTo>
                    <a:lnTo>
                      <a:pt x="309" y="200"/>
                    </a:lnTo>
                    <a:lnTo>
                      <a:pt x="308" y="200"/>
                    </a:lnTo>
                    <a:lnTo>
                      <a:pt x="306" y="198"/>
                    </a:lnTo>
                    <a:lnTo>
                      <a:pt x="306" y="196"/>
                    </a:lnTo>
                    <a:lnTo>
                      <a:pt x="304" y="195"/>
                    </a:lnTo>
                    <a:lnTo>
                      <a:pt x="301" y="198"/>
                    </a:lnTo>
                    <a:lnTo>
                      <a:pt x="298" y="196"/>
                    </a:lnTo>
                    <a:lnTo>
                      <a:pt x="299" y="194"/>
                    </a:lnTo>
                    <a:lnTo>
                      <a:pt x="298" y="188"/>
                    </a:lnTo>
                    <a:lnTo>
                      <a:pt x="296" y="187"/>
                    </a:lnTo>
                    <a:lnTo>
                      <a:pt x="295" y="187"/>
                    </a:lnTo>
                    <a:lnTo>
                      <a:pt x="295" y="185"/>
                    </a:lnTo>
                    <a:lnTo>
                      <a:pt x="295" y="184"/>
                    </a:lnTo>
                    <a:lnTo>
                      <a:pt x="296" y="181"/>
                    </a:lnTo>
                    <a:lnTo>
                      <a:pt x="298" y="179"/>
                    </a:lnTo>
                    <a:lnTo>
                      <a:pt x="300" y="177"/>
                    </a:lnTo>
                    <a:lnTo>
                      <a:pt x="302" y="177"/>
                    </a:lnTo>
                    <a:lnTo>
                      <a:pt x="302" y="179"/>
                    </a:lnTo>
                    <a:lnTo>
                      <a:pt x="303" y="181"/>
                    </a:lnTo>
                    <a:lnTo>
                      <a:pt x="305" y="181"/>
                    </a:lnTo>
                    <a:lnTo>
                      <a:pt x="306" y="179"/>
                    </a:lnTo>
                    <a:lnTo>
                      <a:pt x="305" y="176"/>
                    </a:lnTo>
                    <a:lnTo>
                      <a:pt x="304" y="175"/>
                    </a:lnTo>
                    <a:lnTo>
                      <a:pt x="303" y="174"/>
                    </a:lnTo>
                    <a:lnTo>
                      <a:pt x="304" y="174"/>
                    </a:lnTo>
                    <a:lnTo>
                      <a:pt x="307" y="174"/>
                    </a:lnTo>
                    <a:lnTo>
                      <a:pt x="306" y="171"/>
                    </a:lnTo>
                    <a:lnTo>
                      <a:pt x="309" y="172"/>
                    </a:lnTo>
                    <a:lnTo>
                      <a:pt x="312" y="171"/>
                    </a:lnTo>
                    <a:lnTo>
                      <a:pt x="311" y="168"/>
                    </a:lnTo>
                    <a:lnTo>
                      <a:pt x="314" y="166"/>
                    </a:lnTo>
                    <a:lnTo>
                      <a:pt x="316" y="166"/>
                    </a:lnTo>
                    <a:lnTo>
                      <a:pt x="317" y="167"/>
                    </a:lnTo>
                    <a:lnTo>
                      <a:pt x="318" y="167"/>
                    </a:lnTo>
                    <a:lnTo>
                      <a:pt x="317" y="164"/>
                    </a:lnTo>
                    <a:lnTo>
                      <a:pt x="318" y="165"/>
                    </a:lnTo>
                    <a:lnTo>
                      <a:pt x="320" y="166"/>
                    </a:lnTo>
                    <a:lnTo>
                      <a:pt x="322" y="166"/>
                    </a:lnTo>
                    <a:lnTo>
                      <a:pt x="323" y="167"/>
                    </a:lnTo>
                    <a:lnTo>
                      <a:pt x="325" y="164"/>
                    </a:lnTo>
                    <a:lnTo>
                      <a:pt x="325" y="162"/>
                    </a:lnTo>
                    <a:lnTo>
                      <a:pt x="328" y="161"/>
                    </a:lnTo>
                    <a:lnTo>
                      <a:pt x="328" y="160"/>
                    </a:lnTo>
                    <a:lnTo>
                      <a:pt x="328" y="156"/>
                    </a:lnTo>
                    <a:lnTo>
                      <a:pt x="328" y="155"/>
                    </a:lnTo>
                    <a:lnTo>
                      <a:pt x="331" y="155"/>
                    </a:lnTo>
                    <a:lnTo>
                      <a:pt x="332" y="155"/>
                    </a:lnTo>
                    <a:lnTo>
                      <a:pt x="334" y="156"/>
                    </a:lnTo>
                    <a:lnTo>
                      <a:pt x="335" y="158"/>
                    </a:lnTo>
                    <a:lnTo>
                      <a:pt x="337" y="160"/>
                    </a:lnTo>
                    <a:lnTo>
                      <a:pt x="342" y="159"/>
                    </a:lnTo>
                    <a:lnTo>
                      <a:pt x="346" y="152"/>
                    </a:lnTo>
                    <a:lnTo>
                      <a:pt x="350" y="150"/>
                    </a:lnTo>
                    <a:lnTo>
                      <a:pt x="354" y="147"/>
                    </a:lnTo>
                    <a:lnTo>
                      <a:pt x="354" y="146"/>
                    </a:lnTo>
                    <a:lnTo>
                      <a:pt x="353" y="145"/>
                    </a:lnTo>
                    <a:lnTo>
                      <a:pt x="354" y="145"/>
                    </a:lnTo>
                    <a:lnTo>
                      <a:pt x="351" y="140"/>
                    </a:lnTo>
                    <a:lnTo>
                      <a:pt x="353" y="140"/>
                    </a:lnTo>
                    <a:lnTo>
                      <a:pt x="358" y="138"/>
                    </a:lnTo>
                    <a:lnTo>
                      <a:pt x="358" y="134"/>
                    </a:lnTo>
                    <a:lnTo>
                      <a:pt x="357" y="130"/>
                    </a:lnTo>
                    <a:lnTo>
                      <a:pt x="357" y="129"/>
                    </a:lnTo>
                    <a:lnTo>
                      <a:pt x="361" y="129"/>
                    </a:lnTo>
                    <a:lnTo>
                      <a:pt x="363" y="129"/>
                    </a:lnTo>
                    <a:lnTo>
                      <a:pt x="368" y="125"/>
                    </a:lnTo>
                    <a:lnTo>
                      <a:pt x="368" y="122"/>
                    </a:lnTo>
                    <a:lnTo>
                      <a:pt x="368" y="119"/>
                    </a:lnTo>
                    <a:lnTo>
                      <a:pt x="365" y="115"/>
                    </a:lnTo>
                    <a:lnTo>
                      <a:pt x="364" y="111"/>
                    </a:lnTo>
                    <a:lnTo>
                      <a:pt x="361" y="109"/>
                    </a:lnTo>
                    <a:lnTo>
                      <a:pt x="360" y="106"/>
                    </a:lnTo>
                    <a:lnTo>
                      <a:pt x="357" y="105"/>
                    </a:lnTo>
                    <a:lnTo>
                      <a:pt x="353" y="98"/>
                    </a:lnTo>
                    <a:lnTo>
                      <a:pt x="353" y="96"/>
                    </a:lnTo>
                    <a:lnTo>
                      <a:pt x="352" y="96"/>
                    </a:lnTo>
                    <a:lnTo>
                      <a:pt x="351" y="94"/>
                    </a:lnTo>
                    <a:lnTo>
                      <a:pt x="350" y="90"/>
                    </a:lnTo>
                    <a:lnTo>
                      <a:pt x="347" y="90"/>
                    </a:lnTo>
                    <a:lnTo>
                      <a:pt x="347" y="88"/>
                    </a:lnTo>
                    <a:lnTo>
                      <a:pt x="345" y="82"/>
                    </a:lnTo>
                    <a:lnTo>
                      <a:pt x="340" y="80"/>
                    </a:lnTo>
                    <a:lnTo>
                      <a:pt x="337" y="80"/>
                    </a:lnTo>
                    <a:lnTo>
                      <a:pt x="336" y="82"/>
                    </a:lnTo>
                    <a:lnTo>
                      <a:pt x="333" y="82"/>
                    </a:lnTo>
                    <a:lnTo>
                      <a:pt x="328" y="81"/>
                    </a:lnTo>
                    <a:lnTo>
                      <a:pt x="328" y="77"/>
                    </a:lnTo>
                    <a:lnTo>
                      <a:pt x="327" y="77"/>
                    </a:lnTo>
                    <a:lnTo>
                      <a:pt x="324" y="77"/>
                    </a:lnTo>
                    <a:lnTo>
                      <a:pt x="322" y="77"/>
                    </a:lnTo>
                    <a:lnTo>
                      <a:pt x="317" y="75"/>
                    </a:lnTo>
                    <a:lnTo>
                      <a:pt x="316" y="75"/>
                    </a:lnTo>
                    <a:lnTo>
                      <a:pt x="311" y="84"/>
                    </a:lnTo>
                    <a:lnTo>
                      <a:pt x="311" y="89"/>
                    </a:lnTo>
                    <a:lnTo>
                      <a:pt x="311" y="91"/>
                    </a:lnTo>
                    <a:lnTo>
                      <a:pt x="310" y="92"/>
                    </a:lnTo>
                    <a:lnTo>
                      <a:pt x="304" y="92"/>
                    </a:lnTo>
                    <a:lnTo>
                      <a:pt x="301" y="94"/>
                    </a:lnTo>
                    <a:lnTo>
                      <a:pt x="300" y="92"/>
                    </a:lnTo>
                    <a:lnTo>
                      <a:pt x="300" y="88"/>
                    </a:lnTo>
                    <a:lnTo>
                      <a:pt x="298" y="85"/>
                    </a:lnTo>
                    <a:lnTo>
                      <a:pt x="293" y="80"/>
                    </a:lnTo>
                    <a:lnTo>
                      <a:pt x="290" y="81"/>
                    </a:lnTo>
                    <a:lnTo>
                      <a:pt x="289" y="78"/>
                    </a:lnTo>
                    <a:lnTo>
                      <a:pt x="288" y="77"/>
                    </a:lnTo>
                    <a:lnTo>
                      <a:pt x="287" y="76"/>
                    </a:lnTo>
                    <a:lnTo>
                      <a:pt x="284" y="76"/>
                    </a:lnTo>
                    <a:lnTo>
                      <a:pt x="283" y="75"/>
                    </a:lnTo>
                    <a:lnTo>
                      <a:pt x="280" y="75"/>
                    </a:lnTo>
                    <a:lnTo>
                      <a:pt x="279" y="78"/>
                    </a:lnTo>
                    <a:lnTo>
                      <a:pt x="278" y="79"/>
                    </a:lnTo>
                    <a:lnTo>
                      <a:pt x="276" y="79"/>
                    </a:lnTo>
                    <a:lnTo>
                      <a:pt x="276" y="81"/>
                    </a:lnTo>
                    <a:lnTo>
                      <a:pt x="272" y="84"/>
                    </a:lnTo>
                    <a:lnTo>
                      <a:pt x="270" y="84"/>
                    </a:lnTo>
                    <a:lnTo>
                      <a:pt x="270" y="85"/>
                    </a:lnTo>
                    <a:lnTo>
                      <a:pt x="268" y="87"/>
                    </a:lnTo>
                    <a:lnTo>
                      <a:pt x="267" y="94"/>
                    </a:lnTo>
                    <a:lnTo>
                      <a:pt x="267" y="96"/>
                    </a:lnTo>
                    <a:lnTo>
                      <a:pt x="266" y="97"/>
                    </a:lnTo>
                    <a:lnTo>
                      <a:pt x="262" y="95"/>
                    </a:lnTo>
                    <a:lnTo>
                      <a:pt x="257" y="102"/>
                    </a:lnTo>
                    <a:lnTo>
                      <a:pt x="255" y="99"/>
                    </a:lnTo>
                    <a:lnTo>
                      <a:pt x="255" y="98"/>
                    </a:lnTo>
                    <a:lnTo>
                      <a:pt x="253" y="98"/>
                    </a:lnTo>
                    <a:lnTo>
                      <a:pt x="249" y="95"/>
                    </a:lnTo>
                    <a:lnTo>
                      <a:pt x="248" y="94"/>
                    </a:lnTo>
                    <a:lnTo>
                      <a:pt x="248" y="92"/>
                    </a:lnTo>
                    <a:lnTo>
                      <a:pt x="251" y="90"/>
                    </a:lnTo>
                    <a:lnTo>
                      <a:pt x="254" y="89"/>
                    </a:lnTo>
                    <a:lnTo>
                      <a:pt x="258" y="86"/>
                    </a:lnTo>
                    <a:lnTo>
                      <a:pt x="257" y="85"/>
                    </a:lnTo>
                    <a:lnTo>
                      <a:pt x="254" y="84"/>
                    </a:lnTo>
                    <a:lnTo>
                      <a:pt x="254" y="80"/>
                    </a:lnTo>
                    <a:lnTo>
                      <a:pt x="253" y="79"/>
                    </a:lnTo>
                    <a:lnTo>
                      <a:pt x="254" y="77"/>
                    </a:lnTo>
                    <a:lnTo>
                      <a:pt x="254" y="72"/>
                    </a:lnTo>
                    <a:lnTo>
                      <a:pt x="254" y="69"/>
                    </a:lnTo>
                    <a:lnTo>
                      <a:pt x="254" y="66"/>
                    </a:lnTo>
                    <a:lnTo>
                      <a:pt x="253" y="65"/>
                    </a:lnTo>
                    <a:lnTo>
                      <a:pt x="252" y="63"/>
                    </a:lnTo>
                    <a:lnTo>
                      <a:pt x="252" y="61"/>
                    </a:lnTo>
                    <a:lnTo>
                      <a:pt x="252" y="60"/>
                    </a:lnTo>
                    <a:lnTo>
                      <a:pt x="246" y="56"/>
                    </a:lnTo>
                    <a:lnTo>
                      <a:pt x="242" y="56"/>
                    </a:lnTo>
                    <a:lnTo>
                      <a:pt x="241" y="56"/>
                    </a:lnTo>
                    <a:lnTo>
                      <a:pt x="239" y="58"/>
                    </a:lnTo>
                    <a:lnTo>
                      <a:pt x="237" y="57"/>
                    </a:lnTo>
                    <a:lnTo>
                      <a:pt x="235" y="59"/>
                    </a:lnTo>
                    <a:lnTo>
                      <a:pt x="233" y="58"/>
                    </a:lnTo>
                    <a:lnTo>
                      <a:pt x="230" y="59"/>
                    </a:lnTo>
                    <a:lnTo>
                      <a:pt x="224" y="61"/>
                    </a:lnTo>
                    <a:lnTo>
                      <a:pt x="223" y="63"/>
                    </a:lnTo>
                    <a:lnTo>
                      <a:pt x="218" y="60"/>
                    </a:lnTo>
                    <a:lnTo>
                      <a:pt x="218" y="58"/>
                    </a:lnTo>
                    <a:lnTo>
                      <a:pt x="218" y="56"/>
                    </a:lnTo>
                    <a:lnTo>
                      <a:pt x="218" y="50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5" y="43"/>
                    </a:lnTo>
                    <a:lnTo>
                      <a:pt x="213" y="38"/>
                    </a:lnTo>
                    <a:lnTo>
                      <a:pt x="211" y="35"/>
                    </a:lnTo>
                    <a:lnTo>
                      <a:pt x="213" y="27"/>
                    </a:lnTo>
                    <a:lnTo>
                      <a:pt x="210" y="24"/>
                    </a:lnTo>
                    <a:lnTo>
                      <a:pt x="210" y="21"/>
                    </a:lnTo>
                    <a:lnTo>
                      <a:pt x="202" y="22"/>
                    </a:lnTo>
                    <a:lnTo>
                      <a:pt x="202" y="24"/>
                    </a:lnTo>
                    <a:lnTo>
                      <a:pt x="199" y="26"/>
                    </a:lnTo>
                    <a:lnTo>
                      <a:pt x="194" y="24"/>
                    </a:lnTo>
                    <a:lnTo>
                      <a:pt x="190" y="26"/>
                    </a:lnTo>
                    <a:lnTo>
                      <a:pt x="188" y="27"/>
                    </a:lnTo>
                    <a:lnTo>
                      <a:pt x="187" y="27"/>
                    </a:lnTo>
                    <a:lnTo>
                      <a:pt x="183" y="24"/>
                    </a:lnTo>
                    <a:lnTo>
                      <a:pt x="179" y="25"/>
                    </a:lnTo>
                    <a:lnTo>
                      <a:pt x="177" y="24"/>
                    </a:lnTo>
                    <a:lnTo>
                      <a:pt x="175" y="22"/>
                    </a:lnTo>
                    <a:lnTo>
                      <a:pt x="174" y="18"/>
                    </a:lnTo>
                    <a:lnTo>
                      <a:pt x="173" y="17"/>
                    </a:lnTo>
                    <a:lnTo>
                      <a:pt x="170" y="15"/>
                    </a:lnTo>
                    <a:lnTo>
                      <a:pt x="168" y="13"/>
                    </a:lnTo>
                    <a:lnTo>
                      <a:pt x="165" y="13"/>
                    </a:lnTo>
                    <a:lnTo>
                      <a:pt x="158" y="10"/>
                    </a:lnTo>
                    <a:lnTo>
                      <a:pt x="157" y="5"/>
                    </a:lnTo>
                    <a:lnTo>
                      <a:pt x="154" y="3"/>
                    </a:lnTo>
                    <a:lnTo>
                      <a:pt x="147" y="1"/>
                    </a:lnTo>
                    <a:lnTo>
                      <a:pt x="142" y="3"/>
                    </a:lnTo>
                    <a:lnTo>
                      <a:pt x="140" y="0"/>
                    </a:lnTo>
                    <a:lnTo>
                      <a:pt x="136" y="0"/>
                    </a:lnTo>
                    <a:lnTo>
                      <a:pt x="136" y="6"/>
                    </a:lnTo>
                    <a:lnTo>
                      <a:pt x="136" y="9"/>
                    </a:lnTo>
                    <a:lnTo>
                      <a:pt x="137" y="12"/>
                    </a:lnTo>
                    <a:lnTo>
                      <a:pt x="142" y="17"/>
                    </a:lnTo>
                    <a:lnTo>
                      <a:pt x="144" y="22"/>
                    </a:lnTo>
                    <a:lnTo>
                      <a:pt x="142" y="25"/>
                    </a:lnTo>
                    <a:lnTo>
                      <a:pt x="139" y="30"/>
                    </a:lnTo>
                    <a:lnTo>
                      <a:pt x="138" y="31"/>
                    </a:lnTo>
                    <a:lnTo>
                      <a:pt x="141" y="34"/>
                    </a:lnTo>
                    <a:lnTo>
                      <a:pt x="139" y="39"/>
                    </a:lnTo>
                    <a:lnTo>
                      <a:pt x="140" y="41"/>
                    </a:lnTo>
                    <a:lnTo>
                      <a:pt x="138" y="44"/>
                    </a:lnTo>
                    <a:lnTo>
                      <a:pt x="138" y="47"/>
                    </a:lnTo>
                    <a:lnTo>
                      <a:pt x="139" y="47"/>
                    </a:lnTo>
                    <a:lnTo>
                      <a:pt x="140" y="58"/>
                    </a:lnTo>
                    <a:lnTo>
                      <a:pt x="142" y="60"/>
                    </a:lnTo>
                    <a:lnTo>
                      <a:pt x="139" y="63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41" y="71"/>
                    </a:lnTo>
                    <a:lnTo>
                      <a:pt x="142" y="74"/>
                    </a:lnTo>
                    <a:lnTo>
                      <a:pt x="142" y="77"/>
                    </a:lnTo>
                    <a:lnTo>
                      <a:pt x="145" y="79"/>
                    </a:lnTo>
                    <a:lnTo>
                      <a:pt x="142" y="81"/>
                    </a:lnTo>
                    <a:lnTo>
                      <a:pt x="139" y="85"/>
                    </a:lnTo>
                    <a:lnTo>
                      <a:pt x="140" y="87"/>
                    </a:lnTo>
                    <a:lnTo>
                      <a:pt x="135" y="94"/>
                    </a:lnTo>
                    <a:lnTo>
                      <a:pt x="137" y="97"/>
                    </a:lnTo>
                    <a:lnTo>
                      <a:pt x="141" y="98"/>
                    </a:lnTo>
                    <a:lnTo>
                      <a:pt x="140" y="99"/>
                    </a:lnTo>
                    <a:lnTo>
                      <a:pt x="138" y="100"/>
                    </a:lnTo>
                    <a:lnTo>
                      <a:pt x="142" y="105"/>
                    </a:lnTo>
                    <a:lnTo>
                      <a:pt x="140" y="105"/>
                    </a:lnTo>
                    <a:lnTo>
                      <a:pt x="142" y="106"/>
                    </a:lnTo>
                    <a:lnTo>
                      <a:pt x="143" y="109"/>
                    </a:lnTo>
                    <a:lnTo>
                      <a:pt x="145" y="111"/>
                    </a:lnTo>
                    <a:lnTo>
                      <a:pt x="145" y="112"/>
                    </a:lnTo>
                    <a:lnTo>
                      <a:pt x="146" y="113"/>
                    </a:lnTo>
                    <a:lnTo>
                      <a:pt x="147" y="116"/>
                    </a:lnTo>
                    <a:lnTo>
                      <a:pt x="148" y="116"/>
                    </a:lnTo>
                    <a:lnTo>
                      <a:pt x="148" y="119"/>
                    </a:lnTo>
                    <a:lnTo>
                      <a:pt x="149" y="122"/>
                    </a:lnTo>
                    <a:lnTo>
                      <a:pt x="149" y="123"/>
                    </a:lnTo>
                    <a:lnTo>
                      <a:pt x="140" y="123"/>
                    </a:lnTo>
                    <a:lnTo>
                      <a:pt x="138" y="124"/>
                    </a:lnTo>
                    <a:lnTo>
                      <a:pt x="137" y="125"/>
                    </a:lnTo>
                    <a:lnTo>
                      <a:pt x="137" y="122"/>
                    </a:lnTo>
                    <a:lnTo>
                      <a:pt x="136" y="124"/>
                    </a:lnTo>
                    <a:lnTo>
                      <a:pt x="136" y="125"/>
                    </a:lnTo>
                    <a:lnTo>
                      <a:pt x="135" y="125"/>
                    </a:lnTo>
                    <a:lnTo>
                      <a:pt x="135" y="121"/>
                    </a:lnTo>
                    <a:lnTo>
                      <a:pt x="134" y="121"/>
                    </a:lnTo>
                    <a:lnTo>
                      <a:pt x="134" y="122"/>
                    </a:lnTo>
                    <a:lnTo>
                      <a:pt x="133" y="121"/>
                    </a:lnTo>
                    <a:lnTo>
                      <a:pt x="133" y="120"/>
                    </a:lnTo>
                    <a:lnTo>
                      <a:pt x="132" y="120"/>
                    </a:lnTo>
                    <a:lnTo>
                      <a:pt x="132" y="119"/>
                    </a:lnTo>
                    <a:lnTo>
                      <a:pt x="131" y="119"/>
                    </a:lnTo>
                    <a:lnTo>
                      <a:pt x="129" y="120"/>
                    </a:lnTo>
                    <a:lnTo>
                      <a:pt x="128" y="120"/>
                    </a:lnTo>
                    <a:lnTo>
                      <a:pt x="126" y="121"/>
                    </a:lnTo>
                    <a:lnTo>
                      <a:pt x="125" y="120"/>
                    </a:lnTo>
                    <a:lnTo>
                      <a:pt x="125" y="124"/>
                    </a:lnTo>
                    <a:lnTo>
                      <a:pt x="122" y="124"/>
                    </a:lnTo>
                    <a:lnTo>
                      <a:pt x="121" y="122"/>
                    </a:lnTo>
                    <a:lnTo>
                      <a:pt x="120" y="122"/>
                    </a:lnTo>
                    <a:lnTo>
                      <a:pt x="119" y="121"/>
                    </a:lnTo>
                    <a:lnTo>
                      <a:pt x="117" y="121"/>
                    </a:lnTo>
                    <a:lnTo>
                      <a:pt x="117" y="119"/>
                    </a:lnTo>
                    <a:lnTo>
                      <a:pt x="113" y="113"/>
                    </a:lnTo>
                    <a:lnTo>
                      <a:pt x="113" y="111"/>
                    </a:lnTo>
                    <a:lnTo>
                      <a:pt x="114" y="111"/>
                    </a:lnTo>
                    <a:lnTo>
                      <a:pt x="114" y="110"/>
                    </a:lnTo>
                    <a:lnTo>
                      <a:pt x="113" y="109"/>
                    </a:lnTo>
                    <a:lnTo>
                      <a:pt x="109" y="106"/>
                    </a:lnTo>
                    <a:lnTo>
                      <a:pt x="109" y="108"/>
                    </a:lnTo>
                    <a:lnTo>
                      <a:pt x="108" y="109"/>
                    </a:lnTo>
                    <a:lnTo>
                      <a:pt x="109" y="111"/>
                    </a:lnTo>
                    <a:lnTo>
                      <a:pt x="109" y="113"/>
                    </a:lnTo>
                    <a:lnTo>
                      <a:pt x="108" y="113"/>
                    </a:lnTo>
                    <a:lnTo>
                      <a:pt x="107" y="113"/>
                    </a:lnTo>
                    <a:lnTo>
                      <a:pt x="105" y="111"/>
                    </a:lnTo>
                    <a:lnTo>
                      <a:pt x="104" y="116"/>
                    </a:lnTo>
                    <a:lnTo>
                      <a:pt x="101" y="116"/>
                    </a:lnTo>
                    <a:lnTo>
                      <a:pt x="97" y="116"/>
                    </a:lnTo>
                    <a:lnTo>
                      <a:pt x="96" y="119"/>
                    </a:lnTo>
                    <a:lnTo>
                      <a:pt x="97" y="121"/>
                    </a:lnTo>
                    <a:lnTo>
                      <a:pt x="97" y="125"/>
                    </a:lnTo>
                    <a:lnTo>
                      <a:pt x="100" y="127"/>
                    </a:lnTo>
                    <a:lnTo>
                      <a:pt x="99" y="129"/>
                    </a:lnTo>
                    <a:lnTo>
                      <a:pt x="97" y="129"/>
                    </a:lnTo>
                    <a:lnTo>
                      <a:pt x="98" y="130"/>
                    </a:lnTo>
                    <a:lnTo>
                      <a:pt x="96" y="132"/>
                    </a:lnTo>
                    <a:lnTo>
                      <a:pt x="96" y="133"/>
                    </a:lnTo>
                    <a:lnTo>
                      <a:pt x="94" y="133"/>
                    </a:lnTo>
                    <a:lnTo>
                      <a:pt x="93" y="130"/>
                    </a:lnTo>
                    <a:lnTo>
                      <a:pt x="92" y="131"/>
                    </a:lnTo>
                    <a:lnTo>
                      <a:pt x="91" y="132"/>
                    </a:lnTo>
                    <a:lnTo>
                      <a:pt x="92" y="134"/>
                    </a:lnTo>
                    <a:lnTo>
                      <a:pt x="92" y="135"/>
                    </a:lnTo>
                    <a:lnTo>
                      <a:pt x="91" y="134"/>
                    </a:lnTo>
                    <a:lnTo>
                      <a:pt x="91" y="135"/>
                    </a:lnTo>
                    <a:lnTo>
                      <a:pt x="89" y="133"/>
                    </a:lnTo>
                    <a:lnTo>
                      <a:pt x="88" y="135"/>
                    </a:lnTo>
                    <a:lnTo>
                      <a:pt x="87" y="134"/>
                    </a:lnTo>
                    <a:lnTo>
                      <a:pt x="85" y="135"/>
                    </a:lnTo>
                    <a:lnTo>
                      <a:pt x="82" y="134"/>
                    </a:lnTo>
                    <a:lnTo>
                      <a:pt x="82" y="132"/>
                    </a:lnTo>
                    <a:lnTo>
                      <a:pt x="81" y="132"/>
                    </a:lnTo>
                    <a:lnTo>
                      <a:pt x="82" y="132"/>
                    </a:lnTo>
                    <a:lnTo>
                      <a:pt x="82" y="130"/>
                    </a:lnTo>
                    <a:lnTo>
                      <a:pt x="80" y="130"/>
                    </a:lnTo>
                    <a:lnTo>
                      <a:pt x="80" y="129"/>
                    </a:lnTo>
                    <a:lnTo>
                      <a:pt x="83" y="130"/>
                    </a:lnTo>
                    <a:lnTo>
                      <a:pt x="83" y="129"/>
                    </a:lnTo>
                    <a:lnTo>
                      <a:pt x="82" y="129"/>
                    </a:lnTo>
                    <a:lnTo>
                      <a:pt x="81" y="126"/>
                    </a:lnTo>
                    <a:lnTo>
                      <a:pt x="82" y="126"/>
                    </a:lnTo>
                    <a:lnTo>
                      <a:pt x="81" y="123"/>
                    </a:lnTo>
                    <a:lnTo>
                      <a:pt x="82" y="122"/>
                    </a:lnTo>
                    <a:lnTo>
                      <a:pt x="80" y="121"/>
                    </a:lnTo>
                    <a:lnTo>
                      <a:pt x="78" y="122"/>
                    </a:lnTo>
                    <a:lnTo>
                      <a:pt x="77" y="127"/>
                    </a:lnTo>
                    <a:lnTo>
                      <a:pt x="75" y="125"/>
                    </a:lnTo>
                    <a:lnTo>
                      <a:pt x="74" y="123"/>
                    </a:lnTo>
                    <a:lnTo>
                      <a:pt x="72" y="122"/>
                    </a:lnTo>
                    <a:lnTo>
                      <a:pt x="71" y="122"/>
                    </a:lnTo>
                    <a:lnTo>
                      <a:pt x="70" y="119"/>
                    </a:lnTo>
                    <a:lnTo>
                      <a:pt x="71" y="117"/>
                    </a:lnTo>
                    <a:lnTo>
                      <a:pt x="68" y="116"/>
                    </a:lnTo>
                    <a:lnTo>
                      <a:pt x="67" y="117"/>
                    </a:lnTo>
                    <a:lnTo>
                      <a:pt x="66" y="117"/>
                    </a:lnTo>
                    <a:lnTo>
                      <a:pt x="66" y="115"/>
                    </a:lnTo>
                    <a:lnTo>
                      <a:pt x="64" y="117"/>
                    </a:lnTo>
                    <a:lnTo>
                      <a:pt x="63" y="116"/>
                    </a:lnTo>
                    <a:lnTo>
                      <a:pt x="60" y="115"/>
                    </a:lnTo>
                    <a:lnTo>
                      <a:pt x="60" y="113"/>
                    </a:lnTo>
                    <a:lnTo>
                      <a:pt x="57" y="111"/>
                    </a:lnTo>
                    <a:lnTo>
                      <a:pt x="56" y="110"/>
                    </a:lnTo>
                    <a:lnTo>
                      <a:pt x="54" y="110"/>
                    </a:lnTo>
                    <a:lnTo>
                      <a:pt x="53" y="111"/>
                    </a:lnTo>
                    <a:lnTo>
                      <a:pt x="52" y="109"/>
                    </a:lnTo>
                    <a:lnTo>
                      <a:pt x="51" y="110"/>
                    </a:lnTo>
                    <a:lnTo>
                      <a:pt x="50" y="110"/>
                    </a:lnTo>
                    <a:lnTo>
                      <a:pt x="49" y="111"/>
                    </a:lnTo>
                    <a:lnTo>
                      <a:pt x="48" y="113"/>
                    </a:lnTo>
                    <a:lnTo>
                      <a:pt x="45" y="114"/>
                    </a:lnTo>
                    <a:lnTo>
                      <a:pt x="45" y="116"/>
                    </a:lnTo>
                    <a:lnTo>
                      <a:pt x="43" y="116"/>
                    </a:lnTo>
                    <a:lnTo>
                      <a:pt x="44" y="117"/>
                    </a:lnTo>
                    <a:lnTo>
                      <a:pt x="43" y="120"/>
                    </a:lnTo>
                    <a:lnTo>
                      <a:pt x="43" y="121"/>
                    </a:lnTo>
                    <a:lnTo>
                      <a:pt x="41" y="121"/>
                    </a:lnTo>
                    <a:lnTo>
                      <a:pt x="40" y="121"/>
                    </a:lnTo>
                    <a:lnTo>
                      <a:pt x="38" y="122"/>
                    </a:lnTo>
                    <a:lnTo>
                      <a:pt x="35" y="118"/>
                    </a:lnTo>
                    <a:lnTo>
                      <a:pt x="32" y="116"/>
                    </a:lnTo>
                    <a:lnTo>
                      <a:pt x="29" y="115"/>
                    </a:lnTo>
                    <a:lnTo>
                      <a:pt x="28" y="113"/>
                    </a:lnTo>
                    <a:lnTo>
                      <a:pt x="27" y="111"/>
                    </a:lnTo>
                    <a:lnTo>
                      <a:pt x="22" y="108"/>
                    </a:lnTo>
                    <a:lnTo>
                      <a:pt x="22" y="109"/>
                    </a:lnTo>
                    <a:lnTo>
                      <a:pt x="20" y="108"/>
                    </a:lnTo>
                    <a:lnTo>
                      <a:pt x="20" y="106"/>
                    </a:lnTo>
                    <a:lnTo>
                      <a:pt x="19" y="105"/>
                    </a:lnTo>
                    <a:lnTo>
                      <a:pt x="19" y="106"/>
                    </a:lnTo>
                    <a:lnTo>
                      <a:pt x="18" y="106"/>
                    </a:lnTo>
                    <a:lnTo>
                      <a:pt x="18" y="108"/>
                    </a:lnTo>
                    <a:lnTo>
                      <a:pt x="17" y="108"/>
                    </a:lnTo>
                    <a:lnTo>
                      <a:pt x="17" y="109"/>
                    </a:lnTo>
                    <a:lnTo>
                      <a:pt x="15" y="109"/>
                    </a:lnTo>
                    <a:lnTo>
                      <a:pt x="15" y="110"/>
                    </a:lnTo>
                    <a:lnTo>
                      <a:pt x="11" y="110"/>
                    </a:lnTo>
                    <a:lnTo>
                      <a:pt x="10" y="111"/>
                    </a:lnTo>
                    <a:lnTo>
                      <a:pt x="10" y="115"/>
                    </a:lnTo>
                    <a:lnTo>
                      <a:pt x="10" y="116"/>
                    </a:lnTo>
                    <a:lnTo>
                      <a:pt x="11" y="116"/>
                    </a:lnTo>
                    <a:lnTo>
                      <a:pt x="14" y="120"/>
                    </a:lnTo>
                    <a:lnTo>
                      <a:pt x="14" y="122"/>
                    </a:lnTo>
                    <a:lnTo>
                      <a:pt x="13" y="124"/>
                    </a:lnTo>
                    <a:lnTo>
                      <a:pt x="13" y="125"/>
                    </a:lnTo>
                    <a:lnTo>
                      <a:pt x="14" y="125"/>
                    </a:lnTo>
                    <a:lnTo>
                      <a:pt x="16" y="127"/>
                    </a:lnTo>
                    <a:lnTo>
                      <a:pt x="15" y="128"/>
                    </a:lnTo>
                    <a:lnTo>
                      <a:pt x="15" y="129"/>
                    </a:lnTo>
                    <a:lnTo>
                      <a:pt x="14" y="129"/>
                    </a:lnTo>
                    <a:lnTo>
                      <a:pt x="13" y="129"/>
                    </a:lnTo>
                    <a:lnTo>
                      <a:pt x="14" y="129"/>
                    </a:lnTo>
                    <a:lnTo>
                      <a:pt x="14" y="130"/>
                    </a:lnTo>
                    <a:lnTo>
                      <a:pt x="13" y="132"/>
                    </a:lnTo>
                    <a:lnTo>
                      <a:pt x="14" y="132"/>
                    </a:lnTo>
                    <a:lnTo>
                      <a:pt x="13" y="134"/>
                    </a:lnTo>
                    <a:lnTo>
                      <a:pt x="13" y="136"/>
                    </a:lnTo>
                    <a:lnTo>
                      <a:pt x="11" y="138"/>
                    </a:lnTo>
                    <a:lnTo>
                      <a:pt x="11" y="140"/>
                    </a:lnTo>
                    <a:lnTo>
                      <a:pt x="13" y="139"/>
                    </a:lnTo>
                    <a:lnTo>
                      <a:pt x="13" y="141"/>
                    </a:lnTo>
                    <a:lnTo>
                      <a:pt x="15" y="140"/>
                    </a:lnTo>
                    <a:lnTo>
                      <a:pt x="15" y="141"/>
                    </a:lnTo>
                    <a:lnTo>
                      <a:pt x="17" y="145"/>
                    </a:lnTo>
                    <a:lnTo>
                      <a:pt x="17" y="146"/>
                    </a:lnTo>
                    <a:lnTo>
                      <a:pt x="15" y="146"/>
                    </a:lnTo>
                    <a:lnTo>
                      <a:pt x="15" y="148"/>
                    </a:lnTo>
                    <a:lnTo>
                      <a:pt x="16" y="149"/>
                    </a:lnTo>
                    <a:lnTo>
                      <a:pt x="16" y="150"/>
                    </a:lnTo>
                    <a:lnTo>
                      <a:pt x="19" y="151"/>
                    </a:lnTo>
                    <a:lnTo>
                      <a:pt x="15" y="160"/>
                    </a:lnTo>
                    <a:lnTo>
                      <a:pt x="15" y="159"/>
                    </a:lnTo>
                    <a:lnTo>
                      <a:pt x="14" y="160"/>
                    </a:lnTo>
                    <a:lnTo>
                      <a:pt x="13" y="159"/>
                    </a:lnTo>
                    <a:lnTo>
                      <a:pt x="13" y="160"/>
                    </a:lnTo>
                    <a:lnTo>
                      <a:pt x="10" y="160"/>
                    </a:lnTo>
                    <a:lnTo>
                      <a:pt x="10" y="163"/>
                    </a:lnTo>
                    <a:lnTo>
                      <a:pt x="11" y="163"/>
                    </a:lnTo>
                    <a:lnTo>
                      <a:pt x="11" y="164"/>
                    </a:lnTo>
                    <a:lnTo>
                      <a:pt x="10" y="165"/>
                    </a:lnTo>
                    <a:lnTo>
                      <a:pt x="11" y="167"/>
                    </a:lnTo>
                    <a:lnTo>
                      <a:pt x="11" y="168"/>
                    </a:lnTo>
                    <a:lnTo>
                      <a:pt x="10" y="168"/>
                    </a:lnTo>
                    <a:lnTo>
                      <a:pt x="9" y="169"/>
                    </a:lnTo>
                    <a:lnTo>
                      <a:pt x="8" y="169"/>
                    </a:lnTo>
                    <a:lnTo>
                      <a:pt x="9" y="168"/>
                    </a:lnTo>
                    <a:lnTo>
                      <a:pt x="8" y="168"/>
                    </a:lnTo>
                    <a:lnTo>
                      <a:pt x="7" y="168"/>
                    </a:lnTo>
                    <a:lnTo>
                      <a:pt x="6" y="168"/>
                    </a:lnTo>
                    <a:lnTo>
                      <a:pt x="5" y="167"/>
                    </a:lnTo>
                    <a:lnTo>
                      <a:pt x="3" y="169"/>
                    </a:lnTo>
                    <a:lnTo>
                      <a:pt x="0" y="172"/>
                    </a:lnTo>
                    <a:lnTo>
                      <a:pt x="2" y="175"/>
                    </a:lnTo>
                    <a:lnTo>
                      <a:pt x="3" y="177"/>
                    </a:lnTo>
                    <a:lnTo>
                      <a:pt x="5" y="177"/>
                    </a:lnTo>
                    <a:lnTo>
                      <a:pt x="7" y="180"/>
                    </a:lnTo>
                    <a:lnTo>
                      <a:pt x="6" y="180"/>
                    </a:lnTo>
                    <a:lnTo>
                      <a:pt x="4" y="181"/>
                    </a:lnTo>
                    <a:lnTo>
                      <a:pt x="5" y="185"/>
                    </a:lnTo>
                    <a:lnTo>
                      <a:pt x="5" y="187"/>
                    </a:lnTo>
                    <a:lnTo>
                      <a:pt x="7" y="189"/>
                    </a:lnTo>
                    <a:lnTo>
                      <a:pt x="9" y="191"/>
                    </a:lnTo>
                    <a:lnTo>
                      <a:pt x="11" y="192"/>
                    </a:lnTo>
                    <a:lnTo>
                      <a:pt x="13" y="191"/>
                    </a:lnTo>
                    <a:lnTo>
                      <a:pt x="15" y="188"/>
                    </a:lnTo>
                    <a:lnTo>
                      <a:pt x="16" y="191"/>
                    </a:lnTo>
                    <a:lnTo>
                      <a:pt x="20" y="193"/>
                    </a:lnTo>
                    <a:lnTo>
                      <a:pt x="21" y="193"/>
                    </a:lnTo>
                    <a:lnTo>
                      <a:pt x="20" y="194"/>
                    </a:lnTo>
                    <a:lnTo>
                      <a:pt x="19" y="194"/>
                    </a:lnTo>
                    <a:lnTo>
                      <a:pt x="19" y="198"/>
                    </a:lnTo>
                    <a:lnTo>
                      <a:pt x="20" y="198"/>
                    </a:lnTo>
                    <a:lnTo>
                      <a:pt x="22" y="197"/>
                    </a:lnTo>
                    <a:lnTo>
                      <a:pt x="22" y="198"/>
                    </a:lnTo>
                    <a:lnTo>
                      <a:pt x="23" y="200"/>
                    </a:lnTo>
                    <a:lnTo>
                      <a:pt x="24" y="200"/>
                    </a:lnTo>
                    <a:lnTo>
                      <a:pt x="25" y="202"/>
                    </a:lnTo>
                    <a:lnTo>
                      <a:pt x="26" y="202"/>
                    </a:lnTo>
                    <a:lnTo>
                      <a:pt x="27" y="204"/>
                    </a:lnTo>
                    <a:lnTo>
                      <a:pt x="27" y="206"/>
                    </a:lnTo>
                    <a:lnTo>
                      <a:pt x="26" y="205"/>
                    </a:lnTo>
                    <a:lnTo>
                      <a:pt x="23" y="206"/>
                    </a:lnTo>
                    <a:lnTo>
                      <a:pt x="23" y="208"/>
                    </a:lnTo>
                    <a:lnTo>
                      <a:pt x="25" y="209"/>
                    </a:lnTo>
                    <a:lnTo>
                      <a:pt x="25" y="211"/>
                    </a:lnTo>
                    <a:lnTo>
                      <a:pt x="23" y="213"/>
                    </a:lnTo>
                    <a:lnTo>
                      <a:pt x="25" y="214"/>
                    </a:lnTo>
                    <a:lnTo>
                      <a:pt x="28" y="217"/>
                    </a:lnTo>
                    <a:lnTo>
                      <a:pt x="28" y="218"/>
                    </a:lnTo>
                    <a:lnTo>
                      <a:pt x="29" y="219"/>
                    </a:lnTo>
                    <a:lnTo>
                      <a:pt x="30" y="217"/>
                    </a:lnTo>
                    <a:lnTo>
                      <a:pt x="30" y="219"/>
                    </a:lnTo>
                    <a:lnTo>
                      <a:pt x="31" y="219"/>
                    </a:lnTo>
                    <a:lnTo>
                      <a:pt x="32" y="219"/>
                    </a:lnTo>
                    <a:lnTo>
                      <a:pt x="32" y="217"/>
                    </a:lnTo>
                    <a:lnTo>
                      <a:pt x="36" y="218"/>
                    </a:lnTo>
                    <a:lnTo>
                      <a:pt x="38" y="216"/>
                    </a:lnTo>
                    <a:lnTo>
                      <a:pt x="39" y="216"/>
                    </a:lnTo>
                    <a:lnTo>
                      <a:pt x="39" y="217"/>
                    </a:lnTo>
                    <a:lnTo>
                      <a:pt x="41" y="219"/>
                    </a:lnTo>
                    <a:lnTo>
                      <a:pt x="42" y="219"/>
                    </a:lnTo>
                    <a:lnTo>
                      <a:pt x="43" y="220"/>
                    </a:lnTo>
                    <a:lnTo>
                      <a:pt x="44" y="219"/>
                    </a:lnTo>
                    <a:lnTo>
                      <a:pt x="46" y="221"/>
                    </a:lnTo>
                    <a:lnTo>
                      <a:pt x="49" y="223"/>
                    </a:lnTo>
                    <a:lnTo>
                      <a:pt x="48" y="223"/>
                    </a:lnTo>
                    <a:lnTo>
                      <a:pt x="49" y="225"/>
                    </a:lnTo>
                    <a:lnTo>
                      <a:pt x="50" y="224"/>
                    </a:lnTo>
                    <a:lnTo>
                      <a:pt x="52" y="223"/>
                    </a:lnTo>
                    <a:lnTo>
                      <a:pt x="53" y="220"/>
                    </a:lnTo>
                    <a:lnTo>
                      <a:pt x="56" y="221"/>
                    </a:lnTo>
                    <a:lnTo>
                      <a:pt x="57" y="219"/>
                    </a:lnTo>
                    <a:lnTo>
                      <a:pt x="59" y="219"/>
                    </a:lnTo>
                    <a:lnTo>
                      <a:pt x="60" y="219"/>
                    </a:lnTo>
                    <a:lnTo>
                      <a:pt x="62" y="219"/>
                    </a:lnTo>
                    <a:lnTo>
                      <a:pt x="63" y="217"/>
                    </a:lnTo>
                    <a:lnTo>
                      <a:pt x="63" y="219"/>
                    </a:lnTo>
                    <a:lnTo>
                      <a:pt x="63" y="222"/>
                    </a:lnTo>
                    <a:lnTo>
                      <a:pt x="64" y="222"/>
                    </a:lnTo>
                    <a:lnTo>
                      <a:pt x="64" y="223"/>
                    </a:lnTo>
                    <a:lnTo>
                      <a:pt x="66" y="223"/>
                    </a:lnTo>
                    <a:lnTo>
                      <a:pt x="67" y="224"/>
                    </a:lnTo>
                    <a:lnTo>
                      <a:pt x="67" y="225"/>
                    </a:lnTo>
                    <a:lnTo>
                      <a:pt x="69" y="225"/>
                    </a:lnTo>
                    <a:lnTo>
                      <a:pt x="69" y="227"/>
                    </a:lnTo>
                    <a:lnTo>
                      <a:pt x="68" y="228"/>
                    </a:lnTo>
                    <a:lnTo>
                      <a:pt x="68" y="230"/>
                    </a:lnTo>
                    <a:lnTo>
                      <a:pt x="68" y="231"/>
                    </a:lnTo>
                    <a:lnTo>
                      <a:pt x="68" y="234"/>
                    </a:lnTo>
                    <a:lnTo>
                      <a:pt x="68" y="237"/>
                    </a:lnTo>
                    <a:lnTo>
                      <a:pt x="69" y="240"/>
                    </a:lnTo>
                    <a:lnTo>
                      <a:pt x="68" y="241"/>
                    </a:lnTo>
                    <a:lnTo>
                      <a:pt x="66" y="241"/>
                    </a:lnTo>
                    <a:lnTo>
                      <a:pt x="64" y="242"/>
                    </a:lnTo>
                    <a:lnTo>
                      <a:pt x="66" y="243"/>
                    </a:lnTo>
                    <a:lnTo>
                      <a:pt x="66" y="249"/>
                    </a:lnTo>
                    <a:lnTo>
                      <a:pt x="64" y="252"/>
                    </a:lnTo>
                    <a:lnTo>
                      <a:pt x="66" y="253"/>
                    </a:lnTo>
                    <a:lnTo>
                      <a:pt x="66" y="255"/>
                    </a:lnTo>
                    <a:lnTo>
                      <a:pt x="67" y="255"/>
                    </a:lnTo>
                    <a:lnTo>
                      <a:pt x="69" y="257"/>
                    </a:lnTo>
                    <a:lnTo>
                      <a:pt x="68" y="261"/>
                    </a:lnTo>
                    <a:lnTo>
                      <a:pt x="69" y="259"/>
                    </a:lnTo>
                    <a:lnTo>
                      <a:pt x="69" y="261"/>
                    </a:lnTo>
                    <a:lnTo>
                      <a:pt x="70" y="261"/>
                    </a:lnTo>
                    <a:lnTo>
                      <a:pt x="69" y="263"/>
                    </a:lnTo>
                    <a:lnTo>
                      <a:pt x="71" y="262"/>
                    </a:lnTo>
                    <a:lnTo>
                      <a:pt x="69" y="265"/>
                    </a:lnTo>
                    <a:lnTo>
                      <a:pt x="69" y="267"/>
                    </a:lnTo>
                    <a:lnTo>
                      <a:pt x="68" y="269"/>
                    </a:lnTo>
                    <a:lnTo>
                      <a:pt x="68" y="268"/>
                    </a:lnTo>
                    <a:lnTo>
                      <a:pt x="66" y="270"/>
                    </a:lnTo>
                    <a:lnTo>
                      <a:pt x="67" y="271"/>
                    </a:lnTo>
                    <a:lnTo>
                      <a:pt x="68" y="272"/>
                    </a:lnTo>
                    <a:lnTo>
                      <a:pt x="67" y="272"/>
                    </a:lnTo>
                    <a:lnTo>
                      <a:pt x="66" y="274"/>
                    </a:lnTo>
                    <a:lnTo>
                      <a:pt x="66" y="273"/>
                    </a:lnTo>
                    <a:lnTo>
                      <a:pt x="66" y="275"/>
                    </a:lnTo>
                    <a:lnTo>
                      <a:pt x="64" y="275"/>
                    </a:lnTo>
                    <a:lnTo>
                      <a:pt x="63" y="277"/>
                    </a:lnTo>
                    <a:lnTo>
                      <a:pt x="61" y="276"/>
                    </a:lnTo>
                    <a:lnTo>
                      <a:pt x="60" y="279"/>
                    </a:lnTo>
                    <a:lnTo>
                      <a:pt x="60" y="278"/>
                    </a:lnTo>
                    <a:lnTo>
                      <a:pt x="59" y="278"/>
                    </a:lnTo>
                    <a:lnTo>
                      <a:pt x="59" y="280"/>
                    </a:lnTo>
                    <a:lnTo>
                      <a:pt x="58" y="280"/>
                    </a:lnTo>
                    <a:lnTo>
                      <a:pt x="57" y="279"/>
                    </a:lnTo>
                    <a:lnTo>
                      <a:pt x="56" y="282"/>
                    </a:lnTo>
                    <a:lnTo>
                      <a:pt x="58" y="282"/>
                    </a:lnTo>
                    <a:lnTo>
                      <a:pt x="61" y="284"/>
                    </a:lnTo>
                    <a:lnTo>
                      <a:pt x="61" y="285"/>
                    </a:lnTo>
                    <a:lnTo>
                      <a:pt x="57" y="288"/>
                    </a:lnTo>
                    <a:lnTo>
                      <a:pt x="54" y="289"/>
                    </a:lnTo>
                    <a:lnTo>
                      <a:pt x="58" y="291"/>
                    </a:lnTo>
                    <a:lnTo>
                      <a:pt x="62" y="290"/>
                    </a:lnTo>
                    <a:lnTo>
                      <a:pt x="64" y="293"/>
                    </a:lnTo>
                    <a:lnTo>
                      <a:pt x="65" y="295"/>
                    </a:lnTo>
                    <a:lnTo>
                      <a:pt x="68" y="296"/>
                    </a:lnTo>
                    <a:lnTo>
                      <a:pt x="68" y="295"/>
                    </a:lnTo>
                    <a:lnTo>
                      <a:pt x="68" y="293"/>
                    </a:lnTo>
                    <a:lnTo>
                      <a:pt x="69" y="295"/>
                    </a:lnTo>
                    <a:lnTo>
                      <a:pt x="71" y="295"/>
                    </a:lnTo>
                    <a:lnTo>
                      <a:pt x="70" y="296"/>
                    </a:lnTo>
                    <a:lnTo>
                      <a:pt x="74" y="300"/>
                    </a:lnTo>
                    <a:lnTo>
                      <a:pt x="76" y="301"/>
                    </a:lnTo>
                    <a:lnTo>
                      <a:pt x="77" y="301"/>
                    </a:lnTo>
                    <a:lnTo>
                      <a:pt x="79" y="303"/>
                    </a:lnTo>
                    <a:lnTo>
                      <a:pt x="76" y="306"/>
                    </a:lnTo>
                    <a:lnTo>
                      <a:pt x="76" y="309"/>
                    </a:lnTo>
                    <a:lnTo>
                      <a:pt x="79" y="316"/>
                    </a:lnTo>
                    <a:lnTo>
                      <a:pt x="84" y="315"/>
                    </a:lnTo>
                    <a:lnTo>
                      <a:pt x="85" y="313"/>
                    </a:lnTo>
                    <a:lnTo>
                      <a:pt x="86" y="313"/>
                    </a:lnTo>
                    <a:lnTo>
                      <a:pt x="88" y="312"/>
                    </a:lnTo>
                    <a:lnTo>
                      <a:pt x="88" y="311"/>
                    </a:lnTo>
                    <a:lnTo>
                      <a:pt x="90" y="312"/>
                    </a:lnTo>
                    <a:lnTo>
                      <a:pt x="91" y="311"/>
                    </a:lnTo>
                    <a:lnTo>
                      <a:pt x="89" y="311"/>
                    </a:lnTo>
                    <a:lnTo>
                      <a:pt x="89" y="309"/>
                    </a:lnTo>
                    <a:lnTo>
                      <a:pt x="93" y="310"/>
                    </a:lnTo>
                    <a:lnTo>
                      <a:pt x="94" y="310"/>
                    </a:lnTo>
                    <a:lnTo>
                      <a:pt x="96" y="309"/>
                    </a:lnTo>
                    <a:lnTo>
                      <a:pt x="97" y="308"/>
                    </a:lnTo>
                    <a:lnTo>
                      <a:pt x="98" y="309"/>
                    </a:lnTo>
                    <a:lnTo>
                      <a:pt x="99" y="309"/>
                    </a:lnTo>
                    <a:lnTo>
                      <a:pt x="98" y="306"/>
                    </a:lnTo>
                    <a:lnTo>
                      <a:pt x="98" y="305"/>
                    </a:lnTo>
                    <a:lnTo>
                      <a:pt x="99" y="301"/>
                    </a:lnTo>
                    <a:lnTo>
                      <a:pt x="100" y="301"/>
                    </a:lnTo>
                    <a:lnTo>
                      <a:pt x="104" y="299"/>
                    </a:lnTo>
                    <a:lnTo>
                      <a:pt x="105" y="299"/>
                    </a:lnTo>
                    <a:lnTo>
                      <a:pt x="106" y="300"/>
                    </a:lnTo>
                    <a:lnTo>
                      <a:pt x="107" y="299"/>
                    </a:lnTo>
                    <a:lnTo>
                      <a:pt x="107" y="301"/>
                    </a:lnTo>
                    <a:lnTo>
                      <a:pt x="108" y="302"/>
                    </a:lnTo>
                    <a:lnTo>
                      <a:pt x="110" y="301"/>
                    </a:lnTo>
                    <a:lnTo>
                      <a:pt x="110" y="299"/>
                    </a:lnTo>
                    <a:lnTo>
                      <a:pt x="111" y="299"/>
                    </a:lnTo>
                    <a:lnTo>
                      <a:pt x="113" y="299"/>
                    </a:lnTo>
                    <a:lnTo>
                      <a:pt x="112" y="297"/>
                    </a:lnTo>
                    <a:lnTo>
                      <a:pt x="112" y="295"/>
                    </a:lnTo>
                    <a:lnTo>
                      <a:pt x="113" y="295"/>
                    </a:lnTo>
                    <a:lnTo>
                      <a:pt x="116" y="297"/>
                    </a:lnTo>
                    <a:lnTo>
                      <a:pt x="115" y="302"/>
                    </a:lnTo>
                    <a:lnTo>
                      <a:pt x="117" y="302"/>
                    </a:lnTo>
                    <a:lnTo>
                      <a:pt x="117" y="304"/>
                    </a:lnTo>
                    <a:lnTo>
                      <a:pt x="118" y="304"/>
                    </a:lnTo>
                    <a:lnTo>
                      <a:pt x="118" y="303"/>
                    </a:lnTo>
                    <a:lnTo>
                      <a:pt x="120" y="304"/>
                    </a:lnTo>
                    <a:lnTo>
                      <a:pt x="120" y="305"/>
                    </a:lnTo>
                    <a:lnTo>
                      <a:pt x="121" y="304"/>
                    </a:lnTo>
                    <a:lnTo>
                      <a:pt x="120" y="304"/>
                    </a:lnTo>
                    <a:lnTo>
                      <a:pt x="120" y="301"/>
                    </a:lnTo>
                    <a:lnTo>
                      <a:pt x="120" y="303"/>
                    </a:lnTo>
                    <a:lnTo>
                      <a:pt x="121" y="302"/>
                    </a:lnTo>
                    <a:lnTo>
                      <a:pt x="121" y="303"/>
                    </a:lnTo>
                    <a:lnTo>
                      <a:pt x="123" y="303"/>
                    </a:lnTo>
                    <a:lnTo>
                      <a:pt x="123" y="304"/>
                    </a:lnTo>
                    <a:lnTo>
                      <a:pt x="125" y="303"/>
                    </a:lnTo>
                    <a:lnTo>
                      <a:pt x="127" y="304"/>
                    </a:lnTo>
                    <a:lnTo>
                      <a:pt x="128" y="303"/>
                    </a:lnTo>
                    <a:lnTo>
                      <a:pt x="128" y="304"/>
                    </a:lnTo>
                    <a:lnTo>
                      <a:pt x="128" y="305"/>
                    </a:lnTo>
                    <a:lnTo>
                      <a:pt x="129" y="305"/>
                    </a:lnTo>
                    <a:lnTo>
                      <a:pt x="131" y="306"/>
                    </a:lnTo>
                    <a:lnTo>
                      <a:pt x="131" y="305"/>
                    </a:lnTo>
                    <a:lnTo>
                      <a:pt x="133" y="306"/>
                    </a:lnTo>
                    <a:lnTo>
                      <a:pt x="133" y="303"/>
                    </a:lnTo>
                    <a:lnTo>
                      <a:pt x="134" y="304"/>
                    </a:lnTo>
                    <a:lnTo>
                      <a:pt x="134" y="305"/>
                    </a:lnTo>
                    <a:lnTo>
                      <a:pt x="138" y="307"/>
                    </a:lnTo>
                    <a:lnTo>
                      <a:pt x="138" y="308"/>
                    </a:lnTo>
                    <a:lnTo>
                      <a:pt x="140" y="309"/>
                    </a:lnTo>
                    <a:lnTo>
                      <a:pt x="140" y="310"/>
                    </a:lnTo>
                    <a:lnTo>
                      <a:pt x="141" y="311"/>
                    </a:lnTo>
                    <a:lnTo>
                      <a:pt x="142" y="310"/>
                    </a:lnTo>
                    <a:lnTo>
                      <a:pt x="144" y="311"/>
                    </a:lnTo>
                    <a:lnTo>
                      <a:pt x="145" y="310"/>
                    </a:lnTo>
                    <a:lnTo>
                      <a:pt x="145" y="309"/>
                    </a:lnTo>
                    <a:lnTo>
                      <a:pt x="147" y="306"/>
                    </a:lnTo>
                    <a:lnTo>
                      <a:pt x="148" y="306"/>
                    </a:lnTo>
                    <a:lnTo>
                      <a:pt x="149" y="305"/>
                    </a:lnTo>
                    <a:lnTo>
                      <a:pt x="150" y="306"/>
                    </a:lnTo>
                    <a:lnTo>
                      <a:pt x="151" y="306"/>
                    </a:lnTo>
                    <a:lnTo>
                      <a:pt x="153" y="306"/>
                    </a:lnTo>
                    <a:lnTo>
                      <a:pt x="154" y="309"/>
                    </a:lnTo>
                    <a:lnTo>
                      <a:pt x="156" y="305"/>
                    </a:lnTo>
                    <a:lnTo>
                      <a:pt x="157" y="306"/>
                    </a:lnTo>
                    <a:lnTo>
                      <a:pt x="158" y="306"/>
                    </a:lnTo>
                    <a:lnTo>
                      <a:pt x="159" y="305"/>
                    </a:lnTo>
                    <a:lnTo>
                      <a:pt x="160" y="300"/>
                    </a:lnTo>
                    <a:lnTo>
                      <a:pt x="159" y="299"/>
                    </a:lnTo>
                    <a:lnTo>
                      <a:pt x="159" y="296"/>
                    </a:lnTo>
                    <a:lnTo>
                      <a:pt x="161" y="296"/>
                    </a:lnTo>
                    <a:lnTo>
                      <a:pt x="161" y="295"/>
                    </a:lnTo>
                    <a:lnTo>
                      <a:pt x="163" y="295"/>
                    </a:lnTo>
                    <a:lnTo>
                      <a:pt x="164" y="293"/>
                    </a:lnTo>
                    <a:lnTo>
                      <a:pt x="167" y="295"/>
                    </a:lnTo>
                    <a:lnTo>
                      <a:pt x="168" y="292"/>
                    </a:lnTo>
                    <a:lnTo>
                      <a:pt x="170" y="291"/>
                    </a:lnTo>
                    <a:lnTo>
                      <a:pt x="172" y="293"/>
                    </a:lnTo>
                    <a:lnTo>
                      <a:pt x="173" y="295"/>
                    </a:lnTo>
                    <a:lnTo>
                      <a:pt x="177" y="295"/>
                    </a:lnTo>
                    <a:lnTo>
                      <a:pt x="177" y="296"/>
                    </a:lnTo>
                    <a:lnTo>
                      <a:pt x="176" y="298"/>
                    </a:lnTo>
                    <a:lnTo>
                      <a:pt x="178" y="299"/>
                    </a:lnTo>
                    <a:lnTo>
                      <a:pt x="176" y="303"/>
                    </a:lnTo>
                    <a:lnTo>
                      <a:pt x="175" y="306"/>
                    </a:lnTo>
                    <a:lnTo>
                      <a:pt x="176" y="309"/>
                    </a:lnTo>
                    <a:lnTo>
                      <a:pt x="178" y="310"/>
                    </a:lnTo>
                    <a:lnTo>
                      <a:pt x="178" y="311"/>
                    </a:lnTo>
                    <a:lnTo>
                      <a:pt x="179" y="311"/>
                    </a:lnTo>
                    <a:lnTo>
                      <a:pt x="183" y="312"/>
                    </a:lnTo>
                    <a:lnTo>
                      <a:pt x="183" y="314"/>
                    </a:lnTo>
                    <a:lnTo>
                      <a:pt x="185" y="313"/>
                    </a:lnTo>
                    <a:lnTo>
                      <a:pt x="185" y="312"/>
                    </a:lnTo>
                    <a:lnTo>
                      <a:pt x="188" y="310"/>
                    </a:lnTo>
                    <a:lnTo>
                      <a:pt x="189" y="306"/>
                    </a:lnTo>
                    <a:lnTo>
                      <a:pt x="194" y="307"/>
                    </a:lnTo>
                    <a:lnTo>
                      <a:pt x="198" y="308"/>
                    </a:lnTo>
                    <a:lnTo>
                      <a:pt x="199" y="301"/>
                    </a:lnTo>
                    <a:lnTo>
                      <a:pt x="207" y="301"/>
                    </a:lnTo>
                    <a:lnTo>
                      <a:pt x="208" y="301"/>
                    </a:lnTo>
                    <a:lnTo>
                      <a:pt x="208" y="298"/>
                    </a:lnTo>
                    <a:lnTo>
                      <a:pt x="210" y="299"/>
                    </a:lnTo>
                    <a:lnTo>
                      <a:pt x="214" y="304"/>
                    </a:lnTo>
                    <a:lnTo>
                      <a:pt x="216" y="302"/>
                    </a:lnTo>
                    <a:lnTo>
                      <a:pt x="216" y="304"/>
                    </a:lnTo>
                    <a:lnTo>
                      <a:pt x="218" y="304"/>
                    </a:lnTo>
                    <a:lnTo>
                      <a:pt x="219" y="306"/>
                    </a:lnTo>
                    <a:lnTo>
                      <a:pt x="227" y="306"/>
                    </a:lnTo>
                    <a:lnTo>
                      <a:pt x="226" y="312"/>
                    </a:lnTo>
                    <a:lnTo>
                      <a:pt x="231" y="314"/>
                    </a:lnTo>
                    <a:lnTo>
                      <a:pt x="231" y="318"/>
                    </a:lnTo>
                    <a:lnTo>
                      <a:pt x="230" y="328"/>
                    </a:lnTo>
                    <a:lnTo>
                      <a:pt x="242" y="330"/>
                    </a:lnTo>
                    <a:lnTo>
                      <a:pt x="244" y="331"/>
                    </a:lnTo>
                    <a:lnTo>
                      <a:pt x="246" y="339"/>
                    </a:lnTo>
                    <a:lnTo>
                      <a:pt x="246" y="342"/>
                    </a:lnTo>
                    <a:lnTo>
                      <a:pt x="246" y="343"/>
                    </a:lnTo>
                    <a:lnTo>
                      <a:pt x="247" y="343"/>
                    </a:lnTo>
                    <a:lnTo>
                      <a:pt x="250" y="344"/>
                    </a:lnTo>
                    <a:lnTo>
                      <a:pt x="251" y="345"/>
                    </a:lnTo>
                    <a:lnTo>
                      <a:pt x="252" y="345"/>
                    </a:lnTo>
                    <a:lnTo>
                      <a:pt x="253" y="346"/>
                    </a:lnTo>
                    <a:lnTo>
                      <a:pt x="255" y="345"/>
                    </a:lnTo>
                    <a:lnTo>
                      <a:pt x="259" y="348"/>
                    </a:lnTo>
                    <a:lnTo>
                      <a:pt x="259" y="353"/>
                    </a:lnTo>
                    <a:lnTo>
                      <a:pt x="262" y="356"/>
                    </a:lnTo>
                    <a:lnTo>
                      <a:pt x="263" y="356"/>
                    </a:lnTo>
                    <a:lnTo>
                      <a:pt x="263" y="355"/>
                    </a:lnTo>
                    <a:lnTo>
                      <a:pt x="265" y="354"/>
                    </a:lnTo>
                    <a:lnTo>
                      <a:pt x="267" y="358"/>
                    </a:lnTo>
                    <a:lnTo>
                      <a:pt x="268" y="358"/>
                    </a:lnTo>
                    <a:lnTo>
                      <a:pt x="269" y="359"/>
                    </a:lnTo>
                    <a:lnTo>
                      <a:pt x="270" y="358"/>
                    </a:lnTo>
                    <a:lnTo>
                      <a:pt x="270" y="359"/>
                    </a:lnTo>
                    <a:lnTo>
                      <a:pt x="271" y="359"/>
                    </a:lnTo>
                    <a:lnTo>
                      <a:pt x="273" y="363"/>
                    </a:lnTo>
                    <a:lnTo>
                      <a:pt x="275" y="365"/>
                    </a:lnTo>
                    <a:lnTo>
                      <a:pt x="275" y="366"/>
                    </a:lnTo>
                    <a:lnTo>
                      <a:pt x="275" y="367"/>
                    </a:lnTo>
                    <a:lnTo>
                      <a:pt x="276" y="369"/>
                    </a:lnTo>
                    <a:lnTo>
                      <a:pt x="277" y="369"/>
                    </a:lnTo>
                    <a:lnTo>
                      <a:pt x="279" y="369"/>
                    </a:lnTo>
                    <a:lnTo>
                      <a:pt x="280" y="367"/>
                    </a:lnTo>
                    <a:lnTo>
                      <a:pt x="283" y="368"/>
                    </a:lnTo>
                    <a:lnTo>
                      <a:pt x="284" y="367"/>
                    </a:lnTo>
                    <a:lnTo>
                      <a:pt x="285" y="369"/>
                    </a:lnTo>
                    <a:lnTo>
                      <a:pt x="289" y="367"/>
                    </a:lnTo>
                    <a:lnTo>
                      <a:pt x="289" y="366"/>
                    </a:lnTo>
                    <a:lnTo>
                      <a:pt x="290" y="365"/>
                    </a:lnTo>
                    <a:lnTo>
                      <a:pt x="289" y="363"/>
                    </a:lnTo>
                    <a:lnTo>
                      <a:pt x="290" y="363"/>
                    </a:lnTo>
                    <a:lnTo>
                      <a:pt x="290" y="364"/>
                    </a:lnTo>
                    <a:lnTo>
                      <a:pt x="292" y="364"/>
                    </a:lnTo>
                    <a:lnTo>
                      <a:pt x="292" y="365"/>
                    </a:lnTo>
                    <a:lnTo>
                      <a:pt x="290" y="367"/>
                    </a:lnTo>
                    <a:lnTo>
                      <a:pt x="290" y="369"/>
                    </a:lnTo>
                    <a:lnTo>
                      <a:pt x="295" y="369"/>
                    </a:lnTo>
                    <a:lnTo>
                      <a:pt x="296" y="369"/>
                    </a:lnTo>
                    <a:lnTo>
                      <a:pt x="297" y="369"/>
                    </a:lnTo>
                    <a:lnTo>
                      <a:pt x="298" y="368"/>
                    </a:lnTo>
                    <a:lnTo>
                      <a:pt x="300" y="369"/>
                    </a:lnTo>
                    <a:lnTo>
                      <a:pt x="300" y="367"/>
                    </a:lnTo>
                    <a:lnTo>
                      <a:pt x="302" y="368"/>
                    </a:lnTo>
                    <a:lnTo>
                      <a:pt x="303" y="367"/>
                    </a:lnTo>
                    <a:lnTo>
                      <a:pt x="304" y="369"/>
                    </a:lnTo>
                    <a:lnTo>
                      <a:pt x="306" y="370"/>
                    </a:lnTo>
                    <a:lnTo>
                      <a:pt x="313" y="374"/>
                    </a:lnTo>
                    <a:lnTo>
                      <a:pt x="313" y="369"/>
                    </a:lnTo>
                    <a:lnTo>
                      <a:pt x="312" y="369"/>
                    </a:lnTo>
                    <a:lnTo>
                      <a:pt x="311" y="366"/>
                    </a:lnTo>
                    <a:lnTo>
                      <a:pt x="309" y="365"/>
                    </a:lnTo>
                    <a:lnTo>
                      <a:pt x="309" y="363"/>
                    </a:lnTo>
                    <a:lnTo>
                      <a:pt x="310" y="363"/>
                    </a:lnTo>
                    <a:lnTo>
                      <a:pt x="311" y="362"/>
                    </a:lnTo>
                    <a:lnTo>
                      <a:pt x="310" y="360"/>
                    </a:lnTo>
                    <a:lnTo>
                      <a:pt x="312" y="360"/>
                    </a:lnTo>
                    <a:lnTo>
                      <a:pt x="314" y="361"/>
                    </a:lnTo>
                    <a:lnTo>
                      <a:pt x="316" y="360"/>
                    </a:lnTo>
                    <a:lnTo>
                      <a:pt x="318" y="360"/>
                    </a:lnTo>
                    <a:lnTo>
                      <a:pt x="319" y="358"/>
                    </a:lnTo>
                    <a:lnTo>
                      <a:pt x="321" y="357"/>
                    </a:lnTo>
                    <a:lnTo>
                      <a:pt x="319" y="355"/>
                    </a:lnTo>
                    <a:lnTo>
                      <a:pt x="318" y="353"/>
                    </a:lnTo>
                    <a:lnTo>
                      <a:pt x="317" y="354"/>
                    </a:lnTo>
                    <a:lnTo>
                      <a:pt x="317" y="351"/>
                    </a:lnTo>
                    <a:lnTo>
                      <a:pt x="319" y="348"/>
                    </a:lnTo>
                    <a:lnTo>
                      <a:pt x="321" y="348"/>
                    </a:lnTo>
                    <a:lnTo>
                      <a:pt x="321" y="346"/>
                    </a:lnTo>
                    <a:lnTo>
                      <a:pt x="323" y="346"/>
                    </a:lnTo>
                    <a:lnTo>
                      <a:pt x="327" y="346"/>
                    </a:lnTo>
                    <a:lnTo>
                      <a:pt x="333" y="340"/>
                    </a:lnTo>
                    <a:lnTo>
                      <a:pt x="335" y="340"/>
                    </a:lnTo>
                    <a:lnTo>
                      <a:pt x="336" y="340"/>
                    </a:lnTo>
                    <a:lnTo>
                      <a:pt x="337" y="341"/>
                    </a:lnTo>
                    <a:lnTo>
                      <a:pt x="337" y="340"/>
                    </a:lnTo>
                    <a:lnTo>
                      <a:pt x="338" y="340"/>
                    </a:lnTo>
                    <a:lnTo>
                      <a:pt x="338" y="339"/>
                    </a:lnTo>
                    <a:lnTo>
                      <a:pt x="339" y="339"/>
                    </a:lnTo>
                    <a:lnTo>
                      <a:pt x="340" y="338"/>
                    </a:lnTo>
                    <a:lnTo>
                      <a:pt x="342" y="340"/>
                    </a:lnTo>
                    <a:lnTo>
                      <a:pt x="343" y="339"/>
                    </a:lnTo>
                    <a:lnTo>
                      <a:pt x="343" y="337"/>
                    </a:lnTo>
                    <a:lnTo>
                      <a:pt x="342" y="337"/>
                    </a:lnTo>
                    <a:lnTo>
                      <a:pt x="345" y="336"/>
                    </a:lnTo>
                    <a:lnTo>
                      <a:pt x="345" y="335"/>
                    </a:lnTo>
                    <a:lnTo>
                      <a:pt x="345" y="336"/>
                    </a:lnTo>
                    <a:lnTo>
                      <a:pt x="349" y="336"/>
                    </a:lnTo>
                    <a:lnTo>
                      <a:pt x="349" y="337"/>
                    </a:lnTo>
                    <a:lnTo>
                      <a:pt x="350" y="335"/>
                    </a:lnTo>
                    <a:lnTo>
                      <a:pt x="351" y="335"/>
                    </a:lnTo>
                    <a:lnTo>
                      <a:pt x="352" y="333"/>
                    </a:lnTo>
                    <a:lnTo>
                      <a:pt x="355" y="333"/>
                    </a:lnTo>
                    <a:lnTo>
                      <a:pt x="357" y="331"/>
                    </a:lnTo>
                    <a:lnTo>
                      <a:pt x="358" y="322"/>
                    </a:lnTo>
                    <a:lnTo>
                      <a:pt x="360" y="320"/>
                    </a:lnTo>
                    <a:lnTo>
                      <a:pt x="363" y="320"/>
                    </a:lnTo>
                    <a:lnTo>
                      <a:pt x="365" y="322"/>
                    </a:lnTo>
                    <a:lnTo>
                      <a:pt x="366" y="322"/>
                    </a:lnTo>
                    <a:lnTo>
                      <a:pt x="369" y="323"/>
                    </a:lnTo>
                    <a:lnTo>
                      <a:pt x="369" y="328"/>
                    </a:lnTo>
                    <a:lnTo>
                      <a:pt x="371" y="327"/>
                    </a:lnTo>
                    <a:lnTo>
                      <a:pt x="372" y="329"/>
                    </a:lnTo>
                    <a:lnTo>
                      <a:pt x="373" y="330"/>
                    </a:lnTo>
                    <a:lnTo>
                      <a:pt x="374" y="329"/>
                    </a:lnTo>
                    <a:lnTo>
                      <a:pt x="381" y="335"/>
                    </a:lnTo>
                    <a:lnTo>
                      <a:pt x="382" y="335"/>
                    </a:lnTo>
                    <a:lnTo>
                      <a:pt x="383" y="335"/>
                    </a:lnTo>
                    <a:lnTo>
                      <a:pt x="385" y="334"/>
                    </a:lnTo>
                    <a:lnTo>
                      <a:pt x="386" y="333"/>
                    </a:lnTo>
                    <a:lnTo>
                      <a:pt x="385" y="331"/>
                    </a:lnTo>
                    <a:lnTo>
                      <a:pt x="386" y="32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4" name="Freeform 100">
                <a:extLst>
                  <a:ext uri="{FF2B5EF4-FFF2-40B4-BE49-F238E27FC236}">
                    <a16:creationId xmlns:a16="http://schemas.microsoft.com/office/drawing/2014/main" id="{FD676AE1-DAEA-4C5C-BEF1-29E4279976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7" y="2858"/>
                <a:ext cx="386" cy="374"/>
              </a:xfrm>
              <a:custGeom>
                <a:avLst/>
                <a:gdLst>
                  <a:gd name="T0" fmla="*/ 383 w 386"/>
                  <a:gd name="T1" fmla="*/ 303 h 374"/>
                  <a:gd name="T2" fmla="*/ 367 w 386"/>
                  <a:gd name="T3" fmla="*/ 276 h 374"/>
                  <a:gd name="T4" fmla="*/ 348 w 386"/>
                  <a:gd name="T5" fmla="*/ 244 h 374"/>
                  <a:gd name="T6" fmla="*/ 334 w 386"/>
                  <a:gd name="T7" fmla="*/ 216 h 374"/>
                  <a:gd name="T8" fmla="*/ 311 w 386"/>
                  <a:gd name="T9" fmla="*/ 206 h 374"/>
                  <a:gd name="T10" fmla="*/ 295 w 386"/>
                  <a:gd name="T11" fmla="*/ 185 h 374"/>
                  <a:gd name="T12" fmla="*/ 307 w 386"/>
                  <a:gd name="T13" fmla="*/ 174 h 374"/>
                  <a:gd name="T14" fmla="*/ 325 w 386"/>
                  <a:gd name="T15" fmla="*/ 164 h 374"/>
                  <a:gd name="T16" fmla="*/ 354 w 386"/>
                  <a:gd name="T17" fmla="*/ 146 h 374"/>
                  <a:gd name="T18" fmla="*/ 364 w 386"/>
                  <a:gd name="T19" fmla="*/ 111 h 374"/>
                  <a:gd name="T20" fmla="*/ 336 w 386"/>
                  <a:gd name="T21" fmla="*/ 82 h 374"/>
                  <a:gd name="T22" fmla="*/ 304 w 386"/>
                  <a:gd name="T23" fmla="*/ 92 h 374"/>
                  <a:gd name="T24" fmla="*/ 278 w 386"/>
                  <a:gd name="T25" fmla="*/ 79 h 374"/>
                  <a:gd name="T26" fmla="*/ 249 w 386"/>
                  <a:gd name="T27" fmla="*/ 95 h 374"/>
                  <a:gd name="T28" fmla="*/ 252 w 386"/>
                  <a:gd name="T29" fmla="*/ 63 h 374"/>
                  <a:gd name="T30" fmla="*/ 218 w 386"/>
                  <a:gd name="T31" fmla="*/ 56 h 374"/>
                  <a:gd name="T32" fmla="*/ 188 w 386"/>
                  <a:gd name="T33" fmla="*/ 27 h 374"/>
                  <a:gd name="T34" fmla="*/ 142 w 386"/>
                  <a:gd name="T35" fmla="*/ 3 h 374"/>
                  <a:gd name="T36" fmla="*/ 138 w 386"/>
                  <a:gd name="T37" fmla="*/ 47 h 374"/>
                  <a:gd name="T38" fmla="*/ 137 w 386"/>
                  <a:gd name="T39" fmla="*/ 97 h 374"/>
                  <a:gd name="T40" fmla="*/ 149 w 386"/>
                  <a:gd name="T41" fmla="*/ 122 h 374"/>
                  <a:gd name="T42" fmla="*/ 132 w 386"/>
                  <a:gd name="T43" fmla="*/ 119 h 374"/>
                  <a:gd name="T44" fmla="*/ 114 w 386"/>
                  <a:gd name="T45" fmla="*/ 111 h 374"/>
                  <a:gd name="T46" fmla="*/ 97 w 386"/>
                  <a:gd name="T47" fmla="*/ 116 h 374"/>
                  <a:gd name="T48" fmla="*/ 92 w 386"/>
                  <a:gd name="T49" fmla="*/ 134 h 374"/>
                  <a:gd name="T50" fmla="*/ 83 w 386"/>
                  <a:gd name="T51" fmla="*/ 130 h 374"/>
                  <a:gd name="T52" fmla="*/ 71 w 386"/>
                  <a:gd name="T53" fmla="*/ 117 h 374"/>
                  <a:gd name="T54" fmla="*/ 51 w 386"/>
                  <a:gd name="T55" fmla="*/ 110 h 374"/>
                  <a:gd name="T56" fmla="*/ 35 w 386"/>
                  <a:gd name="T57" fmla="*/ 118 h 374"/>
                  <a:gd name="T58" fmla="*/ 15 w 386"/>
                  <a:gd name="T59" fmla="*/ 109 h 374"/>
                  <a:gd name="T60" fmla="*/ 14 w 386"/>
                  <a:gd name="T61" fmla="*/ 129 h 374"/>
                  <a:gd name="T62" fmla="*/ 17 w 386"/>
                  <a:gd name="T63" fmla="*/ 145 h 374"/>
                  <a:gd name="T64" fmla="*/ 11 w 386"/>
                  <a:gd name="T65" fmla="*/ 164 h 374"/>
                  <a:gd name="T66" fmla="*/ 2 w 386"/>
                  <a:gd name="T67" fmla="*/ 175 h 374"/>
                  <a:gd name="T68" fmla="*/ 21 w 386"/>
                  <a:gd name="T69" fmla="*/ 193 h 374"/>
                  <a:gd name="T70" fmla="*/ 26 w 386"/>
                  <a:gd name="T71" fmla="*/ 205 h 374"/>
                  <a:gd name="T72" fmla="*/ 32 w 386"/>
                  <a:gd name="T73" fmla="*/ 219 h 374"/>
                  <a:gd name="T74" fmla="*/ 49 w 386"/>
                  <a:gd name="T75" fmla="*/ 225 h 374"/>
                  <a:gd name="T76" fmla="*/ 66 w 386"/>
                  <a:gd name="T77" fmla="*/ 223 h 374"/>
                  <a:gd name="T78" fmla="*/ 64 w 386"/>
                  <a:gd name="T79" fmla="*/ 242 h 374"/>
                  <a:gd name="T80" fmla="*/ 69 w 386"/>
                  <a:gd name="T81" fmla="*/ 267 h 374"/>
                  <a:gd name="T82" fmla="*/ 59 w 386"/>
                  <a:gd name="T83" fmla="*/ 278 h 374"/>
                  <a:gd name="T84" fmla="*/ 65 w 386"/>
                  <a:gd name="T85" fmla="*/ 295 h 374"/>
                  <a:gd name="T86" fmla="*/ 79 w 386"/>
                  <a:gd name="T87" fmla="*/ 316 h 374"/>
                  <a:gd name="T88" fmla="*/ 98 w 386"/>
                  <a:gd name="T89" fmla="*/ 309 h 374"/>
                  <a:gd name="T90" fmla="*/ 110 w 386"/>
                  <a:gd name="T91" fmla="*/ 299 h 374"/>
                  <a:gd name="T92" fmla="*/ 120 w 386"/>
                  <a:gd name="T93" fmla="*/ 305 h 374"/>
                  <a:gd name="T94" fmla="*/ 128 w 386"/>
                  <a:gd name="T95" fmla="*/ 303 h 374"/>
                  <a:gd name="T96" fmla="*/ 141 w 386"/>
                  <a:gd name="T97" fmla="*/ 311 h 374"/>
                  <a:gd name="T98" fmla="*/ 156 w 386"/>
                  <a:gd name="T99" fmla="*/ 305 h 374"/>
                  <a:gd name="T100" fmla="*/ 172 w 386"/>
                  <a:gd name="T101" fmla="*/ 293 h 374"/>
                  <a:gd name="T102" fmla="*/ 185 w 386"/>
                  <a:gd name="T103" fmla="*/ 312 h 374"/>
                  <a:gd name="T104" fmla="*/ 227 w 386"/>
                  <a:gd name="T105" fmla="*/ 306 h 374"/>
                  <a:gd name="T106" fmla="*/ 255 w 386"/>
                  <a:gd name="T107" fmla="*/ 345 h 374"/>
                  <a:gd name="T108" fmla="*/ 275 w 386"/>
                  <a:gd name="T109" fmla="*/ 365 h 374"/>
                  <a:gd name="T110" fmla="*/ 290 w 386"/>
                  <a:gd name="T111" fmla="*/ 363 h 374"/>
                  <a:gd name="T112" fmla="*/ 302 w 386"/>
                  <a:gd name="T113" fmla="*/ 368 h 374"/>
                  <a:gd name="T114" fmla="*/ 314 w 386"/>
                  <a:gd name="T115" fmla="*/ 361 h 374"/>
                  <a:gd name="T116" fmla="*/ 333 w 386"/>
                  <a:gd name="T117" fmla="*/ 340 h 374"/>
                  <a:gd name="T118" fmla="*/ 345 w 386"/>
                  <a:gd name="T119" fmla="*/ 335 h 374"/>
                  <a:gd name="T120" fmla="*/ 369 w 386"/>
                  <a:gd name="T121" fmla="*/ 323 h 37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86"/>
                  <a:gd name="T184" fmla="*/ 0 h 374"/>
                  <a:gd name="T185" fmla="*/ 386 w 386"/>
                  <a:gd name="T186" fmla="*/ 374 h 37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86" h="374">
                    <a:moveTo>
                      <a:pt x="386" y="329"/>
                    </a:moveTo>
                    <a:lnTo>
                      <a:pt x="385" y="328"/>
                    </a:lnTo>
                    <a:lnTo>
                      <a:pt x="385" y="326"/>
                    </a:lnTo>
                    <a:lnTo>
                      <a:pt x="381" y="323"/>
                    </a:lnTo>
                    <a:lnTo>
                      <a:pt x="380" y="320"/>
                    </a:lnTo>
                    <a:lnTo>
                      <a:pt x="380" y="319"/>
                    </a:lnTo>
                    <a:lnTo>
                      <a:pt x="382" y="316"/>
                    </a:lnTo>
                    <a:lnTo>
                      <a:pt x="381" y="314"/>
                    </a:lnTo>
                    <a:lnTo>
                      <a:pt x="380" y="313"/>
                    </a:lnTo>
                    <a:lnTo>
                      <a:pt x="381" y="312"/>
                    </a:lnTo>
                    <a:lnTo>
                      <a:pt x="380" y="309"/>
                    </a:lnTo>
                    <a:lnTo>
                      <a:pt x="381" y="306"/>
                    </a:lnTo>
                    <a:lnTo>
                      <a:pt x="381" y="305"/>
                    </a:lnTo>
                    <a:lnTo>
                      <a:pt x="382" y="304"/>
                    </a:lnTo>
                    <a:lnTo>
                      <a:pt x="383" y="303"/>
                    </a:lnTo>
                    <a:lnTo>
                      <a:pt x="382" y="299"/>
                    </a:lnTo>
                    <a:lnTo>
                      <a:pt x="381" y="299"/>
                    </a:lnTo>
                    <a:lnTo>
                      <a:pt x="382" y="296"/>
                    </a:lnTo>
                    <a:lnTo>
                      <a:pt x="380" y="295"/>
                    </a:lnTo>
                    <a:lnTo>
                      <a:pt x="380" y="292"/>
                    </a:lnTo>
                    <a:lnTo>
                      <a:pt x="378" y="289"/>
                    </a:lnTo>
                    <a:lnTo>
                      <a:pt x="378" y="288"/>
                    </a:lnTo>
                    <a:lnTo>
                      <a:pt x="375" y="288"/>
                    </a:lnTo>
                    <a:lnTo>
                      <a:pt x="373" y="287"/>
                    </a:lnTo>
                    <a:lnTo>
                      <a:pt x="371" y="282"/>
                    </a:lnTo>
                    <a:lnTo>
                      <a:pt x="372" y="280"/>
                    </a:lnTo>
                    <a:lnTo>
                      <a:pt x="370" y="279"/>
                    </a:lnTo>
                    <a:lnTo>
                      <a:pt x="370" y="276"/>
                    </a:lnTo>
                    <a:lnTo>
                      <a:pt x="369" y="276"/>
                    </a:lnTo>
                    <a:lnTo>
                      <a:pt x="367" y="276"/>
                    </a:lnTo>
                    <a:lnTo>
                      <a:pt x="366" y="275"/>
                    </a:lnTo>
                    <a:lnTo>
                      <a:pt x="366" y="274"/>
                    </a:lnTo>
                    <a:lnTo>
                      <a:pt x="366" y="272"/>
                    </a:lnTo>
                    <a:lnTo>
                      <a:pt x="363" y="270"/>
                    </a:lnTo>
                    <a:lnTo>
                      <a:pt x="363" y="268"/>
                    </a:lnTo>
                    <a:lnTo>
                      <a:pt x="360" y="262"/>
                    </a:lnTo>
                    <a:lnTo>
                      <a:pt x="361" y="261"/>
                    </a:lnTo>
                    <a:lnTo>
                      <a:pt x="360" y="259"/>
                    </a:lnTo>
                    <a:lnTo>
                      <a:pt x="360" y="258"/>
                    </a:lnTo>
                    <a:lnTo>
                      <a:pt x="357" y="254"/>
                    </a:lnTo>
                    <a:lnTo>
                      <a:pt x="355" y="249"/>
                    </a:lnTo>
                    <a:lnTo>
                      <a:pt x="354" y="248"/>
                    </a:lnTo>
                    <a:lnTo>
                      <a:pt x="354" y="245"/>
                    </a:lnTo>
                    <a:lnTo>
                      <a:pt x="353" y="244"/>
                    </a:lnTo>
                    <a:lnTo>
                      <a:pt x="348" y="244"/>
                    </a:lnTo>
                    <a:lnTo>
                      <a:pt x="347" y="243"/>
                    </a:lnTo>
                    <a:lnTo>
                      <a:pt x="346" y="244"/>
                    </a:lnTo>
                    <a:lnTo>
                      <a:pt x="345" y="245"/>
                    </a:lnTo>
                    <a:lnTo>
                      <a:pt x="344" y="245"/>
                    </a:lnTo>
                    <a:lnTo>
                      <a:pt x="340" y="240"/>
                    </a:lnTo>
                    <a:lnTo>
                      <a:pt x="339" y="233"/>
                    </a:lnTo>
                    <a:lnTo>
                      <a:pt x="336" y="229"/>
                    </a:lnTo>
                    <a:lnTo>
                      <a:pt x="336" y="228"/>
                    </a:lnTo>
                    <a:lnTo>
                      <a:pt x="337" y="226"/>
                    </a:lnTo>
                    <a:lnTo>
                      <a:pt x="337" y="223"/>
                    </a:lnTo>
                    <a:lnTo>
                      <a:pt x="338" y="222"/>
                    </a:lnTo>
                    <a:lnTo>
                      <a:pt x="337" y="219"/>
                    </a:lnTo>
                    <a:lnTo>
                      <a:pt x="337" y="217"/>
                    </a:lnTo>
                    <a:lnTo>
                      <a:pt x="336" y="215"/>
                    </a:lnTo>
                    <a:lnTo>
                      <a:pt x="334" y="216"/>
                    </a:lnTo>
                    <a:lnTo>
                      <a:pt x="333" y="215"/>
                    </a:lnTo>
                    <a:lnTo>
                      <a:pt x="331" y="215"/>
                    </a:lnTo>
                    <a:lnTo>
                      <a:pt x="327" y="214"/>
                    </a:lnTo>
                    <a:lnTo>
                      <a:pt x="325" y="214"/>
                    </a:lnTo>
                    <a:lnTo>
                      <a:pt x="322" y="212"/>
                    </a:lnTo>
                    <a:lnTo>
                      <a:pt x="320" y="213"/>
                    </a:lnTo>
                    <a:lnTo>
                      <a:pt x="318" y="216"/>
                    </a:lnTo>
                    <a:lnTo>
                      <a:pt x="318" y="217"/>
                    </a:lnTo>
                    <a:lnTo>
                      <a:pt x="316" y="219"/>
                    </a:lnTo>
                    <a:lnTo>
                      <a:pt x="314" y="219"/>
                    </a:lnTo>
                    <a:lnTo>
                      <a:pt x="314" y="214"/>
                    </a:lnTo>
                    <a:lnTo>
                      <a:pt x="311" y="211"/>
                    </a:lnTo>
                    <a:lnTo>
                      <a:pt x="312" y="210"/>
                    </a:lnTo>
                    <a:lnTo>
                      <a:pt x="311" y="206"/>
                    </a:lnTo>
                    <a:lnTo>
                      <a:pt x="311" y="205"/>
                    </a:lnTo>
                    <a:lnTo>
                      <a:pt x="307" y="205"/>
                    </a:lnTo>
                    <a:lnTo>
                      <a:pt x="307" y="204"/>
                    </a:lnTo>
                    <a:lnTo>
                      <a:pt x="309" y="200"/>
                    </a:lnTo>
                    <a:lnTo>
                      <a:pt x="308" y="200"/>
                    </a:lnTo>
                    <a:lnTo>
                      <a:pt x="306" y="198"/>
                    </a:lnTo>
                    <a:lnTo>
                      <a:pt x="306" y="196"/>
                    </a:lnTo>
                    <a:lnTo>
                      <a:pt x="304" y="195"/>
                    </a:lnTo>
                    <a:lnTo>
                      <a:pt x="301" y="198"/>
                    </a:lnTo>
                    <a:lnTo>
                      <a:pt x="298" y="196"/>
                    </a:lnTo>
                    <a:lnTo>
                      <a:pt x="299" y="194"/>
                    </a:lnTo>
                    <a:lnTo>
                      <a:pt x="298" y="188"/>
                    </a:lnTo>
                    <a:lnTo>
                      <a:pt x="296" y="187"/>
                    </a:lnTo>
                    <a:lnTo>
                      <a:pt x="295" y="187"/>
                    </a:lnTo>
                    <a:lnTo>
                      <a:pt x="295" y="185"/>
                    </a:lnTo>
                    <a:lnTo>
                      <a:pt x="295" y="184"/>
                    </a:lnTo>
                    <a:lnTo>
                      <a:pt x="296" y="181"/>
                    </a:lnTo>
                    <a:lnTo>
                      <a:pt x="298" y="179"/>
                    </a:lnTo>
                    <a:lnTo>
                      <a:pt x="300" y="177"/>
                    </a:lnTo>
                    <a:lnTo>
                      <a:pt x="302" y="177"/>
                    </a:lnTo>
                    <a:lnTo>
                      <a:pt x="302" y="179"/>
                    </a:lnTo>
                    <a:lnTo>
                      <a:pt x="303" y="181"/>
                    </a:lnTo>
                    <a:lnTo>
                      <a:pt x="305" y="181"/>
                    </a:lnTo>
                    <a:lnTo>
                      <a:pt x="306" y="179"/>
                    </a:lnTo>
                    <a:lnTo>
                      <a:pt x="305" y="176"/>
                    </a:lnTo>
                    <a:lnTo>
                      <a:pt x="304" y="175"/>
                    </a:lnTo>
                    <a:lnTo>
                      <a:pt x="303" y="174"/>
                    </a:lnTo>
                    <a:lnTo>
                      <a:pt x="304" y="174"/>
                    </a:lnTo>
                    <a:lnTo>
                      <a:pt x="307" y="174"/>
                    </a:lnTo>
                    <a:lnTo>
                      <a:pt x="306" y="171"/>
                    </a:lnTo>
                    <a:lnTo>
                      <a:pt x="309" y="172"/>
                    </a:lnTo>
                    <a:lnTo>
                      <a:pt x="312" y="171"/>
                    </a:lnTo>
                    <a:lnTo>
                      <a:pt x="311" y="168"/>
                    </a:lnTo>
                    <a:lnTo>
                      <a:pt x="314" y="166"/>
                    </a:lnTo>
                    <a:lnTo>
                      <a:pt x="316" y="166"/>
                    </a:lnTo>
                    <a:lnTo>
                      <a:pt x="317" y="167"/>
                    </a:lnTo>
                    <a:lnTo>
                      <a:pt x="318" y="167"/>
                    </a:lnTo>
                    <a:lnTo>
                      <a:pt x="317" y="164"/>
                    </a:lnTo>
                    <a:lnTo>
                      <a:pt x="318" y="165"/>
                    </a:lnTo>
                    <a:lnTo>
                      <a:pt x="320" y="166"/>
                    </a:lnTo>
                    <a:lnTo>
                      <a:pt x="322" y="166"/>
                    </a:lnTo>
                    <a:lnTo>
                      <a:pt x="323" y="167"/>
                    </a:lnTo>
                    <a:lnTo>
                      <a:pt x="325" y="164"/>
                    </a:lnTo>
                    <a:lnTo>
                      <a:pt x="325" y="162"/>
                    </a:lnTo>
                    <a:lnTo>
                      <a:pt x="328" y="161"/>
                    </a:lnTo>
                    <a:lnTo>
                      <a:pt x="328" y="160"/>
                    </a:lnTo>
                    <a:lnTo>
                      <a:pt x="328" y="156"/>
                    </a:lnTo>
                    <a:lnTo>
                      <a:pt x="328" y="155"/>
                    </a:lnTo>
                    <a:lnTo>
                      <a:pt x="331" y="155"/>
                    </a:lnTo>
                    <a:lnTo>
                      <a:pt x="332" y="155"/>
                    </a:lnTo>
                    <a:lnTo>
                      <a:pt x="334" y="156"/>
                    </a:lnTo>
                    <a:lnTo>
                      <a:pt x="335" y="158"/>
                    </a:lnTo>
                    <a:lnTo>
                      <a:pt x="337" y="160"/>
                    </a:lnTo>
                    <a:lnTo>
                      <a:pt x="342" y="159"/>
                    </a:lnTo>
                    <a:lnTo>
                      <a:pt x="346" y="152"/>
                    </a:lnTo>
                    <a:lnTo>
                      <a:pt x="350" y="150"/>
                    </a:lnTo>
                    <a:lnTo>
                      <a:pt x="354" y="147"/>
                    </a:lnTo>
                    <a:lnTo>
                      <a:pt x="354" y="146"/>
                    </a:lnTo>
                    <a:lnTo>
                      <a:pt x="353" y="145"/>
                    </a:lnTo>
                    <a:lnTo>
                      <a:pt x="354" y="145"/>
                    </a:lnTo>
                    <a:lnTo>
                      <a:pt x="351" y="140"/>
                    </a:lnTo>
                    <a:lnTo>
                      <a:pt x="353" y="140"/>
                    </a:lnTo>
                    <a:lnTo>
                      <a:pt x="358" y="138"/>
                    </a:lnTo>
                    <a:lnTo>
                      <a:pt x="358" y="134"/>
                    </a:lnTo>
                    <a:lnTo>
                      <a:pt x="357" y="130"/>
                    </a:lnTo>
                    <a:lnTo>
                      <a:pt x="357" y="129"/>
                    </a:lnTo>
                    <a:lnTo>
                      <a:pt x="361" y="129"/>
                    </a:lnTo>
                    <a:lnTo>
                      <a:pt x="363" y="129"/>
                    </a:lnTo>
                    <a:lnTo>
                      <a:pt x="368" y="125"/>
                    </a:lnTo>
                    <a:lnTo>
                      <a:pt x="368" y="122"/>
                    </a:lnTo>
                    <a:lnTo>
                      <a:pt x="368" y="119"/>
                    </a:lnTo>
                    <a:lnTo>
                      <a:pt x="365" y="115"/>
                    </a:lnTo>
                    <a:lnTo>
                      <a:pt x="364" y="111"/>
                    </a:lnTo>
                    <a:lnTo>
                      <a:pt x="361" y="109"/>
                    </a:lnTo>
                    <a:lnTo>
                      <a:pt x="360" y="106"/>
                    </a:lnTo>
                    <a:lnTo>
                      <a:pt x="357" y="105"/>
                    </a:lnTo>
                    <a:lnTo>
                      <a:pt x="353" y="98"/>
                    </a:lnTo>
                    <a:lnTo>
                      <a:pt x="353" y="96"/>
                    </a:lnTo>
                    <a:lnTo>
                      <a:pt x="352" y="96"/>
                    </a:lnTo>
                    <a:lnTo>
                      <a:pt x="351" y="94"/>
                    </a:lnTo>
                    <a:lnTo>
                      <a:pt x="350" y="90"/>
                    </a:lnTo>
                    <a:lnTo>
                      <a:pt x="347" y="90"/>
                    </a:lnTo>
                    <a:lnTo>
                      <a:pt x="347" y="88"/>
                    </a:lnTo>
                    <a:lnTo>
                      <a:pt x="345" y="82"/>
                    </a:lnTo>
                    <a:lnTo>
                      <a:pt x="340" y="80"/>
                    </a:lnTo>
                    <a:lnTo>
                      <a:pt x="337" y="80"/>
                    </a:lnTo>
                    <a:lnTo>
                      <a:pt x="336" y="82"/>
                    </a:lnTo>
                    <a:lnTo>
                      <a:pt x="333" y="82"/>
                    </a:lnTo>
                    <a:lnTo>
                      <a:pt x="328" y="81"/>
                    </a:lnTo>
                    <a:lnTo>
                      <a:pt x="328" y="77"/>
                    </a:lnTo>
                    <a:lnTo>
                      <a:pt x="327" y="77"/>
                    </a:lnTo>
                    <a:lnTo>
                      <a:pt x="324" y="77"/>
                    </a:lnTo>
                    <a:lnTo>
                      <a:pt x="322" y="77"/>
                    </a:lnTo>
                    <a:lnTo>
                      <a:pt x="317" y="75"/>
                    </a:lnTo>
                    <a:lnTo>
                      <a:pt x="316" y="75"/>
                    </a:lnTo>
                    <a:lnTo>
                      <a:pt x="311" y="84"/>
                    </a:lnTo>
                    <a:lnTo>
                      <a:pt x="311" y="89"/>
                    </a:lnTo>
                    <a:lnTo>
                      <a:pt x="311" y="91"/>
                    </a:lnTo>
                    <a:lnTo>
                      <a:pt x="310" y="92"/>
                    </a:lnTo>
                    <a:lnTo>
                      <a:pt x="304" y="92"/>
                    </a:lnTo>
                    <a:lnTo>
                      <a:pt x="301" y="94"/>
                    </a:lnTo>
                    <a:lnTo>
                      <a:pt x="300" y="92"/>
                    </a:lnTo>
                    <a:lnTo>
                      <a:pt x="300" y="88"/>
                    </a:lnTo>
                    <a:lnTo>
                      <a:pt x="298" y="85"/>
                    </a:lnTo>
                    <a:lnTo>
                      <a:pt x="293" y="80"/>
                    </a:lnTo>
                    <a:lnTo>
                      <a:pt x="290" y="81"/>
                    </a:lnTo>
                    <a:lnTo>
                      <a:pt x="289" y="78"/>
                    </a:lnTo>
                    <a:lnTo>
                      <a:pt x="288" y="77"/>
                    </a:lnTo>
                    <a:lnTo>
                      <a:pt x="287" y="76"/>
                    </a:lnTo>
                    <a:lnTo>
                      <a:pt x="284" y="76"/>
                    </a:lnTo>
                    <a:lnTo>
                      <a:pt x="283" y="75"/>
                    </a:lnTo>
                    <a:lnTo>
                      <a:pt x="280" y="75"/>
                    </a:lnTo>
                    <a:lnTo>
                      <a:pt x="279" y="78"/>
                    </a:lnTo>
                    <a:lnTo>
                      <a:pt x="278" y="79"/>
                    </a:lnTo>
                    <a:lnTo>
                      <a:pt x="276" y="79"/>
                    </a:lnTo>
                    <a:lnTo>
                      <a:pt x="276" y="81"/>
                    </a:lnTo>
                    <a:lnTo>
                      <a:pt x="272" y="84"/>
                    </a:lnTo>
                    <a:lnTo>
                      <a:pt x="270" y="84"/>
                    </a:lnTo>
                    <a:lnTo>
                      <a:pt x="270" y="85"/>
                    </a:lnTo>
                    <a:lnTo>
                      <a:pt x="268" y="87"/>
                    </a:lnTo>
                    <a:lnTo>
                      <a:pt x="267" y="94"/>
                    </a:lnTo>
                    <a:lnTo>
                      <a:pt x="267" y="96"/>
                    </a:lnTo>
                    <a:lnTo>
                      <a:pt x="266" y="97"/>
                    </a:lnTo>
                    <a:lnTo>
                      <a:pt x="262" y="95"/>
                    </a:lnTo>
                    <a:lnTo>
                      <a:pt x="257" y="102"/>
                    </a:lnTo>
                    <a:lnTo>
                      <a:pt x="255" y="99"/>
                    </a:lnTo>
                    <a:lnTo>
                      <a:pt x="255" y="98"/>
                    </a:lnTo>
                    <a:lnTo>
                      <a:pt x="253" y="98"/>
                    </a:lnTo>
                    <a:lnTo>
                      <a:pt x="249" y="95"/>
                    </a:lnTo>
                    <a:lnTo>
                      <a:pt x="248" y="94"/>
                    </a:lnTo>
                    <a:lnTo>
                      <a:pt x="248" y="92"/>
                    </a:lnTo>
                    <a:lnTo>
                      <a:pt x="251" y="90"/>
                    </a:lnTo>
                    <a:lnTo>
                      <a:pt x="254" y="89"/>
                    </a:lnTo>
                    <a:lnTo>
                      <a:pt x="258" y="86"/>
                    </a:lnTo>
                    <a:lnTo>
                      <a:pt x="257" y="85"/>
                    </a:lnTo>
                    <a:lnTo>
                      <a:pt x="254" y="84"/>
                    </a:lnTo>
                    <a:lnTo>
                      <a:pt x="254" y="80"/>
                    </a:lnTo>
                    <a:lnTo>
                      <a:pt x="253" y="79"/>
                    </a:lnTo>
                    <a:lnTo>
                      <a:pt x="254" y="77"/>
                    </a:lnTo>
                    <a:lnTo>
                      <a:pt x="254" y="72"/>
                    </a:lnTo>
                    <a:lnTo>
                      <a:pt x="254" y="69"/>
                    </a:lnTo>
                    <a:lnTo>
                      <a:pt x="254" y="66"/>
                    </a:lnTo>
                    <a:lnTo>
                      <a:pt x="253" y="65"/>
                    </a:lnTo>
                    <a:lnTo>
                      <a:pt x="252" y="63"/>
                    </a:lnTo>
                    <a:lnTo>
                      <a:pt x="252" y="61"/>
                    </a:lnTo>
                    <a:lnTo>
                      <a:pt x="252" y="60"/>
                    </a:lnTo>
                    <a:lnTo>
                      <a:pt x="246" y="56"/>
                    </a:lnTo>
                    <a:lnTo>
                      <a:pt x="242" y="56"/>
                    </a:lnTo>
                    <a:lnTo>
                      <a:pt x="241" y="56"/>
                    </a:lnTo>
                    <a:lnTo>
                      <a:pt x="239" y="58"/>
                    </a:lnTo>
                    <a:lnTo>
                      <a:pt x="237" y="57"/>
                    </a:lnTo>
                    <a:lnTo>
                      <a:pt x="235" y="59"/>
                    </a:lnTo>
                    <a:lnTo>
                      <a:pt x="233" y="58"/>
                    </a:lnTo>
                    <a:lnTo>
                      <a:pt x="230" y="59"/>
                    </a:lnTo>
                    <a:lnTo>
                      <a:pt x="224" y="61"/>
                    </a:lnTo>
                    <a:lnTo>
                      <a:pt x="223" y="63"/>
                    </a:lnTo>
                    <a:lnTo>
                      <a:pt x="218" y="60"/>
                    </a:lnTo>
                    <a:lnTo>
                      <a:pt x="218" y="58"/>
                    </a:lnTo>
                    <a:lnTo>
                      <a:pt x="218" y="56"/>
                    </a:lnTo>
                    <a:lnTo>
                      <a:pt x="218" y="50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5" y="43"/>
                    </a:lnTo>
                    <a:lnTo>
                      <a:pt x="213" y="38"/>
                    </a:lnTo>
                    <a:lnTo>
                      <a:pt x="211" y="35"/>
                    </a:lnTo>
                    <a:lnTo>
                      <a:pt x="213" y="27"/>
                    </a:lnTo>
                    <a:lnTo>
                      <a:pt x="210" y="24"/>
                    </a:lnTo>
                    <a:lnTo>
                      <a:pt x="210" y="21"/>
                    </a:lnTo>
                    <a:lnTo>
                      <a:pt x="202" y="22"/>
                    </a:lnTo>
                    <a:lnTo>
                      <a:pt x="202" y="24"/>
                    </a:lnTo>
                    <a:lnTo>
                      <a:pt x="199" y="26"/>
                    </a:lnTo>
                    <a:lnTo>
                      <a:pt x="194" y="24"/>
                    </a:lnTo>
                    <a:lnTo>
                      <a:pt x="190" y="26"/>
                    </a:lnTo>
                    <a:lnTo>
                      <a:pt x="188" y="27"/>
                    </a:lnTo>
                    <a:lnTo>
                      <a:pt x="187" y="27"/>
                    </a:lnTo>
                    <a:lnTo>
                      <a:pt x="183" y="24"/>
                    </a:lnTo>
                    <a:lnTo>
                      <a:pt x="179" y="25"/>
                    </a:lnTo>
                    <a:lnTo>
                      <a:pt x="177" y="24"/>
                    </a:lnTo>
                    <a:lnTo>
                      <a:pt x="175" y="22"/>
                    </a:lnTo>
                    <a:lnTo>
                      <a:pt x="174" y="18"/>
                    </a:lnTo>
                    <a:lnTo>
                      <a:pt x="173" y="17"/>
                    </a:lnTo>
                    <a:lnTo>
                      <a:pt x="170" y="15"/>
                    </a:lnTo>
                    <a:lnTo>
                      <a:pt x="168" y="13"/>
                    </a:lnTo>
                    <a:lnTo>
                      <a:pt x="165" y="13"/>
                    </a:lnTo>
                    <a:lnTo>
                      <a:pt x="158" y="10"/>
                    </a:lnTo>
                    <a:lnTo>
                      <a:pt x="157" y="5"/>
                    </a:lnTo>
                    <a:lnTo>
                      <a:pt x="154" y="3"/>
                    </a:lnTo>
                    <a:lnTo>
                      <a:pt x="147" y="1"/>
                    </a:lnTo>
                    <a:lnTo>
                      <a:pt x="142" y="3"/>
                    </a:lnTo>
                    <a:lnTo>
                      <a:pt x="140" y="0"/>
                    </a:lnTo>
                    <a:lnTo>
                      <a:pt x="136" y="0"/>
                    </a:lnTo>
                    <a:lnTo>
                      <a:pt x="136" y="6"/>
                    </a:lnTo>
                    <a:lnTo>
                      <a:pt x="136" y="9"/>
                    </a:lnTo>
                    <a:lnTo>
                      <a:pt x="137" y="12"/>
                    </a:lnTo>
                    <a:lnTo>
                      <a:pt x="142" y="17"/>
                    </a:lnTo>
                    <a:lnTo>
                      <a:pt x="144" y="22"/>
                    </a:lnTo>
                    <a:lnTo>
                      <a:pt x="142" y="25"/>
                    </a:lnTo>
                    <a:lnTo>
                      <a:pt x="139" y="30"/>
                    </a:lnTo>
                    <a:lnTo>
                      <a:pt x="138" y="31"/>
                    </a:lnTo>
                    <a:lnTo>
                      <a:pt x="141" y="34"/>
                    </a:lnTo>
                    <a:lnTo>
                      <a:pt x="139" y="39"/>
                    </a:lnTo>
                    <a:lnTo>
                      <a:pt x="140" y="41"/>
                    </a:lnTo>
                    <a:lnTo>
                      <a:pt x="138" y="44"/>
                    </a:lnTo>
                    <a:lnTo>
                      <a:pt x="138" y="47"/>
                    </a:lnTo>
                    <a:lnTo>
                      <a:pt x="139" y="47"/>
                    </a:lnTo>
                    <a:lnTo>
                      <a:pt x="140" y="58"/>
                    </a:lnTo>
                    <a:lnTo>
                      <a:pt x="142" y="60"/>
                    </a:lnTo>
                    <a:lnTo>
                      <a:pt x="139" y="63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41" y="71"/>
                    </a:lnTo>
                    <a:lnTo>
                      <a:pt x="142" y="74"/>
                    </a:lnTo>
                    <a:lnTo>
                      <a:pt x="142" y="77"/>
                    </a:lnTo>
                    <a:lnTo>
                      <a:pt x="145" y="79"/>
                    </a:lnTo>
                    <a:lnTo>
                      <a:pt x="142" y="81"/>
                    </a:lnTo>
                    <a:lnTo>
                      <a:pt x="139" y="85"/>
                    </a:lnTo>
                    <a:lnTo>
                      <a:pt x="140" y="87"/>
                    </a:lnTo>
                    <a:lnTo>
                      <a:pt x="135" y="94"/>
                    </a:lnTo>
                    <a:lnTo>
                      <a:pt x="137" y="97"/>
                    </a:lnTo>
                    <a:lnTo>
                      <a:pt x="141" y="98"/>
                    </a:lnTo>
                    <a:lnTo>
                      <a:pt x="140" y="99"/>
                    </a:lnTo>
                    <a:lnTo>
                      <a:pt x="138" y="100"/>
                    </a:lnTo>
                    <a:lnTo>
                      <a:pt x="142" y="105"/>
                    </a:lnTo>
                    <a:lnTo>
                      <a:pt x="140" y="105"/>
                    </a:lnTo>
                    <a:lnTo>
                      <a:pt x="142" y="106"/>
                    </a:lnTo>
                    <a:lnTo>
                      <a:pt x="143" y="109"/>
                    </a:lnTo>
                    <a:lnTo>
                      <a:pt x="145" y="111"/>
                    </a:lnTo>
                    <a:lnTo>
                      <a:pt x="145" y="112"/>
                    </a:lnTo>
                    <a:lnTo>
                      <a:pt x="146" y="113"/>
                    </a:lnTo>
                    <a:lnTo>
                      <a:pt x="147" y="116"/>
                    </a:lnTo>
                    <a:lnTo>
                      <a:pt x="148" y="116"/>
                    </a:lnTo>
                    <a:lnTo>
                      <a:pt x="148" y="119"/>
                    </a:lnTo>
                    <a:lnTo>
                      <a:pt x="149" y="122"/>
                    </a:lnTo>
                    <a:lnTo>
                      <a:pt x="149" y="123"/>
                    </a:lnTo>
                    <a:lnTo>
                      <a:pt x="140" y="123"/>
                    </a:lnTo>
                    <a:lnTo>
                      <a:pt x="138" y="124"/>
                    </a:lnTo>
                    <a:lnTo>
                      <a:pt x="137" y="125"/>
                    </a:lnTo>
                    <a:lnTo>
                      <a:pt x="137" y="122"/>
                    </a:lnTo>
                    <a:lnTo>
                      <a:pt x="136" y="124"/>
                    </a:lnTo>
                    <a:lnTo>
                      <a:pt x="136" y="125"/>
                    </a:lnTo>
                    <a:lnTo>
                      <a:pt x="135" y="125"/>
                    </a:lnTo>
                    <a:lnTo>
                      <a:pt x="135" y="121"/>
                    </a:lnTo>
                    <a:lnTo>
                      <a:pt x="134" y="121"/>
                    </a:lnTo>
                    <a:lnTo>
                      <a:pt x="134" y="122"/>
                    </a:lnTo>
                    <a:lnTo>
                      <a:pt x="133" y="121"/>
                    </a:lnTo>
                    <a:lnTo>
                      <a:pt x="133" y="120"/>
                    </a:lnTo>
                    <a:lnTo>
                      <a:pt x="132" y="120"/>
                    </a:lnTo>
                    <a:lnTo>
                      <a:pt x="132" y="119"/>
                    </a:lnTo>
                    <a:lnTo>
                      <a:pt x="131" y="119"/>
                    </a:lnTo>
                    <a:lnTo>
                      <a:pt x="129" y="120"/>
                    </a:lnTo>
                    <a:lnTo>
                      <a:pt x="128" y="120"/>
                    </a:lnTo>
                    <a:lnTo>
                      <a:pt x="126" y="121"/>
                    </a:lnTo>
                    <a:lnTo>
                      <a:pt x="125" y="120"/>
                    </a:lnTo>
                    <a:lnTo>
                      <a:pt x="125" y="124"/>
                    </a:lnTo>
                    <a:lnTo>
                      <a:pt x="122" y="124"/>
                    </a:lnTo>
                    <a:lnTo>
                      <a:pt x="121" y="122"/>
                    </a:lnTo>
                    <a:lnTo>
                      <a:pt x="120" y="122"/>
                    </a:lnTo>
                    <a:lnTo>
                      <a:pt x="119" y="121"/>
                    </a:lnTo>
                    <a:lnTo>
                      <a:pt x="117" y="121"/>
                    </a:lnTo>
                    <a:lnTo>
                      <a:pt x="117" y="119"/>
                    </a:lnTo>
                    <a:lnTo>
                      <a:pt x="113" y="113"/>
                    </a:lnTo>
                    <a:lnTo>
                      <a:pt x="113" y="111"/>
                    </a:lnTo>
                    <a:lnTo>
                      <a:pt x="114" y="111"/>
                    </a:lnTo>
                    <a:lnTo>
                      <a:pt x="114" y="110"/>
                    </a:lnTo>
                    <a:lnTo>
                      <a:pt x="113" y="109"/>
                    </a:lnTo>
                    <a:lnTo>
                      <a:pt x="109" y="106"/>
                    </a:lnTo>
                    <a:lnTo>
                      <a:pt x="109" y="108"/>
                    </a:lnTo>
                    <a:lnTo>
                      <a:pt x="108" y="109"/>
                    </a:lnTo>
                    <a:lnTo>
                      <a:pt x="109" y="111"/>
                    </a:lnTo>
                    <a:lnTo>
                      <a:pt x="109" y="113"/>
                    </a:lnTo>
                    <a:lnTo>
                      <a:pt x="108" y="113"/>
                    </a:lnTo>
                    <a:lnTo>
                      <a:pt x="107" y="113"/>
                    </a:lnTo>
                    <a:lnTo>
                      <a:pt x="105" y="111"/>
                    </a:lnTo>
                    <a:lnTo>
                      <a:pt x="104" y="116"/>
                    </a:lnTo>
                    <a:lnTo>
                      <a:pt x="101" y="116"/>
                    </a:lnTo>
                    <a:lnTo>
                      <a:pt x="97" y="116"/>
                    </a:lnTo>
                    <a:lnTo>
                      <a:pt x="96" y="119"/>
                    </a:lnTo>
                    <a:lnTo>
                      <a:pt x="97" y="121"/>
                    </a:lnTo>
                    <a:lnTo>
                      <a:pt x="97" y="125"/>
                    </a:lnTo>
                    <a:lnTo>
                      <a:pt x="100" y="127"/>
                    </a:lnTo>
                    <a:lnTo>
                      <a:pt x="99" y="129"/>
                    </a:lnTo>
                    <a:lnTo>
                      <a:pt x="97" y="129"/>
                    </a:lnTo>
                    <a:lnTo>
                      <a:pt x="98" y="130"/>
                    </a:lnTo>
                    <a:lnTo>
                      <a:pt x="96" y="132"/>
                    </a:lnTo>
                    <a:lnTo>
                      <a:pt x="96" y="133"/>
                    </a:lnTo>
                    <a:lnTo>
                      <a:pt x="94" y="133"/>
                    </a:lnTo>
                    <a:lnTo>
                      <a:pt x="93" y="130"/>
                    </a:lnTo>
                    <a:lnTo>
                      <a:pt x="92" y="131"/>
                    </a:lnTo>
                    <a:lnTo>
                      <a:pt x="91" y="132"/>
                    </a:lnTo>
                    <a:lnTo>
                      <a:pt x="92" y="134"/>
                    </a:lnTo>
                    <a:lnTo>
                      <a:pt x="92" y="135"/>
                    </a:lnTo>
                    <a:lnTo>
                      <a:pt x="91" y="134"/>
                    </a:lnTo>
                    <a:lnTo>
                      <a:pt x="91" y="135"/>
                    </a:lnTo>
                    <a:lnTo>
                      <a:pt x="89" y="133"/>
                    </a:lnTo>
                    <a:lnTo>
                      <a:pt x="88" y="135"/>
                    </a:lnTo>
                    <a:lnTo>
                      <a:pt x="87" y="134"/>
                    </a:lnTo>
                    <a:lnTo>
                      <a:pt x="85" y="135"/>
                    </a:lnTo>
                    <a:lnTo>
                      <a:pt x="82" y="134"/>
                    </a:lnTo>
                    <a:lnTo>
                      <a:pt x="82" y="132"/>
                    </a:lnTo>
                    <a:lnTo>
                      <a:pt x="81" y="132"/>
                    </a:lnTo>
                    <a:lnTo>
                      <a:pt x="82" y="132"/>
                    </a:lnTo>
                    <a:lnTo>
                      <a:pt x="82" y="130"/>
                    </a:lnTo>
                    <a:lnTo>
                      <a:pt x="80" y="130"/>
                    </a:lnTo>
                    <a:lnTo>
                      <a:pt x="80" y="129"/>
                    </a:lnTo>
                    <a:lnTo>
                      <a:pt x="83" y="130"/>
                    </a:lnTo>
                    <a:lnTo>
                      <a:pt x="83" y="129"/>
                    </a:lnTo>
                    <a:lnTo>
                      <a:pt x="82" y="129"/>
                    </a:lnTo>
                    <a:lnTo>
                      <a:pt x="81" y="126"/>
                    </a:lnTo>
                    <a:lnTo>
                      <a:pt x="82" y="126"/>
                    </a:lnTo>
                    <a:lnTo>
                      <a:pt x="81" y="123"/>
                    </a:lnTo>
                    <a:lnTo>
                      <a:pt x="82" y="122"/>
                    </a:lnTo>
                    <a:lnTo>
                      <a:pt x="80" y="121"/>
                    </a:lnTo>
                    <a:lnTo>
                      <a:pt x="78" y="122"/>
                    </a:lnTo>
                    <a:lnTo>
                      <a:pt x="77" y="127"/>
                    </a:lnTo>
                    <a:lnTo>
                      <a:pt x="75" y="125"/>
                    </a:lnTo>
                    <a:lnTo>
                      <a:pt x="74" y="123"/>
                    </a:lnTo>
                    <a:lnTo>
                      <a:pt x="72" y="122"/>
                    </a:lnTo>
                    <a:lnTo>
                      <a:pt x="71" y="122"/>
                    </a:lnTo>
                    <a:lnTo>
                      <a:pt x="70" y="119"/>
                    </a:lnTo>
                    <a:lnTo>
                      <a:pt x="71" y="117"/>
                    </a:lnTo>
                    <a:lnTo>
                      <a:pt x="68" y="116"/>
                    </a:lnTo>
                    <a:lnTo>
                      <a:pt x="67" y="117"/>
                    </a:lnTo>
                    <a:lnTo>
                      <a:pt x="66" y="117"/>
                    </a:lnTo>
                    <a:lnTo>
                      <a:pt x="66" y="115"/>
                    </a:lnTo>
                    <a:lnTo>
                      <a:pt x="64" y="117"/>
                    </a:lnTo>
                    <a:lnTo>
                      <a:pt x="63" y="116"/>
                    </a:lnTo>
                    <a:lnTo>
                      <a:pt x="60" y="115"/>
                    </a:lnTo>
                    <a:lnTo>
                      <a:pt x="60" y="113"/>
                    </a:lnTo>
                    <a:lnTo>
                      <a:pt x="57" y="111"/>
                    </a:lnTo>
                    <a:lnTo>
                      <a:pt x="56" y="110"/>
                    </a:lnTo>
                    <a:lnTo>
                      <a:pt x="54" y="110"/>
                    </a:lnTo>
                    <a:lnTo>
                      <a:pt x="53" y="111"/>
                    </a:lnTo>
                    <a:lnTo>
                      <a:pt x="52" y="109"/>
                    </a:lnTo>
                    <a:lnTo>
                      <a:pt x="51" y="110"/>
                    </a:lnTo>
                    <a:lnTo>
                      <a:pt x="50" y="110"/>
                    </a:lnTo>
                    <a:lnTo>
                      <a:pt x="49" y="111"/>
                    </a:lnTo>
                    <a:lnTo>
                      <a:pt x="48" y="113"/>
                    </a:lnTo>
                    <a:lnTo>
                      <a:pt x="45" y="114"/>
                    </a:lnTo>
                    <a:lnTo>
                      <a:pt x="45" y="116"/>
                    </a:lnTo>
                    <a:lnTo>
                      <a:pt x="43" y="116"/>
                    </a:lnTo>
                    <a:lnTo>
                      <a:pt x="44" y="117"/>
                    </a:lnTo>
                    <a:lnTo>
                      <a:pt x="43" y="120"/>
                    </a:lnTo>
                    <a:lnTo>
                      <a:pt x="43" y="121"/>
                    </a:lnTo>
                    <a:lnTo>
                      <a:pt x="41" y="121"/>
                    </a:lnTo>
                    <a:lnTo>
                      <a:pt x="40" y="121"/>
                    </a:lnTo>
                    <a:lnTo>
                      <a:pt x="38" y="122"/>
                    </a:lnTo>
                    <a:lnTo>
                      <a:pt x="35" y="118"/>
                    </a:lnTo>
                    <a:lnTo>
                      <a:pt x="32" y="116"/>
                    </a:lnTo>
                    <a:lnTo>
                      <a:pt x="29" y="115"/>
                    </a:lnTo>
                    <a:lnTo>
                      <a:pt x="28" y="113"/>
                    </a:lnTo>
                    <a:lnTo>
                      <a:pt x="27" y="111"/>
                    </a:lnTo>
                    <a:lnTo>
                      <a:pt x="22" y="108"/>
                    </a:lnTo>
                    <a:lnTo>
                      <a:pt x="22" y="109"/>
                    </a:lnTo>
                    <a:lnTo>
                      <a:pt x="20" y="108"/>
                    </a:lnTo>
                    <a:lnTo>
                      <a:pt x="20" y="106"/>
                    </a:lnTo>
                    <a:lnTo>
                      <a:pt x="19" y="105"/>
                    </a:lnTo>
                    <a:lnTo>
                      <a:pt x="19" y="106"/>
                    </a:lnTo>
                    <a:lnTo>
                      <a:pt x="18" y="106"/>
                    </a:lnTo>
                    <a:lnTo>
                      <a:pt x="18" y="108"/>
                    </a:lnTo>
                    <a:lnTo>
                      <a:pt x="17" y="108"/>
                    </a:lnTo>
                    <a:lnTo>
                      <a:pt x="17" y="109"/>
                    </a:lnTo>
                    <a:lnTo>
                      <a:pt x="15" y="109"/>
                    </a:lnTo>
                    <a:lnTo>
                      <a:pt x="15" y="110"/>
                    </a:lnTo>
                    <a:lnTo>
                      <a:pt x="11" y="110"/>
                    </a:lnTo>
                    <a:lnTo>
                      <a:pt x="10" y="111"/>
                    </a:lnTo>
                    <a:lnTo>
                      <a:pt x="10" y="115"/>
                    </a:lnTo>
                    <a:lnTo>
                      <a:pt x="10" y="116"/>
                    </a:lnTo>
                    <a:lnTo>
                      <a:pt x="11" y="116"/>
                    </a:lnTo>
                    <a:lnTo>
                      <a:pt x="14" y="120"/>
                    </a:lnTo>
                    <a:lnTo>
                      <a:pt x="14" y="122"/>
                    </a:lnTo>
                    <a:lnTo>
                      <a:pt x="13" y="124"/>
                    </a:lnTo>
                    <a:lnTo>
                      <a:pt x="13" y="125"/>
                    </a:lnTo>
                    <a:lnTo>
                      <a:pt x="14" y="125"/>
                    </a:lnTo>
                    <a:lnTo>
                      <a:pt x="16" y="127"/>
                    </a:lnTo>
                    <a:lnTo>
                      <a:pt x="15" y="128"/>
                    </a:lnTo>
                    <a:lnTo>
                      <a:pt x="15" y="129"/>
                    </a:lnTo>
                    <a:lnTo>
                      <a:pt x="14" y="129"/>
                    </a:lnTo>
                    <a:lnTo>
                      <a:pt x="13" y="129"/>
                    </a:lnTo>
                    <a:lnTo>
                      <a:pt x="14" y="129"/>
                    </a:lnTo>
                    <a:lnTo>
                      <a:pt x="14" y="130"/>
                    </a:lnTo>
                    <a:lnTo>
                      <a:pt x="13" y="132"/>
                    </a:lnTo>
                    <a:lnTo>
                      <a:pt x="14" y="132"/>
                    </a:lnTo>
                    <a:lnTo>
                      <a:pt x="13" y="134"/>
                    </a:lnTo>
                    <a:lnTo>
                      <a:pt x="13" y="136"/>
                    </a:lnTo>
                    <a:lnTo>
                      <a:pt x="11" y="138"/>
                    </a:lnTo>
                    <a:lnTo>
                      <a:pt x="11" y="140"/>
                    </a:lnTo>
                    <a:lnTo>
                      <a:pt x="13" y="139"/>
                    </a:lnTo>
                    <a:lnTo>
                      <a:pt x="13" y="141"/>
                    </a:lnTo>
                    <a:lnTo>
                      <a:pt x="15" y="140"/>
                    </a:lnTo>
                    <a:lnTo>
                      <a:pt x="15" y="141"/>
                    </a:lnTo>
                    <a:lnTo>
                      <a:pt x="17" y="145"/>
                    </a:lnTo>
                    <a:lnTo>
                      <a:pt x="17" y="146"/>
                    </a:lnTo>
                    <a:lnTo>
                      <a:pt x="15" y="146"/>
                    </a:lnTo>
                    <a:lnTo>
                      <a:pt x="15" y="148"/>
                    </a:lnTo>
                    <a:lnTo>
                      <a:pt x="16" y="149"/>
                    </a:lnTo>
                    <a:lnTo>
                      <a:pt x="16" y="150"/>
                    </a:lnTo>
                    <a:lnTo>
                      <a:pt x="19" y="151"/>
                    </a:lnTo>
                    <a:lnTo>
                      <a:pt x="15" y="160"/>
                    </a:lnTo>
                    <a:lnTo>
                      <a:pt x="15" y="159"/>
                    </a:lnTo>
                    <a:lnTo>
                      <a:pt x="14" y="160"/>
                    </a:lnTo>
                    <a:lnTo>
                      <a:pt x="13" y="159"/>
                    </a:lnTo>
                    <a:lnTo>
                      <a:pt x="13" y="160"/>
                    </a:lnTo>
                    <a:lnTo>
                      <a:pt x="10" y="160"/>
                    </a:lnTo>
                    <a:lnTo>
                      <a:pt x="10" y="163"/>
                    </a:lnTo>
                    <a:lnTo>
                      <a:pt x="11" y="163"/>
                    </a:lnTo>
                    <a:lnTo>
                      <a:pt x="11" y="164"/>
                    </a:lnTo>
                    <a:lnTo>
                      <a:pt x="10" y="165"/>
                    </a:lnTo>
                    <a:lnTo>
                      <a:pt x="11" y="167"/>
                    </a:lnTo>
                    <a:lnTo>
                      <a:pt x="11" y="168"/>
                    </a:lnTo>
                    <a:lnTo>
                      <a:pt x="10" y="168"/>
                    </a:lnTo>
                    <a:lnTo>
                      <a:pt x="9" y="169"/>
                    </a:lnTo>
                    <a:lnTo>
                      <a:pt x="8" y="169"/>
                    </a:lnTo>
                    <a:lnTo>
                      <a:pt x="9" y="168"/>
                    </a:lnTo>
                    <a:lnTo>
                      <a:pt x="8" y="168"/>
                    </a:lnTo>
                    <a:lnTo>
                      <a:pt x="7" y="168"/>
                    </a:lnTo>
                    <a:lnTo>
                      <a:pt x="6" y="168"/>
                    </a:lnTo>
                    <a:lnTo>
                      <a:pt x="5" y="167"/>
                    </a:lnTo>
                    <a:lnTo>
                      <a:pt x="3" y="169"/>
                    </a:lnTo>
                    <a:lnTo>
                      <a:pt x="0" y="172"/>
                    </a:lnTo>
                    <a:lnTo>
                      <a:pt x="2" y="175"/>
                    </a:lnTo>
                    <a:lnTo>
                      <a:pt x="3" y="177"/>
                    </a:lnTo>
                    <a:lnTo>
                      <a:pt x="5" y="177"/>
                    </a:lnTo>
                    <a:lnTo>
                      <a:pt x="7" y="180"/>
                    </a:lnTo>
                    <a:lnTo>
                      <a:pt x="6" y="180"/>
                    </a:lnTo>
                    <a:lnTo>
                      <a:pt x="4" y="181"/>
                    </a:lnTo>
                    <a:lnTo>
                      <a:pt x="5" y="185"/>
                    </a:lnTo>
                    <a:lnTo>
                      <a:pt x="5" y="187"/>
                    </a:lnTo>
                    <a:lnTo>
                      <a:pt x="7" y="189"/>
                    </a:lnTo>
                    <a:lnTo>
                      <a:pt x="9" y="191"/>
                    </a:lnTo>
                    <a:lnTo>
                      <a:pt x="11" y="192"/>
                    </a:lnTo>
                    <a:lnTo>
                      <a:pt x="13" y="191"/>
                    </a:lnTo>
                    <a:lnTo>
                      <a:pt x="15" y="188"/>
                    </a:lnTo>
                    <a:lnTo>
                      <a:pt x="16" y="191"/>
                    </a:lnTo>
                    <a:lnTo>
                      <a:pt x="20" y="193"/>
                    </a:lnTo>
                    <a:lnTo>
                      <a:pt x="21" y="193"/>
                    </a:lnTo>
                    <a:lnTo>
                      <a:pt x="20" y="194"/>
                    </a:lnTo>
                    <a:lnTo>
                      <a:pt x="19" y="194"/>
                    </a:lnTo>
                    <a:lnTo>
                      <a:pt x="19" y="198"/>
                    </a:lnTo>
                    <a:lnTo>
                      <a:pt x="20" y="198"/>
                    </a:lnTo>
                    <a:lnTo>
                      <a:pt x="22" y="197"/>
                    </a:lnTo>
                    <a:lnTo>
                      <a:pt x="22" y="198"/>
                    </a:lnTo>
                    <a:lnTo>
                      <a:pt x="23" y="200"/>
                    </a:lnTo>
                    <a:lnTo>
                      <a:pt x="24" y="200"/>
                    </a:lnTo>
                    <a:lnTo>
                      <a:pt x="25" y="202"/>
                    </a:lnTo>
                    <a:lnTo>
                      <a:pt x="26" y="202"/>
                    </a:lnTo>
                    <a:lnTo>
                      <a:pt x="27" y="204"/>
                    </a:lnTo>
                    <a:lnTo>
                      <a:pt x="27" y="206"/>
                    </a:lnTo>
                    <a:lnTo>
                      <a:pt x="26" y="205"/>
                    </a:lnTo>
                    <a:lnTo>
                      <a:pt x="23" y="206"/>
                    </a:lnTo>
                    <a:lnTo>
                      <a:pt x="23" y="208"/>
                    </a:lnTo>
                    <a:lnTo>
                      <a:pt x="25" y="209"/>
                    </a:lnTo>
                    <a:lnTo>
                      <a:pt x="25" y="211"/>
                    </a:lnTo>
                    <a:lnTo>
                      <a:pt x="23" y="213"/>
                    </a:lnTo>
                    <a:lnTo>
                      <a:pt x="25" y="214"/>
                    </a:lnTo>
                    <a:lnTo>
                      <a:pt x="28" y="217"/>
                    </a:lnTo>
                    <a:lnTo>
                      <a:pt x="28" y="218"/>
                    </a:lnTo>
                    <a:lnTo>
                      <a:pt x="29" y="219"/>
                    </a:lnTo>
                    <a:lnTo>
                      <a:pt x="30" y="217"/>
                    </a:lnTo>
                    <a:lnTo>
                      <a:pt x="30" y="219"/>
                    </a:lnTo>
                    <a:lnTo>
                      <a:pt x="31" y="219"/>
                    </a:lnTo>
                    <a:lnTo>
                      <a:pt x="32" y="219"/>
                    </a:lnTo>
                    <a:lnTo>
                      <a:pt x="32" y="217"/>
                    </a:lnTo>
                    <a:lnTo>
                      <a:pt x="36" y="218"/>
                    </a:lnTo>
                    <a:lnTo>
                      <a:pt x="38" y="216"/>
                    </a:lnTo>
                    <a:lnTo>
                      <a:pt x="39" y="216"/>
                    </a:lnTo>
                    <a:lnTo>
                      <a:pt x="39" y="217"/>
                    </a:lnTo>
                    <a:lnTo>
                      <a:pt x="41" y="219"/>
                    </a:lnTo>
                    <a:lnTo>
                      <a:pt x="42" y="219"/>
                    </a:lnTo>
                    <a:lnTo>
                      <a:pt x="43" y="220"/>
                    </a:lnTo>
                    <a:lnTo>
                      <a:pt x="44" y="219"/>
                    </a:lnTo>
                    <a:lnTo>
                      <a:pt x="46" y="221"/>
                    </a:lnTo>
                    <a:lnTo>
                      <a:pt x="49" y="223"/>
                    </a:lnTo>
                    <a:lnTo>
                      <a:pt x="48" y="223"/>
                    </a:lnTo>
                    <a:lnTo>
                      <a:pt x="49" y="225"/>
                    </a:lnTo>
                    <a:lnTo>
                      <a:pt x="50" y="224"/>
                    </a:lnTo>
                    <a:lnTo>
                      <a:pt x="52" y="223"/>
                    </a:lnTo>
                    <a:lnTo>
                      <a:pt x="53" y="220"/>
                    </a:lnTo>
                    <a:lnTo>
                      <a:pt x="56" y="221"/>
                    </a:lnTo>
                    <a:lnTo>
                      <a:pt x="57" y="219"/>
                    </a:lnTo>
                    <a:lnTo>
                      <a:pt x="59" y="219"/>
                    </a:lnTo>
                    <a:lnTo>
                      <a:pt x="60" y="219"/>
                    </a:lnTo>
                    <a:lnTo>
                      <a:pt x="62" y="219"/>
                    </a:lnTo>
                    <a:lnTo>
                      <a:pt x="63" y="217"/>
                    </a:lnTo>
                    <a:lnTo>
                      <a:pt x="63" y="219"/>
                    </a:lnTo>
                    <a:lnTo>
                      <a:pt x="63" y="222"/>
                    </a:lnTo>
                    <a:lnTo>
                      <a:pt x="64" y="222"/>
                    </a:lnTo>
                    <a:lnTo>
                      <a:pt x="64" y="223"/>
                    </a:lnTo>
                    <a:lnTo>
                      <a:pt x="66" y="223"/>
                    </a:lnTo>
                    <a:lnTo>
                      <a:pt x="67" y="224"/>
                    </a:lnTo>
                    <a:lnTo>
                      <a:pt x="67" y="225"/>
                    </a:lnTo>
                    <a:lnTo>
                      <a:pt x="69" y="225"/>
                    </a:lnTo>
                    <a:lnTo>
                      <a:pt x="69" y="227"/>
                    </a:lnTo>
                    <a:lnTo>
                      <a:pt x="68" y="228"/>
                    </a:lnTo>
                    <a:lnTo>
                      <a:pt x="68" y="230"/>
                    </a:lnTo>
                    <a:lnTo>
                      <a:pt x="68" y="231"/>
                    </a:lnTo>
                    <a:lnTo>
                      <a:pt x="68" y="234"/>
                    </a:lnTo>
                    <a:lnTo>
                      <a:pt x="68" y="237"/>
                    </a:lnTo>
                    <a:lnTo>
                      <a:pt x="69" y="240"/>
                    </a:lnTo>
                    <a:lnTo>
                      <a:pt x="68" y="241"/>
                    </a:lnTo>
                    <a:lnTo>
                      <a:pt x="66" y="241"/>
                    </a:lnTo>
                    <a:lnTo>
                      <a:pt x="64" y="242"/>
                    </a:lnTo>
                    <a:lnTo>
                      <a:pt x="66" y="243"/>
                    </a:lnTo>
                    <a:lnTo>
                      <a:pt x="66" y="249"/>
                    </a:lnTo>
                    <a:lnTo>
                      <a:pt x="64" y="252"/>
                    </a:lnTo>
                    <a:lnTo>
                      <a:pt x="66" y="253"/>
                    </a:lnTo>
                    <a:lnTo>
                      <a:pt x="66" y="255"/>
                    </a:lnTo>
                    <a:lnTo>
                      <a:pt x="67" y="255"/>
                    </a:lnTo>
                    <a:lnTo>
                      <a:pt x="69" y="257"/>
                    </a:lnTo>
                    <a:lnTo>
                      <a:pt x="68" y="261"/>
                    </a:lnTo>
                    <a:lnTo>
                      <a:pt x="69" y="259"/>
                    </a:lnTo>
                    <a:lnTo>
                      <a:pt x="69" y="261"/>
                    </a:lnTo>
                    <a:lnTo>
                      <a:pt x="70" y="261"/>
                    </a:lnTo>
                    <a:lnTo>
                      <a:pt x="69" y="263"/>
                    </a:lnTo>
                    <a:lnTo>
                      <a:pt x="71" y="262"/>
                    </a:lnTo>
                    <a:lnTo>
                      <a:pt x="69" y="265"/>
                    </a:lnTo>
                    <a:lnTo>
                      <a:pt x="69" y="267"/>
                    </a:lnTo>
                    <a:lnTo>
                      <a:pt x="68" y="269"/>
                    </a:lnTo>
                    <a:lnTo>
                      <a:pt x="68" y="268"/>
                    </a:lnTo>
                    <a:lnTo>
                      <a:pt x="66" y="270"/>
                    </a:lnTo>
                    <a:lnTo>
                      <a:pt x="67" y="271"/>
                    </a:lnTo>
                    <a:lnTo>
                      <a:pt x="68" y="272"/>
                    </a:lnTo>
                    <a:lnTo>
                      <a:pt x="67" y="272"/>
                    </a:lnTo>
                    <a:lnTo>
                      <a:pt x="66" y="274"/>
                    </a:lnTo>
                    <a:lnTo>
                      <a:pt x="66" y="273"/>
                    </a:lnTo>
                    <a:lnTo>
                      <a:pt x="66" y="275"/>
                    </a:lnTo>
                    <a:lnTo>
                      <a:pt x="64" y="275"/>
                    </a:lnTo>
                    <a:lnTo>
                      <a:pt x="63" y="277"/>
                    </a:lnTo>
                    <a:lnTo>
                      <a:pt x="61" y="276"/>
                    </a:lnTo>
                    <a:lnTo>
                      <a:pt x="60" y="279"/>
                    </a:lnTo>
                    <a:lnTo>
                      <a:pt x="60" y="278"/>
                    </a:lnTo>
                    <a:lnTo>
                      <a:pt x="59" y="278"/>
                    </a:lnTo>
                    <a:lnTo>
                      <a:pt x="59" y="280"/>
                    </a:lnTo>
                    <a:lnTo>
                      <a:pt x="58" y="280"/>
                    </a:lnTo>
                    <a:lnTo>
                      <a:pt x="57" y="279"/>
                    </a:lnTo>
                    <a:lnTo>
                      <a:pt x="56" y="282"/>
                    </a:lnTo>
                    <a:lnTo>
                      <a:pt x="58" y="282"/>
                    </a:lnTo>
                    <a:lnTo>
                      <a:pt x="61" y="284"/>
                    </a:lnTo>
                    <a:lnTo>
                      <a:pt x="61" y="285"/>
                    </a:lnTo>
                    <a:lnTo>
                      <a:pt x="57" y="288"/>
                    </a:lnTo>
                    <a:lnTo>
                      <a:pt x="54" y="289"/>
                    </a:lnTo>
                    <a:lnTo>
                      <a:pt x="58" y="291"/>
                    </a:lnTo>
                    <a:lnTo>
                      <a:pt x="62" y="290"/>
                    </a:lnTo>
                    <a:lnTo>
                      <a:pt x="64" y="293"/>
                    </a:lnTo>
                    <a:lnTo>
                      <a:pt x="65" y="295"/>
                    </a:lnTo>
                    <a:lnTo>
                      <a:pt x="68" y="296"/>
                    </a:lnTo>
                    <a:lnTo>
                      <a:pt x="68" y="295"/>
                    </a:lnTo>
                    <a:lnTo>
                      <a:pt x="68" y="293"/>
                    </a:lnTo>
                    <a:lnTo>
                      <a:pt x="69" y="295"/>
                    </a:lnTo>
                    <a:lnTo>
                      <a:pt x="71" y="295"/>
                    </a:lnTo>
                    <a:lnTo>
                      <a:pt x="70" y="296"/>
                    </a:lnTo>
                    <a:lnTo>
                      <a:pt x="74" y="300"/>
                    </a:lnTo>
                    <a:lnTo>
                      <a:pt x="76" y="301"/>
                    </a:lnTo>
                    <a:lnTo>
                      <a:pt x="77" y="301"/>
                    </a:lnTo>
                    <a:lnTo>
                      <a:pt x="79" y="303"/>
                    </a:lnTo>
                    <a:lnTo>
                      <a:pt x="76" y="306"/>
                    </a:lnTo>
                    <a:lnTo>
                      <a:pt x="76" y="309"/>
                    </a:lnTo>
                    <a:lnTo>
                      <a:pt x="79" y="316"/>
                    </a:lnTo>
                    <a:lnTo>
                      <a:pt x="84" y="315"/>
                    </a:lnTo>
                    <a:lnTo>
                      <a:pt x="85" y="313"/>
                    </a:lnTo>
                    <a:lnTo>
                      <a:pt x="86" y="313"/>
                    </a:lnTo>
                    <a:lnTo>
                      <a:pt x="88" y="312"/>
                    </a:lnTo>
                    <a:lnTo>
                      <a:pt x="88" y="311"/>
                    </a:lnTo>
                    <a:lnTo>
                      <a:pt x="90" y="312"/>
                    </a:lnTo>
                    <a:lnTo>
                      <a:pt x="91" y="311"/>
                    </a:lnTo>
                    <a:lnTo>
                      <a:pt x="89" y="311"/>
                    </a:lnTo>
                    <a:lnTo>
                      <a:pt x="89" y="309"/>
                    </a:lnTo>
                    <a:lnTo>
                      <a:pt x="93" y="310"/>
                    </a:lnTo>
                    <a:lnTo>
                      <a:pt x="94" y="310"/>
                    </a:lnTo>
                    <a:lnTo>
                      <a:pt x="96" y="309"/>
                    </a:lnTo>
                    <a:lnTo>
                      <a:pt x="97" y="308"/>
                    </a:lnTo>
                    <a:lnTo>
                      <a:pt x="98" y="309"/>
                    </a:lnTo>
                    <a:lnTo>
                      <a:pt x="99" y="309"/>
                    </a:lnTo>
                    <a:lnTo>
                      <a:pt x="98" y="306"/>
                    </a:lnTo>
                    <a:lnTo>
                      <a:pt x="98" y="305"/>
                    </a:lnTo>
                    <a:lnTo>
                      <a:pt x="99" y="301"/>
                    </a:lnTo>
                    <a:lnTo>
                      <a:pt x="100" y="301"/>
                    </a:lnTo>
                    <a:lnTo>
                      <a:pt x="104" y="299"/>
                    </a:lnTo>
                    <a:lnTo>
                      <a:pt x="105" y="299"/>
                    </a:lnTo>
                    <a:lnTo>
                      <a:pt x="106" y="300"/>
                    </a:lnTo>
                    <a:lnTo>
                      <a:pt x="107" y="299"/>
                    </a:lnTo>
                    <a:lnTo>
                      <a:pt x="107" y="301"/>
                    </a:lnTo>
                    <a:lnTo>
                      <a:pt x="108" y="302"/>
                    </a:lnTo>
                    <a:lnTo>
                      <a:pt x="110" y="301"/>
                    </a:lnTo>
                    <a:lnTo>
                      <a:pt x="110" y="299"/>
                    </a:lnTo>
                    <a:lnTo>
                      <a:pt x="111" y="299"/>
                    </a:lnTo>
                    <a:lnTo>
                      <a:pt x="113" y="299"/>
                    </a:lnTo>
                    <a:lnTo>
                      <a:pt x="112" y="297"/>
                    </a:lnTo>
                    <a:lnTo>
                      <a:pt x="112" y="295"/>
                    </a:lnTo>
                    <a:lnTo>
                      <a:pt x="113" y="295"/>
                    </a:lnTo>
                    <a:lnTo>
                      <a:pt x="116" y="297"/>
                    </a:lnTo>
                    <a:lnTo>
                      <a:pt x="115" y="302"/>
                    </a:lnTo>
                    <a:lnTo>
                      <a:pt x="117" y="302"/>
                    </a:lnTo>
                    <a:lnTo>
                      <a:pt x="117" y="304"/>
                    </a:lnTo>
                    <a:lnTo>
                      <a:pt x="118" y="304"/>
                    </a:lnTo>
                    <a:lnTo>
                      <a:pt x="118" y="303"/>
                    </a:lnTo>
                    <a:lnTo>
                      <a:pt x="120" y="304"/>
                    </a:lnTo>
                    <a:lnTo>
                      <a:pt x="120" y="305"/>
                    </a:lnTo>
                    <a:lnTo>
                      <a:pt x="121" y="304"/>
                    </a:lnTo>
                    <a:lnTo>
                      <a:pt x="120" y="304"/>
                    </a:lnTo>
                    <a:lnTo>
                      <a:pt x="120" y="301"/>
                    </a:lnTo>
                    <a:lnTo>
                      <a:pt x="120" y="303"/>
                    </a:lnTo>
                    <a:lnTo>
                      <a:pt x="121" y="302"/>
                    </a:lnTo>
                    <a:lnTo>
                      <a:pt x="121" y="303"/>
                    </a:lnTo>
                    <a:lnTo>
                      <a:pt x="123" y="303"/>
                    </a:lnTo>
                    <a:lnTo>
                      <a:pt x="123" y="304"/>
                    </a:lnTo>
                    <a:lnTo>
                      <a:pt x="125" y="303"/>
                    </a:lnTo>
                    <a:lnTo>
                      <a:pt x="127" y="304"/>
                    </a:lnTo>
                    <a:lnTo>
                      <a:pt x="128" y="303"/>
                    </a:lnTo>
                    <a:lnTo>
                      <a:pt x="128" y="304"/>
                    </a:lnTo>
                    <a:lnTo>
                      <a:pt x="128" y="305"/>
                    </a:lnTo>
                    <a:lnTo>
                      <a:pt x="129" y="305"/>
                    </a:lnTo>
                    <a:lnTo>
                      <a:pt x="131" y="306"/>
                    </a:lnTo>
                    <a:lnTo>
                      <a:pt x="131" y="305"/>
                    </a:lnTo>
                    <a:lnTo>
                      <a:pt x="133" y="306"/>
                    </a:lnTo>
                    <a:lnTo>
                      <a:pt x="133" y="303"/>
                    </a:lnTo>
                    <a:lnTo>
                      <a:pt x="134" y="304"/>
                    </a:lnTo>
                    <a:lnTo>
                      <a:pt x="134" y="305"/>
                    </a:lnTo>
                    <a:lnTo>
                      <a:pt x="138" y="307"/>
                    </a:lnTo>
                    <a:lnTo>
                      <a:pt x="138" y="308"/>
                    </a:lnTo>
                    <a:lnTo>
                      <a:pt x="140" y="309"/>
                    </a:lnTo>
                    <a:lnTo>
                      <a:pt x="140" y="310"/>
                    </a:lnTo>
                    <a:lnTo>
                      <a:pt x="141" y="311"/>
                    </a:lnTo>
                    <a:lnTo>
                      <a:pt x="142" y="310"/>
                    </a:lnTo>
                    <a:lnTo>
                      <a:pt x="144" y="311"/>
                    </a:lnTo>
                    <a:lnTo>
                      <a:pt x="145" y="310"/>
                    </a:lnTo>
                    <a:lnTo>
                      <a:pt x="145" y="309"/>
                    </a:lnTo>
                    <a:lnTo>
                      <a:pt x="147" y="306"/>
                    </a:lnTo>
                    <a:lnTo>
                      <a:pt x="148" y="306"/>
                    </a:lnTo>
                    <a:lnTo>
                      <a:pt x="149" y="305"/>
                    </a:lnTo>
                    <a:lnTo>
                      <a:pt x="150" y="306"/>
                    </a:lnTo>
                    <a:lnTo>
                      <a:pt x="151" y="306"/>
                    </a:lnTo>
                    <a:lnTo>
                      <a:pt x="153" y="306"/>
                    </a:lnTo>
                    <a:lnTo>
                      <a:pt x="154" y="309"/>
                    </a:lnTo>
                    <a:lnTo>
                      <a:pt x="156" y="305"/>
                    </a:lnTo>
                    <a:lnTo>
                      <a:pt x="157" y="306"/>
                    </a:lnTo>
                    <a:lnTo>
                      <a:pt x="158" y="306"/>
                    </a:lnTo>
                    <a:lnTo>
                      <a:pt x="159" y="305"/>
                    </a:lnTo>
                    <a:lnTo>
                      <a:pt x="160" y="300"/>
                    </a:lnTo>
                    <a:lnTo>
                      <a:pt x="159" y="299"/>
                    </a:lnTo>
                    <a:lnTo>
                      <a:pt x="159" y="296"/>
                    </a:lnTo>
                    <a:lnTo>
                      <a:pt x="161" y="296"/>
                    </a:lnTo>
                    <a:lnTo>
                      <a:pt x="161" y="295"/>
                    </a:lnTo>
                    <a:lnTo>
                      <a:pt x="163" y="295"/>
                    </a:lnTo>
                    <a:lnTo>
                      <a:pt x="164" y="293"/>
                    </a:lnTo>
                    <a:lnTo>
                      <a:pt x="167" y="295"/>
                    </a:lnTo>
                    <a:lnTo>
                      <a:pt x="168" y="292"/>
                    </a:lnTo>
                    <a:lnTo>
                      <a:pt x="170" y="291"/>
                    </a:lnTo>
                    <a:lnTo>
                      <a:pt x="172" y="293"/>
                    </a:lnTo>
                    <a:lnTo>
                      <a:pt x="173" y="295"/>
                    </a:lnTo>
                    <a:lnTo>
                      <a:pt x="177" y="295"/>
                    </a:lnTo>
                    <a:lnTo>
                      <a:pt x="177" y="296"/>
                    </a:lnTo>
                    <a:lnTo>
                      <a:pt x="176" y="298"/>
                    </a:lnTo>
                    <a:lnTo>
                      <a:pt x="178" y="299"/>
                    </a:lnTo>
                    <a:lnTo>
                      <a:pt x="176" y="303"/>
                    </a:lnTo>
                    <a:lnTo>
                      <a:pt x="175" y="306"/>
                    </a:lnTo>
                    <a:lnTo>
                      <a:pt x="176" y="309"/>
                    </a:lnTo>
                    <a:lnTo>
                      <a:pt x="178" y="310"/>
                    </a:lnTo>
                    <a:lnTo>
                      <a:pt x="178" y="311"/>
                    </a:lnTo>
                    <a:lnTo>
                      <a:pt x="179" y="311"/>
                    </a:lnTo>
                    <a:lnTo>
                      <a:pt x="183" y="312"/>
                    </a:lnTo>
                    <a:lnTo>
                      <a:pt x="183" y="314"/>
                    </a:lnTo>
                    <a:lnTo>
                      <a:pt x="185" y="313"/>
                    </a:lnTo>
                    <a:lnTo>
                      <a:pt x="185" y="312"/>
                    </a:lnTo>
                    <a:lnTo>
                      <a:pt x="188" y="310"/>
                    </a:lnTo>
                    <a:lnTo>
                      <a:pt x="189" y="306"/>
                    </a:lnTo>
                    <a:lnTo>
                      <a:pt x="194" y="307"/>
                    </a:lnTo>
                    <a:lnTo>
                      <a:pt x="198" y="308"/>
                    </a:lnTo>
                    <a:lnTo>
                      <a:pt x="199" y="301"/>
                    </a:lnTo>
                    <a:lnTo>
                      <a:pt x="207" y="301"/>
                    </a:lnTo>
                    <a:lnTo>
                      <a:pt x="208" y="301"/>
                    </a:lnTo>
                    <a:lnTo>
                      <a:pt x="208" y="298"/>
                    </a:lnTo>
                    <a:lnTo>
                      <a:pt x="210" y="299"/>
                    </a:lnTo>
                    <a:lnTo>
                      <a:pt x="214" y="304"/>
                    </a:lnTo>
                    <a:lnTo>
                      <a:pt x="216" y="302"/>
                    </a:lnTo>
                    <a:lnTo>
                      <a:pt x="216" y="304"/>
                    </a:lnTo>
                    <a:lnTo>
                      <a:pt x="218" y="304"/>
                    </a:lnTo>
                    <a:lnTo>
                      <a:pt x="219" y="306"/>
                    </a:lnTo>
                    <a:lnTo>
                      <a:pt x="227" y="306"/>
                    </a:lnTo>
                    <a:lnTo>
                      <a:pt x="226" y="312"/>
                    </a:lnTo>
                    <a:lnTo>
                      <a:pt x="231" y="314"/>
                    </a:lnTo>
                    <a:lnTo>
                      <a:pt x="231" y="318"/>
                    </a:lnTo>
                    <a:lnTo>
                      <a:pt x="230" y="328"/>
                    </a:lnTo>
                    <a:lnTo>
                      <a:pt x="242" y="330"/>
                    </a:lnTo>
                    <a:lnTo>
                      <a:pt x="244" y="331"/>
                    </a:lnTo>
                    <a:lnTo>
                      <a:pt x="246" y="339"/>
                    </a:lnTo>
                    <a:lnTo>
                      <a:pt x="246" y="342"/>
                    </a:lnTo>
                    <a:lnTo>
                      <a:pt x="246" y="343"/>
                    </a:lnTo>
                    <a:lnTo>
                      <a:pt x="247" y="343"/>
                    </a:lnTo>
                    <a:lnTo>
                      <a:pt x="250" y="344"/>
                    </a:lnTo>
                    <a:lnTo>
                      <a:pt x="251" y="345"/>
                    </a:lnTo>
                    <a:lnTo>
                      <a:pt x="252" y="345"/>
                    </a:lnTo>
                    <a:lnTo>
                      <a:pt x="253" y="346"/>
                    </a:lnTo>
                    <a:lnTo>
                      <a:pt x="255" y="345"/>
                    </a:lnTo>
                    <a:lnTo>
                      <a:pt x="259" y="348"/>
                    </a:lnTo>
                    <a:lnTo>
                      <a:pt x="259" y="353"/>
                    </a:lnTo>
                    <a:lnTo>
                      <a:pt x="262" y="356"/>
                    </a:lnTo>
                    <a:lnTo>
                      <a:pt x="263" y="356"/>
                    </a:lnTo>
                    <a:lnTo>
                      <a:pt x="263" y="355"/>
                    </a:lnTo>
                    <a:lnTo>
                      <a:pt x="265" y="354"/>
                    </a:lnTo>
                    <a:lnTo>
                      <a:pt x="267" y="358"/>
                    </a:lnTo>
                    <a:lnTo>
                      <a:pt x="268" y="358"/>
                    </a:lnTo>
                    <a:lnTo>
                      <a:pt x="269" y="359"/>
                    </a:lnTo>
                    <a:lnTo>
                      <a:pt x="270" y="358"/>
                    </a:lnTo>
                    <a:lnTo>
                      <a:pt x="270" y="359"/>
                    </a:lnTo>
                    <a:lnTo>
                      <a:pt x="271" y="359"/>
                    </a:lnTo>
                    <a:lnTo>
                      <a:pt x="273" y="363"/>
                    </a:lnTo>
                    <a:lnTo>
                      <a:pt x="275" y="365"/>
                    </a:lnTo>
                    <a:lnTo>
                      <a:pt x="275" y="366"/>
                    </a:lnTo>
                    <a:lnTo>
                      <a:pt x="275" y="367"/>
                    </a:lnTo>
                    <a:lnTo>
                      <a:pt x="276" y="369"/>
                    </a:lnTo>
                    <a:lnTo>
                      <a:pt x="277" y="369"/>
                    </a:lnTo>
                    <a:lnTo>
                      <a:pt x="279" y="369"/>
                    </a:lnTo>
                    <a:lnTo>
                      <a:pt x="280" y="367"/>
                    </a:lnTo>
                    <a:lnTo>
                      <a:pt x="283" y="368"/>
                    </a:lnTo>
                    <a:lnTo>
                      <a:pt x="284" y="367"/>
                    </a:lnTo>
                    <a:lnTo>
                      <a:pt x="285" y="369"/>
                    </a:lnTo>
                    <a:lnTo>
                      <a:pt x="289" y="367"/>
                    </a:lnTo>
                    <a:lnTo>
                      <a:pt x="289" y="366"/>
                    </a:lnTo>
                    <a:lnTo>
                      <a:pt x="290" y="365"/>
                    </a:lnTo>
                    <a:lnTo>
                      <a:pt x="289" y="363"/>
                    </a:lnTo>
                    <a:lnTo>
                      <a:pt x="290" y="363"/>
                    </a:lnTo>
                    <a:lnTo>
                      <a:pt x="290" y="364"/>
                    </a:lnTo>
                    <a:lnTo>
                      <a:pt x="292" y="364"/>
                    </a:lnTo>
                    <a:lnTo>
                      <a:pt x="292" y="365"/>
                    </a:lnTo>
                    <a:lnTo>
                      <a:pt x="290" y="367"/>
                    </a:lnTo>
                    <a:lnTo>
                      <a:pt x="290" y="369"/>
                    </a:lnTo>
                    <a:lnTo>
                      <a:pt x="295" y="369"/>
                    </a:lnTo>
                    <a:lnTo>
                      <a:pt x="296" y="369"/>
                    </a:lnTo>
                    <a:lnTo>
                      <a:pt x="297" y="369"/>
                    </a:lnTo>
                    <a:lnTo>
                      <a:pt x="298" y="368"/>
                    </a:lnTo>
                    <a:lnTo>
                      <a:pt x="300" y="369"/>
                    </a:lnTo>
                    <a:lnTo>
                      <a:pt x="300" y="367"/>
                    </a:lnTo>
                    <a:lnTo>
                      <a:pt x="302" y="368"/>
                    </a:lnTo>
                    <a:lnTo>
                      <a:pt x="303" y="367"/>
                    </a:lnTo>
                    <a:lnTo>
                      <a:pt x="304" y="369"/>
                    </a:lnTo>
                    <a:lnTo>
                      <a:pt x="306" y="370"/>
                    </a:lnTo>
                    <a:lnTo>
                      <a:pt x="313" y="374"/>
                    </a:lnTo>
                    <a:lnTo>
                      <a:pt x="313" y="369"/>
                    </a:lnTo>
                    <a:lnTo>
                      <a:pt x="312" y="369"/>
                    </a:lnTo>
                    <a:lnTo>
                      <a:pt x="311" y="366"/>
                    </a:lnTo>
                    <a:lnTo>
                      <a:pt x="309" y="365"/>
                    </a:lnTo>
                    <a:lnTo>
                      <a:pt x="309" y="363"/>
                    </a:lnTo>
                    <a:lnTo>
                      <a:pt x="310" y="363"/>
                    </a:lnTo>
                    <a:lnTo>
                      <a:pt x="311" y="362"/>
                    </a:lnTo>
                    <a:lnTo>
                      <a:pt x="310" y="360"/>
                    </a:lnTo>
                    <a:lnTo>
                      <a:pt x="312" y="360"/>
                    </a:lnTo>
                    <a:lnTo>
                      <a:pt x="314" y="361"/>
                    </a:lnTo>
                    <a:lnTo>
                      <a:pt x="316" y="360"/>
                    </a:lnTo>
                    <a:lnTo>
                      <a:pt x="318" y="360"/>
                    </a:lnTo>
                    <a:lnTo>
                      <a:pt x="319" y="358"/>
                    </a:lnTo>
                    <a:lnTo>
                      <a:pt x="321" y="357"/>
                    </a:lnTo>
                    <a:lnTo>
                      <a:pt x="319" y="355"/>
                    </a:lnTo>
                    <a:lnTo>
                      <a:pt x="318" y="353"/>
                    </a:lnTo>
                    <a:lnTo>
                      <a:pt x="317" y="354"/>
                    </a:lnTo>
                    <a:lnTo>
                      <a:pt x="317" y="351"/>
                    </a:lnTo>
                    <a:lnTo>
                      <a:pt x="319" y="348"/>
                    </a:lnTo>
                    <a:lnTo>
                      <a:pt x="321" y="348"/>
                    </a:lnTo>
                    <a:lnTo>
                      <a:pt x="321" y="346"/>
                    </a:lnTo>
                    <a:lnTo>
                      <a:pt x="323" y="346"/>
                    </a:lnTo>
                    <a:lnTo>
                      <a:pt x="327" y="346"/>
                    </a:lnTo>
                    <a:lnTo>
                      <a:pt x="333" y="340"/>
                    </a:lnTo>
                    <a:lnTo>
                      <a:pt x="335" y="340"/>
                    </a:lnTo>
                    <a:lnTo>
                      <a:pt x="336" y="340"/>
                    </a:lnTo>
                    <a:lnTo>
                      <a:pt x="337" y="341"/>
                    </a:lnTo>
                    <a:lnTo>
                      <a:pt x="337" y="340"/>
                    </a:lnTo>
                    <a:lnTo>
                      <a:pt x="338" y="340"/>
                    </a:lnTo>
                    <a:lnTo>
                      <a:pt x="338" y="339"/>
                    </a:lnTo>
                    <a:lnTo>
                      <a:pt x="339" y="339"/>
                    </a:lnTo>
                    <a:lnTo>
                      <a:pt x="340" y="338"/>
                    </a:lnTo>
                    <a:lnTo>
                      <a:pt x="342" y="340"/>
                    </a:lnTo>
                    <a:lnTo>
                      <a:pt x="343" y="339"/>
                    </a:lnTo>
                    <a:lnTo>
                      <a:pt x="343" y="337"/>
                    </a:lnTo>
                    <a:lnTo>
                      <a:pt x="342" y="337"/>
                    </a:lnTo>
                    <a:lnTo>
                      <a:pt x="345" y="336"/>
                    </a:lnTo>
                    <a:lnTo>
                      <a:pt x="345" y="335"/>
                    </a:lnTo>
                    <a:lnTo>
                      <a:pt x="345" y="336"/>
                    </a:lnTo>
                    <a:lnTo>
                      <a:pt x="349" y="336"/>
                    </a:lnTo>
                    <a:lnTo>
                      <a:pt x="349" y="337"/>
                    </a:lnTo>
                    <a:lnTo>
                      <a:pt x="350" y="335"/>
                    </a:lnTo>
                    <a:lnTo>
                      <a:pt x="351" y="335"/>
                    </a:lnTo>
                    <a:lnTo>
                      <a:pt x="352" y="333"/>
                    </a:lnTo>
                    <a:lnTo>
                      <a:pt x="355" y="333"/>
                    </a:lnTo>
                    <a:lnTo>
                      <a:pt x="357" y="331"/>
                    </a:lnTo>
                    <a:lnTo>
                      <a:pt x="358" y="322"/>
                    </a:lnTo>
                    <a:lnTo>
                      <a:pt x="360" y="320"/>
                    </a:lnTo>
                    <a:lnTo>
                      <a:pt x="363" y="320"/>
                    </a:lnTo>
                    <a:lnTo>
                      <a:pt x="365" y="322"/>
                    </a:lnTo>
                    <a:lnTo>
                      <a:pt x="366" y="322"/>
                    </a:lnTo>
                    <a:lnTo>
                      <a:pt x="369" y="323"/>
                    </a:lnTo>
                    <a:lnTo>
                      <a:pt x="369" y="328"/>
                    </a:lnTo>
                    <a:lnTo>
                      <a:pt x="371" y="327"/>
                    </a:lnTo>
                    <a:lnTo>
                      <a:pt x="372" y="329"/>
                    </a:lnTo>
                    <a:lnTo>
                      <a:pt x="373" y="330"/>
                    </a:lnTo>
                    <a:lnTo>
                      <a:pt x="374" y="329"/>
                    </a:lnTo>
                    <a:lnTo>
                      <a:pt x="381" y="335"/>
                    </a:lnTo>
                    <a:lnTo>
                      <a:pt x="382" y="335"/>
                    </a:lnTo>
                    <a:lnTo>
                      <a:pt x="383" y="335"/>
                    </a:lnTo>
                    <a:lnTo>
                      <a:pt x="385" y="334"/>
                    </a:lnTo>
                    <a:lnTo>
                      <a:pt x="386" y="333"/>
                    </a:lnTo>
                    <a:lnTo>
                      <a:pt x="385" y="331"/>
                    </a:lnTo>
                    <a:lnTo>
                      <a:pt x="386" y="329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79" name="Group 104">
              <a:extLst>
                <a:ext uri="{FF2B5EF4-FFF2-40B4-BE49-F238E27FC236}">
                  <a16:creationId xmlns:a16="http://schemas.microsoft.com/office/drawing/2014/main" id="{6215BCD5-F401-4BFD-87BD-79E8D19F23C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5" y="3083"/>
              <a:ext cx="396" cy="548"/>
              <a:chOff x="505" y="3083"/>
              <a:chExt cx="396" cy="548"/>
            </a:xfrm>
          </p:grpSpPr>
          <p:sp>
            <p:nvSpPr>
              <p:cNvPr id="501" name="Freeform 102">
                <a:extLst>
                  <a:ext uri="{FF2B5EF4-FFF2-40B4-BE49-F238E27FC236}">
                    <a16:creationId xmlns:a16="http://schemas.microsoft.com/office/drawing/2014/main" id="{9C9E2F77-42A6-4E7B-9140-3FFC3CC08B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" y="3083"/>
                <a:ext cx="396" cy="548"/>
              </a:xfrm>
              <a:custGeom>
                <a:avLst/>
                <a:gdLst>
                  <a:gd name="T0" fmla="*/ 386 w 396"/>
                  <a:gd name="T1" fmla="*/ 99 h 548"/>
                  <a:gd name="T2" fmla="*/ 373 w 396"/>
                  <a:gd name="T3" fmla="*/ 83 h 548"/>
                  <a:gd name="T4" fmla="*/ 353 w 396"/>
                  <a:gd name="T5" fmla="*/ 62 h 548"/>
                  <a:gd name="T6" fmla="*/ 327 w 396"/>
                  <a:gd name="T7" fmla="*/ 55 h 548"/>
                  <a:gd name="T8" fmla="*/ 323 w 396"/>
                  <a:gd name="T9" fmla="*/ 43 h 548"/>
                  <a:gd name="T10" fmla="*/ 298 w 396"/>
                  <a:gd name="T11" fmla="*/ 37 h 548"/>
                  <a:gd name="T12" fmla="*/ 292 w 396"/>
                  <a:gd name="T13" fmla="*/ 25 h 548"/>
                  <a:gd name="T14" fmla="*/ 288 w 396"/>
                  <a:gd name="T15" fmla="*/ 13 h 548"/>
                  <a:gd name="T16" fmla="*/ 276 w 396"/>
                  <a:gd name="T17" fmla="*/ 2 h 548"/>
                  <a:gd name="T18" fmla="*/ 261 w 396"/>
                  <a:gd name="T19" fmla="*/ 0 h 548"/>
                  <a:gd name="T20" fmla="*/ 256 w 396"/>
                  <a:gd name="T21" fmla="*/ 17 h 548"/>
                  <a:gd name="T22" fmla="*/ 243 w 396"/>
                  <a:gd name="T23" fmla="*/ 22 h 548"/>
                  <a:gd name="T24" fmla="*/ 230 w 396"/>
                  <a:gd name="T25" fmla="*/ 38 h 548"/>
                  <a:gd name="T26" fmla="*/ 222 w 396"/>
                  <a:gd name="T27" fmla="*/ 29 h 548"/>
                  <a:gd name="T28" fmla="*/ 206 w 396"/>
                  <a:gd name="T29" fmla="*/ 23 h 548"/>
                  <a:gd name="T30" fmla="*/ 193 w 396"/>
                  <a:gd name="T31" fmla="*/ 30 h 548"/>
                  <a:gd name="T32" fmla="*/ 175 w 396"/>
                  <a:gd name="T33" fmla="*/ 43 h 548"/>
                  <a:gd name="T34" fmla="*/ 164 w 396"/>
                  <a:gd name="T35" fmla="*/ 57 h 548"/>
                  <a:gd name="T36" fmla="*/ 147 w 396"/>
                  <a:gd name="T37" fmla="*/ 61 h 548"/>
                  <a:gd name="T38" fmla="*/ 124 w 396"/>
                  <a:gd name="T39" fmla="*/ 54 h 548"/>
                  <a:gd name="T40" fmla="*/ 104 w 396"/>
                  <a:gd name="T41" fmla="*/ 51 h 548"/>
                  <a:gd name="T42" fmla="*/ 82 w 396"/>
                  <a:gd name="T43" fmla="*/ 67 h 548"/>
                  <a:gd name="T44" fmla="*/ 61 w 396"/>
                  <a:gd name="T45" fmla="*/ 60 h 548"/>
                  <a:gd name="T46" fmla="*/ 30 w 396"/>
                  <a:gd name="T47" fmla="*/ 83 h 548"/>
                  <a:gd name="T48" fmla="*/ 21 w 396"/>
                  <a:gd name="T49" fmla="*/ 106 h 548"/>
                  <a:gd name="T50" fmla="*/ 18 w 396"/>
                  <a:gd name="T51" fmla="*/ 153 h 548"/>
                  <a:gd name="T52" fmla="*/ 26 w 396"/>
                  <a:gd name="T53" fmla="*/ 178 h 548"/>
                  <a:gd name="T54" fmla="*/ 36 w 396"/>
                  <a:gd name="T55" fmla="*/ 205 h 548"/>
                  <a:gd name="T56" fmla="*/ 49 w 396"/>
                  <a:gd name="T57" fmla="*/ 232 h 548"/>
                  <a:gd name="T58" fmla="*/ 53 w 396"/>
                  <a:gd name="T59" fmla="*/ 284 h 548"/>
                  <a:gd name="T60" fmla="*/ 90 w 396"/>
                  <a:gd name="T61" fmla="*/ 331 h 548"/>
                  <a:gd name="T62" fmla="*/ 118 w 396"/>
                  <a:gd name="T63" fmla="*/ 336 h 548"/>
                  <a:gd name="T64" fmla="*/ 144 w 396"/>
                  <a:gd name="T65" fmla="*/ 377 h 548"/>
                  <a:gd name="T66" fmla="*/ 160 w 396"/>
                  <a:gd name="T67" fmla="*/ 412 h 548"/>
                  <a:gd name="T68" fmla="*/ 204 w 396"/>
                  <a:gd name="T69" fmla="*/ 463 h 548"/>
                  <a:gd name="T70" fmla="*/ 224 w 396"/>
                  <a:gd name="T71" fmla="*/ 492 h 548"/>
                  <a:gd name="T72" fmla="*/ 236 w 396"/>
                  <a:gd name="T73" fmla="*/ 537 h 548"/>
                  <a:gd name="T74" fmla="*/ 259 w 396"/>
                  <a:gd name="T75" fmla="*/ 532 h 548"/>
                  <a:gd name="T76" fmla="*/ 275 w 396"/>
                  <a:gd name="T77" fmla="*/ 504 h 548"/>
                  <a:gd name="T78" fmla="*/ 282 w 396"/>
                  <a:gd name="T79" fmla="*/ 466 h 548"/>
                  <a:gd name="T80" fmla="*/ 292 w 396"/>
                  <a:gd name="T81" fmla="*/ 462 h 548"/>
                  <a:gd name="T82" fmla="*/ 311 w 396"/>
                  <a:gd name="T83" fmla="*/ 456 h 548"/>
                  <a:gd name="T84" fmla="*/ 320 w 396"/>
                  <a:gd name="T85" fmla="*/ 437 h 548"/>
                  <a:gd name="T86" fmla="*/ 316 w 396"/>
                  <a:gd name="T87" fmla="*/ 421 h 548"/>
                  <a:gd name="T88" fmla="*/ 327 w 396"/>
                  <a:gd name="T89" fmla="*/ 411 h 548"/>
                  <a:gd name="T90" fmla="*/ 331 w 396"/>
                  <a:gd name="T91" fmla="*/ 396 h 548"/>
                  <a:gd name="T92" fmla="*/ 343 w 396"/>
                  <a:gd name="T93" fmla="*/ 381 h 548"/>
                  <a:gd name="T94" fmla="*/ 350 w 396"/>
                  <a:gd name="T95" fmla="*/ 364 h 548"/>
                  <a:gd name="T96" fmla="*/ 345 w 396"/>
                  <a:gd name="T97" fmla="*/ 347 h 548"/>
                  <a:gd name="T98" fmla="*/ 351 w 396"/>
                  <a:gd name="T99" fmla="*/ 331 h 548"/>
                  <a:gd name="T100" fmla="*/ 349 w 396"/>
                  <a:gd name="T101" fmla="*/ 321 h 548"/>
                  <a:gd name="T102" fmla="*/ 351 w 396"/>
                  <a:gd name="T103" fmla="*/ 309 h 548"/>
                  <a:gd name="T104" fmla="*/ 348 w 396"/>
                  <a:gd name="T105" fmla="*/ 298 h 548"/>
                  <a:gd name="T106" fmla="*/ 348 w 396"/>
                  <a:gd name="T107" fmla="*/ 277 h 548"/>
                  <a:gd name="T108" fmla="*/ 349 w 396"/>
                  <a:gd name="T109" fmla="*/ 238 h 548"/>
                  <a:gd name="T110" fmla="*/ 342 w 396"/>
                  <a:gd name="T111" fmla="*/ 232 h 548"/>
                  <a:gd name="T112" fmla="*/ 344 w 396"/>
                  <a:gd name="T113" fmla="*/ 218 h 548"/>
                  <a:gd name="T114" fmla="*/ 344 w 396"/>
                  <a:gd name="T115" fmla="*/ 212 h 548"/>
                  <a:gd name="T116" fmla="*/ 347 w 396"/>
                  <a:gd name="T117" fmla="*/ 195 h 548"/>
                  <a:gd name="T118" fmla="*/ 367 w 396"/>
                  <a:gd name="T119" fmla="*/ 195 h 548"/>
                  <a:gd name="T120" fmla="*/ 379 w 396"/>
                  <a:gd name="T121" fmla="*/ 180 h 548"/>
                  <a:gd name="T122" fmla="*/ 381 w 396"/>
                  <a:gd name="T123" fmla="*/ 161 h 548"/>
                  <a:gd name="T124" fmla="*/ 386 w 396"/>
                  <a:gd name="T125" fmla="*/ 131 h 54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6"/>
                  <a:gd name="T190" fmla="*/ 0 h 548"/>
                  <a:gd name="T191" fmla="*/ 396 w 396"/>
                  <a:gd name="T192" fmla="*/ 548 h 54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6" h="548">
                    <a:moveTo>
                      <a:pt x="392" y="121"/>
                    </a:moveTo>
                    <a:lnTo>
                      <a:pt x="392" y="118"/>
                    </a:lnTo>
                    <a:lnTo>
                      <a:pt x="392" y="116"/>
                    </a:lnTo>
                    <a:lnTo>
                      <a:pt x="392" y="114"/>
                    </a:lnTo>
                    <a:lnTo>
                      <a:pt x="391" y="113"/>
                    </a:lnTo>
                    <a:lnTo>
                      <a:pt x="392" y="111"/>
                    </a:lnTo>
                    <a:lnTo>
                      <a:pt x="392" y="110"/>
                    </a:lnTo>
                    <a:lnTo>
                      <a:pt x="392" y="107"/>
                    </a:lnTo>
                    <a:lnTo>
                      <a:pt x="393" y="105"/>
                    </a:lnTo>
                    <a:lnTo>
                      <a:pt x="396" y="104"/>
                    </a:lnTo>
                    <a:lnTo>
                      <a:pt x="392" y="104"/>
                    </a:lnTo>
                    <a:lnTo>
                      <a:pt x="390" y="103"/>
                    </a:lnTo>
                    <a:lnTo>
                      <a:pt x="386" y="99"/>
                    </a:lnTo>
                    <a:lnTo>
                      <a:pt x="384" y="96"/>
                    </a:lnTo>
                    <a:lnTo>
                      <a:pt x="379" y="95"/>
                    </a:lnTo>
                    <a:lnTo>
                      <a:pt x="378" y="94"/>
                    </a:lnTo>
                    <a:lnTo>
                      <a:pt x="375" y="95"/>
                    </a:lnTo>
                    <a:lnTo>
                      <a:pt x="373" y="94"/>
                    </a:lnTo>
                    <a:lnTo>
                      <a:pt x="373" y="93"/>
                    </a:lnTo>
                    <a:lnTo>
                      <a:pt x="375" y="94"/>
                    </a:lnTo>
                    <a:lnTo>
                      <a:pt x="376" y="89"/>
                    </a:lnTo>
                    <a:lnTo>
                      <a:pt x="376" y="87"/>
                    </a:lnTo>
                    <a:lnTo>
                      <a:pt x="376" y="86"/>
                    </a:lnTo>
                    <a:lnTo>
                      <a:pt x="376" y="83"/>
                    </a:lnTo>
                    <a:lnTo>
                      <a:pt x="373" y="83"/>
                    </a:lnTo>
                    <a:lnTo>
                      <a:pt x="371" y="82"/>
                    </a:lnTo>
                    <a:lnTo>
                      <a:pt x="369" y="81"/>
                    </a:lnTo>
                    <a:lnTo>
                      <a:pt x="365" y="81"/>
                    </a:lnTo>
                    <a:lnTo>
                      <a:pt x="363" y="82"/>
                    </a:lnTo>
                    <a:lnTo>
                      <a:pt x="363" y="79"/>
                    </a:lnTo>
                    <a:lnTo>
                      <a:pt x="362" y="75"/>
                    </a:lnTo>
                    <a:lnTo>
                      <a:pt x="360" y="74"/>
                    </a:lnTo>
                    <a:lnTo>
                      <a:pt x="359" y="75"/>
                    </a:lnTo>
                    <a:lnTo>
                      <a:pt x="359" y="74"/>
                    </a:lnTo>
                    <a:lnTo>
                      <a:pt x="357" y="71"/>
                    </a:lnTo>
                    <a:lnTo>
                      <a:pt x="356" y="71"/>
                    </a:lnTo>
                    <a:lnTo>
                      <a:pt x="356" y="65"/>
                    </a:lnTo>
                    <a:lnTo>
                      <a:pt x="354" y="64"/>
                    </a:lnTo>
                    <a:lnTo>
                      <a:pt x="353" y="62"/>
                    </a:lnTo>
                    <a:lnTo>
                      <a:pt x="351" y="62"/>
                    </a:lnTo>
                    <a:lnTo>
                      <a:pt x="350" y="61"/>
                    </a:lnTo>
                    <a:lnTo>
                      <a:pt x="349" y="63"/>
                    </a:lnTo>
                    <a:lnTo>
                      <a:pt x="348" y="63"/>
                    </a:lnTo>
                    <a:lnTo>
                      <a:pt x="346" y="62"/>
                    </a:lnTo>
                    <a:lnTo>
                      <a:pt x="346" y="63"/>
                    </a:lnTo>
                    <a:lnTo>
                      <a:pt x="346" y="64"/>
                    </a:lnTo>
                    <a:lnTo>
                      <a:pt x="339" y="64"/>
                    </a:lnTo>
                    <a:lnTo>
                      <a:pt x="337" y="63"/>
                    </a:lnTo>
                    <a:lnTo>
                      <a:pt x="329" y="61"/>
                    </a:lnTo>
                    <a:lnTo>
                      <a:pt x="329" y="60"/>
                    </a:lnTo>
                    <a:lnTo>
                      <a:pt x="328" y="59"/>
                    </a:lnTo>
                    <a:lnTo>
                      <a:pt x="328" y="58"/>
                    </a:lnTo>
                    <a:lnTo>
                      <a:pt x="326" y="56"/>
                    </a:lnTo>
                    <a:lnTo>
                      <a:pt x="327" y="55"/>
                    </a:lnTo>
                    <a:lnTo>
                      <a:pt x="326" y="54"/>
                    </a:lnTo>
                    <a:lnTo>
                      <a:pt x="324" y="53"/>
                    </a:lnTo>
                    <a:lnTo>
                      <a:pt x="323" y="51"/>
                    </a:lnTo>
                    <a:lnTo>
                      <a:pt x="322" y="51"/>
                    </a:lnTo>
                    <a:lnTo>
                      <a:pt x="321" y="50"/>
                    </a:lnTo>
                    <a:lnTo>
                      <a:pt x="318" y="50"/>
                    </a:lnTo>
                    <a:lnTo>
                      <a:pt x="317" y="47"/>
                    </a:lnTo>
                    <a:lnTo>
                      <a:pt x="315" y="47"/>
                    </a:lnTo>
                    <a:lnTo>
                      <a:pt x="313" y="46"/>
                    </a:lnTo>
                    <a:lnTo>
                      <a:pt x="314" y="42"/>
                    </a:lnTo>
                    <a:lnTo>
                      <a:pt x="315" y="43"/>
                    </a:lnTo>
                    <a:lnTo>
                      <a:pt x="316" y="42"/>
                    </a:lnTo>
                    <a:lnTo>
                      <a:pt x="320" y="42"/>
                    </a:lnTo>
                    <a:lnTo>
                      <a:pt x="323" y="44"/>
                    </a:lnTo>
                    <a:lnTo>
                      <a:pt x="323" y="43"/>
                    </a:lnTo>
                    <a:lnTo>
                      <a:pt x="321" y="42"/>
                    </a:lnTo>
                    <a:lnTo>
                      <a:pt x="320" y="42"/>
                    </a:lnTo>
                    <a:lnTo>
                      <a:pt x="319" y="37"/>
                    </a:lnTo>
                    <a:lnTo>
                      <a:pt x="318" y="37"/>
                    </a:lnTo>
                    <a:lnTo>
                      <a:pt x="313" y="37"/>
                    </a:lnTo>
                    <a:lnTo>
                      <a:pt x="311" y="40"/>
                    </a:lnTo>
                    <a:lnTo>
                      <a:pt x="309" y="40"/>
                    </a:lnTo>
                    <a:lnTo>
                      <a:pt x="308" y="38"/>
                    </a:lnTo>
                    <a:lnTo>
                      <a:pt x="308" y="37"/>
                    </a:lnTo>
                    <a:lnTo>
                      <a:pt x="308" y="36"/>
                    </a:lnTo>
                    <a:lnTo>
                      <a:pt x="307" y="36"/>
                    </a:lnTo>
                    <a:lnTo>
                      <a:pt x="306" y="34"/>
                    </a:lnTo>
                    <a:lnTo>
                      <a:pt x="305" y="36"/>
                    </a:lnTo>
                    <a:lnTo>
                      <a:pt x="299" y="34"/>
                    </a:lnTo>
                    <a:lnTo>
                      <a:pt x="298" y="37"/>
                    </a:lnTo>
                    <a:lnTo>
                      <a:pt x="296" y="37"/>
                    </a:lnTo>
                    <a:lnTo>
                      <a:pt x="295" y="40"/>
                    </a:lnTo>
                    <a:lnTo>
                      <a:pt x="294" y="40"/>
                    </a:lnTo>
                    <a:lnTo>
                      <a:pt x="293" y="39"/>
                    </a:lnTo>
                    <a:lnTo>
                      <a:pt x="293" y="36"/>
                    </a:lnTo>
                    <a:lnTo>
                      <a:pt x="288" y="36"/>
                    </a:lnTo>
                    <a:lnTo>
                      <a:pt x="286" y="36"/>
                    </a:lnTo>
                    <a:lnTo>
                      <a:pt x="286" y="34"/>
                    </a:lnTo>
                    <a:lnTo>
                      <a:pt x="288" y="32"/>
                    </a:lnTo>
                    <a:lnTo>
                      <a:pt x="288" y="30"/>
                    </a:lnTo>
                    <a:lnTo>
                      <a:pt x="290" y="29"/>
                    </a:lnTo>
                    <a:lnTo>
                      <a:pt x="291" y="29"/>
                    </a:lnTo>
                    <a:lnTo>
                      <a:pt x="290" y="27"/>
                    </a:lnTo>
                    <a:lnTo>
                      <a:pt x="292" y="25"/>
                    </a:lnTo>
                    <a:lnTo>
                      <a:pt x="292" y="23"/>
                    </a:lnTo>
                    <a:lnTo>
                      <a:pt x="294" y="24"/>
                    </a:lnTo>
                    <a:lnTo>
                      <a:pt x="296" y="24"/>
                    </a:lnTo>
                    <a:lnTo>
                      <a:pt x="297" y="20"/>
                    </a:lnTo>
                    <a:lnTo>
                      <a:pt x="296" y="17"/>
                    </a:lnTo>
                    <a:lnTo>
                      <a:pt x="294" y="16"/>
                    </a:lnTo>
                    <a:lnTo>
                      <a:pt x="294" y="13"/>
                    </a:lnTo>
                    <a:lnTo>
                      <a:pt x="292" y="15"/>
                    </a:lnTo>
                    <a:lnTo>
                      <a:pt x="291" y="13"/>
                    </a:lnTo>
                    <a:lnTo>
                      <a:pt x="292" y="10"/>
                    </a:lnTo>
                    <a:lnTo>
                      <a:pt x="291" y="9"/>
                    </a:lnTo>
                    <a:lnTo>
                      <a:pt x="291" y="12"/>
                    </a:lnTo>
                    <a:lnTo>
                      <a:pt x="288" y="13"/>
                    </a:lnTo>
                    <a:lnTo>
                      <a:pt x="287" y="13"/>
                    </a:lnTo>
                    <a:lnTo>
                      <a:pt x="286" y="13"/>
                    </a:lnTo>
                    <a:lnTo>
                      <a:pt x="283" y="14"/>
                    </a:lnTo>
                    <a:lnTo>
                      <a:pt x="282" y="13"/>
                    </a:lnTo>
                    <a:lnTo>
                      <a:pt x="282" y="7"/>
                    </a:lnTo>
                    <a:lnTo>
                      <a:pt x="281" y="7"/>
                    </a:lnTo>
                    <a:lnTo>
                      <a:pt x="280" y="7"/>
                    </a:lnTo>
                    <a:lnTo>
                      <a:pt x="279" y="7"/>
                    </a:lnTo>
                    <a:lnTo>
                      <a:pt x="280" y="4"/>
                    </a:lnTo>
                    <a:lnTo>
                      <a:pt x="278" y="3"/>
                    </a:lnTo>
                    <a:lnTo>
                      <a:pt x="278" y="2"/>
                    </a:lnTo>
                    <a:lnTo>
                      <a:pt x="280" y="2"/>
                    </a:lnTo>
                    <a:lnTo>
                      <a:pt x="279" y="1"/>
                    </a:lnTo>
                    <a:lnTo>
                      <a:pt x="277" y="2"/>
                    </a:lnTo>
                    <a:lnTo>
                      <a:pt x="276" y="2"/>
                    </a:lnTo>
                    <a:lnTo>
                      <a:pt x="275" y="3"/>
                    </a:lnTo>
                    <a:lnTo>
                      <a:pt x="275" y="6"/>
                    </a:lnTo>
                    <a:lnTo>
                      <a:pt x="273" y="6"/>
                    </a:lnTo>
                    <a:lnTo>
                      <a:pt x="272" y="7"/>
                    </a:lnTo>
                    <a:lnTo>
                      <a:pt x="270" y="7"/>
                    </a:lnTo>
                    <a:lnTo>
                      <a:pt x="271" y="3"/>
                    </a:lnTo>
                    <a:lnTo>
                      <a:pt x="271" y="0"/>
                    </a:lnTo>
                    <a:lnTo>
                      <a:pt x="270" y="0"/>
                    </a:lnTo>
                    <a:lnTo>
                      <a:pt x="270" y="1"/>
                    </a:lnTo>
                    <a:lnTo>
                      <a:pt x="265" y="0"/>
                    </a:lnTo>
                    <a:lnTo>
                      <a:pt x="264" y="0"/>
                    </a:lnTo>
                    <a:lnTo>
                      <a:pt x="264" y="1"/>
                    </a:lnTo>
                    <a:lnTo>
                      <a:pt x="263" y="2"/>
                    </a:lnTo>
                    <a:lnTo>
                      <a:pt x="262" y="1"/>
                    </a:lnTo>
                    <a:lnTo>
                      <a:pt x="261" y="0"/>
                    </a:lnTo>
                    <a:lnTo>
                      <a:pt x="259" y="0"/>
                    </a:lnTo>
                    <a:lnTo>
                      <a:pt x="261" y="1"/>
                    </a:lnTo>
                    <a:lnTo>
                      <a:pt x="261" y="2"/>
                    </a:lnTo>
                    <a:lnTo>
                      <a:pt x="257" y="9"/>
                    </a:lnTo>
                    <a:lnTo>
                      <a:pt x="258" y="11"/>
                    </a:lnTo>
                    <a:lnTo>
                      <a:pt x="261" y="10"/>
                    </a:lnTo>
                    <a:lnTo>
                      <a:pt x="261" y="12"/>
                    </a:lnTo>
                    <a:lnTo>
                      <a:pt x="262" y="12"/>
                    </a:lnTo>
                    <a:lnTo>
                      <a:pt x="262" y="14"/>
                    </a:lnTo>
                    <a:lnTo>
                      <a:pt x="261" y="15"/>
                    </a:lnTo>
                    <a:lnTo>
                      <a:pt x="260" y="18"/>
                    </a:lnTo>
                    <a:lnTo>
                      <a:pt x="257" y="19"/>
                    </a:lnTo>
                    <a:lnTo>
                      <a:pt x="256" y="17"/>
                    </a:lnTo>
                    <a:lnTo>
                      <a:pt x="255" y="17"/>
                    </a:lnTo>
                    <a:lnTo>
                      <a:pt x="256" y="20"/>
                    </a:lnTo>
                    <a:lnTo>
                      <a:pt x="256" y="21"/>
                    </a:lnTo>
                    <a:lnTo>
                      <a:pt x="254" y="20"/>
                    </a:lnTo>
                    <a:lnTo>
                      <a:pt x="252" y="21"/>
                    </a:lnTo>
                    <a:lnTo>
                      <a:pt x="249" y="20"/>
                    </a:lnTo>
                    <a:lnTo>
                      <a:pt x="249" y="23"/>
                    </a:lnTo>
                    <a:lnTo>
                      <a:pt x="247" y="23"/>
                    </a:lnTo>
                    <a:lnTo>
                      <a:pt x="247" y="20"/>
                    </a:lnTo>
                    <a:lnTo>
                      <a:pt x="246" y="23"/>
                    </a:lnTo>
                    <a:lnTo>
                      <a:pt x="245" y="22"/>
                    </a:lnTo>
                    <a:lnTo>
                      <a:pt x="244" y="20"/>
                    </a:lnTo>
                    <a:lnTo>
                      <a:pt x="242" y="20"/>
                    </a:lnTo>
                    <a:lnTo>
                      <a:pt x="243" y="22"/>
                    </a:lnTo>
                    <a:lnTo>
                      <a:pt x="242" y="23"/>
                    </a:lnTo>
                    <a:lnTo>
                      <a:pt x="241" y="24"/>
                    </a:lnTo>
                    <a:lnTo>
                      <a:pt x="242" y="24"/>
                    </a:lnTo>
                    <a:lnTo>
                      <a:pt x="244" y="26"/>
                    </a:lnTo>
                    <a:lnTo>
                      <a:pt x="242" y="26"/>
                    </a:lnTo>
                    <a:lnTo>
                      <a:pt x="244" y="32"/>
                    </a:lnTo>
                    <a:lnTo>
                      <a:pt x="244" y="33"/>
                    </a:lnTo>
                    <a:lnTo>
                      <a:pt x="242" y="33"/>
                    </a:lnTo>
                    <a:lnTo>
                      <a:pt x="239" y="37"/>
                    </a:lnTo>
                    <a:lnTo>
                      <a:pt x="239" y="41"/>
                    </a:lnTo>
                    <a:lnTo>
                      <a:pt x="241" y="44"/>
                    </a:lnTo>
                    <a:lnTo>
                      <a:pt x="239" y="45"/>
                    </a:lnTo>
                    <a:lnTo>
                      <a:pt x="237" y="46"/>
                    </a:lnTo>
                    <a:lnTo>
                      <a:pt x="233" y="43"/>
                    </a:lnTo>
                    <a:lnTo>
                      <a:pt x="230" y="38"/>
                    </a:lnTo>
                    <a:lnTo>
                      <a:pt x="228" y="36"/>
                    </a:lnTo>
                    <a:lnTo>
                      <a:pt x="228" y="35"/>
                    </a:lnTo>
                    <a:lnTo>
                      <a:pt x="228" y="33"/>
                    </a:lnTo>
                    <a:lnTo>
                      <a:pt x="227" y="37"/>
                    </a:lnTo>
                    <a:lnTo>
                      <a:pt x="226" y="36"/>
                    </a:lnTo>
                    <a:lnTo>
                      <a:pt x="226" y="34"/>
                    </a:lnTo>
                    <a:lnTo>
                      <a:pt x="226" y="33"/>
                    </a:lnTo>
                    <a:lnTo>
                      <a:pt x="225" y="33"/>
                    </a:lnTo>
                    <a:lnTo>
                      <a:pt x="225" y="32"/>
                    </a:lnTo>
                    <a:lnTo>
                      <a:pt x="224" y="32"/>
                    </a:lnTo>
                    <a:lnTo>
                      <a:pt x="223" y="30"/>
                    </a:lnTo>
                    <a:lnTo>
                      <a:pt x="223" y="31"/>
                    </a:lnTo>
                    <a:lnTo>
                      <a:pt x="222" y="31"/>
                    </a:lnTo>
                    <a:lnTo>
                      <a:pt x="222" y="29"/>
                    </a:lnTo>
                    <a:lnTo>
                      <a:pt x="221" y="29"/>
                    </a:lnTo>
                    <a:lnTo>
                      <a:pt x="218" y="28"/>
                    </a:lnTo>
                    <a:lnTo>
                      <a:pt x="219" y="28"/>
                    </a:lnTo>
                    <a:lnTo>
                      <a:pt x="219" y="26"/>
                    </a:lnTo>
                    <a:lnTo>
                      <a:pt x="216" y="28"/>
                    </a:lnTo>
                    <a:lnTo>
                      <a:pt x="214" y="27"/>
                    </a:lnTo>
                    <a:lnTo>
                      <a:pt x="214" y="28"/>
                    </a:lnTo>
                    <a:lnTo>
                      <a:pt x="213" y="26"/>
                    </a:lnTo>
                    <a:lnTo>
                      <a:pt x="211" y="28"/>
                    </a:lnTo>
                    <a:lnTo>
                      <a:pt x="209" y="25"/>
                    </a:lnTo>
                    <a:lnTo>
                      <a:pt x="208" y="26"/>
                    </a:lnTo>
                    <a:lnTo>
                      <a:pt x="207" y="25"/>
                    </a:lnTo>
                    <a:lnTo>
                      <a:pt x="207" y="23"/>
                    </a:lnTo>
                    <a:lnTo>
                      <a:pt x="206" y="23"/>
                    </a:lnTo>
                    <a:lnTo>
                      <a:pt x="206" y="20"/>
                    </a:lnTo>
                    <a:lnTo>
                      <a:pt x="204" y="23"/>
                    </a:lnTo>
                    <a:lnTo>
                      <a:pt x="203" y="23"/>
                    </a:lnTo>
                    <a:lnTo>
                      <a:pt x="201" y="24"/>
                    </a:lnTo>
                    <a:lnTo>
                      <a:pt x="201" y="23"/>
                    </a:lnTo>
                    <a:lnTo>
                      <a:pt x="201" y="24"/>
                    </a:lnTo>
                    <a:lnTo>
                      <a:pt x="201" y="28"/>
                    </a:lnTo>
                    <a:lnTo>
                      <a:pt x="199" y="28"/>
                    </a:lnTo>
                    <a:lnTo>
                      <a:pt x="197" y="26"/>
                    </a:lnTo>
                    <a:lnTo>
                      <a:pt x="196" y="29"/>
                    </a:lnTo>
                    <a:lnTo>
                      <a:pt x="198" y="29"/>
                    </a:lnTo>
                    <a:lnTo>
                      <a:pt x="198" y="30"/>
                    </a:lnTo>
                    <a:lnTo>
                      <a:pt x="196" y="32"/>
                    </a:lnTo>
                    <a:lnTo>
                      <a:pt x="193" y="30"/>
                    </a:lnTo>
                    <a:lnTo>
                      <a:pt x="192" y="31"/>
                    </a:lnTo>
                    <a:lnTo>
                      <a:pt x="191" y="33"/>
                    </a:lnTo>
                    <a:lnTo>
                      <a:pt x="190" y="34"/>
                    </a:lnTo>
                    <a:lnTo>
                      <a:pt x="187" y="33"/>
                    </a:lnTo>
                    <a:lnTo>
                      <a:pt x="187" y="35"/>
                    </a:lnTo>
                    <a:lnTo>
                      <a:pt x="186" y="36"/>
                    </a:lnTo>
                    <a:lnTo>
                      <a:pt x="184" y="36"/>
                    </a:lnTo>
                    <a:lnTo>
                      <a:pt x="182" y="37"/>
                    </a:lnTo>
                    <a:lnTo>
                      <a:pt x="182" y="38"/>
                    </a:lnTo>
                    <a:lnTo>
                      <a:pt x="181" y="40"/>
                    </a:lnTo>
                    <a:lnTo>
                      <a:pt x="180" y="37"/>
                    </a:lnTo>
                    <a:lnTo>
                      <a:pt x="176" y="37"/>
                    </a:lnTo>
                    <a:lnTo>
                      <a:pt x="176" y="43"/>
                    </a:lnTo>
                    <a:lnTo>
                      <a:pt x="175" y="43"/>
                    </a:lnTo>
                    <a:lnTo>
                      <a:pt x="176" y="42"/>
                    </a:lnTo>
                    <a:lnTo>
                      <a:pt x="174" y="41"/>
                    </a:lnTo>
                    <a:lnTo>
                      <a:pt x="172" y="43"/>
                    </a:lnTo>
                    <a:lnTo>
                      <a:pt x="169" y="42"/>
                    </a:lnTo>
                    <a:lnTo>
                      <a:pt x="166" y="42"/>
                    </a:lnTo>
                    <a:lnTo>
                      <a:pt x="164" y="43"/>
                    </a:lnTo>
                    <a:lnTo>
                      <a:pt x="163" y="46"/>
                    </a:lnTo>
                    <a:lnTo>
                      <a:pt x="166" y="51"/>
                    </a:lnTo>
                    <a:lnTo>
                      <a:pt x="166" y="53"/>
                    </a:lnTo>
                    <a:lnTo>
                      <a:pt x="164" y="52"/>
                    </a:lnTo>
                    <a:lnTo>
                      <a:pt x="163" y="53"/>
                    </a:lnTo>
                    <a:lnTo>
                      <a:pt x="164" y="53"/>
                    </a:lnTo>
                    <a:lnTo>
                      <a:pt x="163" y="54"/>
                    </a:lnTo>
                    <a:lnTo>
                      <a:pt x="164" y="55"/>
                    </a:lnTo>
                    <a:lnTo>
                      <a:pt x="164" y="57"/>
                    </a:lnTo>
                    <a:lnTo>
                      <a:pt x="163" y="59"/>
                    </a:lnTo>
                    <a:lnTo>
                      <a:pt x="162" y="60"/>
                    </a:lnTo>
                    <a:lnTo>
                      <a:pt x="161" y="59"/>
                    </a:lnTo>
                    <a:lnTo>
                      <a:pt x="160" y="60"/>
                    </a:lnTo>
                    <a:lnTo>
                      <a:pt x="158" y="61"/>
                    </a:lnTo>
                    <a:lnTo>
                      <a:pt x="156" y="63"/>
                    </a:lnTo>
                    <a:lnTo>
                      <a:pt x="155" y="63"/>
                    </a:lnTo>
                    <a:lnTo>
                      <a:pt x="155" y="64"/>
                    </a:lnTo>
                    <a:lnTo>
                      <a:pt x="153" y="63"/>
                    </a:lnTo>
                    <a:lnTo>
                      <a:pt x="153" y="66"/>
                    </a:lnTo>
                    <a:lnTo>
                      <a:pt x="152" y="66"/>
                    </a:lnTo>
                    <a:lnTo>
                      <a:pt x="148" y="63"/>
                    </a:lnTo>
                    <a:lnTo>
                      <a:pt x="147" y="61"/>
                    </a:lnTo>
                    <a:lnTo>
                      <a:pt x="147" y="60"/>
                    </a:lnTo>
                    <a:lnTo>
                      <a:pt x="145" y="59"/>
                    </a:lnTo>
                    <a:lnTo>
                      <a:pt x="143" y="58"/>
                    </a:lnTo>
                    <a:lnTo>
                      <a:pt x="139" y="62"/>
                    </a:lnTo>
                    <a:lnTo>
                      <a:pt x="136" y="60"/>
                    </a:lnTo>
                    <a:lnTo>
                      <a:pt x="133" y="60"/>
                    </a:lnTo>
                    <a:lnTo>
                      <a:pt x="132" y="61"/>
                    </a:lnTo>
                    <a:lnTo>
                      <a:pt x="132" y="58"/>
                    </a:lnTo>
                    <a:lnTo>
                      <a:pt x="130" y="55"/>
                    </a:lnTo>
                    <a:lnTo>
                      <a:pt x="127" y="57"/>
                    </a:lnTo>
                    <a:lnTo>
                      <a:pt x="125" y="55"/>
                    </a:lnTo>
                    <a:lnTo>
                      <a:pt x="125" y="57"/>
                    </a:lnTo>
                    <a:lnTo>
                      <a:pt x="124" y="57"/>
                    </a:lnTo>
                    <a:lnTo>
                      <a:pt x="123" y="55"/>
                    </a:lnTo>
                    <a:lnTo>
                      <a:pt x="124" y="54"/>
                    </a:lnTo>
                    <a:lnTo>
                      <a:pt x="123" y="54"/>
                    </a:lnTo>
                    <a:lnTo>
                      <a:pt x="123" y="53"/>
                    </a:lnTo>
                    <a:lnTo>
                      <a:pt x="122" y="52"/>
                    </a:lnTo>
                    <a:lnTo>
                      <a:pt x="120" y="52"/>
                    </a:lnTo>
                    <a:lnTo>
                      <a:pt x="119" y="50"/>
                    </a:lnTo>
                    <a:lnTo>
                      <a:pt x="117" y="50"/>
                    </a:lnTo>
                    <a:lnTo>
                      <a:pt x="116" y="52"/>
                    </a:lnTo>
                    <a:lnTo>
                      <a:pt x="114" y="53"/>
                    </a:lnTo>
                    <a:lnTo>
                      <a:pt x="112" y="54"/>
                    </a:lnTo>
                    <a:lnTo>
                      <a:pt x="111" y="53"/>
                    </a:lnTo>
                    <a:lnTo>
                      <a:pt x="110" y="51"/>
                    </a:lnTo>
                    <a:lnTo>
                      <a:pt x="109" y="52"/>
                    </a:lnTo>
                    <a:lnTo>
                      <a:pt x="109" y="53"/>
                    </a:lnTo>
                    <a:lnTo>
                      <a:pt x="106" y="53"/>
                    </a:lnTo>
                    <a:lnTo>
                      <a:pt x="104" y="51"/>
                    </a:lnTo>
                    <a:lnTo>
                      <a:pt x="104" y="53"/>
                    </a:lnTo>
                    <a:lnTo>
                      <a:pt x="100" y="56"/>
                    </a:lnTo>
                    <a:lnTo>
                      <a:pt x="98" y="56"/>
                    </a:lnTo>
                    <a:lnTo>
                      <a:pt x="96" y="54"/>
                    </a:lnTo>
                    <a:lnTo>
                      <a:pt x="93" y="53"/>
                    </a:lnTo>
                    <a:lnTo>
                      <a:pt x="92" y="53"/>
                    </a:lnTo>
                    <a:lnTo>
                      <a:pt x="94" y="56"/>
                    </a:lnTo>
                    <a:lnTo>
                      <a:pt x="94" y="60"/>
                    </a:lnTo>
                    <a:lnTo>
                      <a:pt x="89" y="59"/>
                    </a:lnTo>
                    <a:lnTo>
                      <a:pt x="84" y="60"/>
                    </a:lnTo>
                    <a:lnTo>
                      <a:pt x="85" y="62"/>
                    </a:lnTo>
                    <a:lnTo>
                      <a:pt x="85" y="66"/>
                    </a:lnTo>
                    <a:lnTo>
                      <a:pt x="85" y="68"/>
                    </a:lnTo>
                    <a:lnTo>
                      <a:pt x="82" y="67"/>
                    </a:lnTo>
                    <a:lnTo>
                      <a:pt x="82" y="66"/>
                    </a:lnTo>
                    <a:lnTo>
                      <a:pt x="82" y="65"/>
                    </a:lnTo>
                    <a:lnTo>
                      <a:pt x="82" y="59"/>
                    </a:lnTo>
                    <a:lnTo>
                      <a:pt x="80" y="57"/>
                    </a:lnTo>
                    <a:lnTo>
                      <a:pt x="76" y="54"/>
                    </a:lnTo>
                    <a:lnTo>
                      <a:pt x="71" y="54"/>
                    </a:lnTo>
                    <a:lnTo>
                      <a:pt x="71" y="56"/>
                    </a:lnTo>
                    <a:lnTo>
                      <a:pt x="70" y="55"/>
                    </a:lnTo>
                    <a:lnTo>
                      <a:pt x="70" y="57"/>
                    </a:lnTo>
                    <a:lnTo>
                      <a:pt x="68" y="57"/>
                    </a:lnTo>
                    <a:lnTo>
                      <a:pt x="66" y="57"/>
                    </a:lnTo>
                    <a:lnTo>
                      <a:pt x="66" y="62"/>
                    </a:lnTo>
                    <a:lnTo>
                      <a:pt x="63" y="60"/>
                    </a:lnTo>
                    <a:lnTo>
                      <a:pt x="62" y="63"/>
                    </a:lnTo>
                    <a:lnTo>
                      <a:pt x="61" y="60"/>
                    </a:lnTo>
                    <a:lnTo>
                      <a:pt x="58" y="57"/>
                    </a:lnTo>
                    <a:lnTo>
                      <a:pt x="54" y="57"/>
                    </a:lnTo>
                    <a:lnTo>
                      <a:pt x="50" y="55"/>
                    </a:lnTo>
                    <a:lnTo>
                      <a:pt x="49" y="59"/>
                    </a:lnTo>
                    <a:lnTo>
                      <a:pt x="47" y="61"/>
                    </a:lnTo>
                    <a:lnTo>
                      <a:pt x="46" y="61"/>
                    </a:lnTo>
                    <a:lnTo>
                      <a:pt x="41" y="64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8" y="72"/>
                    </a:lnTo>
                    <a:lnTo>
                      <a:pt x="37" y="75"/>
                    </a:lnTo>
                    <a:lnTo>
                      <a:pt x="33" y="75"/>
                    </a:lnTo>
                    <a:lnTo>
                      <a:pt x="32" y="84"/>
                    </a:lnTo>
                    <a:lnTo>
                      <a:pt x="31" y="83"/>
                    </a:lnTo>
                    <a:lnTo>
                      <a:pt x="30" y="83"/>
                    </a:lnTo>
                    <a:lnTo>
                      <a:pt x="29" y="81"/>
                    </a:lnTo>
                    <a:lnTo>
                      <a:pt x="28" y="81"/>
                    </a:lnTo>
                    <a:lnTo>
                      <a:pt x="26" y="83"/>
                    </a:lnTo>
                    <a:lnTo>
                      <a:pt x="24" y="85"/>
                    </a:lnTo>
                    <a:lnTo>
                      <a:pt x="25" y="89"/>
                    </a:lnTo>
                    <a:lnTo>
                      <a:pt x="24" y="91"/>
                    </a:lnTo>
                    <a:lnTo>
                      <a:pt x="23" y="94"/>
                    </a:lnTo>
                    <a:lnTo>
                      <a:pt x="21" y="94"/>
                    </a:lnTo>
                    <a:lnTo>
                      <a:pt x="21" y="95"/>
                    </a:lnTo>
                    <a:lnTo>
                      <a:pt x="22" y="100"/>
                    </a:lnTo>
                    <a:lnTo>
                      <a:pt x="20" y="102"/>
                    </a:lnTo>
                    <a:lnTo>
                      <a:pt x="22" y="104"/>
                    </a:lnTo>
                    <a:lnTo>
                      <a:pt x="22" y="106"/>
                    </a:lnTo>
                    <a:lnTo>
                      <a:pt x="21" y="107"/>
                    </a:lnTo>
                    <a:lnTo>
                      <a:pt x="21" y="106"/>
                    </a:lnTo>
                    <a:lnTo>
                      <a:pt x="2" y="114"/>
                    </a:lnTo>
                    <a:lnTo>
                      <a:pt x="0" y="118"/>
                    </a:lnTo>
                    <a:lnTo>
                      <a:pt x="1" y="121"/>
                    </a:lnTo>
                    <a:lnTo>
                      <a:pt x="0" y="123"/>
                    </a:lnTo>
                    <a:lnTo>
                      <a:pt x="1" y="125"/>
                    </a:lnTo>
                    <a:lnTo>
                      <a:pt x="2" y="127"/>
                    </a:lnTo>
                    <a:lnTo>
                      <a:pt x="1" y="128"/>
                    </a:lnTo>
                    <a:lnTo>
                      <a:pt x="5" y="130"/>
                    </a:lnTo>
                    <a:lnTo>
                      <a:pt x="5" y="131"/>
                    </a:lnTo>
                    <a:lnTo>
                      <a:pt x="5" y="134"/>
                    </a:lnTo>
                    <a:lnTo>
                      <a:pt x="7" y="142"/>
                    </a:lnTo>
                    <a:lnTo>
                      <a:pt x="9" y="144"/>
                    </a:lnTo>
                    <a:lnTo>
                      <a:pt x="12" y="145"/>
                    </a:lnTo>
                    <a:lnTo>
                      <a:pt x="18" y="150"/>
                    </a:lnTo>
                    <a:lnTo>
                      <a:pt x="18" y="153"/>
                    </a:lnTo>
                    <a:lnTo>
                      <a:pt x="21" y="154"/>
                    </a:lnTo>
                    <a:lnTo>
                      <a:pt x="22" y="154"/>
                    </a:lnTo>
                    <a:lnTo>
                      <a:pt x="23" y="155"/>
                    </a:lnTo>
                    <a:lnTo>
                      <a:pt x="26" y="154"/>
                    </a:lnTo>
                    <a:lnTo>
                      <a:pt x="28" y="155"/>
                    </a:lnTo>
                    <a:lnTo>
                      <a:pt x="27" y="159"/>
                    </a:lnTo>
                    <a:lnTo>
                      <a:pt x="29" y="165"/>
                    </a:lnTo>
                    <a:lnTo>
                      <a:pt x="26" y="168"/>
                    </a:lnTo>
                    <a:lnTo>
                      <a:pt x="27" y="171"/>
                    </a:lnTo>
                    <a:lnTo>
                      <a:pt x="24" y="173"/>
                    </a:lnTo>
                    <a:lnTo>
                      <a:pt x="24" y="174"/>
                    </a:lnTo>
                    <a:lnTo>
                      <a:pt x="24" y="175"/>
                    </a:lnTo>
                    <a:lnTo>
                      <a:pt x="26" y="176"/>
                    </a:lnTo>
                    <a:lnTo>
                      <a:pt x="27" y="177"/>
                    </a:lnTo>
                    <a:lnTo>
                      <a:pt x="26" y="178"/>
                    </a:lnTo>
                    <a:lnTo>
                      <a:pt x="24" y="180"/>
                    </a:lnTo>
                    <a:lnTo>
                      <a:pt x="24" y="183"/>
                    </a:lnTo>
                    <a:lnTo>
                      <a:pt x="27" y="184"/>
                    </a:lnTo>
                    <a:lnTo>
                      <a:pt x="27" y="185"/>
                    </a:lnTo>
                    <a:lnTo>
                      <a:pt x="25" y="185"/>
                    </a:lnTo>
                    <a:lnTo>
                      <a:pt x="25" y="187"/>
                    </a:lnTo>
                    <a:lnTo>
                      <a:pt x="27" y="188"/>
                    </a:lnTo>
                    <a:lnTo>
                      <a:pt x="30" y="187"/>
                    </a:lnTo>
                    <a:lnTo>
                      <a:pt x="33" y="187"/>
                    </a:lnTo>
                    <a:lnTo>
                      <a:pt x="34" y="188"/>
                    </a:lnTo>
                    <a:lnTo>
                      <a:pt x="33" y="189"/>
                    </a:lnTo>
                    <a:lnTo>
                      <a:pt x="32" y="190"/>
                    </a:lnTo>
                    <a:lnTo>
                      <a:pt x="34" y="193"/>
                    </a:lnTo>
                    <a:lnTo>
                      <a:pt x="33" y="199"/>
                    </a:lnTo>
                    <a:lnTo>
                      <a:pt x="36" y="205"/>
                    </a:lnTo>
                    <a:lnTo>
                      <a:pt x="34" y="212"/>
                    </a:lnTo>
                    <a:lnTo>
                      <a:pt x="34" y="217"/>
                    </a:lnTo>
                    <a:lnTo>
                      <a:pt x="35" y="219"/>
                    </a:lnTo>
                    <a:lnTo>
                      <a:pt x="35" y="222"/>
                    </a:lnTo>
                    <a:lnTo>
                      <a:pt x="37" y="225"/>
                    </a:lnTo>
                    <a:lnTo>
                      <a:pt x="38" y="226"/>
                    </a:lnTo>
                    <a:lnTo>
                      <a:pt x="36" y="228"/>
                    </a:lnTo>
                    <a:lnTo>
                      <a:pt x="40" y="232"/>
                    </a:lnTo>
                    <a:lnTo>
                      <a:pt x="42" y="232"/>
                    </a:lnTo>
                    <a:lnTo>
                      <a:pt x="42" y="234"/>
                    </a:lnTo>
                    <a:lnTo>
                      <a:pt x="43" y="233"/>
                    </a:lnTo>
                    <a:lnTo>
                      <a:pt x="44" y="234"/>
                    </a:lnTo>
                    <a:lnTo>
                      <a:pt x="46" y="234"/>
                    </a:lnTo>
                    <a:lnTo>
                      <a:pt x="47" y="233"/>
                    </a:lnTo>
                    <a:lnTo>
                      <a:pt x="49" y="232"/>
                    </a:lnTo>
                    <a:lnTo>
                      <a:pt x="50" y="238"/>
                    </a:lnTo>
                    <a:lnTo>
                      <a:pt x="49" y="239"/>
                    </a:lnTo>
                    <a:lnTo>
                      <a:pt x="49" y="243"/>
                    </a:lnTo>
                    <a:lnTo>
                      <a:pt x="47" y="247"/>
                    </a:lnTo>
                    <a:lnTo>
                      <a:pt x="48" y="251"/>
                    </a:lnTo>
                    <a:lnTo>
                      <a:pt x="47" y="254"/>
                    </a:lnTo>
                    <a:lnTo>
                      <a:pt x="43" y="259"/>
                    </a:lnTo>
                    <a:lnTo>
                      <a:pt x="45" y="259"/>
                    </a:lnTo>
                    <a:lnTo>
                      <a:pt x="46" y="262"/>
                    </a:lnTo>
                    <a:lnTo>
                      <a:pt x="47" y="263"/>
                    </a:lnTo>
                    <a:lnTo>
                      <a:pt x="49" y="271"/>
                    </a:lnTo>
                    <a:lnTo>
                      <a:pt x="48" y="272"/>
                    </a:lnTo>
                    <a:lnTo>
                      <a:pt x="48" y="277"/>
                    </a:lnTo>
                    <a:lnTo>
                      <a:pt x="47" y="279"/>
                    </a:lnTo>
                    <a:lnTo>
                      <a:pt x="53" y="284"/>
                    </a:lnTo>
                    <a:lnTo>
                      <a:pt x="61" y="286"/>
                    </a:lnTo>
                    <a:lnTo>
                      <a:pt x="62" y="291"/>
                    </a:lnTo>
                    <a:lnTo>
                      <a:pt x="66" y="294"/>
                    </a:lnTo>
                    <a:lnTo>
                      <a:pt x="72" y="302"/>
                    </a:lnTo>
                    <a:lnTo>
                      <a:pt x="72" y="308"/>
                    </a:lnTo>
                    <a:lnTo>
                      <a:pt x="71" y="312"/>
                    </a:lnTo>
                    <a:lnTo>
                      <a:pt x="73" y="317"/>
                    </a:lnTo>
                    <a:lnTo>
                      <a:pt x="75" y="318"/>
                    </a:lnTo>
                    <a:lnTo>
                      <a:pt x="76" y="320"/>
                    </a:lnTo>
                    <a:lnTo>
                      <a:pt x="74" y="324"/>
                    </a:lnTo>
                    <a:lnTo>
                      <a:pt x="74" y="325"/>
                    </a:lnTo>
                    <a:lnTo>
                      <a:pt x="76" y="326"/>
                    </a:lnTo>
                    <a:lnTo>
                      <a:pt x="79" y="329"/>
                    </a:lnTo>
                    <a:lnTo>
                      <a:pt x="83" y="330"/>
                    </a:lnTo>
                    <a:lnTo>
                      <a:pt x="90" y="331"/>
                    </a:lnTo>
                    <a:lnTo>
                      <a:pt x="92" y="331"/>
                    </a:lnTo>
                    <a:lnTo>
                      <a:pt x="92" y="330"/>
                    </a:lnTo>
                    <a:lnTo>
                      <a:pt x="93" y="330"/>
                    </a:lnTo>
                    <a:lnTo>
                      <a:pt x="94" y="333"/>
                    </a:lnTo>
                    <a:lnTo>
                      <a:pt x="96" y="333"/>
                    </a:lnTo>
                    <a:lnTo>
                      <a:pt x="100" y="337"/>
                    </a:lnTo>
                    <a:lnTo>
                      <a:pt x="103" y="338"/>
                    </a:lnTo>
                    <a:lnTo>
                      <a:pt x="103" y="334"/>
                    </a:lnTo>
                    <a:lnTo>
                      <a:pt x="103" y="332"/>
                    </a:lnTo>
                    <a:lnTo>
                      <a:pt x="103" y="329"/>
                    </a:lnTo>
                    <a:lnTo>
                      <a:pt x="109" y="331"/>
                    </a:lnTo>
                    <a:lnTo>
                      <a:pt x="111" y="333"/>
                    </a:lnTo>
                    <a:lnTo>
                      <a:pt x="112" y="334"/>
                    </a:lnTo>
                    <a:lnTo>
                      <a:pt x="115" y="333"/>
                    </a:lnTo>
                    <a:lnTo>
                      <a:pt x="118" y="336"/>
                    </a:lnTo>
                    <a:lnTo>
                      <a:pt x="120" y="336"/>
                    </a:lnTo>
                    <a:lnTo>
                      <a:pt x="121" y="336"/>
                    </a:lnTo>
                    <a:lnTo>
                      <a:pt x="123" y="339"/>
                    </a:lnTo>
                    <a:lnTo>
                      <a:pt x="124" y="339"/>
                    </a:lnTo>
                    <a:lnTo>
                      <a:pt x="127" y="341"/>
                    </a:lnTo>
                    <a:lnTo>
                      <a:pt x="130" y="347"/>
                    </a:lnTo>
                    <a:lnTo>
                      <a:pt x="131" y="350"/>
                    </a:lnTo>
                    <a:lnTo>
                      <a:pt x="133" y="353"/>
                    </a:lnTo>
                    <a:lnTo>
                      <a:pt x="134" y="356"/>
                    </a:lnTo>
                    <a:lnTo>
                      <a:pt x="139" y="358"/>
                    </a:lnTo>
                    <a:lnTo>
                      <a:pt x="139" y="366"/>
                    </a:lnTo>
                    <a:lnTo>
                      <a:pt x="138" y="366"/>
                    </a:lnTo>
                    <a:lnTo>
                      <a:pt x="137" y="369"/>
                    </a:lnTo>
                    <a:lnTo>
                      <a:pt x="138" y="376"/>
                    </a:lnTo>
                    <a:lnTo>
                      <a:pt x="144" y="377"/>
                    </a:lnTo>
                    <a:lnTo>
                      <a:pt x="144" y="379"/>
                    </a:lnTo>
                    <a:lnTo>
                      <a:pt x="144" y="381"/>
                    </a:lnTo>
                    <a:lnTo>
                      <a:pt x="144" y="383"/>
                    </a:lnTo>
                    <a:lnTo>
                      <a:pt x="146" y="384"/>
                    </a:lnTo>
                    <a:lnTo>
                      <a:pt x="147" y="387"/>
                    </a:lnTo>
                    <a:lnTo>
                      <a:pt x="150" y="387"/>
                    </a:lnTo>
                    <a:lnTo>
                      <a:pt x="151" y="389"/>
                    </a:lnTo>
                    <a:lnTo>
                      <a:pt x="152" y="391"/>
                    </a:lnTo>
                    <a:lnTo>
                      <a:pt x="150" y="395"/>
                    </a:lnTo>
                    <a:lnTo>
                      <a:pt x="157" y="402"/>
                    </a:lnTo>
                    <a:lnTo>
                      <a:pt x="156" y="405"/>
                    </a:lnTo>
                    <a:lnTo>
                      <a:pt x="155" y="407"/>
                    </a:lnTo>
                    <a:lnTo>
                      <a:pt x="155" y="408"/>
                    </a:lnTo>
                    <a:lnTo>
                      <a:pt x="158" y="412"/>
                    </a:lnTo>
                    <a:lnTo>
                      <a:pt x="160" y="412"/>
                    </a:lnTo>
                    <a:lnTo>
                      <a:pt x="162" y="415"/>
                    </a:lnTo>
                    <a:lnTo>
                      <a:pt x="163" y="416"/>
                    </a:lnTo>
                    <a:lnTo>
                      <a:pt x="164" y="419"/>
                    </a:lnTo>
                    <a:lnTo>
                      <a:pt x="168" y="424"/>
                    </a:lnTo>
                    <a:lnTo>
                      <a:pt x="170" y="425"/>
                    </a:lnTo>
                    <a:lnTo>
                      <a:pt x="171" y="427"/>
                    </a:lnTo>
                    <a:lnTo>
                      <a:pt x="171" y="430"/>
                    </a:lnTo>
                    <a:lnTo>
                      <a:pt x="168" y="439"/>
                    </a:lnTo>
                    <a:lnTo>
                      <a:pt x="171" y="444"/>
                    </a:lnTo>
                    <a:lnTo>
                      <a:pt x="176" y="451"/>
                    </a:lnTo>
                    <a:lnTo>
                      <a:pt x="184" y="456"/>
                    </a:lnTo>
                    <a:lnTo>
                      <a:pt x="190" y="455"/>
                    </a:lnTo>
                    <a:lnTo>
                      <a:pt x="196" y="455"/>
                    </a:lnTo>
                    <a:lnTo>
                      <a:pt x="198" y="456"/>
                    </a:lnTo>
                    <a:lnTo>
                      <a:pt x="204" y="463"/>
                    </a:lnTo>
                    <a:lnTo>
                      <a:pt x="205" y="464"/>
                    </a:lnTo>
                    <a:lnTo>
                      <a:pt x="207" y="466"/>
                    </a:lnTo>
                    <a:lnTo>
                      <a:pt x="207" y="468"/>
                    </a:lnTo>
                    <a:lnTo>
                      <a:pt x="210" y="470"/>
                    </a:lnTo>
                    <a:lnTo>
                      <a:pt x="212" y="473"/>
                    </a:lnTo>
                    <a:lnTo>
                      <a:pt x="212" y="476"/>
                    </a:lnTo>
                    <a:lnTo>
                      <a:pt x="214" y="478"/>
                    </a:lnTo>
                    <a:lnTo>
                      <a:pt x="216" y="482"/>
                    </a:lnTo>
                    <a:lnTo>
                      <a:pt x="217" y="483"/>
                    </a:lnTo>
                    <a:lnTo>
                      <a:pt x="218" y="484"/>
                    </a:lnTo>
                    <a:lnTo>
                      <a:pt x="219" y="489"/>
                    </a:lnTo>
                    <a:lnTo>
                      <a:pt x="221" y="489"/>
                    </a:lnTo>
                    <a:lnTo>
                      <a:pt x="221" y="491"/>
                    </a:lnTo>
                    <a:lnTo>
                      <a:pt x="223" y="491"/>
                    </a:lnTo>
                    <a:lnTo>
                      <a:pt x="224" y="492"/>
                    </a:lnTo>
                    <a:lnTo>
                      <a:pt x="223" y="495"/>
                    </a:lnTo>
                    <a:lnTo>
                      <a:pt x="222" y="496"/>
                    </a:lnTo>
                    <a:lnTo>
                      <a:pt x="223" y="499"/>
                    </a:lnTo>
                    <a:lnTo>
                      <a:pt x="225" y="505"/>
                    </a:lnTo>
                    <a:lnTo>
                      <a:pt x="223" y="507"/>
                    </a:lnTo>
                    <a:lnTo>
                      <a:pt x="222" y="510"/>
                    </a:lnTo>
                    <a:lnTo>
                      <a:pt x="224" y="515"/>
                    </a:lnTo>
                    <a:lnTo>
                      <a:pt x="222" y="519"/>
                    </a:lnTo>
                    <a:lnTo>
                      <a:pt x="221" y="522"/>
                    </a:lnTo>
                    <a:lnTo>
                      <a:pt x="227" y="528"/>
                    </a:lnTo>
                    <a:lnTo>
                      <a:pt x="227" y="530"/>
                    </a:lnTo>
                    <a:lnTo>
                      <a:pt x="229" y="531"/>
                    </a:lnTo>
                    <a:lnTo>
                      <a:pt x="231" y="534"/>
                    </a:lnTo>
                    <a:lnTo>
                      <a:pt x="236" y="537"/>
                    </a:lnTo>
                    <a:lnTo>
                      <a:pt x="237" y="540"/>
                    </a:lnTo>
                    <a:lnTo>
                      <a:pt x="241" y="543"/>
                    </a:lnTo>
                    <a:lnTo>
                      <a:pt x="241" y="545"/>
                    </a:lnTo>
                    <a:lnTo>
                      <a:pt x="244" y="548"/>
                    </a:lnTo>
                    <a:lnTo>
                      <a:pt x="247" y="548"/>
                    </a:lnTo>
                    <a:lnTo>
                      <a:pt x="248" y="539"/>
                    </a:lnTo>
                    <a:lnTo>
                      <a:pt x="249" y="535"/>
                    </a:lnTo>
                    <a:lnTo>
                      <a:pt x="251" y="536"/>
                    </a:lnTo>
                    <a:lnTo>
                      <a:pt x="254" y="534"/>
                    </a:lnTo>
                    <a:lnTo>
                      <a:pt x="256" y="534"/>
                    </a:lnTo>
                    <a:lnTo>
                      <a:pt x="259" y="538"/>
                    </a:lnTo>
                    <a:lnTo>
                      <a:pt x="261" y="538"/>
                    </a:lnTo>
                    <a:lnTo>
                      <a:pt x="261" y="535"/>
                    </a:lnTo>
                    <a:lnTo>
                      <a:pt x="262" y="533"/>
                    </a:lnTo>
                    <a:lnTo>
                      <a:pt x="259" y="532"/>
                    </a:lnTo>
                    <a:lnTo>
                      <a:pt x="258" y="529"/>
                    </a:lnTo>
                    <a:lnTo>
                      <a:pt x="259" y="526"/>
                    </a:lnTo>
                    <a:lnTo>
                      <a:pt x="259" y="524"/>
                    </a:lnTo>
                    <a:lnTo>
                      <a:pt x="262" y="521"/>
                    </a:lnTo>
                    <a:lnTo>
                      <a:pt x="262" y="519"/>
                    </a:lnTo>
                    <a:lnTo>
                      <a:pt x="262" y="516"/>
                    </a:lnTo>
                    <a:lnTo>
                      <a:pt x="262" y="515"/>
                    </a:lnTo>
                    <a:lnTo>
                      <a:pt x="265" y="511"/>
                    </a:lnTo>
                    <a:lnTo>
                      <a:pt x="267" y="506"/>
                    </a:lnTo>
                    <a:lnTo>
                      <a:pt x="271" y="502"/>
                    </a:lnTo>
                    <a:lnTo>
                      <a:pt x="271" y="500"/>
                    </a:lnTo>
                    <a:lnTo>
                      <a:pt x="272" y="500"/>
                    </a:lnTo>
                    <a:lnTo>
                      <a:pt x="272" y="502"/>
                    </a:lnTo>
                    <a:lnTo>
                      <a:pt x="273" y="502"/>
                    </a:lnTo>
                    <a:lnTo>
                      <a:pt x="275" y="504"/>
                    </a:lnTo>
                    <a:lnTo>
                      <a:pt x="280" y="500"/>
                    </a:lnTo>
                    <a:lnTo>
                      <a:pt x="282" y="496"/>
                    </a:lnTo>
                    <a:lnTo>
                      <a:pt x="282" y="495"/>
                    </a:lnTo>
                    <a:lnTo>
                      <a:pt x="282" y="492"/>
                    </a:lnTo>
                    <a:lnTo>
                      <a:pt x="280" y="487"/>
                    </a:lnTo>
                    <a:lnTo>
                      <a:pt x="281" y="484"/>
                    </a:lnTo>
                    <a:lnTo>
                      <a:pt x="280" y="483"/>
                    </a:lnTo>
                    <a:lnTo>
                      <a:pt x="278" y="480"/>
                    </a:lnTo>
                    <a:lnTo>
                      <a:pt x="277" y="476"/>
                    </a:lnTo>
                    <a:lnTo>
                      <a:pt x="277" y="475"/>
                    </a:lnTo>
                    <a:lnTo>
                      <a:pt x="282" y="475"/>
                    </a:lnTo>
                    <a:lnTo>
                      <a:pt x="282" y="474"/>
                    </a:lnTo>
                    <a:lnTo>
                      <a:pt x="282" y="468"/>
                    </a:lnTo>
                    <a:lnTo>
                      <a:pt x="281" y="468"/>
                    </a:lnTo>
                    <a:lnTo>
                      <a:pt x="282" y="466"/>
                    </a:lnTo>
                    <a:lnTo>
                      <a:pt x="282" y="464"/>
                    </a:lnTo>
                    <a:lnTo>
                      <a:pt x="283" y="461"/>
                    </a:lnTo>
                    <a:lnTo>
                      <a:pt x="285" y="460"/>
                    </a:lnTo>
                    <a:lnTo>
                      <a:pt x="285" y="458"/>
                    </a:lnTo>
                    <a:lnTo>
                      <a:pt x="282" y="457"/>
                    </a:lnTo>
                    <a:lnTo>
                      <a:pt x="283" y="456"/>
                    </a:lnTo>
                    <a:lnTo>
                      <a:pt x="288" y="457"/>
                    </a:lnTo>
                    <a:lnTo>
                      <a:pt x="288" y="458"/>
                    </a:lnTo>
                    <a:lnTo>
                      <a:pt x="286" y="458"/>
                    </a:lnTo>
                    <a:lnTo>
                      <a:pt x="290" y="460"/>
                    </a:lnTo>
                    <a:lnTo>
                      <a:pt x="291" y="460"/>
                    </a:lnTo>
                    <a:lnTo>
                      <a:pt x="292" y="462"/>
                    </a:lnTo>
                    <a:lnTo>
                      <a:pt x="293" y="463"/>
                    </a:lnTo>
                    <a:lnTo>
                      <a:pt x="297" y="460"/>
                    </a:lnTo>
                    <a:lnTo>
                      <a:pt x="298" y="458"/>
                    </a:lnTo>
                    <a:lnTo>
                      <a:pt x="299" y="458"/>
                    </a:lnTo>
                    <a:lnTo>
                      <a:pt x="301" y="458"/>
                    </a:lnTo>
                    <a:lnTo>
                      <a:pt x="301" y="457"/>
                    </a:lnTo>
                    <a:lnTo>
                      <a:pt x="302" y="456"/>
                    </a:lnTo>
                    <a:lnTo>
                      <a:pt x="302" y="454"/>
                    </a:lnTo>
                    <a:lnTo>
                      <a:pt x="305" y="455"/>
                    </a:lnTo>
                    <a:lnTo>
                      <a:pt x="307" y="453"/>
                    </a:lnTo>
                    <a:lnTo>
                      <a:pt x="308" y="454"/>
                    </a:lnTo>
                    <a:lnTo>
                      <a:pt x="309" y="453"/>
                    </a:lnTo>
                    <a:lnTo>
                      <a:pt x="310" y="454"/>
                    </a:lnTo>
                    <a:lnTo>
                      <a:pt x="311" y="454"/>
                    </a:lnTo>
                    <a:lnTo>
                      <a:pt x="311" y="456"/>
                    </a:lnTo>
                    <a:lnTo>
                      <a:pt x="311" y="455"/>
                    </a:lnTo>
                    <a:lnTo>
                      <a:pt x="313" y="453"/>
                    </a:lnTo>
                    <a:lnTo>
                      <a:pt x="311" y="453"/>
                    </a:lnTo>
                    <a:lnTo>
                      <a:pt x="310" y="452"/>
                    </a:lnTo>
                    <a:lnTo>
                      <a:pt x="312" y="451"/>
                    </a:lnTo>
                    <a:lnTo>
                      <a:pt x="313" y="444"/>
                    </a:lnTo>
                    <a:lnTo>
                      <a:pt x="316" y="440"/>
                    </a:lnTo>
                    <a:lnTo>
                      <a:pt x="317" y="440"/>
                    </a:lnTo>
                    <a:lnTo>
                      <a:pt x="319" y="441"/>
                    </a:lnTo>
                    <a:lnTo>
                      <a:pt x="321" y="440"/>
                    </a:lnTo>
                    <a:lnTo>
                      <a:pt x="320" y="437"/>
                    </a:lnTo>
                    <a:lnTo>
                      <a:pt x="320" y="434"/>
                    </a:lnTo>
                    <a:lnTo>
                      <a:pt x="319" y="433"/>
                    </a:lnTo>
                    <a:lnTo>
                      <a:pt x="319" y="432"/>
                    </a:lnTo>
                    <a:lnTo>
                      <a:pt x="316" y="430"/>
                    </a:lnTo>
                    <a:lnTo>
                      <a:pt x="316" y="427"/>
                    </a:lnTo>
                    <a:lnTo>
                      <a:pt x="315" y="428"/>
                    </a:lnTo>
                    <a:lnTo>
                      <a:pt x="315" y="425"/>
                    </a:lnTo>
                    <a:lnTo>
                      <a:pt x="316" y="425"/>
                    </a:lnTo>
                    <a:lnTo>
                      <a:pt x="314" y="425"/>
                    </a:lnTo>
                    <a:lnTo>
                      <a:pt x="314" y="423"/>
                    </a:lnTo>
                    <a:lnTo>
                      <a:pt x="315" y="423"/>
                    </a:lnTo>
                    <a:lnTo>
                      <a:pt x="316" y="423"/>
                    </a:lnTo>
                    <a:lnTo>
                      <a:pt x="316" y="422"/>
                    </a:lnTo>
                    <a:lnTo>
                      <a:pt x="316" y="421"/>
                    </a:lnTo>
                    <a:lnTo>
                      <a:pt x="318" y="419"/>
                    </a:lnTo>
                    <a:lnTo>
                      <a:pt x="321" y="421"/>
                    </a:lnTo>
                    <a:lnTo>
                      <a:pt x="321" y="418"/>
                    </a:lnTo>
                    <a:lnTo>
                      <a:pt x="320" y="417"/>
                    </a:lnTo>
                    <a:lnTo>
                      <a:pt x="321" y="415"/>
                    </a:lnTo>
                    <a:lnTo>
                      <a:pt x="322" y="417"/>
                    </a:lnTo>
                    <a:lnTo>
                      <a:pt x="325" y="418"/>
                    </a:lnTo>
                    <a:lnTo>
                      <a:pt x="326" y="418"/>
                    </a:lnTo>
                    <a:lnTo>
                      <a:pt x="324" y="415"/>
                    </a:lnTo>
                    <a:lnTo>
                      <a:pt x="327" y="412"/>
                    </a:lnTo>
                    <a:lnTo>
                      <a:pt x="329" y="412"/>
                    </a:lnTo>
                    <a:lnTo>
                      <a:pt x="328" y="411"/>
                    </a:lnTo>
                    <a:lnTo>
                      <a:pt x="327" y="411"/>
                    </a:lnTo>
                    <a:lnTo>
                      <a:pt x="323" y="411"/>
                    </a:lnTo>
                    <a:lnTo>
                      <a:pt x="322" y="410"/>
                    </a:lnTo>
                    <a:lnTo>
                      <a:pt x="321" y="410"/>
                    </a:lnTo>
                    <a:lnTo>
                      <a:pt x="321" y="406"/>
                    </a:lnTo>
                    <a:lnTo>
                      <a:pt x="321" y="402"/>
                    </a:lnTo>
                    <a:lnTo>
                      <a:pt x="320" y="400"/>
                    </a:lnTo>
                    <a:lnTo>
                      <a:pt x="321" y="400"/>
                    </a:lnTo>
                    <a:lnTo>
                      <a:pt x="323" y="400"/>
                    </a:lnTo>
                    <a:lnTo>
                      <a:pt x="325" y="400"/>
                    </a:lnTo>
                    <a:lnTo>
                      <a:pt x="326" y="402"/>
                    </a:lnTo>
                    <a:lnTo>
                      <a:pt x="327" y="402"/>
                    </a:lnTo>
                    <a:lnTo>
                      <a:pt x="329" y="402"/>
                    </a:lnTo>
                    <a:lnTo>
                      <a:pt x="329" y="399"/>
                    </a:lnTo>
                    <a:lnTo>
                      <a:pt x="330" y="398"/>
                    </a:lnTo>
                    <a:lnTo>
                      <a:pt x="331" y="396"/>
                    </a:lnTo>
                    <a:lnTo>
                      <a:pt x="330" y="395"/>
                    </a:lnTo>
                    <a:lnTo>
                      <a:pt x="329" y="395"/>
                    </a:lnTo>
                    <a:lnTo>
                      <a:pt x="327" y="392"/>
                    </a:lnTo>
                    <a:lnTo>
                      <a:pt x="328" y="392"/>
                    </a:lnTo>
                    <a:lnTo>
                      <a:pt x="329" y="391"/>
                    </a:lnTo>
                    <a:lnTo>
                      <a:pt x="329" y="387"/>
                    </a:lnTo>
                    <a:lnTo>
                      <a:pt x="332" y="389"/>
                    </a:lnTo>
                    <a:lnTo>
                      <a:pt x="333" y="384"/>
                    </a:lnTo>
                    <a:lnTo>
                      <a:pt x="335" y="384"/>
                    </a:lnTo>
                    <a:lnTo>
                      <a:pt x="336" y="384"/>
                    </a:lnTo>
                    <a:lnTo>
                      <a:pt x="337" y="382"/>
                    </a:lnTo>
                    <a:lnTo>
                      <a:pt x="338" y="381"/>
                    </a:lnTo>
                    <a:lnTo>
                      <a:pt x="342" y="383"/>
                    </a:lnTo>
                    <a:lnTo>
                      <a:pt x="342" y="382"/>
                    </a:lnTo>
                    <a:lnTo>
                      <a:pt x="343" y="381"/>
                    </a:lnTo>
                    <a:lnTo>
                      <a:pt x="342" y="377"/>
                    </a:lnTo>
                    <a:lnTo>
                      <a:pt x="343" y="377"/>
                    </a:lnTo>
                    <a:lnTo>
                      <a:pt x="343" y="376"/>
                    </a:lnTo>
                    <a:lnTo>
                      <a:pt x="344" y="373"/>
                    </a:lnTo>
                    <a:lnTo>
                      <a:pt x="346" y="370"/>
                    </a:lnTo>
                    <a:lnTo>
                      <a:pt x="349" y="370"/>
                    </a:lnTo>
                    <a:lnTo>
                      <a:pt x="348" y="370"/>
                    </a:lnTo>
                    <a:lnTo>
                      <a:pt x="348" y="366"/>
                    </a:lnTo>
                    <a:lnTo>
                      <a:pt x="347" y="368"/>
                    </a:lnTo>
                    <a:lnTo>
                      <a:pt x="346" y="367"/>
                    </a:lnTo>
                    <a:lnTo>
                      <a:pt x="348" y="366"/>
                    </a:lnTo>
                    <a:lnTo>
                      <a:pt x="349" y="366"/>
                    </a:lnTo>
                    <a:lnTo>
                      <a:pt x="349" y="364"/>
                    </a:lnTo>
                    <a:lnTo>
                      <a:pt x="350" y="365"/>
                    </a:lnTo>
                    <a:lnTo>
                      <a:pt x="350" y="364"/>
                    </a:lnTo>
                    <a:lnTo>
                      <a:pt x="350" y="361"/>
                    </a:lnTo>
                    <a:lnTo>
                      <a:pt x="349" y="360"/>
                    </a:lnTo>
                    <a:lnTo>
                      <a:pt x="350" y="359"/>
                    </a:lnTo>
                    <a:lnTo>
                      <a:pt x="348" y="360"/>
                    </a:lnTo>
                    <a:lnTo>
                      <a:pt x="347" y="358"/>
                    </a:lnTo>
                    <a:lnTo>
                      <a:pt x="346" y="358"/>
                    </a:lnTo>
                    <a:lnTo>
                      <a:pt x="346" y="357"/>
                    </a:lnTo>
                    <a:lnTo>
                      <a:pt x="347" y="357"/>
                    </a:lnTo>
                    <a:lnTo>
                      <a:pt x="346" y="356"/>
                    </a:lnTo>
                    <a:lnTo>
                      <a:pt x="347" y="356"/>
                    </a:lnTo>
                    <a:lnTo>
                      <a:pt x="346" y="354"/>
                    </a:lnTo>
                    <a:lnTo>
                      <a:pt x="345" y="352"/>
                    </a:lnTo>
                    <a:lnTo>
                      <a:pt x="345" y="350"/>
                    </a:lnTo>
                    <a:lnTo>
                      <a:pt x="344" y="347"/>
                    </a:lnTo>
                    <a:lnTo>
                      <a:pt x="345" y="347"/>
                    </a:lnTo>
                    <a:lnTo>
                      <a:pt x="344" y="347"/>
                    </a:lnTo>
                    <a:lnTo>
                      <a:pt x="345" y="346"/>
                    </a:lnTo>
                    <a:lnTo>
                      <a:pt x="344" y="346"/>
                    </a:lnTo>
                    <a:lnTo>
                      <a:pt x="344" y="345"/>
                    </a:lnTo>
                    <a:lnTo>
                      <a:pt x="345" y="345"/>
                    </a:lnTo>
                    <a:lnTo>
                      <a:pt x="346" y="342"/>
                    </a:lnTo>
                    <a:lnTo>
                      <a:pt x="346" y="339"/>
                    </a:lnTo>
                    <a:lnTo>
                      <a:pt x="347" y="337"/>
                    </a:lnTo>
                    <a:lnTo>
                      <a:pt x="346" y="336"/>
                    </a:lnTo>
                    <a:lnTo>
                      <a:pt x="348" y="336"/>
                    </a:lnTo>
                    <a:lnTo>
                      <a:pt x="350" y="333"/>
                    </a:lnTo>
                    <a:lnTo>
                      <a:pt x="351" y="331"/>
                    </a:lnTo>
                    <a:lnTo>
                      <a:pt x="353" y="332"/>
                    </a:lnTo>
                    <a:lnTo>
                      <a:pt x="355" y="332"/>
                    </a:lnTo>
                    <a:lnTo>
                      <a:pt x="355" y="331"/>
                    </a:lnTo>
                    <a:lnTo>
                      <a:pt x="351" y="330"/>
                    </a:lnTo>
                    <a:lnTo>
                      <a:pt x="351" y="329"/>
                    </a:lnTo>
                    <a:lnTo>
                      <a:pt x="352" y="329"/>
                    </a:lnTo>
                    <a:lnTo>
                      <a:pt x="351" y="329"/>
                    </a:lnTo>
                    <a:lnTo>
                      <a:pt x="351" y="327"/>
                    </a:lnTo>
                    <a:lnTo>
                      <a:pt x="350" y="326"/>
                    </a:lnTo>
                    <a:lnTo>
                      <a:pt x="350" y="325"/>
                    </a:lnTo>
                    <a:lnTo>
                      <a:pt x="349" y="323"/>
                    </a:lnTo>
                    <a:lnTo>
                      <a:pt x="348" y="323"/>
                    </a:lnTo>
                    <a:lnTo>
                      <a:pt x="349" y="321"/>
                    </a:lnTo>
                    <a:lnTo>
                      <a:pt x="349" y="320"/>
                    </a:lnTo>
                    <a:lnTo>
                      <a:pt x="350" y="319"/>
                    </a:lnTo>
                    <a:lnTo>
                      <a:pt x="348" y="319"/>
                    </a:lnTo>
                    <a:lnTo>
                      <a:pt x="349" y="317"/>
                    </a:lnTo>
                    <a:lnTo>
                      <a:pt x="350" y="316"/>
                    </a:lnTo>
                    <a:lnTo>
                      <a:pt x="350" y="313"/>
                    </a:lnTo>
                    <a:lnTo>
                      <a:pt x="350" y="312"/>
                    </a:lnTo>
                    <a:lnTo>
                      <a:pt x="349" y="312"/>
                    </a:lnTo>
                    <a:lnTo>
                      <a:pt x="350" y="311"/>
                    </a:lnTo>
                    <a:lnTo>
                      <a:pt x="350" y="309"/>
                    </a:lnTo>
                    <a:lnTo>
                      <a:pt x="349" y="311"/>
                    </a:lnTo>
                    <a:lnTo>
                      <a:pt x="350" y="309"/>
                    </a:lnTo>
                    <a:lnTo>
                      <a:pt x="349" y="308"/>
                    </a:lnTo>
                    <a:lnTo>
                      <a:pt x="351" y="309"/>
                    </a:lnTo>
                    <a:lnTo>
                      <a:pt x="351" y="308"/>
                    </a:lnTo>
                    <a:lnTo>
                      <a:pt x="349" y="307"/>
                    </a:lnTo>
                    <a:lnTo>
                      <a:pt x="349" y="308"/>
                    </a:lnTo>
                    <a:lnTo>
                      <a:pt x="349" y="307"/>
                    </a:lnTo>
                    <a:lnTo>
                      <a:pt x="348" y="307"/>
                    </a:lnTo>
                    <a:lnTo>
                      <a:pt x="346" y="307"/>
                    </a:lnTo>
                    <a:lnTo>
                      <a:pt x="346" y="304"/>
                    </a:lnTo>
                    <a:lnTo>
                      <a:pt x="347" y="303"/>
                    </a:lnTo>
                    <a:lnTo>
                      <a:pt x="346" y="302"/>
                    </a:lnTo>
                    <a:lnTo>
                      <a:pt x="348" y="302"/>
                    </a:lnTo>
                    <a:lnTo>
                      <a:pt x="348" y="301"/>
                    </a:lnTo>
                    <a:lnTo>
                      <a:pt x="350" y="302"/>
                    </a:lnTo>
                    <a:lnTo>
                      <a:pt x="350" y="300"/>
                    </a:lnTo>
                    <a:lnTo>
                      <a:pt x="350" y="299"/>
                    </a:lnTo>
                    <a:lnTo>
                      <a:pt x="348" y="298"/>
                    </a:lnTo>
                    <a:lnTo>
                      <a:pt x="349" y="296"/>
                    </a:lnTo>
                    <a:lnTo>
                      <a:pt x="351" y="295"/>
                    </a:lnTo>
                    <a:lnTo>
                      <a:pt x="351" y="294"/>
                    </a:lnTo>
                    <a:lnTo>
                      <a:pt x="353" y="295"/>
                    </a:lnTo>
                    <a:lnTo>
                      <a:pt x="353" y="292"/>
                    </a:lnTo>
                    <a:lnTo>
                      <a:pt x="354" y="291"/>
                    </a:lnTo>
                    <a:lnTo>
                      <a:pt x="355" y="286"/>
                    </a:lnTo>
                    <a:lnTo>
                      <a:pt x="356" y="283"/>
                    </a:lnTo>
                    <a:lnTo>
                      <a:pt x="354" y="282"/>
                    </a:lnTo>
                    <a:lnTo>
                      <a:pt x="355" y="279"/>
                    </a:lnTo>
                    <a:lnTo>
                      <a:pt x="351" y="276"/>
                    </a:lnTo>
                    <a:lnTo>
                      <a:pt x="350" y="276"/>
                    </a:lnTo>
                    <a:lnTo>
                      <a:pt x="347" y="279"/>
                    </a:lnTo>
                    <a:lnTo>
                      <a:pt x="346" y="278"/>
                    </a:lnTo>
                    <a:lnTo>
                      <a:pt x="348" y="277"/>
                    </a:lnTo>
                    <a:lnTo>
                      <a:pt x="350" y="272"/>
                    </a:lnTo>
                    <a:lnTo>
                      <a:pt x="349" y="271"/>
                    </a:lnTo>
                    <a:lnTo>
                      <a:pt x="348" y="270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1" y="258"/>
                    </a:lnTo>
                    <a:lnTo>
                      <a:pt x="353" y="255"/>
                    </a:lnTo>
                    <a:lnTo>
                      <a:pt x="354" y="249"/>
                    </a:lnTo>
                    <a:lnTo>
                      <a:pt x="355" y="247"/>
                    </a:lnTo>
                    <a:lnTo>
                      <a:pt x="356" y="244"/>
                    </a:lnTo>
                    <a:lnTo>
                      <a:pt x="355" y="242"/>
                    </a:lnTo>
                    <a:lnTo>
                      <a:pt x="353" y="243"/>
                    </a:lnTo>
                    <a:lnTo>
                      <a:pt x="350" y="242"/>
                    </a:lnTo>
                    <a:lnTo>
                      <a:pt x="350" y="239"/>
                    </a:lnTo>
                    <a:lnTo>
                      <a:pt x="349" y="238"/>
                    </a:lnTo>
                    <a:lnTo>
                      <a:pt x="347" y="239"/>
                    </a:lnTo>
                    <a:lnTo>
                      <a:pt x="346" y="239"/>
                    </a:lnTo>
                    <a:lnTo>
                      <a:pt x="344" y="238"/>
                    </a:lnTo>
                    <a:lnTo>
                      <a:pt x="344" y="236"/>
                    </a:lnTo>
                    <a:lnTo>
                      <a:pt x="345" y="236"/>
                    </a:lnTo>
                    <a:lnTo>
                      <a:pt x="346" y="235"/>
                    </a:lnTo>
                    <a:lnTo>
                      <a:pt x="342" y="234"/>
                    </a:lnTo>
                    <a:lnTo>
                      <a:pt x="342" y="233"/>
                    </a:lnTo>
                    <a:lnTo>
                      <a:pt x="340" y="233"/>
                    </a:lnTo>
                    <a:lnTo>
                      <a:pt x="339" y="232"/>
                    </a:lnTo>
                    <a:lnTo>
                      <a:pt x="338" y="232"/>
                    </a:lnTo>
                    <a:lnTo>
                      <a:pt x="337" y="229"/>
                    </a:lnTo>
                    <a:lnTo>
                      <a:pt x="336" y="228"/>
                    </a:lnTo>
                    <a:lnTo>
                      <a:pt x="339" y="229"/>
                    </a:lnTo>
                    <a:lnTo>
                      <a:pt x="342" y="232"/>
                    </a:lnTo>
                    <a:lnTo>
                      <a:pt x="345" y="232"/>
                    </a:lnTo>
                    <a:lnTo>
                      <a:pt x="345" y="231"/>
                    </a:lnTo>
                    <a:lnTo>
                      <a:pt x="347" y="231"/>
                    </a:lnTo>
                    <a:lnTo>
                      <a:pt x="348" y="230"/>
                    </a:lnTo>
                    <a:lnTo>
                      <a:pt x="347" y="230"/>
                    </a:lnTo>
                    <a:lnTo>
                      <a:pt x="345" y="224"/>
                    </a:lnTo>
                    <a:lnTo>
                      <a:pt x="342" y="223"/>
                    </a:lnTo>
                    <a:lnTo>
                      <a:pt x="340" y="221"/>
                    </a:lnTo>
                    <a:lnTo>
                      <a:pt x="342" y="219"/>
                    </a:lnTo>
                    <a:lnTo>
                      <a:pt x="341" y="218"/>
                    </a:lnTo>
                    <a:lnTo>
                      <a:pt x="342" y="217"/>
                    </a:lnTo>
                    <a:lnTo>
                      <a:pt x="342" y="218"/>
                    </a:lnTo>
                    <a:lnTo>
                      <a:pt x="342" y="219"/>
                    </a:lnTo>
                    <a:lnTo>
                      <a:pt x="343" y="219"/>
                    </a:lnTo>
                    <a:lnTo>
                      <a:pt x="344" y="218"/>
                    </a:lnTo>
                    <a:lnTo>
                      <a:pt x="344" y="219"/>
                    </a:lnTo>
                    <a:lnTo>
                      <a:pt x="345" y="219"/>
                    </a:lnTo>
                    <a:lnTo>
                      <a:pt x="345" y="218"/>
                    </a:lnTo>
                    <a:lnTo>
                      <a:pt x="348" y="217"/>
                    </a:lnTo>
                    <a:lnTo>
                      <a:pt x="350" y="218"/>
                    </a:lnTo>
                    <a:lnTo>
                      <a:pt x="353" y="215"/>
                    </a:lnTo>
                    <a:lnTo>
                      <a:pt x="351" y="215"/>
                    </a:lnTo>
                    <a:lnTo>
                      <a:pt x="351" y="213"/>
                    </a:lnTo>
                    <a:lnTo>
                      <a:pt x="349" y="213"/>
                    </a:lnTo>
                    <a:lnTo>
                      <a:pt x="348" y="212"/>
                    </a:lnTo>
                    <a:lnTo>
                      <a:pt x="346" y="213"/>
                    </a:lnTo>
                    <a:lnTo>
                      <a:pt x="347" y="211"/>
                    </a:lnTo>
                    <a:lnTo>
                      <a:pt x="346" y="211"/>
                    </a:lnTo>
                    <a:lnTo>
                      <a:pt x="344" y="212"/>
                    </a:lnTo>
                    <a:lnTo>
                      <a:pt x="343" y="211"/>
                    </a:lnTo>
                    <a:lnTo>
                      <a:pt x="342" y="211"/>
                    </a:lnTo>
                    <a:lnTo>
                      <a:pt x="342" y="213"/>
                    </a:lnTo>
                    <a:lnTo>
                      <a:pt x="340" y="213"/>
                    </a:lnTo>
                    <a:lnTo>
                      <a:pt x="340" y="215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9" y="211"/>
                    </a:lnTo>
                    <a:lnTo>
                      <a:pt x="339" y="210"/>
                    </a:lnTo>
                    <a:lnTo>
                      <a:pt x="338" y="209"/>
                    </a:lnTo>
                    <a:lnTo>
                      <a:pt x="340" y="208"/>
                    </a:lnTo>
                    <a:lnTo>
                      <a:pt x="338" y="205"/>
                    </a:lnTo>
                    <a:lnTo>
                      <a:pt x="340" y="203"/>
                    </a:lnTo>
                    <a:lnTo>
                      <a:pt x="343" y="202"/>
                    </a:lnTo>
                    <a:lnTo>
                      <a:pt x="347" y="195"/>
                    </a:lnTo>
                    <a:lnTo>
                      <a:pt x="356" y="192"/>
                    </a:lnTo>
                    <a:lnTo>
                      <a:pt x="359" y="191"/>
                    </a:lnTo>
                    <a:lnTo>
                      <a:pt x="361" y="191"/>
                    </a:lnTo>
                    <a:lnTo>
                      <a:pt x="360" y="191"/>
                    </a:lnTo>
                    <a:lnTo>
                      <a:pt x="360" y="194"/>
                    </a:lnTo>
                    <a:lnTo>
                      <a:pt x="362" y="195"/>
                    </a:lnTo>
                    <a:lnTo>
                      <a:pt x="363" y="197"/>
                    </a:lnTo>
                    <a:lnTo>
                      <a:pt x="363" y="198"/>
                    </a:lnTo>
                    <a:lnTo>
                      <a:pt x="365" y="198"/>
                    </a:lnTo>
                    <a:lnTo>
                      <a:pt x="366" y="198"/>
                    </a:lnTo>
                    <a:lnTo>
                      <a:pt x="367" y="196"/>
                    </a:lnTo>
                    <a:lnTo>
                      <a:pt x="367" y="195"/>
                    </a:lnTo>
                    <a:lnTo>
                      <a:pt x="368" y="194"/>
                    </a:lnTo>
                    <a:lnTo>
                      <a:pt x="368" y="192"/>
                    </a:lnTo>
                    <a:lnTo>
                      <a:pt x="370" y="191"/>
                    </a:lnTo>
                    <a:lnTo>
                      <a:pt x="371" y="188"/>
                    </a:lnTo>
                    <a:lnTo>
                      <a:pt x="372" y="188"/>
                    </a:lnTo>
                    <a:lnTo>
                      <a:pt x="375" y="188"/>
                    </a:lnTo>
                    <a:lnTo>
                      <a:pt x="375" y="187"/>
                    </a:lnTo>
                    <a:lnTo>
                      <a:pt x="376" y="187"/>
                    </a:lnTo>
                    <a:lnTo>
                      <a:pt x="377" y="187"/>
                    </a:lnTo>
                    <a:lnTo>
                      <a:pt x="379" y="185"/>
                    </a:lnTo>
                    <a:lnTo>
                      <a:pt x="379" y="186"/>
                    </a:lnTo>
                    <a:lnTo>
                      <a:pt x="381" y="183"/>
                    </a:lnTo>
                    <a:lnTo>
                      <a:pt x="381" y="181"/>
                    </a:lnTo>
                    <a:lnTo>
                      <a:pt x="379" y="180"/>
                    </a:lnTo>
                    <a:lnTo>
                      <a:pt x="378" y="179"/>
                    </a:lnTo>
                    <a:lnTo>
                      <a:pt x="377" y="178"/>
                    </a:lnTo>
                    <a:lnTo>
                      <a:pt x="376" y="179"/>
                    </a:lnTo>
                    <a:lnTo>
                      <a:pt x="375" y="179"/>
                    </a:lnTo>
                    <a:lnTo>
                      <a:pt x="373" y="181"/>
                    </a:lnTo>
                    <a:lnTo>
                      <a:pt x="372" y="180"/>
                    </a:lnTo>
                    <a:lnTo>
                      <a:pt x="373" y="177"/>
                    </a:lnTo>
                    <a:lnTo>
                      <a:pt x="376" y="176"/>
                    </a:lnTo>
                    <a:lnTo>
                      <a:pt x="378" y="171"/>
                    </a:lnTo>
                    <a:lnTo>
                      <a:pt x="378" y="168"/>
                    </a:lnTo>
                    <a:lnTo>
                      <a:pt x="377" y="166"/>
                    </a:lnTo>
                    <a:lnTo>
                      <a:pt x="377" y="165"/>
                    </a:lnTo>
                    <a:lnTo>
                      <a:pt x="376" y="162"/>
                    </a:lnTo>
                    <a:lnTo>
                      <a:pt x="377" y="161"/>
                    </a:lnTo>
                    <a:lnTo>
                      <a:pt x="381" y="161"/>
                    </a:lnTo>
                    <a:lnTo>
                      <a:pt x="381" y="158"/>
                    </a:lnTo>
                    <a:lnTo>
                      <a:pt x="383" y="157"/>
                    </a:lnTo>
                    <a:lnTo>
                      <a:pt x="382" y="157"/>
                    </a:lnTo>
                    <a:lnTo>
                      <a:pt x="383" y="153"/>
                    </a:lnTo>
                    <a:lnTo>
                      <a:pt x="381" y="151"/>
                    </a:lnTo>
                    <a:lnTo>
                      <a:pt x="381" y="148"/>
                    </a:lnTo>
                    <a:lnTo>
                      <a:pt x="384" y="145"/>
                    </a:lnTo>
                    <a:lnTo>
                      <a:pt x="383" y="144"/>
                    </a:lnTo>
                    <a:lnTo>
                      <a:pt x="382" y="141"/>
                    </a:lnTo>
                    <a:lnTo>
                      <a:pt x="383" y="140"/>
                    </a:lnTo>
                    <a:lnTo>
                      <a:pt x="384" y="141"/>
                    </a:lnTo>
                    <a:lnTo>
                      <a:pt x="386" y="138"/>
                    </a:lnTo>
                    <a:lnTo>
                      <a:pt x="385" y="135"/>
                    </a:lnTo>
                    <a:lnTo>
                      <a:pt x="386" y="135"/>
                    </a:lnTo>
                    <a:lnTo>
                      <a:pt x="386" y="131"/>
                    </a:lnTo>
                    <a:lnTo>
                      <a:pt x="387" y="131"/>
                    </a:lnTo>
                    <a:lnTo>
                      <a:pt x="388" y="131"/>
                    </a:lnTo>
                    <a:lnTo>
                      <a:pt x="389" y="131"/>
                    </a:lnTo>
                    <a:lnTo>
                      <a:pt x="391" y="131"/>
                    </a:lnTo>
                    <a:lnTo>
                      <a:pt x="392" y="131"/>
                    </a:lnTo>
                    <a:lnTo>
                      <a:pt x="392" y="133"/>
                    </a:lnTo>
                    <a:lnTo>
                      <a:pt x="393" y="132"/>
                    </a:lnTo>
                    <a:lnTo>
                      <a:pt x="392" y="126"/>
                    </a:lnTo>
                    <a:lnTo>
                      <a:pt x="392" y="1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2" name="Freeform 103">
                <a:extLst>
                  <a:ext uri="{FF2B5EF4-FFF2-40B4-BE49-F238E27FC236}">
                    <a16:creationId xmlns:a16="http://schemas.microsoft.com/office/drawing/2014/main" id="{A17ED39A-20DA-48E7-B654-A383B4908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" y="3083"/>
                <a:ext cx="396" cy="548"/>
              </a:xfrm>
              <a:custGeom>
                <a:avLst/>
                <a:gdLst>
                  <a:gd name="T0" fmla="*/ 386 w 396"/>
                  <a:gd name="T1" fmla="*/ 99 h 548"/>
                  <a:gd name="T2" fmla="*/ 373 w 396"/>
                  <a:gd name="T3" fmla="*/ 83 h 548"/>
                  <a:gd name="T4" fmla="*/ 353 w 396"/>
                  <a:gd name="T5" fmla="*/ 62 h 548"/>
                  <a:gd name="T6" fmla="*/ 327 w 396"/>
                  <a:gd name="T7" fmla="*/ 55 h 548"/>
                  <a:gd name="T8" fmla="*/ 323 w 396"/>
                  <a:gd name="T9" fmla="*/ 43 h 548"/>
                  <a:gd name="T10" fmla="*/ 298 w 396"/>
                  <a:gd name="T11" fmla="*/ 37 h 548"/>
                  <a:gd name="T12" fmla="*/ 292 w 396"/>
                  <a:gd name="T13" fmla="*/ 25 h 548"/>
                  <a:gd name="T14" fmla="*/ 288 w 396"/>
                  <a:gd name="T15" fmla="*/ 13 h 548"/>
                  <a:gd name="T16" fmla="*/ 276 w 396"/>
                  <a:gd name="T17" fmla="*/ 2 h 548"/>
                  <a:gd name="T18" fmla="*/ 261 w 396"/>
                  <a:gd name="T19" fmla="*/ 0 h 548"/>
                  <a:gd name="T20" fmla="*/ 256 w 396"/>
                  <a:gd name="T21" fmla="*/ 17 h 548"/>
                  <a:gd name="T22" fmla="*/ 243 w 396"/>
                  <a:gd name="T23" fmla="*/ 22 h 548"/>
                  <a:gd name="T24" fmla="*/ 230 w 396"/>
                  <a:gd name="T25" fmla="*/ 38 h 548"/>
                  <a:gd name="T26" fmla="*/ 222 w 396"/>
                  <a:gd name="T27" fmla="*/ 29 h 548"/>
                  <a:gd name="T28" fmla="*/ 206 w 396"/>
                  <a:gd name="T29" fmla="*/ 23 h 548"/>
                  <a:gd name="T30" fmla="*/ 193 w 396"/>
                  <a:gd name="T31" fmla="*/ 30 h 548"/>
                  <a:gd name="T32" fmla="*/ 175 w 396"/>
                  <a:gd name="T33" fmla="*/ 43 h 548"/>
                  <a:gd name="T34" fmla="*/ 164 w 396"/>
                  <a:gd name="T35" fmla="*/ 57 h 548"/>
                  <a:gd name="T36" fmla="*/ 147 w 396"/>
                  <a:gd name="T37" fmla="*/ 61 h 548"/>
                  <a:gd name="T38" fmla="*/ 124 w 396"/>
                  <a:gd name="T39" fmla="*/ 54 h 548"/>
                  <a:gd name="T40" fmla="*/ 104 w 396"/>
                  <a:gd name="T41" fmla="*/ 51 h 548"/>
                  <a:gd name="T42" fmla="*/ 82 w 396"/>
                  <a:gd name="T43" fmla="*/ 67 h 548"/>
                  <a:gd name="T44" fmla="*/ 61 w 396"/>
                  <a:gd name="T45" fmla="*/ 60 h 548"/>
                  <a:gd name="T46" fmla="*/ 30 w 396"/>
                  <a:gd name="T47" fmla="*/ 83 h 548"/>
                  <a:gd name="T48" fmla="*/ 21 w 396"/>
                  <a:gd name="T49" fmla="*/ 106 h 548"/>
                  <a:gd name="T50" fmla="*/ 18 w 396"/>
                  <a:gd name="T51" fmla="*/ 153 h 548"/>
                  <a:gd name="T52" fmla="*/ 26 w 396"/>
                  <a:gd name="T53" fmla="*/ 178 h 548"/>
                  <a:gd name="T54" fmla="*/ 36 w 396"/>
                  <a:gd name="T55" fmla="*/ 205 h 548"/>
                  <a:gd name="T56" fmla="*/ 49 w 396"/>
                  <a:gd name="T57" fmla="*/ 232 h 548"/>
                  <a:gd name="T58" fmla="*/ 53 w 396"/>
                  <a:gd name="T59" fmla="*/ 284 h 548"/>
                  <a:gd name="T60" fmla="*/ 90 w 396"/>
                  <a:gd name="T61" fmla="*/ 331 h 548"/>
                  <a:gd name="T62" fmla="*/ 118 w 396"/>
                  <a:gd name="T63" fmla="*/ 336 h 548"/>
                  <a:gd name="T64" fmla="*/ 144 w 396"/>
                  <a:gd name="T65" fmla="*/ 377 h 548"/>
                  <a:gd name="T66" fmla="*/ 160 w 396"/>
                  <a:gd name="T67" fmla="*/ 412 h 548"/>
                  <a:gd name="T68" fmla="*/ 204 w 396"/>
                  <a:gd name="T69" fmla="*/ 463 h 548"/>
                  <a:gd name="T70" fmla="*/ 224 w 396"/>
                  <a:gd name="T71" fmla="*/ 492 h 548"/>
                  <a:gd name="T72" fmla="*/ 236 w 396"/>
                  <a:gd name="T73" fmla="*/ 537 h 548"/>
                  <a:gd name="T74" fmla="*/ 259 w 396"/>
                  <a:gd name="T75" fmla="*/ 532 h 548"/>
                  <a:gd name="T76" fmla="*/ 275 w 396"/>
                  <a:gd name="T77" fmla="*/ 504 h 548"/>
                  <a:gd name="T78" fmla="*/ 282 w 396"/>
                  <a:gd name="T79" fmla="*/ 466 h 548"/>
                  <a:gd name="T80" fmla="*/ 292 w 396"/>
                  <a:gd name="T81" fmla="*/ 462 h 548"/>
                  <a:gd name="T82" fmla="*/ 311 w 396"/>
                  <a:gd name="T83" fmla="*/ 456 h 548"/>
                  <a:gd name="T84" fmla="*/ 320 w 396"/>
                  <a:gd name="T85" fmla="*/ 437 h 548"/>
                  <a:gd name="T86" fmla="*/ 316 w 396"/>
                  <a:gd name="T87" fmla="*/ 421 h 548"/>
                  <a:gd name="T88" fmla="*/ 327 w 396"/>
                  <a:gd name="T89" fmla="*/ 411 h 548"/>
                  <a:gd name="T90" fmla="*/ 331 w 396"/>
                  <a:gd name="T91" fmla="*/ 396 h 548"/>
                  <a:gd name="T92" fmla="*/ 343 w 396"/>
                  <a:gd name="T93" fmla="*/ 381 h 548"/>
                  <a:gd name="T94" fmla="*/ 350 w 396"/>
                  <a:gd name="T95" fmla="*/ 364 h 548"/>
                  <a:gd name="T96" fmla="*/ 345 w 396"/>
                  <a:gd name="T97" fmla="*/ 347 h 548"/>
                  <a:gd name="T98" fmla="*/ 351 w 396"/>
                  <a:gd name="T99" fmla="*/ 331 h 548"/>
                  <a:gd name="T100" fmla="*/ 349 w 396"/>
                  <a:gd name="T101" fmla="*/ 321 h 548"/>
                  <a:gd name="T102" fmla="*/ 351 w 396"/>
                  <a:gd name="T103" fmla="*/ 309 h 548"/>
                  <a:gd name="T104" fmla="*/ 348 w 396"/>
                  <a:gd name="T105" fmla="*/ 298 h 548"/>
                  <a:gd name="T106" fmla="*/ 348 w 396"/>
                  <a:gd name="T107" fmla="*/ 277 h 548"/>
                  <a:gd name="T108" fmla="*/ 349 w 396"/>
                  <a:gd name="T109" fmla="*/ 238 h 548"/>
                  <a:gd name="T110" fmla="*/ 342 w 396"/>
                  <a:gd name="T111" fmla="*/ 232 h 548"/>
                  <a:gd name="T112" fmla="*/ 344 w 396"/>
                  <a:gd name="T113" fmla="*/ 218 h 548"/>
                  <a:gd name="T114" fmla="*/ 344 w 396"/>
                  <a:gd name="T115" fmla="*/ 212 h 548"/>
                  <a:gd name="T116" fmla="*/ 347 w 396"/>
                  <a:gd name="T117" fmla="*/ 195 h 548"/>
                  <a:gd name="T118" fmla="*/ 367 w 396"/>
                  <a:gd name="T119" fmla="*/ 195 h 548"/>
                  <a:gd name="T120" fmla="*/ 379 w 396"/>
                  <a:gd name="T121" fmla="*/ 180 h 548"/>
                  <a:gd name="T122" fmla="*/ 381 w 396"/>
                  <a:gd name="T123" fmla="*/ 161 h 548"/>
                  <a:gd name="T124" fmla="*/ 386 w 396"/>
                  <a:gd name="T125" fmla="*/ 131 h 54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96"/>
                  <a:gd name="T190" fmla="*/ 0 h 548"/>
                  <a:gd name="T191" fmla="*/ 396 w 396"/>
                  <a:gd name="T192" fmla="*/ 548 h 54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96" h="548">
                    <a:moveTo>
                      <a:pt x="392" y="121"/>
                    </a:moveTo>
                    <a:lnTo>
                      <a:pt x="392" y="118"/>
                    </a:lnTo>
                    <a:lnTo>
                      <a:pt x="392" y="116"/>
                    </a:lnTo>
                    <a:lnTo>
                      <a:pt x="392" y="114"/>
                    </a:lnTo>
                    <a:lnTo>
                      <a:pt x="391" y="113"/>
                    </a:lnTo>
                    <a:lnTo>
                      <a:pt x="392" y="111"/>
                    </a:lnTo>
                    <a:lnTo>
                      <a:pt x="392" y="110"/>
                    </a:lnTo>
                    <a:lnTo>
                      <a:pt x="392" y="107"/>
                    </a:lnTo>
                    <a:lnTo>
                      <a:pt x="393" y="105"/>
                    </a:lnTo>
                    <a:lnTo>
                      <a:pt x="396" y="104"/>
                    </a:lnTo>
                    <a:lnTo>
                      <a:pt x="392" y="104"/>
                    </a:lnTo>
                    <a:lnTo>
                      <a:pt x="390" y="103"/>
                    </a:lnTo>
                    <a:lnTo>
                      <a:pt x="386" y="99"/>
                    </a:lnTo>
                    <a:lnTo>
                      <a:pt x="384" y="96"/>
                    </a:lnTo>
                    <a:lnTo>
                      <a:pt x="379" y="95"/>
                    </a:lnTo>
                    <a:lnTo>
                      <a:pt x="378" y="94"/>
                    </a:lnTo>
                    <a:lnTo>
                      <a:pt x="375" y="95"/>
                    </a:lnTo>
                    <a:lnTo>
                      <a:pt x="373" y="94"/>
                    </a:lnTo>
                    <a:lnTo>
                      <a:pt x="373" y="93"/>
                    </a:lnTo>
                    <a:lnTo>
                      <a:pt x="375" y="94"/>
                    </a:lnTo>
                    <a:lnTo>
                      <a:pt x="376" y="89"/>
                    </a:lnTo>
                    <a:lnTo>
                      <a:pt x="376" y="87"/>
                    </a:lnTo>
                    <a:lnTo>
                      <a:pt x="376" y="86"/>
                    </a:lnTo>
                    <a:lnTo>
                      <a:pt x="376" y="83"/>
                    </a:lnTo>
                    <a:lnTo>
                      <a:pt x="373" y="83"/>
                    </a:lnTo>
                    <a:lnTo>
                      <a:pt x="371" y="82"/>
                    </a:lnTo>
                    <a:lnTo>
                      <a:pt x="369" y="81"/>
                    </a:lnTo>
                    <a:lnTo>
                      <a:pt x="365" y="81"/>
                    </a:lnTo>
                    <a:lnTo>
                      <a:pt x="363" y="82"/>
                    </a:lnTo>
                    <a:lnTo>
                      <a:pt x="363" y="79"/>
                    </a:lnTo>
                    <a:lnTo>
                      <a:pt x="362" y="75"/>
                    </a:lnTo>
                    <a:lnTo>
                      <a:pt x="360" y="74"/>
                    </a:lnTo>
                    <a:lnTo>
                      <a:pt x="359" y="75"/>
                    </a:lnTo>
                    <a:lnTo>
                      <a:pt x="359" y="74"/>
                    </a:lnTo>
                    <a:lnTo>
                      <a:pt x="357" y="71"/>
                    </a:lnTo>
                    <a:lnTo>
                      <a:pt x="356" y="71"/>
                    </a:lnTo>
                    <a:lnTo>
                      <a:pt x="356" y="65"/>
                    </a:lnTo>
                    <a:lnTo>
                      <a:pt x="354" y="64"/>
                    </a:lnTo>
                    <a:lnTo>
                      <a:pt x="353" y="62"/>
                    </a:lnTo>
                    <a:lnTo>
                      <a:pt x="351" y="62"/>
                    </a:lnTo>
                    <a:lnTo>
                      <a:pt x="350" y="61"/>
                    </a:lnTo>
                    <a:lnTo>
                      <a:pt x="349" y="63"/>
                    </a:lnTo>
                    <a:lnTo>
                      <a:pt x="348" y="63"/>
                    </a:lnTo>
                    <a:lnTo>
                      <a:pt x="346" y="62"/>
                    </a:lnTo>
                    <a:lnTo>
                      <a:pt x="346" y="63"/>
                    </a:lnTo>
                    <a:lnTo>
                      <a:pt x="346" y="64"/>
                    </a:lnTo>
                    <a:lnTo>
                      <a:pt x="339" y="64"/>
                    </a:lnTo>
                    <a:lnTo>
                      <a:pt x="337" y="63"/>
                    </a:lnTo>
                    <a:lnTo>
                      <a:pt x="329" y="61"/>
                    </a:lnTo>
                    <a:lnTo>
                      <a:pt x="329" y="60"/>
                    </a:lnTo>
                    <a:lnTo>
                      <a:pt x="328" y="59"/>
                    </a:lnTo>
                    <a:lnTo>
                      <a:pt x="328" y="58"/>
                    </a:lnTo>
                    <a:lnTo>
                      <a:pt x="326" y="56"/>
                    </a:lnTo>
                    <a:lnTo>
                      <a:pt x="327" y="55"/>
                    </a:lnTo>
                    <a:lnTo>
                      <a:pt x="326" y="54"/>
                    </a:lnTo>
                    <a:lnTo>
                      <a:pt x="324" y="53"/>
                    </a:lnTo>
                    <a:lnTo>
                      <a:pt x="323" y="51"/>
                    </a:lnTo>
                    <a:lnTo>
                      <a:pt x="322" y="51"/>
                    </a:lnTo>
                    <a:lnTo>
                      <a:pt x="321" y="50"/>
                    </a:lnTo>
                    <a:lnTo>
                      <a:pt x="318" y="50"/>
                    </a:lnTo>
                    <a:lnTo>
                      <a:pt x="317" y="47"/>
                    </a:lnTo>
                    <a:lnTo>
                      <a:pt x="315" y="47"/>
                    </a:lnTo>
                    <a:lnTo>
                      <a:pt x="313" y="46"/>
                    </a:lnTo>
                    <a:lnTo>
                      <a:pt x="314" y="42"/>
                    </a:lnTo>
                    <a:lnTo>
                      <a:pt x="315" y="43"/>
                    </a:lnTo>
                    <a:lnTo>
                      <a:pt x="316" y="42"/>
                    </a:lnTo>
                    <a:lnTo>
                      <a:pt x="320" y="42"/>
                    </a:lnTo>
                    <a:lnTo>
                      <a:pt x="323" y="44"/>
                    </a:lnTo>
                    <a:lnTo>
                      <a:pt x="323" y="43"/>
                    </a:lnTo>
                    <a:lnTo>
                      <a:pt x="321" y="42"/>
                    </a:lnTo>
                    <a:lnTo>
                      <a:pt x="320" y="42"/>
                    </a:lnTo>
                    <a:lnTo>
                      <a:pt x="319" y="37"/>
                    </a:lnTo>
                    <a:lnTo>
                      <a:pt x="318" y="37"/>
                    </a:lnTo>
                    <a:lnTo>
                      <a:pt x="313" y="37"/>
                    </a:lnTo>
                    <a:lnTo>
                      <a:pt x="311" y="40"/>
                    </a:lnTo>
                    <a:lnTo>
                      <a:pt x="309" y="40"/>
                    </a:lnTo>
                    <a:lnTo>
                      <a:pt x="308" y="38"/>
                    </a:lnTo>
                    <a:lnTo>
                      <a:pt x="308" y="37"/>
                    </a:lnTo>
                    <a:lnTo>
                      <a:pt x="308" y="36"/>
                    </a:lnTo>
                    <a:lnTo>
                      <a:pt x="307" y="36"/>
                    </a:lnTo>
                    <a:lnTo>
                      <a:pt x="306" y="34"/>
                    </a:lnTo>
                    <a:lnTo>
                      <a:pt x="305" y="36"/>
                    </a:lnTo>
                    <a:lnTo>
                      <a:pt x="299" y="34"/>
                    </a:lnTo>
                    <a:lnTo>
                      <a:pt x="298" y="37"/>
                    </a:lnTo>
                    <a:lnTo>
                      <a:pt x="296" y="37"/>
                    </a:lnTo>
                    <a:lnTo>
                      <a:pt x="295" y="40"/>
                    </a:lnTo>
                    <a:lnTo>
                      <a:pt x="294" y="40"/>
                    </a:lnTo>
                    <a:lnTo>
                      <a:pt x="293" y="39"/>
                    </a:lnTo>
                    <a:lnTo>
                      <a:pt x="293" y="36"/>
                    </a:lnTo>
                    <a:lnTo>
                      <a:pt x="288" y="36"/>
                    </a:lnTo>
                    <a:lnTo>
                      <a:pt x="286" y="36"/>
                    </a:lnTo>
                    <a:lnTo>
                      <a:pt x="286" y="34"/>
                    </a:lnTo>
                    <a:lnTo>
                      <a:pt x="288" y="32"/>
                    </a:lnTo>
                    <a:lnTo>
                      <a:pt x="288" y="30"/>
                    </a:lnTo>
                    <a:lnTo>
                      <a:pt x="290" y="29"/>
                    </a:lnTo>
                    <a:lnTo>
                      <a:pt x="291" y="29"/>
                    </a:lnTo>
                    <a:lnTo>
                      <a:pt x="290" y="27"/>
                    </a:lnTo>
                    <a:lnTo>
                      <a:pt x="292" y="25"/>
                    </a:lnTo>
                    <a:lnTo>
                      <a:pt x="292" y="23"/>
                    </a:lnTo>
                    <a:lnTo>
                      <a:pt x="294" y="24"/>
                    </a:lnTo>
                    <a:lnTo>
                      <a:pt x="296" y="24"/>
                    </a:lnTo>
                    <a:lnTo>
                      <a:pt x="297" y="20"/>
                    </a:lnTo>
                    <a:lnTo>
                      <a:pt x="296" y="17"/>
                    </a:lnTo>
                    <a:lnTo>
                      <a:pt x="294" y="16"/>
                    </a:lnTo>
                    <a:lnTo>
                      <a:pt x="294" y="13"/>
                    </a:lnTo>
                    <a:lnTo>
                      <a:pt x="292" y="15"/>
                    </a:lnTo>
                    <a:lnTo>
                      <a:pt x="291" y="13"/>
                    </a:lnTo>
                    <a:lnTo>
                      <a:pt x="292" y="10"/>
                    </a:lnTo>
                    <a:lnTo>
                      <a:pt x="291" y="9"/>
                    </a:lnTo>
                    <a:lnTo>
                      <a:pt x="291" y="12"/>
                    </a:lnTo>
                    <a:lnTo>
                      <a:pt x="288" y="13"/>
                    </a:lnTo>
                    <a:lnTo>
                      <a:pt x="287" y="13"/>
                    </a:lnTo>
                    <a:lnTo>
                      <a:pt x="286" y="13"/>
                    </a:lnTo>
                    <a:lnTo>
                      <a:pt x="283" y="14"/>
                    </a:lnTo>
                    <a:lnTo>
                      <a:pt x="282" y="13"/>
                    </a:lnTo>
                    <a:lnTo>
                      <a:pt x="282" y="7"/>
                    </a:lnTo>
                    <a:lnTo>
                      <a:pt x="281" y="7"/>
                    </a:lnTo>
                    <a:lnTo>
                      <a:pt x="280" y="7"/>
                    </a:lnTo>
                    <a:lnTo>
                      <a:pt x="279" y="7"/>
                    </a:lnTo>
                    <a:lnTo>
                      <a:pt x="280" y="4"/>
                    </a:lnTo>
                    <a:lnTo>
                      <a:pt x="278" y="3"/>
                    </a:lnTo>
                    <a:lnTo>
                      <a:pt x="278" y="2"/>
                    </a:lnTo>
                    <a:lnTo>
                      <a:pt x="280" y="2"/>
                    </a:lnTo>
                    <a:lnTo>
                      <a:pt x="279" y="1"/>
                    </a:lnTo>
                    <a:lnTo>
                      <a:pt x="277" y="2"/>
                    </a:lnTo>
                    <a:lnTo>
                      <a:pt x="276" y="2"/>
                    </a:lnTo>
                    <a:lnTo>
                      <a:pt x="275" y="3"/>
                    </a:lnTo>
                    <a:lnTo>
                      <a:pt x="275" y="6"/>
                    </a:lnTo>
                    <a:lnTo>
                      <a:pt x="273" y="6"/>
                    </a:lnTo>
                    <a:lnTo>
                      <a:pt x="272" y="7"/>
                    </a:lnTo>
                    <a:lnTo>
                      <a:pt x="270" y="7"/>
                    </a:lnTo>
                    <a:lnTo>
                      <a:pt x="271" y="3"/>
                    </a:lnTo>
                    <a:lnTo>
                      <a:pt x="271" y="0"/>
                    </a:lnTo>
                    <a:lnTo>
                      <a:pt x="270" y="0"/>
                    </a:lnTo>
                    <a:lnTo>
                      <a:pt x="270" y="1"/>
                    </a:lnTo>
                    <a:lnTo>
                      <a:pt x="265" y="0"/>
                    </a:lnTo>
                    <a:lnTo>
                      <a:pt x="264" y="0"/>
                    </a:lnTo>
                    <a:lnTo>
                      <a:pt x="264" y="1"/>
                    </a:lnTo>
                    <a:lnTo>
                      <a:pt x="263" y="2"/>
                    </a:lnTo>
                    <a:lnTo>
                      <a:pt x="262" y="1"/>
                    </a:lnTo>
                    <a:lnTo>
                      <a:pt x="261" y="0"/>
                    </a:lnTo>
                    <a:lnTo>
                      <a:pt x="259" y="0"/>
                    </a:lnTo>
                    <a:lnTo>
                      <a:pt x="261" y="1"/>
                    </a:lnTo>
                    <a:lnTo>
                      <a:pt x="261" y="2"/>
                    </a:lnTo>
                    <a:lnTo>
                      <a:pt x="257" y="9"/>
                    </a:lnTo>
                    <a:lnTo>
                      <a:pt x="258" y="11"/>
                    </a:lnTo>
                    <a:lnTo>
                      <a:pt x="261" y="10"/>
                    </a:lnTo>
                    <a:lnTo>
                      <a:pt x="261" y="12"/>
                    </a:lnTo>
                    <a:lnTo>
                      <a:pt x="262" y="12"/>
                    </a:lnTo>
                    <a:lnTo>
                      <a:pt x="262" y="14"/>
                    </a:lnTo>
                    <a:lnTo>
                      <a:pt x="261" y="15"/>
                    </a:lnTo>
                    <a:lnTo>
                      <a:pt x="260" y="18"/>
                    </a:lnTo>
                    <a:lnTo>
                      <a:pt x="257" y="19"/>
                    </a:lnTo>
                    <a:lnTo>
                      <a:pt x="256" y="17"/>
                    </a:lnTo>
                    <a:lnTo>
                      <a:pt x="255" y="17"/>
                    </a:lnTo>
                    <a:lnTo>
                      <a:pt x="256" y="20"/>
                    </a:lnTo>
                    <a:lnTo>
                      <a:pt x="256" y="21"/>
                    </a:lnTo>
                    <a:lnTo>
                      <a:pt x="254" y="20"/>
                    </a:lnTo>
                    <a:lnTo>
                      <a:pt x="252" y="21"/>
                    </a:lnTo>
                    <a:lnTo>
                      <a:pt x="249" y="20"/>
                    </a:lnTo>
                    <a:lnTo>
                      <a:pt x="249" y="23"/>
                    </a:lnTo>
                    <a:lnTo>
                      <a:pt x="247" y="23"/>
                    </a:lnTo>
                    <a:lnTo>
                      <a:pt x="247" y="20"/>
                    </a:lnTo>
                    <a:lnTo>
                      <a:pt x="246" y="23"/>
                    </a:lnTo>
                    <a:lnTo>
                      <a:pt x="245" y="22"/>
                    </a:lnTo>
                    <a:lnTo>
                      <a:pt x="244" y="20"/>
                    </a:lnTo>
                    <a:lnTo>
                      <a:pt x="242" y="20"/>
                    </a:lnTo>
                    <a:lnTo>
                      <a:pt x="243" y="22"/>
                    </a:lnTo>
                    <a:lnTo>
                      <a:pt x="242" y="23"/>
                    </a:lnTo>
                    <a:lnTo>
                      <a:pt x="241" y="24"/>
                    </a:lnTo>
                    <a:lnTo>
                      <a:pt x="242" y="24"/>
                    </a:lnTo>
                    <a:lnTo>
                      <a:pt x="244" y="26"/>
                    </a:lnTo>
                    <a:lnTo>
                      <a:pt x="242" y="26"/>
                    </a:lnTo>
                    <a:lnTo>
                      <a:pt x="244" y="32"/>
                    </a:lnTo>
                    <a:lnTo>
                      <a:pt x="244" y="33"/>
                    </a:lnTo>
                    <a:lnTo>
                      <a:pt x="242" y="33"/>
                    </a:lnTo>
                    <a:lnTo>
                      <a:pt x="239" y="37"/>
                    </a:lnTo>
                    <a:lnTo>
                      <a:pt x="239" y="41"/>
                    </a:lnTo>
                    <a:lnTo>
                      <a:pt x="241" y="44"/>
                    </a:lnTo>
                    <a:lnTo>
                      <a:pt x="239" y="45"/>
                    </a:lnTo>
                    <a:lnTo>
                      <a:pt x="237" y="46"/>
                    </a:lnTo>
                    <a:lnTo>
                      <a:pt x="233" y="43"/>
                    </a:lnTo>
                    <a:lnTo>
                      <a:pt x="230" y="38"/>
                    </a:lnTo>
                    <a:lnTo>
                      <a:pt x="228" y="36"/>
                    </a:lnTo>
                    <a:lnTo>
                      <a:pt x="228" y="35"/>
                    </a:lnTo>
                    <a:lnTo>
                      <a:pt x="228" y="33"/>
                    </a:lnTo>
                    <a:lnTo>
                      <a:pt x="227" y="37"/>
                    </a:lnTo>
                    <a:lnTo>
                      <a:pt x="226" y="36"/>
                    </a:lnTo>
                    <a:lnTo>
                      <a:pt x="226" y="34"/>
                    </a:lnTo>
                    <a:lnTo>
                      <a:pt x="226" y="33"/>
                    </a:lnTo>
                    <a:lnTo>
                      <a:pt x="225" y="33"/>
                    </a:lnTo>
                    <a:lnTo>
                      <a:pt x="225" y="32"/>
                    </a:lnTo>
                    <a:lnTo>
                      <a:pt x="224" y="32"/>
                    </a:lnTo>
                    <a:lnTo>
                      <a:pt x="223" y="30"/>
                    </a:lnTo>
                    <a:lnTo>
                      <a:pt x="223" y="31"/>
                    </a:lnTo>
                    <a:lnTo>
                      <a:pt x="222" y="31"/>
                    </a:lnTo>
                    <a:lnTo>
                      <a:pt x="222" y="29"/>
                    </a:lnTo>
                    <a:lnTo>
                      <a:pt x="221" y="29"/>
                    </a:lnTo>
                    <a:lnTo>
                      <a:pt x="218" y="28"/>
                    </a:lnTo>
                    <a:lnTo>
                      <a:pt x="219" y="28"/>
                    </a:lnTo>
                    <a:lnTo>
                      <a:pt x="219" y="26"/>
                    </a:lnTo>
                    <a:lnTo>
                      <a:pt x="216" y="28"/>
                    </a:lnTo>
                    <a:lnTo>
                      <a:pt x="214" y="27"/>
                    </a:lnTo>
                    <a:lnTo>
                      <a:pt x="214" y="28"/>
                    </a:lnTo>
                    <a:lnTo>
                      <a:pt x="213" y="26"/>
                    </a:lnTo>
                    <a:lnTo>
                      <a:pt x="211" y="28"/>
                    </a:lnTo>
                    <a:lnTo>
                      <a:pt x="209" y="25"/>
                    </a:lnTo>
                    <a:lnTo>
                      <a:pt x="208" y="26"/>
                    </a:lnTo>
                    <a:lnTo>
                      <a:pt x="207" y="25"/>
                    </a:lnTo>
                    <a:lnTo>
                      <a:pt x="207" y="23"/>
                    </a:lnTo>
                    <a:lnTo>
                      <a:pt x="206" y="23"/>
                    </a:lnTo>
                    <a:lnTo>
                      <a:pt x="206" y="20"/>
                    </a:lnTo>
                    <a:lnTo>
                      <a:pt x="204" y="23"/>
                    </a:lnTo>
                    <a:lnTo>
                      <a:pt x="203" y="23"/>
                    </a:lnTo>
                    <a:lnTo>
                      <a:pt x="201" y="24"/>
                    </a:lnTo>
                    <a:lnTo>
                      <a:pt x="201" y="23"/>
                    </a:lnTo>
                    <a:lnTo>
                      <a:pt x="201" y="24"/>
                    </a:lnTo>
                    <a:lnTo>
                      <a:pt x="201" y="28"/>
                    </a:lnTo>
                    <a:lnTo>
                      <a:pt x="199" y="28"/>
                    </a:lnTo>
                    <a:lnTo>
                      <a:pt x="197" y="26"/>
                    </a:lnTo>
                    <a:lnTo>
                      <a:pt x="196" y="29"/>
                    </a:lnTo>
                    <a:lnTo>
                      <a:pt x="198" y="29"/>
                    </a:lnTo>
                    <a:lnTo>
                      <a:pt x="198" y="30"/>
                    </a:lnTo>
                    <a:lnTo>
                      <a:pt x="196" y="32"/>
                    </a:lnTo>
                    <a:lnTo>
                      <a:pt x="193" y="30"/>
                    </a:lnTo>
                    <a:lnTo>
                      <a:pt x="192" y="31"/>
                    </a:lnTo>
                    <a:lnTo>
                      <a:pt x="191" y="33"/>
                    </a:lnTo>
                    <a:lnTo>
                      <a:pt x="190" y="34"/>
                    </a:lnTo>
                    <a:lnTo>
                      <a:pt x="187" y="33"/>
                    </a:lnTo>
                    <a:lnTo>
                      <a:pt x="187" y="35"/>
                    </a:lnTo>
                    <a:lnTo>
                      <a:pt x="186" y="36"/>
                    </a:lnTo>
                    <a:lnTo>
                      <a:pt x="184" y="36"/>
                    </a:lnTo>
                    <a:lnTo>
                      <a:pt x="182" y="37"/>
                    </a:lnTo>
                    <a:lnTo>
                      <a:pt x="182" y="38"/>
                    </a:lnTo>
                    <a:lnTo>
                      <a:pt x="181" y="40"/>
                    </a:lnTo>
                    <a:lnTo>
                      <a:pt x="180" y="37"/>
                    </a:lnTo>
                    <a:lnTo>
                      <a:pt x="176" y="37"/>
                    </a:lnTo>
                    <a:lnTo>
                      <a:pt x="176" y="43"/>
                    </a:lnTo>
                    <a:lnTo>
                      <a:pt x="175" y="43"/>
                    </a:lnTo>
                    <a:lnTo>
                      <a:pt x="176" y="42"/>
                    </a:lnTo>
                    <a:lnTo>
                      <a:pt x="174" y="41"/>
                    </a:lnTo>
                    <a:lnTo>
                      <a:pt x="172" y="43"/>
                    </a:lnTo>
                    <a:lnTo>
                      <a:pt x="169" y="42"/>
                    </a:lnTo>
                    <a:lnTo>
                      <a:pt x="166" y="42"/>
                    </a:lnTo>
                    <a:lnTo>
                      <a:pt x="164" y="43"/>
                    </a:lnTo>
                    <a:lnTo>
                      <a:pt x="163" y="46"/>
                    </a:lnTo>
                    <a:lnTo>
                      <a:pt x="166" y="51"/>
                    </a:lnTo>
                    <a:lnTo>
                      <a:pt x="166" y="53"/>
                    </a:lnTo>
                    <a:lnTo>
                      <a:pt x="164" y="52"/>
                    </a:lnTo>
                    <a:lnTo>
                      <a:pt x="163" y="53"/>
                    </a:lnTo>
                    <a:lnTo>
                      <a:pt x="164" y="53"/>
                    </a:lnTo>
                    <a:lnTo>
                      <a:pt x="163" y="54"/>
                    </a:lnTo>
                    <a:lnTo>
                      <a:pt x="164" y="55"/>
                    </a:lnTo>
                    <a:lnTo>
                      <a:pt x="164" y="57"/>
                    </a:lnTo>
                    <a:lnTo>
                      <a:pt x="163" y="59"/>
                    </a:lnTo>
                    <a:lnTo>
                      <a:pt x="162" y="60"/>
                    </a:lnTo>
                    <a:lnTo>
                      <a:pt x="161" y="59"/>
                    </a:lnTo>
                    <a:lnTo>
                      <a:pt x="160" y="60"/>
                    </a:lnTo>
                    <a:lnTo>
                      <a:pt x="158" y="61"/>
                    </a:lnTo>
                    <a:lnTo>
                      <a:pt x="156" y="63"/>
                    </a:lnTo>
                    <a:lnTo>
                      <a:pt x="155" y="63"/>
                    </a:lnTo>
                    <a:lnTo>
                      <a:pt x="155" y="64"/>
                    </a:lnTo>
                    <a:lnTo>
                      <a:pt x="153" y="63"/>
                    </a:lnTo>
                    <a:lnTo>
                      <a:pt x="153" y="66"/>
                    </a:lnTo>
                    <a:lnTo>
                      <a:pt x="152" y="66"/>
                    </a:lnTo>
                    <a:lnTo>
                      <a:pt x="148" y="63"/>
                    </a:lnTo>
                    <a:lnTo>
                      <a:pt x="147" y="61"/>
                    </a:lnTo>
                    <a:lnTo>
                      <a:pt x="147" y="60"/>
                    </a:lnTo>
                    <a:lnTo>
                      <a:pt x="145" y="59"/>
                    </a:lnTo>
                    <a:lnTo>
                      <a:pt x="143" y="58"/>
                    </a:lnTo>
                    <a:lnTo>
                      <a:pt x="139" y="62"/>
                    </a:lnTo>
                    <a:lnTo>
                      <a:pt x="136" y="60"/>
                    </a:lnTo>
                    <a:lnTo>
                      <a:pt x="133" y="60"/>
                    </a:lnTo>
                    <a:lnTo>
                      <a:pt x="132" y="61"/>
                    </a:lnTo>
                    <a:lnTo>
                      <a:pt x="132" y="58"/>
                    </a:lnTo>
                    <a:lnTo>
                      <a:pt x="130" y="55"/>
                    </a:lnTo>
                    <a:lnTo>
                      <a:pt x="127" y="57"/>
                    </a:lnTo>
                    <a:lnTo>
                      <a:pt x="125" y="55"/>
                    </a:lnTo>
                    <a:lnTo>
                      <a:pt x="125" y="57"/>
                    </a:lnTo>
                    <a:lnTo>
                      <a:pt x="124" y="57"/>
                    </a:lnTo>
                    <a:lnTo>
                      <a:pt x="123" y="55"/>
                    </a:lnTo>
                    <a:lnTo>
                      <a:pt x="124" y="54"/>
                    </a:lnTo>
                    <a:lnTo>
                      <a:pt x="123" y="54"/>
                    </a:lnTo>
                    <a:lnTo>
                      <a:pt x="123" y="53"/>
                    </a:lnTo>
                    <a:lnTo>
                      <a:pt x="122" y="52"/>
                    </a:lnTo>
                    <a:lnTo>
                      <a:pt x="120" y="52"/>
                    </a:lnTo>
                    <a:lnTo>
                      <a:pt x="119" y="50"/>
                    </a:lnTo>
                    <a:lnTo>
                      <a:pt x="117" y="50"/>
                    </a:lnTo>
                    <a:lnTo>
                      <a:pt x="116" y="52"/>
                    </a:lnTo>
                    <a:lnTo>
                      <a:pt x="114" y="53"/>
                    </a:lnTo>
                    <a:lnTo>
                      <a:pt x="112" y="54"/>
                    </a:lnTo>
                    <a:lnTo>
                      <a:pt x="111" y="53"/>
                    </a:lnTo>
                    <a:lnTo>
                      <a:pt x="110" y="51"/>
                    </a:lnTo>
                    <a:lnTo>
                      <a:pt x="109" y="52"/>
                    </a:lnTo>
                    <a:lnTo>
                      <a:pt x="109" y="53"/>
                    </a:lnTo>
                    <a:lnTo>
                      <a:pt x="106" y="53"/>
                    </a:lnTo>
                    <a:lnTo>
                      <a:pt x="104" y="51"/>
                    </a:lnTo>
                    <a:lnTo>
                      <a:pt x="104" y="53"/>
                    </a:lnTo>
                    <a:lnTo>
                      <a:pt x="100" y="56"/>
                    </a:lnTo>
                    <a:lnTo>
                      <a:pt x="98" y="56"/>
                    </a:lnTo>
                    <a:lnTo>
                      <a:pt x="96" y="54"/>
                    </a:lnTo>
                    <a:lnTo>
                      <a:pt x="93" y="53"/>
                    </a:lnTo>
                    <a:lnTo>
                      <a:pt x="92" y="53"/>
                    </a:lnTo>
                    <a:lnTo>
                      <a:pt x="94" y="56"/>
                    </a:lnTo>
                    <a:lnTo>
                      <a:pt x="94" y="60"/>
                    </a:lnTo>
                    <a:lnTo>
                      <a:pt x="89" y="59"/>
                    </a:lnTo>
                    <a:lnTo>
                      <a:pt x="84" y="60"/>
                    </a:lnTo>
                    <a:lnTo>
                      <a:pt x="85" y="62"/>
                    </a:lnTo>
                    <a:lnTo>
                      <a:pt x="85" y="66"/>
                    </a:lnTo>
                    <a:lnTo>
                      <a:pt x="85" y="68"/>
                    </a:lnTo>
                    <a:lnTo>
                      <a:pt x="82" y="67"/>
                    </a:lnTo>
                    <a:lnTo>
                      <a:pt x="82" y="66"/>
                    </a:lnTo>
                    <a:lnTo>
                      <a:pt x="82" y="65"/>
                    </a:lnTo>
                    <a:lnTo>
                      <a:pt x="82" y="59"/>
                    </a:lnTo>
                    <a:lnTo>
                      <a:pt x="80" y="57"/>
                    </a:lnTo>
                    <a:lnTo>
                      <a:pt x="76" y="54"/>
                    </a:lnTo>
                    <a:lnTo>
                      <a:pt x="71" y="54"/>
                    </a:lnTo>
                    <a:lnTo>
                      <a:pt x="71" y="56"/>
                    </a:lnTo>
                    <a:lnTo>
                      <a:pt x="70" y="55"/>
                    </a:lnTo>
                    <a:lnTo>
                      <a:pt x="70" y="57"/>
                    </a:lnTo>
                    <a:lnTo>
                      <a:pt x="68" y="57"/>
                    </a:lnTo>
                    <a:lnTo>
                      <a:pt x="66" y="57"/>
                    </a:lnTo>
                    <a:lnTo>
                      <a:pt x="66" y="62"/>
                    </a:lnTo>
                    <a:lnTo>
                      <a:pt x="63" y="60"/>
                    </a:lnTo>
                    <a:lnTo>
                      <a:pt x="62" y="63"/>
                    </a:lnTo>
                    <a:lnTo>
                      <a:pt x="61" y="60"/>
                    </a:lnTo>
                    <a:lnTo>
                      <a:pt x="58" y="57"/>
                    </a:lnTo>
                    <a:lnTo>
                      <a:pt x="54" y="57"/>
                    </a:lnTo>
                    <a:lnTo>
                      <a:pt x="50" y="55"/>
                    </a:lnTo>
                    <a:lnTo>
                      <a:pt x="49" y="59"/>
                    </a:lnTo>
                    <a:lnTo>
                      <a:pt x="47" y="61"/>
                    </a:lnTo>
                    <a:lnTo>
                      <a:pt x="46" y="61"/>
                    </a:lnTo>
                    <a:lnTo>
                      <a:pt x="41" y="64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8" y="72"/>
                    </a:lnTo>
                    <a:lnTo>
                      <a:pt x="37" y="75"/>
                    </a:lnTo>
                    <a:lnTo>
                      <a:pt x="33" y="75"/>
                    </a:lnTo>
                    <a:lnTo>
                      <a:pt x="32" y="84"/>
                    </a:lnTo>
                    <a:lnTo>
                      <a:pt x="31" y="83"/>
                    </a:lnTo>
                    <a:lnTo>
                      <a:pt x="30" y="83"/>
                    </a:lnTo>
                    <a:lnTo>
                      <a:pt x="29" y="81"/>
                    </a:lnTo>
                    <a:lnTo>
                      <a:pt x="28" y="81"/>
                    </a:lnTo>
                    <a:lnTo>
                      <a:pt x="26" y="83"/>
                    </a:lnTo>
                    <a:lnTo>
                      <a:pt x="24" y="85"/>
                    </a:lnTo>
                    <a:lnTo>
                      <a:pt x="25" y="89"/>
                    </a:lnTo>
                    <a:lnTo>
                      <a:pt x="24" y="91"/>
                    </a:lnTo>
                    <a:lnTo>
                      <a:pt x="23" y="94"/>
                    </a:lnTo>
                    <a:lnTo>
                      <a:pt x="21" y="94"/>
                    </a:lnTo>
                    <a:lnTo>
                      <a:pt x="21" y="95"/>
                    </a:lnTo>
                    <a:lnTo>
                      <a:pt x="22" y="100"/>
                    </a:lnTo>
                    <a:lnTo>
                      <a:pt x="20" y="102"/>
                    </a:lnTo>
                    <a:lnTo>
                      <a:pt x="22" y="104"/>
                    </a:lnTo>
                    <a:lnTo>
                      <a:pt x="22" y="106"/>
                    </a:lnTo>
                    <a:lnTo>
                      <a:pt x="21" y="107"/>
                    </a:lnTo>
                    <a:lnTo>
                      <a:pt x="21" y="106"/>
                    </a:lnTo>
                    <a:lnTo>
                      <a:pt x="2" y="114"/>
                    </a:lnTo>
                    <a:lnTo>
                      <a:pt x="0" y="118"/>
                    </a:lnTo>
                    <a:lnTo>
                      <a:pt x="1" y="121"/>
                    </a:lnTo>
                    <a:lnTo>
                      <a:pt x="0" y="123"/>
                    </a:lnTo>
                    <a:lnTo>
                      <a:pt x="1" y="125"/>
                    </a:lnTo>
                    <a:lnTo>
                      <a:pt x="2" y="127"/>
                    </a:lnTo>
                    <a:lnTo>
                      <a:pt x="1" y="128"/>
                    </a:lnTo>
                    <a:lnTo>
                      <a:pt x="5" y="130"/>
                    </a:lnTo>
                    <a:lnTo>
                      <a:pt x="5" y="131"/>
                    </a:lnTo>
                    <a:lnTo>
                      <a:pt x="5" y="134"/>
                    </a:lnTo>
                    <a:lnTo>
                      <a:pt x="7" y="142"/>
                    </a:lnTo>
                    <a:lnTo>
                      <a:pt x="9" y="144"/>
                    </a:lnTo>
                    <a:lnTo>
                      <a:pt x="12" y="145"/>
                    </a:lnTo>
                    <a:lnTo>
                      <a:pt x="18" y="150"/>
                    </a:lnTo>
                    <a:lnTo>
                      <a:pt x="18" y="153"/>
                    </a:lnTo>
                    <a:lnTo>
                      <a:pt x="21" y="154"/>
                    </a:lnTo>
                    <a:lnTo>
                      <a:pt x="22" y="154"/>
                    </a:lnTo>
                    <a:lnTo>
                      <a:pt x="23" y="155"/>
                    </a:lnTo>
                    <a:lnTo>
                      <a:pt x="26" y="154"/>
                    </a:lnTo>
                    <a:lnTo>
                      <a:pt x="28" y="155"/>
                    </a:lnTo>
                    <a:lnTo>
                      <a:pt x="27" y="159"/>
                    </a:lnTo>
                    <a:lnTo>
                      <a:pt x="29" y="165"/>
                    </a:lnTo>
                    <a:lnTo>
                      <a:pt x="26" y="168"/>
                    </a:lnTo>
                    <a:lnTo>
                      <a:pt x="27" y="171"/>
                    </a:lnTo>
                    <a:lnTo>
                      <a:pt x="24" y="173"/>
                    </a:lnTo>
                    <a:lnTo>
                      <a:pt x="24" y="174"/>
                    </a:lnTo>
                    <a:lnTo>
                      <a:pt x="24" y="175"/>
                    </a:lnTo>
                    <a:lnTo>
                      <a:pt x="26" y="176"/>
                    </a:lnTo>
                    <a:lnTo>
                      <a:pt x="27" y="177"/>
                    </a:lnTo>
                    <a:lnTo>
                      <a:pt x="26" y="178"/>
                    </a:lnTo>
                    <a:lnTo>
                      <a:pt x="24" y="180"/>
                    </a:lnTo>
                    <a:lnTo>
                      <a:pt x="24" y="183"/>
                    </a:lnTo>
                    <a:lnTo>
                      <a:pt x="27" y="184"/>
                    </a:lnTo>
                    <a:lnTo>
                      <a:pt x="27" y="185"/>
                    </a:lnTo>
                    <a:lnTo>
                      <a:pt x="25" y="185"/>
                    </a:lnTo>
                    <a:lnTo>
                      <a:pt x="25" y="187"/>
                    </a:lnTo>
                    <a:lnTo>
                      <a:pt x="27" y="188"/>
                    </a:lnTo>
                    <a:lnTo>
                      <a:pt x="30" y="187"/>
                    </a:lnTo>
                    <a:lnTo>
                      <a:pt x="33" y="187"/>
                    </a:lnTo>
                    <a:lnTo>
                      <a:pt x="34" y="188"/>
                    </a:lnTo>
                    <a:lnTo>
                      <a:pt x="33" y="189"/>
                    </a:lnTo>
                    <a:lnTo>
                      <a:pt x="32" y="190"/>
                    </a:lnTo>
                    <a:lnTo>
                      <a:pt x="34" y="193"/>
                    </a:lnTo>
                    <a:lnTo>
                      <a:pt x="33" y="199"/>
                    </a:lnTo>
                    <a:lnTo>
                      <a:pt x="36" y="205"/>
                    </a:lnTo>
                    <a:lnTo>
                      <a:pt x="34" y="212"/>
                    </a:lnTo>
                    <a:lnTo>
                      <a:pt x="34" y="217"/>
                    </a:lnTo>
                    <a:lnTo>
                      <a:pt x="35" y="219"/>
                    </a:lnTo>
                    <a:lnTo>
                      <a:pt x="35" y="222"/>
                    </a:lnTo>
                    <a:lnTo>
                      <a:pt x="37" y="225"/>
                    </a:lnTo>
                    <a:lnTo>
                      <a:pt x="38" y="226"/>
                    </a:lnTo>
                    <a:lnTo>
                      <a:pt x="36" y="228"/>
                    </a:lnTo>
                    <a:lnTo>
                      <a:pt x="40" y="232"/>
                    </a:lnTo>
                    <a:lnTo>
                      <a:pt x="42" y="232"/>
                    </a:lnTo>
                    <a:lnTo>
                      <a:pt x="42" y="234"/>
                    </a:lnTo>
                    <a:lnTo>
                      <a:pt x="43" y="233"/>
                    </a:lnTo>
                    <a:lnTo>
                      <a:pt x="44" y="234"/>
                    </a:lnTo>
                    <a:lnTo>
                      <a:pt x="46" y="234"/>
                    </a:lnTo>
                    <a:lnTo>
                      <a:pt x="47" y="233"/>
                    </a:lnTo>
                    <a:lnTo>
                      <a:pt x="49" y="232"/>
                    </a:lnTo>
                    <a:lnTo>
                      <a:pt x="50" y="238"/>
                    </a:lnTo>
                    <a:lnTo>
                      <a:pt x="49" y="239"/>
                    </a:lnTo>
                    <a:lnTo>
                      <a:pt x="49" y="243"/>
                    </a:lnTo>
                    <a:lnTo>
                      <a:pt x="47" y="247"/>
                    </a:lnTo>
                    <a:lnTo>
                      <a:pt x="48" y="251"/>
                    </a:lnTo>
                    <a:lnTo>
                      <a:pt x="47" y="254"/>
                    </a:lnTo>
                    <a:lnTo>
                      <a:pt x="43" y="259"/>
                    </a:lnTo>
                    <a:lnTo>
                      <a:pt x="45" y="259"/>
                    </a:lnTo>
                    <a:lnTo>
                      <a:pt x="46" y="262"/>
                    </a:lnTo>
                    <a:lnTo>
                      <a:pt x="47" y="263"/>
                    </a:lnTo>
                    <a:lnTo>
                      <a:pt x="49" y="271"/>
                    </a:lnTo>
                    <a:lnTo>
                      <a:pt x="48" y="272"/>
                    </a:lnTo>
                    <a:lnTo>
                      <a:pt x="48" y="277"/>
                    </a:lnTo>
                    <a:lnTo>
                      <a:pt x="47" y="279"/>
                    </a:lnTo>
                    <a:lnTo>
                      <a:pt x="53" y="284"/>
                    </a:lnTo>
                    <a:lnTo>
                      <a:pt x="61" y="286"/>
                    </a:lnTo>
                    <a:lnTo>
                      <a:pt x="62" y="291"/>
                    </a:lnTo>
                    <a:lnTo>
                      <a:pt x="66" y="294"/>
                    </a:lnTo>
                    <a:lnTo>
                      <a:pt x="72" y="302"/>
                    </a:lnTo>
                    <a:lnTo>
                      <a:pt x="72" y="308"/>
                    </a:lnTo>
                    <a:lnTo>
                      <a:pt x="71" y="312"/>
                    </a:lnTo>
                    <a:lnTo>
                      <a:pt x="73" y="317"/>
                    </a:lnTo>
                    <a:lnTo>
                      <a:pt x="75" y="318"/>
                    </a:lnTo>
                    <a:lnTo>
                      <a:pt x="76" y="320"/>
                    </a:lnTo>
                    <a:lnTo>
                      <a:pt x="74" y="324"/>
                    </a:lnTo>
                    <a:lnTo>
                      <a:pt x="74" y="325"/>
                    </a:lnTo>
                    <a:lnTo>
                      <a:pt x="76" y="326"/>
                    </a:lnTo>
                    <a:lnTo>
                      <a:pt x="79" y="329"/>
                    </a:lnTo>
                    <a:lnTo>
                      <a:pt x="83" y="330"/>
                    </a:lnTo>
                    <a:lnTo>
                      <a:pt x="90" y="331"/>
                    </a:lnTo>
                    <a:lnTo>
                      <a:pt x="92" y="331"/>
                    </a:lnTo>
                    <a:lnTo>
                      <a:pt x="92" y="330"/>
                    </a:lnTo>
                    <a:lnTo>
                      <a:pt x="93" y="330"/>
                    </a:lnTo>
                    <a:lnTo>
                      <a:pt x="94" y="333"/>
                    </a:lnTo>
                    <a:lnTo>
                      <a:pt x="96" y="333"/>
                    </a:lnTo>
                    <a:lnTo>
                      <a:pt x="100" y="337"/>
                    </a:lnTo>
                    <a:lnTo>
                      <a:pt x="103" y="338"/>
                    </a:lnTo>
                    <a:lnTo>
                      <a:pt x="103" y="334"/>
                    </a:lnTo>
                    <a:lnTo>
                      <a:pt x="103" y="332"/>
                    </a:lnTo>
                    <a:lnTo>
                      <a:pt x="103" y="329"/>
                    </a:lnTo>
                    <a:lnTo>
                      <a:pt x="109" y="331"/>
                    </a:lnTo>
                    <a:lnTo>
                      <a:pt x="111" y="333"/>
                    </a:lnTo>
                    <a:lnTo>
                      <a:pt x="112" y="334"/>
                    </a:lnTo>
                    <a:lnTo>
                      <a:pt x="115" y="333"/>
                    </a:lnTo>
                    <a:lnTo>
                      <a:pt x="118" y="336"/>
                    </a:lnTo>
                    <a:lnTo>
                      <a:pt x="120" y="336"/>
                    </a:lnTo>
                    <a:lnTo>
                      <a:pt x="121" y="336"/>
                    </a:lnTo>
                    <a:lnTo>
                      <a:pt x="123" y="339"/>
                    </a:lnTo>
                    <a:lnTo>
                      <a:pt x="124" y="339"/>
                    </a:lnTo>
                    <a:lnTo>
                      <a:pt x="127" y="341"/>
                    </a:lnTo>
                    <a:lnTo>
                      <a:pt x="130" y="347"/>
                    </a:lnTo>
                    <a:lnTo>
                      <a:pt x="131" y="350"/>
                    </a:lnTo>
                    <a:lnTo>
                      <a:pt x="133" y="353"/>
                    </a:lnTo>
                    <a:lnTo>
                      <a:pt x="134" y="356"/>
                    </a:lnTo>
                    <a:lnTo>
                      <a:pt x="139" y="358"/>
                    </a:lnTo>
                    <a:lnTo>
                      <a:pt x="139" y="366"/>
                    </a:lnTo>
                    <a:lnTo>
                      <a:pt x="138" y="366"/>
                    </a:lnTo>
                    <a:lnTo>
                      <a:pt x="137" y="369"/>
                    </a:lnTo>
                    <a:lnTo>
                      <a:pt x="138" y="376"/>
                    </a:lnTo>
                    <a:lnTo>
                      <a:pt x="144" y="377"/>
                    </a:lnTo>
                    <a:lnTo>
                      <a:pt x="144" y="379"/>
                    </a:lnTo>
                    <a:lnTo>
                      <a:pt x="144" y="381"/>
                    </a:lnTo>
                    <a:lnTo>
                      <a:pt x="144" y="383"/>
                    </a:lnTo>
                    <a:lnTo>
                      <a:pt x="146" y="384"/>
                    </a:lnTo>
                    <a:lnTo>
                      <a:pt x="147" y="387"/>
                    </a:lnTo>
                    <a:lnTo>
                      <a:pt x="150" y="387"/>
                    </a:lnTo>
                    <a:lnTo>
                      <a:pt x="151" y="389"/>
                    </a:lnTo>
                    <a:lnTo>
                      <a:pt x="152" y="391"/>
                    </a:lnTo>
                    <a:lnTo>
                      <a:pt x="150" y="395"/>
                    </a:lnTo>
                    <a:lnTo>
                      <a:pt x="157" y="402"/>
                    </a:lnTo>
                    <a:lnTo>
                      <a:pt x="156" y="405"/>
                    </a:lnTo>
                    <a:lnTo>
                      <a:pt x="155" y="407"/>
                    </a:lnTo>
                    <a:lnTo>
                      <a:pt x="155" y="408"/>
                    </a:lnTo>
                    <a:lnTo>
                      <a:pt x="158" y="412"/>
                    </a:lnTo>
                    <a:lnTo>
                      <a:pt x="160" y="412"/>
                    </a:lnTo>
                    <a:lnTo>
                      <a:pt x="162" y="415"/>
                    </a:lnTo>
                    <a:lnTo>
                      <a:pt x="163" y="416"/>
                    </a:lnTo>
                    <a:lnTo>
                      <a:pt x="164" y="419"/>
                    </a:lnTo>
                    <a:lnTo>
                      <a:pt x="168" y="424"/>
                    </a:lnTo>
                    <a:lnTo>
                      <a:pt x="170" y="425"/>
                    </a:lnTo>
                    <a:lnTo>
                      <a:pt x="171" y="427"/>
                    </a:lnTo>
                    <a:lnTo>
                      <a:pt x="171" y="430"/>
                    </a:lnTo>
                    <a:lnTo>
                      <a:pt x="168" y="439"/>
                    </a:lnTo>
                    <a:lnTo>
                      <a:pt x="171" y="444"/>
                    </a:lnTo>
                    <a:lnTo>
                      <a:pt x="176" y="451"/>
                    </a:lnTo>
                    <a:lnTo>
                      <a:pt x="184" y="456"/>
                    </a:lnTo>
                    <a:lnTo>
                      <a:pt x="190" y="455"/>
                    </a:lnTo>
                    <a:lnTo>
                      <a:pt x="196" y="455"/>
                    </a:lnTo>
                    <a:lnTo>
                      <a:pt x="198" y="456"/>
                    </a:lnTo>
                    <a:lnTo>
                      <a:pt x="204" y="463"/>
                    </a:lnTo>
                    <a:lnTo>
                      <a:pt x="205" y="464"/>
                    </a:lnTo>
                    <a:lnTo>
                      <a:pt x="207" y="466"/>
                    </a:lnTo>
                    <a:lnTo>
                      <a:pt x="207" y="468"/>
                    </a:lnTo>
                    <a:lnTo>
                      <a:pt x="210" y="470"/>
                    </a:lnTo>
                    <a:lnTo>
                      <a:pt x="212" y="473"/>
                    </a:lnTo>
                    <a:lnTo>
                      <a:pt x="212" y="476"/>
                    </a:lnTo>
                    <a:lnTo>
                      <a:pt x="214" y="478"/>
                    </a:lnTo>
                    <a:lnTo>
                      <a:pt x="216" y="482"/>
                    </a:lnTo>
                    <a:lnTo>
                      <a:pt x="217" y="483"/>
                    </a:lnTo>
                    <a:lnTo>
                      <a:pt x="218" y="484"/>
                    </a:lnTo>
                    <a:lnTo>
                      <a:pt x="219" y="489"/>
                    </a:lnTo>
                    <a:lnTo>
                      <a:pt x="221" y="489"/>
                    </a:lnTo>
                    <a:lnTo>
                      <a:pt x="221" y="491"/>
                    </a:lnTo>
                    <a:lnTo>
                      <a:pt x="223" y="491"/>
                    </a:lnTo>
                    <a:lnTo>
                      <a:pt x="224" y="492"/>
                    </a:lnTo>
                    <a:lnTo>
                      <a:pt x="223" y="495"/>
                    </a:lnTo>
                    <a:lnTo>
                      <a:pt x="222" y="496"/>
                    </a:lnTo>
                    <a:lnTo>
                      <a:pt x="223" y="499"/>
                    </a:lnTo>
                    <a:lnTo>
                      <a:pt x="225" y="505"/>
                    </a:lnTo>
                    <a:lnTo>
                      <a:pt x="223" y="507"/>
                    </a:lnTo>
                    <a:lnTo>
                      <a:pt x="222" y="510"/>
                    </a:lnTo>
                    <a:lnTo>
                      <a:pt x="224" y="515"/>
                    </a:lnTo>
                    <a:lnTo>
                      <a:pt x="222" y="519"/>
                    </a:lnTo>
                    <a:lnTo>
                      <a:pt x="221" y="522"/>
                    </a:lnTo>
                    <a:lnTo>
                      <a:pt x="227" y="528"/>
                    </a:lnTo>
                    <a:lnTo>
                      <a:pt x="227" y="530"/>
                    </a:lnTo>
                    <a:lnTo>
                      <a:pt x="229" y="531"/>
                    </a:lnTo>
                    <a:lnTo>
                      <a:pt x="231" y="534"/>
                    </a:lnTo>
                    <a:lnTo>
                      <a:pt x="236" y="537"/>
                    </a:lnTo>
                    <a:lnTo>
                      <a:pt x="237" y="540"/>
                    </a:lnTo>
                    <a:lnTo>
                      <a:pt x="241" y="543"/>
                    </a:lnTo>
                    <a:lnTo>
                      <a:pt x="241" y="545"/>
                    </a:lnTo>
                    <a:lnTo>
                      <a:pt x="244" y="548"/>
                    </a:lnTo>
                    <a:lnTo>
                      <a:pt x="247" y="548"/>
                    </a:lnTo>
                    <a:lnTo>
                      <a:pt x="248" y="539"/>
                    </a:lnTo>
                    <a:lnTo>
                      <a:pt x="249" y="535"/>
                    </a:lnTo>
                    <a:lnTo>
                      <a:pt x="251" y="536"/>
                    </a:lnTo>
                    <a:lnTo>
                      <a:pt x="254" y="534"/>
                    </a:lnTo>
                    <a:lnTo>
                      <a:pt x="256" y="534"/>
                    </a:lnTo>
                    <a:lnTo>
                      <a:pt x="259" y="538"/>
                    </a:lnTo>
                    <a:lnTo>
                      <a:pt x="261" y="538"/>
                    </a:lnTo>
                    <a:lnTo>
                      <a:pt x="261" y="535"/>
                    </a:lnTo>
                    <a:lnTo>
                      <a:pt x="262" y="533"/>
                    </a:lnTo>
                    <a:lnTo>
                      <a:pt x="259" y="532"/>
                    </a:lnTo>
                    <a:lnTo>
                      <a:pt x="258" y="529"/>
                    </a:lnTo>
                    <a:lnTo>
                      <a:pt x="259" y="526"/>
                    </a:lnTo>
                    <a:lnTo>
                      <a:pt x="259" y="524"/>
                    </a:lnTo>
                    <a:lnTo>
                      <a:pt x="262" y="521"/>
                    </a:lnTo>
                    <a:lnTo>
                      <a:pt x="262" y="519"/>
                    </a:lnTo>
                    <a:lnTo>
                      <a:pt x="262" y="516"/>
                    </a:lnTo>
                    <a:lnTo>
                      <a:pt x="262" y="515"/>
                    </a:lnTo>
                    <a:lnTo>
                      <a:pt x="265" y="511"/>
                    </a:lnTo>
                    <a:lnTo>
                      <a:pt x="267" y="506"/>
                    </a:lnTo>
                    <a:lnTo>
                      <a:pt x="271" y="502"/>
                    </a:lnTo>
                    <a:lnTo>
                      <a:pt x="271" y="500"/>
                    </a:lnTo>
                    <a:lnTo>
                      <a:pt x="272" y="500"/>
                    </a:lnTo>
                    <a:lnTo>
                      <a:pt x="272" y="502"/>
                    </a:lnTo>
                    <a:lnTo>
                      <a:pt x="273" y="502"/>
                    </a:lnTo>
                    <a:lnTo>
                      <a:pt x="275" y="504"/>
                    </a:lnTo>
                    <a:lnTo>
                      <a:pt x="280" y="500"/>
                    </a:lnTo>
                    <a:lnTo>
                      <a:pt x="282" y="496"/>
                    </a:lnTo>
                    <a:lnTo>
                      <a:pt x="282" y="495"/>
                    </a:lnTo>
                    <a:lnTo>
                      <a:pt x="282" y="492"/>
                    </a:lnTo>
                    <a:lnTo>
                      <a:pt x="280" y="487"/>
                    </a:lnTo>
                    <a:lnTo>
                      <a:pt x="281" y="484"/>
                    </a:lnTo>
                    <a:lnTo>
                      <a:pt x="280" y="483"/>
                    </a:lnTo>
                    <a:lnTo>
                      <a:pt x="278" y="480"/>
                    </a:lnTo>
                    <a:lnTo>
                      <a:pt x="277" y="476"/>
                    </a:lnTo>
                    <a:lnTo>
                      <a:pt x="277" y="475"/>
                    </a:lnTo>
                    <a:lnTo>
                      <a:pt x="282" y="475"/>
                    </a:lnTo>
                    <a:lnTo>
                      <a:pt x="282" y="474"/>
                    </a:lnTo>
                    <a:lnTo>
                      <a:pt x="282" y="468"/>
                    </a:lnTo>
                    <a:lnTo>
                      <a:pt x="281" y="468"/>
                    </a:lnTo>
                    <a:lnTo>
                      <a:pt x="282" y="466"/>
                    </a:lnTo>
                    <a:lnTo>
                      <a:pt x="282" y="464"/>
                    </a:lnTo>
                    <a:lnTo>
                      <a:pt x="283" y="461"/>
                    </a:lnTo>
                    <a:lnTo>
                      <a:pt x="285" y="460"/>
                    </a:lnTo>
                    <a:lnTo>
                      <a:pt x="285" y="458"/>
                    </a:lnTo>
                    <a:lnTo>
                      <a:pt x="282" y="457"/>
                    </a:lnTo>
                    <a:lnTo>
                      <a:pt x="283" y="456"/>
                    </a:lnTo>
                    <a:lnTo>
                      <a:pt x="288" y="457"/>
                    </a:lnTo>
                    <a:lnTo>
                      <a:pt x="288" y="458"/>
                    </a:lnTo>
                    <a:lnTo>
                      <a:pt x="286" y="458"/>
                    </a:lnTo>
                    <a:lnTo>
                      <a:pt x="290" y="460"/>
                    </a:lnTo>
                    <a:lnTo>
                      <a:pt x="291" y="460"/>
                    </a:lnTo>
                    <a:lnTo>
                      <a:pt x="292" y="462"/>
                    </a:lnTo>
                    <a:lnTo>
                      <a:pt x="293" y="463"/>
                    </a:lnTo>
                    <a:lnTo>
                      <a:pt x="297" y="460"/>
                    </a:lnTo>
                    <a:lnTo>
                      <a:pt x="298" y="458"/>
                    </a:lnTo>
                    <a:lnTo>
                      <a:pt x="299" y="458"/>
                    </a:lnTo>
                    <a:lnTo>
                      <a:pt x="301" y="458"/>
                    </a:lnTo>
                    <a:lnTo>
                      <a:pt x="301" y="457"/>
                    </a:lnTo>
                    <a:lnTo>
                      <a:pt x="302" y="456"/>
                    </a:lnTo>
                    <a:lnTo>
                      <a:pt x="302" y="454"/>
                    </a:lnTo>
                    <a:lnTo>
                      <a:pt x="305" y="455"/>
                    </a:lnTo>
                    <a:lnTo>
                      <a:pt x="307" y="453"/>
                    </a:lnTo>
                    <a:lnTo>
                      <a:pt x="308" y="454"/>
                    </a:lnTo>
                    <a:lnTo>
                      <a:pt x="309" y="453"/>
                    </a:lnTo>
                    <a:lnTo>
                      <a:pt x="310" y="454"/>
                    </a:lnTo>
                    <a:lnTo>
                      <a:pt x="311" y="454"/>
                    </a:lnTo>
                    <a:lnTo>
                      <a:pt x="311" y="456"/>
                    </a:lnTo>
                    <a:lnTo>
                      <a:pt x="311" y="455"/>
                    </a:lnTo>
                    <a:lnTo>
                      <a:pt x="313" y="453"/>
                    </a:lnTo>
                    <a:lnTo>
                      <a:pt x="311" y="453"/>
                    </a:lnTo>
                    <a:lnTo>
                      <a:pt x="310" y="452"/>
                    </a:lnTo>
                    <a:lnTo>
                      <a:pt x="312" y="451"/>
                    </a:lnTo>
                    <a:lnTo>
                      <a:pt x="313" y="444"/>
                    </a:lnTo>
                    <a:lnTo>
                      <a:pt x="316" y="440"/>
                    </a:lnTo>
                    <a:lnTo>
                      <a:pt x="317" y="440"/>
                    </a:lnTo>
                    <a:lnTo>
                      <a:pt x="319" y="441"/>
                    </a:lnTo>
                    <a:lnTo>
                      <a:pt x="321" y="440"/>
                    </a:lnTo>
                    <a:lnTo>
                      <a:pt x="320" y="437"/>
                    </a:lnTo>
                    <a:lnTo>
                      <a:pt x="320" y="434"/>
                    </a:lnTo>
                    <a:lnTo>
                      <a:pt x="319" y="433"/>
                    </a:lnTo>
                    <a:lnTo>
                      <a:pt x="319" y="432"/>
                    </a:lnTo>
                    <a:lnTo>
                      <a:pt x="316" y="430"/>
                    </a:lnTo>
                    <a:lnTo>
                      <a:pt x="316" y="427"/>
                    </a:lnTo>
                    <a:lnTo>
                      <a:pt x="315" y="428"/>
                    </a:lnTo>
                    <a:lnTo>
                      <a:pt x="315" y="425"/>
                    </a:lnTo>
                    <a:lnTo>
                      <a:pt x="316" y="425"/>
                    </a:lnTo>
                    <a:lnTo>
                      <a:pt x="314" y="425"/>
                    </a:lnTo>
                    <a:lnTo>
                      <a:pt x="314" y="423"/>
                    </a:lnTo>
                    <a:lnTo>
                      <a:pt x="315" y="423"/>
                    </a:lnTo>
                    <a:lnTo>
                      <a:pt x="316" y="423"/>
                    </a:lnTo>
                    <a:lnTo>
                      <a:pt x="316" y="422"/>
                    </a:lnTo>
                    <a:lnTo>
                      <a:pt x="316" y="421"/>
                    </a:lnTo>
                    <a:lnTo>
                      <a:pt x="318" y="419"/>
                    </a:lnTo>
                    <a:lnTo>
                      <a:pt x="321" y="421"/>
                    </a:lnTo>
                    <a:lnTo>
                      <a:pt x="321" y="418"/>
                    </a:lnTo>
                    <a:lnTo>
                      <a:pt x="320" y="417"/>
                    </a:lnTo>
                    <a:lnTo>
                      <a:pt x="321" y="415"/>
                    </a:lnTo>
                    <a:lnTo>
                      <a:pt x="322" y="417"/>
                    </a:lnTo>
                    <a:lnTo>
                      <a:pt x="325" y="418"/>
                    </a:lnTo>
                    <a:lnTo>
                      <a:pt x="326" y="418"/>
                    </a:lnTo>
                    <a:lnTo>
                      <a:pt x="324" y="415"/>
                    </a:lnTo>
                    <a:lnTo>
                      <a:pt x="327" y="412"/>
                    </a:lnTo>
                    <a:lnTo>
                      <a:pt x="329" y="412"/>
                    </a:lnTo>
                    <a:lnTo>
                      <a:pt x="328" y="411"/>
                    </a:lnTo>
                    <a:lnTo>
                      <a:pt x="327" y="411"/>
                    </a:lnTo>
                    <a:lnTo>
                      <a:pt x="323" y="411"/>
                    </a:lnTo>
                    <a:lnTo>
                      <a:pt x="322" y="410"/>
                    </a:lnTo>
                    <a:lnTo>
                      <a:pt x="321" y="410"/>
                    </a:lnTo>
                    <a:lnTo>
                      <a:pt x="321" y="406"/>
                    </a:lnTo>
                    <a:lnTo>
                      <a:pt x="321" y="402"/>
                    </a:lnTo>
                    <a:lnTo>
                      <a:pt x="320" y="400"/>
                    </a:lnTo>
                    <a:lnTo>
                      <a:pt x="321" y="400"/>
                    </a:lnTo>
                    <a:lnTo>
                      <a:pt x="323" y="400"/>
                    </a:lnTo>
                    <a:lnTo>
                      <a:pt x="325" y="400"/>
                    </a:lnTo>
                    <a:lnTo>
                      <a:pt x="326" y="402"/>
                    </a:lnTo>
                    <a:lnTo>
                      <a:pt x="327" y="402"/>
                    </a:lnTo>
                    <a:lnTo>
                      <a:pt x="329" y="402"/>
                    </a:lnTo>
                    <a:lnTo>
                      <a:pt x="329" y="399"/>
                    </a:lnTo>
                    <a:lnTo>
                      <a:pt x="330" y="398"/>
                    </a:lnTo>
                    <a:lnTo>
                      <a:pt x="331" y="396"/>
                    </a:lnTo>
                    <a:lnTo>
                      <a:pt x="330" y="395"/>
                    </a:lnTo>
                    <a:lnTo>
                      <a:pt x="329" y="395"/>
                    </a:lnTo>
                    <a:lnTo>
                      <a:pt x="327" y="392"/>
                    </a:lnTo>
                    <a:lnTo>
                      <a:pt x="328" y="392"/>
                    </a:lnTo>
                    <a:lnTo>
                      <a:pt x="329" y="391"/>
                    </a:lnTo>
                    <a:lnTo>
                      <a:pt x="329" y="387"/>
                    </a:lnTo>
                    <a:lnTo>
                      <a:pt x="332" y="389"/>
                    </a:lnTo>
                    <a:lnTo>
                      <a:pt x="333" y="384"/>
                    </a:lnTo>
                    <a:lnTo>
                      <a:pt x="335" y="384"/>
                    </a:lnTo>
                    <a:lnTo>
                      <a:pt x="336" y="384"/>
                    </a:lnTo>
                    <a:lnTo>
                      <a:pt x="337" y="382"/>
                    </a:lnTo>
                    <a:lnTo>
                      <a:pt x="338" y="381"/>
                    </a:lnTo>
                    <a:lnTo>
                      <a:pt x="342" y="383"/>
                    </a:lnTo>
                    <a:lnTo>
                      <a:pt x="342" y="382"/>
                    </a:lnTo>
                    <a:lnTo>
                      <a:pt x="343" y="381"/>
                    </a:lnTo>
                    <a:lnTo>
                      <a:pt x="342" y="377"/>
                    </a:lnTo>
                    <a:lnTo>
                      <a:pt x="343" y="377"/>
                    </a:lnTo>
                    <a:lnTo>
                      <a:pt x="343" y="376"/>
                    </a:lnTo>
                    <a:lnTo>
                      <a:pt x="344" y="373"/>
                    </a:lnTo>
                    <a:lnTo>
                      <a:pt x="346" y="370"/>
                    </a:lnTo>
                    <a:lnTo>
                      <a:pt x="349" y="370"/>
                    </a:lnTo>
                    <a:lnTo>
                      <a:pt x="348" y="370"/>
                    </a:lnTo>
                    <a:lnTo>
                      <a:pt x="348" y="366"/>
                    </a:lnTo>
                    <a:lnTo>
                      <a:pt x="347" y="368"/>
                    </a:lnTo>
                    <a:lnTo>
                      <a:pt x="346" y="367"/>
                    </a:lnTo>
                    <a:lnTo>
                      <a:pt x="348" y="366"/>
                    </a:lnTo>
                    <a:lnTo>
                      <a:pt x="349" y="366"/>
                    </a:lnTo>
                    <a:lnTo>
                      <a:pt x="349" y="364"/>
                    </a:lnTo>
                    <a:lnTo>
                      <a:pt x="350" y="365"/>
                    </a:lnTo>
                    <a:lnTo>
                      <a:pt x="350" y="364"/>
                    </a:lnTo>
                    <a:lnTo>
                      <a:pt x="350" y="361"/>
                    </a:lnTo>
                    <a:lnTo>
                      <a:pt x="349" y="360"/>
                    </a:lnTo>
                    <a:lnTo>
                      <a:pt x="350" y="359"/>
                    </a:lnTo>
                    <a:lnTo>
                      <a:pt x="348" y="360"/>
                    </a:lnTo>
                    <a:lnTo>
                      <a:pt x="347" y="358"/>
                    </a:lnTo>
                    <a:lnTo>
                      <a:pt x="346" y="358"/>
                    </a:lnTo>
                    <a:lnTo>
                      <a:pt x="346" y="357"/>
                    </a:lnTo>
                    <a:lnTo>
                      <a:pt x="347" y="357"/>
                    </a:lnTo>
                    <a:lnTo>
                      <a:pt x="346" y="356"/>
                    </a:lnTo>
                    <a:lnTo>
                      <a:pt x="347" y="356"/>
                    </a:lnTo>
                    <a:lnTo>
                      <a:pt x="346" y="354"/>
                    </a:lnTo>
                    <a:lnTo>
                      <a:pt x="345" y="352"/>
                    </a:lnTo>
                    <a:lnTo>
                      <a:pt x="345" y="350"/>
                    </a:lnTo>
                    <a:lnTo>
                      <a:pt x="344" y="347"/>
                    </a:lnTo>
                    <a:lnTo>
                      <a:pt x="345" y="347"/>
                    </a:lnTo>
                    <a:lnTo>
                      <a:pt x="344" y="347"/>
                    </a:lnTo>
                    <a:lnTo>
                      <a:pt x="345" y="346"/>
                    </a:lnTo>
                    <a:lnTo>
                      <a:pt x="344" y="346"/>
                    </a:lnTo>
                    <a:lnTo>
                      <a:pt x="344" y="345"/>
                    </a:lnTo>
                    <a:lnTo>
                      <a:pt x="345" y="345"/>
                    </a:lnTo>
                    <a:lnTo>
                      <a:pt x="346" y="342"/>
                    </a:lnTo>
                    <a:lnTo>
                      <a:pt x="346" y="339"/>
                    </a:lnTo>
                    <a:lnTo>
                      <a:pt x="347" y="337"/>
                    </a:lnTo>
                    <a:lnTo>
                      <a:pt x="346" y="336"/>
                    </a:lnTo>
                    <a:lnTo>
                      <a:pt x="348" y="336"/>
                    </a:lnTo>
                    <a:lnTo>
                      <a:pt x="350" y="333"/>
                    </a:lnTo>
                    <a:lnTo>
                      <a:pt x="351" y="331"/>
                    </a:lnTo>
                    <a:lnTo>
                      <a:pt x="353" y="332"/>
                    </a:lnTo>
                    <a:lnTo>
                      <a:pt x="355" y="332"/>
                    </a:lnTo>
                    <a:lnTo>
                      <a:pt x="355" y="331"/>
                    </a:lnTo>
                    <a:lnTo>
                      <a:pt x="351" y="330"/>
                    </a:lnTo>
                    <a:lnTo>
                      <a:pt x="351" y="329"/>
                    </a:lnTo>
                    <a:lnTo>
                      <a:pt x="352" y="329"/>
                    </a:lnTo>
                    <a:lnTo>
                      <a:pt x="351" y="329"/>
                    </a:lnTo>
                    <a:lnTo>
                      <a:pt x="351" y="327"/>
                    </a:lnTo>
                    <a:lnTo>
                      <a:pt x="350" y="326"/>
                    </a:lnTo>
                    <a:lnTo>
                      <a:pt x="350" y="325"/>
                    </a:lnTo>
                    <a:lnTo>
                      <a:pt x="349" y="323"/>
                    </a:lnTo>
                    <a:lnTo>
                      <a:pt x="348" y="323"/>
                    </a:lnTo>
                    <a:lnTo>
                      <a:pt x="349" y="321"/>
                    </a:lnTo>
                    <a:lnTo>
                      <a:pt x="349" y="320"/>
                    </a:lnTo>
                    <a:lnTo>
                      <a:pt x="350" y="319"/>
                    </a:lnTo>
                    <a:lnTo>
                      <a:pt x="348" y="319"/>
                    </a:lnTo>
                    <a:lnTo>
                      <a:pt x="349" y="317"/>
                    </a:lnTo>
                    <a:lnTo>
                      <a:pt x="350" y="316"/>
                    </a:lnTo>
                    <a:lnTo>
                      <a:pt x="350" y="313"/>
                    </a:lnTo>
                    <a:lnTo>
                      <a:pt x="350" y="312"/>
                    </a:lnTo>
                    <a:lnTo>
                      <a:pt x="349" y="312"/>
                    </a:lnTo>
                    <a:lnTo>
                      <a:pt x="350" y="311"/>
                    </a:lnTo>
                    <a:lnTo>
                      <a:pt x="350" y="309"/>
                    </a:lnTo>
                    <a:lnTo>
                      <a:pt x="349" y="311"/>
                    </a:lnTo>
                    <a:lnTo>
                      <a:pt x="350" y="309"/>
                    </a:lnTo>
                    <a:lnTo>
                      <a:pt x="349" y="308"/>
                    </a:lnTo>
                    <a:lnTo>
                      <a:pt x="351" y="309"/>
                    </a:lnTo>
                    <a:lnTo>
                      <a:pt x="351" y="308"/>
                    </a:lnTo>
                    <a:lnTo>
                      <a:pt x="349" y="307"/>
                    </a:lnTo>
                    <a:lnTo>
                      <a:pt x="349" y="308"/>
                    </a:lnTo>
                    <a:lnTo>
                      <a:pt x="349" y="307"/>
                    </a:lnTo>
                    <a:lnTo>
                      <a:pt x="348" y="307"/>
                    </a:lnTo>
                    <a:lnTo>
                      <a:pt x="346" y="307"/>
                    </a:lnTo>
                    <a:lnTo>
                      <a:pt x="346" y="304"/>
                    </a:lnTo>
                    <a:lnTo>
                      <a:pt x="347" y="303"/>
                    </a:lnTo>
                    <a:lnTo>
                      <a:pt x="346" y="302"/>
                    </a:lnTo>
                    <a:lnTo>
                      <a:pt x="348" y="302"/>
                    </a:lnTo>
                    <a:lnTo>
                      <a:pt x="348" y="301"/>
                    </a:lnTo>
                    <a:lnTo>
                      <a:pt x="350" y="302"/>
                    </a:lnTo>
                    <a:lnTo>
                      <a:pt x="350" y="300"/>
                    </a:lnTo>
                    <a:lnTo>
                      <a:pt x="350" y="299"/>
                    </a:lnTo>
                    <a:lnTo>
                      <a:pt x="348" y="298"/>
                    </a:lnTo>
                    <a:lnTo>
                      <a:pt x="349" y="296"/>
                    </a:lnTo>
                    <a:lnTo>
                      <a:pt x="351" y="295"/>
                    </a:lnTo>
                    <a:lnTo>
                      <a:pt x="351" y="294"/>
                    </a:lnTo>
                    <a:lnTo>
                      <a:pt x="353" y="295"/>
                    </a:lnTo>
                    <a:lnTo>
                      <a:pt x="353" y="292"/>
                    </a:lnTo>
                    <a:lnTo>
                      <a:pt x="354" y="291"/>
                    </a:lnTo>
                    <a:lnTo>
                      <a:pt x="355" y="286"/>
                    </a:lnTo>
                    <a:lnTo>
                      <a:pt x="356" y="283"/>
                    </a:lnTo>
                    <a:lnTo>
                      <a:pt x="354" y="282"/>
                    </a:lnTo>
                    <a:lnTo>
                      <a:pt x="355" y="279"/>
                    </a:lnTo>
                    <a:lnTo>
                      <a:pt x="351" y="276"/>
                    </a:lnTo>
                    <a:lnTo>
                      <a:pt x="350" y="276"/>
                    </a:lnTo>
                    <a:lnTo>
                      <a:pt x="347" y="279"/>
                    </a:lnTo>
                    <a:lnTo>
                      <a:pt x="346" y="278"/>
                    </a:lnTo>
                    <a:lnTo>
                      <a:pt x="348" y="277"/>
                    </a:lnTo>
                    <a:lnTo>
                      <a:pt x="350" y="272"/>
                    </a:lnTo>
                    <a:lnTo>
                      <a:pt x="349" y="271"/>
                    </a:lnTo>
                    <a:lnTo>
                      <a:pt x="348" y="270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1" y="258"/>
                    </a:lnTo>
                    <a:lnTo>
                      <a:pt x="353" y="255"/>
                    </a:lnTo>
                    <a:lnTo>
                      <a:pt x="354" y="249"/>
                    </a:lnTo>
                    <a:lnTo>
                      <a:pt x="355" y="247"/>
                    </a:lnTo>
                    <a:lnTo>
                      <a:pt x="356" y="244"/>
                    </a:lnTo>
                    <a:lnTo>
                      <a:pt x="355" y="242"/>
                    </a:lnTo>
                    <a:lnTo>
                      <a:pt x="353" y="243"/>
                    </a:lnTo>
                    <a:lnTo>
                      <a:pt x="350" y="242"/>
                    </a:lnTo>
                    <a:lnTo>
                      <a:pt x="350" y="239"/>
                    </a:lnTo>
                    <a:lnTo>
                      <a:pt x="349" y="238"/>
                    </a:lnTo>
                    <a:lnTo>
                      <a:pt x="347" y="239"/>
                    </a:lnTo>
                    <a:lnTo>
                      <a:pt x="346" y="239"/>
                    </a:lnTo>
                    <a:lnTo>
                      <a:pt x="344" y="238"/>
                    </a:lnTo>
                    <a:lnTo>
                      <a:pt x="344" y="236"/>
                    </a:lnTo>
                    <a:lnTo>
                      <a:pt x="345" y="236"/>
                    </a:lnTo>
                    <a:lnTo>
                      <a:pt x="346" y="235"/>
                    </a:lnTo>
                    <a:lnTo>
                      <a:pt x="342" y="234"/>
                    </a:lnTo>
                    <a:lnTo>
                      <a:pt x="342" y="233"/>
                    </a:lnTo>
                    <a:lnTo>
                      <a:pt x="340" y="233"/>
                    </a:lnTo>
                    <a:lnTo>
                      <a:pt x="339" y="232"/>
                    </a:lnTo>
                    <a:lnTo>
                      <a:pt x="338" y="232"/>
                    </a:lnTo>
                    <a:lnTo>
                      <a:pt x="337" y="229"/>
                    </a:lnTo>
                    <a:lnTo>
                      <a:pt x="336" y="228"/>
                    </a:lnTo>
                    <a:lnTo>
                      <a:pt x="339" y="229"/>
                    </a:lnTo>
                    <a:lnTo>
                      <a:pt x="342" y="232"/>
                    </a:lnTo>
                    <a:lnTo>
                      <a:pt x="345" y="232"/>
                    </a:lnTo>
                    <a:lnTo>
                      <a:pt x="345" y="231"/>
                    </a:lnTo>
                    <a:lnTo>
                      <a:pt x="347" y="231"/>
                    </a:lnTo>
                    <a:lnTo>
                      <a:pt x="348" y="230"/>
                    </a:lnTo>
                    <a:lnTo>
                      <a:pt x="347" y="230"/>
                    </a:lnTo>
                    <a:lnTo>
                      <a:pt x="345" y="224"/>
                    </a:lnTo>
                    <a:lnTo>
                      <a:pt x="342" y="223"/>
                    </a:lnTo>
                    <a:lnTo>
                      <a:pt x="340" y="221"/>
                    </a:lnTo>
                    <a:lnTo>
                      <a:pt x="342" y="219"/>
                    </a:lnTo>
                    <a:lnTo>
                      <a:pt x="341" y="218"/>
                    </a:lnTo>
                    <a:lnTo>
                      <a:pt x="342" y="217"/>
                    </a:lnTo>
                    <a:lnTo>
                      <a:pt x="342" y="218"/>
                    </a:lnTo>
                    <a:lnTo>
                      <a:pt x="342" y="219"/>
                    </a:lnTo>
                    <a:lnTo>
                      <a:pt x="343" y="219"/>
                    </a:lnTo>
                    <a:lnTo>
                      <a:pt x="344" y="218"/>
                    </a:lnTo>
                    <a:lnTo>
                      <a:pt x="344" y="219"/>
                    </a:lnTo>
                    <a:lnTo>
                      <a:pt x="345" y="219"/>
                    </a:lnTo>
                    <a:lnTo>
                      <a:pt x="345" y="218"/>
                    </a:lnTo>
                    <a:lnTo>
                      <a:pt x="348" y="217"/>
                    </a:lnTo>
                    <a:lnTo>
                      <a:pt x="350" y="218"/>
                    </a:lnTo>
                    <a:lnTo>
                      <a:pt x="353" y="215"/>
                    </a:lnTo>
                    <a:lnTo>
                      <a:pt x="351" y="215"/>
                    </a:lnTo>
                    <a:lnTo>
                      <a:pt x="351" y="213"/>
                    </a:lnTo>
                    <a:lnTo>
                      <a:pt x="349" y="213"/>
                    </a:lnTo>
                    <a:lnTo>
                      <a:pt x="348" y="212"/>
                    </a:lnTo>
                    <a:lnTo>
                      <a:pt x="346" y="213"/>
                    </a:lnTo>
                    <a:lnTo>
                      <a:pt x="347" y="211"/>
                    </a:lnTo>
                    <a:lnTo>
                      <a:pt x="346" y="211"/>
                    </a:lnTo>
                    <a:lnTo>
                      <a:pt x="344" y="212"/>
                    </a:lnTo>
                    <a:lnTo>
                      <a:pt x="343" y="211"/>
                    </a:lnTo>
                    <a:lnTo>
                      <a:pt x="342" y="211"/>
                    </a:lnTo>
                    <a:lnTo>
                      <a:pt x="342" y="213"/>
                    </a:lnTo>
                    <a:lnTo>
                      <a:pt x="340" y="213"/>
                    </a:lnTo>
                    <a:lnTo>
                      <a:pt x="340" y="215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9" y="211"/>
                    </a:lnTo>
                    <a:lnTo>
                      <a:pt x="339" y="210"/>
                    </a:lnTo>
                    <a:lnTo>
                      <a:pt x="338" y="209"/>
                    </a:lnTo>
                    <a:lnTo>
                      <a:pt x="340" y="208"/>
                    </a:lnTo>
                    <a:lnTo>
                      <a:pt x="338" y="205"/>
                    </a:lnTo>
                    <a:lnTo>
                      <a:pt x="340" y="203"/>
                    </a:lnTo>
                    <a:lnTo>
                      <a:pt x="343" y="202"/>
                    </a:lnTo>
                    <a:lnTo>
                      <a:pt x="347" y="195"/>
                    </a:lnTo>
                    <a:lnTo>
                      <a:pt x="356" y="192"/>
                    </a:lnTo>
                    <a:lnTo>
                      <a:pt x="359" y="191"/>
                    </a:lnTo>
                    <a:lnTo>
                      <a:pt x="361" y="191"/>
                    </a:lnTo>
                    <a:lnTo>
                      <a:pt x="360" y="191"/>
                    </a:lnTo>
                    <a:lnTo>
                      <a:pt x="360" y="194"/>
                    </a:lnTo>
                    <a:lnTo>
                      <a:pt x="362" y="195"/>
                    </a:lnTo>
                    <a:lnTo>
                      <a:pt x="363" y="197"/>
                    </a:lnTo>
                    <a:lnTo>
                      <a:pt x="363" y="198"/>
                    </a:lnTo>
                    <a:lnTo>
                      <a:pt x="365" y="198"/>
                    </a:lnTo>
                    <a:lnTo>
                      <a:pt x="366" y="198"/>
                    </a:lnTo>
                    <a:lnTo>
                      <a:pt x="367" y="196"/>
                    </a:lnTo>
                    <a:lnTo>
                      <a:pt x="367" y="195"/>
                    </a:lnTo>
                    <a:lnTo>
                      <a:pt x="368" y="194"/>
                    </a:lnTo>
                    <a:lnTo>
                      <a:pt x="368" y="192"/>
                    </a:lnTo>
                    <a:lnTo>
                      <a:pt x="370" y="191"/>
                    </a:lnTo>
                    <a:lnTo>
                      <a:pt x="371" y="188"/>
                    </a:lnTo>
                    <a:lnTo>
                      <a:pt x="372" y="188"/>
                    </a:lnTo>
                    <a:lnTo>
                      <a:pt x="375" y="188"/>
                    </a:lnTo>
                    <a:lnTo>
                      <a:pt x="375" y="187"/>
                    </a:lnTo>
                    <a:lnTo>
                      <a:pt x="376" y="187"/>
                    </a:lnTo>
                    <a:lnTo>
                      <a:pt x="377" y="187"/>
                    </a:lnTo>
                    <a:lnTo>
                      <a:pt x="379" y="185"/>
                    </a:lnTo>
                    <a:lnTo>
                      <a:pt x="379" y="186"/>
                    </a:lnTo>
                    <a:lnTo>
                      <a:pt x="381" y="183"/>
                    </a:lnTo>
                    <a:lnTo>
                      <a:pt x="381" y="181"/>
                    </a:lnTo>
                    <a:lnTo>
                      <a:pt x="379" y="180"/>
                    </a:lnTo>
                    <a:lnTo>
                      <a:pt x="378" y="179"/>
                    </a:lnTo>
                    <a:lnTo>
                      <a:pt x="377" y="178"/>
                    </a:lnTo>
                    <a:lnTo>
                      <a:pt x="376" y="179"/>
                    </a:lnTo>
                    <a:lnTo>
                      <a:pt x="375" y="179"/>
                    </a:lnTo>
                    <a:lnTo>
                      <a:pt x="373" y="181"/>
                    </a:lnTo>
                    <a:lnTo>
                      <a:pt x="372" y="180"/>
                    </a:lnTo>
                    <a:lnTo>
                      <a:pt x="373" y="177"/>
                    </a:lnTo>
                    <a:lnTo>
                      <a:pt x="376" y="176"/>
                    </a:lnTo>
                    <a:lnTo>
                      <a:pt x="378" y="171"/>
                    </a:lnTo>
                    <a:lnTo>
                      <a:pt x="378" y="168"/>
                    </a:lnTo>
                    <a:lnTo>
                      <a:pt x="377" y="166"/>
                    </a:lnTo>
                    <a:lnTo>
                      <a:pt x="377" y="165"/>
                    </a:lnTo>
                    <a:lnTo>
                      <a:pt x="376" y="162"/>
                    </a:lnTo>
                    <a:lnTo>
                      <a:pt x="377" y="161"/>
                    </a:lnTo>
                    <a:lnTo>
                      <a:pt x="381" y="161"/>
                    </a:lnTo>
                    <a:lnTo>
                      <a:pt x="381" y="158"/>
                    </a:lnTo>
                    <a:lnTo>
                      <a:pt x="383" y="157"/>
                    </a:lnTo>
                    <a:lnTo>
                      <a:pt x="382" y="157"/>
                    </a:lnTo>
                    <a:lnTo>
                      <a:pt x="383" y="153"/>
                    </a:lnTo>
                    <a:lnTo>
                      <a:pt x="381" y="151"/>
                    </a:lnTo>
                    <a:lnTo>
                      <a:pt x="381" y="148"/>
                    </a:lnTo>
                    <a:lnTo>
                      <a:pt x="384" y="145"/>
                    </a:lnTo>
                    <a:lnTo>
                      <a:pt x="383" y="144"/>
                    </a:lnTo>
                    <a:lnTo>
                      <a:pt x="382" y="141"/>
                    </a:lnTo>
                    <a:lnTo>
                      <a:pt x="383" y="140"/>
                    </a:lnTo>
                    <a:lnTo>
                      <a:pt x="384" y="141"/>
                    </a:lnTo>
                    <a:lnTo>
                      <a:pt x="386" y="138"/>
                    </a:lnTo>
                    <a:lnTo>
                      <a:pt x="385" y="135"/>
                    </a:lnTo>
                    <a:lnTo>
                      <a:pt x="386" y="135"/>
                    </a:lnTo>
                    <a:lnTo>
                      <a:pt x="386" y="131"/>
                    </a:lnTo>
                    <a:lnTo>
                      <a:pt x="387" y="131"/>
                    </a:lnTo>
                    <a:lnTo>
                      <a:pt x="388" y="131"/>
                    </a:lnTo>
                    <a:lnTo>
                      <a:pt x="389" y="131"/>
                    </a:lnTo>
                    <a:lnTo>
                      <a:pt x="391" y="131"/>
                    </a:lnTo>
                    <a:lnTo>
                      <a:pt x="392" y="131"/>
                    </a:lnTo>
                    <a:lnTo>
                      <a:pt x="392" y="133"/>
                    </a:lnTo>
                    <a:lnTo>
                      <a:pt x="393" y="132"/>
                    </a:lnTo>
                    <a:lnTo>
                      <a:pt x="392" y="126"/>
                    </a:lnTo>
                    <a:lnTo>
                      <a:pt x="392" y="121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80" name="Group 107">
              <a:extLst>
                <a:ext uri="{FF2B5EF4-FFF2-40B4-BE49-F238E27FC236}">
                  <a16:creationId xmlns:a16="http://schemas.microsoft.com/office/drawing/2014/main" id="{326215A8-FA8B-4DEB-B189-6B1288F1B35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19" y="3149"/>
              <a:ext cx="411" cy="305"/>
              <a:chOff x="1319" y="3149"/>
              <a:chExt cx="411" cy="305"/>
            </a:xfrm>
          </p:grpSpPr>
          <p:sp>
            <p:nvSpPr>
              <p:cNvPr id="499" name="Freeform 105">
                <a:extLst>
                  <a:ext uri="{FF2B5EF4-FFF2-40B4-BE49-F238E27FC236}">
                    <a16:creationId xmlns:a16="http://schemas.microsoft.com/office/drawing/2014/main" id="{A7C94675-CEF4-416E-A02A-DC7057D153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9" y="3149"/>
                <a:ext cx="411" cy="305"/>
              </a:xfrm>
              <a:custGeom>
                <a:avLst/>
                <a:gdLst>
                  <a:gd name="T0" fmla="*/ 390 w 411"/>
                  <a:gd name="T1" fmla="*/ 42 h 305"/>
                  <a:gd name="T2" fmla="*/ 357 w 411"/>
                  <a:gd name="T3" fmla="*/ 65 h 305"/>
                  <a:gd name="T4" fmla="*/ 321 w 411"/>
                  <a:gd name="T5" fmla="*/ 39 h 305"/>
                  <a:gd name="T6" fmla="*/ 299 w 411"/>
                  <a:gd name="T7" fmla="*/ 44 h 305"/>
                  <a:gd name="T8" fmla="*/ 286 w 411"/>
                  <a:gd name="T9" fmla="*/ 48 h 305"/>
                  <a:gd name="T10" fmla="*/ 265 w 411"/>
                  <a:gd name="T11" fmla="*/ 62 h 305"/>
                  <a:gd name="T12" fmla="*/ 257 w 411"/>
                  <a:gd name="T13" fmla="*/ 74 h 305"/>
                  <a:gd name="T14" fmla="*/ 245 w 411"/>
                  <a:gd name="T15" fmla="*/ 78 h 305"/>
                  <a:gd name="T16" fmla="*/ 233 w 411"/>
                  <a:gd name="T17" fmla="*/ 78 h 305"/>
                  <a:gd name="T18" fmla="*/ 218 w 411"/>
                  <a:gd name="T19" fmla="*/ 67 h 305"/>
                  <a:gd name="T20" fmla="*/ 199 w 411"/>
                  <a:gd name="T21" fmla="*/ 54 h 305"/>
                  <a:gd name="T22" fmla="*/ 166 w 411"/>
                  <a:gd name="T23" fmla="*/ 13 h 305"/>
                  <a:gd name="T24" fmla="*/ 133 w 411"/>
                  <a:gd name="T25" fmla="*/ 22 h 305"/>
                  <a:gd name="T26" fmla="*/ 120 w 411"/>
                  <a:gd name="T27" fmla="*/ 2 h 305"/>
                  <a:gd name="T28" fmla="*/ 105 w 411"/>
                  <a:gd name="T29" fmla="*/ 15 h 305"/>
                  <a:gd name="T30" fmla="*/ 90 w 411"/>
                  <a:gd name="T31" fmla="*/ 19 h 305"/>
                  <a:gd name="T32" fmla="*/ 76 w 411"/>
                  <a:gd name="T33" fmla="*/ 14 h 305"/>
                  <a:gd name="T34" fmla="*/ 68 w 411"/>
                  <a:gd name="T35" fmla="*/ 10 h 305"/>
                  <a:gd name="T36" fmla="*/ 61 w 411"/>
                  <a:gd name="T37" fmla="*/ 5 h 305"/>
                  <a:gd name="T38" fmla="*/ 48 w 411"/>
                  <a:gd name="T39" fmla="*/ 10 h 305"/>
                  <a:gd name="T40" fmla="*/ 39 w 411"/>
                  <a:gd name="T41" fmla="*/ 20 h 305"/>
                  <a:gd name="T42" fmla="*/ 19 w 411"/>
                  <a:gd name="T43" fmla="*/ 19 h 305"/>
                  <a:gd name="T44" fmla="*/ 15 w 411"/>
                  <a:gd name="T45" fmla="*/ 34 h 305"/>
                  <a:gd name="T46" fmla="*/ 9 w 411"/>
                  <a:gd name="T47" fmla="*/ 45 h 305"/>
                  <a:gd name="T48" fmla="*/ 2 w 411"/>
                  <a:gd name="T49" fmla="*/ 49 h 305"/>
                  <a:gd name="T50" fmla="*/ 14 w 411"/>
                  <a:gd name="T51" fmla="*/ 60 h 305"/>
                  <a:gd name="T52" fmla="*/ 24 w 411"/>
                  <a:gd name="T53" fmla="*/ 65 h 305"/>
                  <a:gd name="T54" fmla="*/ 24 w 411"/>
                  <a:gd name="T55" fmla="*/ 76 h 305"/>
                  <a:gd name="T56" fmla="*/ 41 w 411"/>
                  <a:gd name="T57" fmla="*/ 92 h 305"/>
                  <a:gd name="T58" fmla="*/ 38 w 411"/>
                  <a:gd name="T59" fmla="*/ 109 h 305"/>
                  <a:gd name="T60" fmla="*/ 30 w 411"/>
                  <a:gd name="T61" fmla="*/ 127 h 305"/>
                  <a:gd name="T62" fmla="*/ 36 w 411"/>
                  <a:gd name="T63" fmla="*/ 147 h 305"/>
                  <a:gd name="T64" fmla="*/ 50 w 411"/>
                  <a:gd name="T65" fmla="*/ 163 h 305"/>
                  <a:gd name="T66" fmla="*/ 60 w 411"/>
                  <a:gd name="T67" fmla="*/ 163 h 305"/>
                  <a:gd name="T68" fmla="*/ 76 w 411"/>
                  <a:gd name="T69" fmla="*/ 169 h 305"/>
                  <a:gd name="T70" fmla="*/ 83 w 411"/>
                  <a:gd name="T71" fmla="*/ 177 h 305"/>
                  <a:gd name="T72" fmla="*/ 98 w 411"/>
                  <a:gd name="T73" fmla="*/ 186 h 305"/>
                  <a:gd name="T74" fmla="*/ 105 w 411"/>
                  <a:gd name="T75" fmla="*/ 196 h 305"/>
                  <a:gd name="T76" fmla="*/ 116 w 411"/>
                  <a:gd name="T77" fmla="*/ 220 h 305"/>
                  <a:gd name="T78" fmla="*/ 143 w 411"/>
                  <a:gd name="T79" fmla="*/ 233 h 305"/>
                  <a:gd name="T80" fmla="*/ 159 w 411"/>
                  <a:gd name="T81" fmla="*/ 217 h 305"/>
                  <a:gd name="T82" fmla="*/ 176 w 411"/>
                  <a:gd name="T83" fmla="*/ 229 h 305"/>
                  <a:gd name="T84" fmla="*/ 195 w 411"/>
                  <a:gd name="T85" fmla="*/ 246 h 305"/>
                  <a:gd name="T86" fmla="*/ 215 w 411"/>
                  <a:gd name="T87" fmla="*/ 255 h 305"/>
                  <a:gd name="T88" fmla="*/ 237 w 411"/>
                  <a:gd name="T89" fmla="*/ 278 h 305"/>
                  <a:gd name="T90" fmla="*/ 263 w 411"/>
                  <a:gd name="T91" fmla="*/ 298 h 305"/>
                  <a:gd name="T92" fmla="*/ 278 w 411"/>
                  <a:gd name="T93" fmla="*/ 297 h 305"/>
                  <a:gd name="T94" fmla="*/ 296 w 411"/>
                  <a:gd name="T95" fmla="*/ 295 h 305"/>
                  <a:gd name="T96" fmla="*/ 310 w 411"/>
                  <a:gd name="T97" fmla="*/ 286 h 305"/>
                  <a:gd name="T98" fmla="*/ 333 w 411"/>
                  <a:gd name="T99" fmla="*/ 287 h 305"/>
                  <a:gd name="T100" fmla="*/ 356 w 411"/>
                  <a:gd name="T101" fmla="*/ 300 h 305"/>
                  <a:gd name="T102" fmla="*/ 373 w 411"/>
                  <a:gd name="T103" fmla="*/ 293 h 305"/>
                  <a:gd name="T104" fmla="*/ 378 w 411"/>
                  <a:gd name="T105" fmla="*/ 271 h 305"/>
                  <a:gd name="T106" fmla="*/ 379 w 411"/>
                  <a:gd name="T107" fmla="*/ 244 h 305"/>
                  <a:gd name="T108" fmla="*/ 373 w 411"/>
                  <a:gd name="T109" fmla="*/ 229 h 305"/>
                  <a:gd name="T110" fmla="*/ 365 w 411"/>
                  <a:gd name="T111" fmla="*/ 199 h 305"/>
                  <a:gd name="T112" fmla="*/ 370 w 411"/>
                  <a:gd name="T113" fmla="*/ 175 h 305"/>
                  <a:gd name="T114" fmla="*/ 366 w 411"/>
                  <a:gd name="T115" fmla="*/ 140 h 305"/>
                  <a:gd name="T116" fmla="*/ 373 w 411"/>
                  <a:gd name="T117" fmla="*/ 116 h 305"/>
                  <a:gd name="T118" fmla="*/ 392 w 411"/>
                  <a:gd name="T119" fmla="*/ 96 h 305"/>
                  <a:gd name="T120" fmla="*/ 398 w 411"/>
                  <a:gd name="T121" fmla="*/ 57 h 305"/>
                  <a:gd name="T122" fmla="*/ 411 w 411"/>
                  <a:gd name="T123" fmla="*/ 31 h 30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11"/>
                  <a:gd name="T187" fmla="*/ 0 h 305"/>
                  <a:gd name="T188" fmla="*/ 411 w 411"/>
                  <a:gd name="T189" fmla="*/ 305 h 30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11" h="305">
                    <a:moveTo>
                      <a:pt x="410" y="29"/>
                    </a:moveTo>
                    <a:lnTo>
                      <a:pt x="411" y="26"/>
                    </a:lnTo>
                    <a:lnTo>
                      <a:pt x="410" y="24"/>
                    </a:lnTo>
                    <a:lnTo>
                      <a:pt x="407" y="21"/>
                    </a:lnTo>
                    <a:lnTo>
                      <a:pt x="404" y="23"/>
                    </a:lnTo>
                    <a:lnTo>
                      <a:pt x="403" y="25"/>
                    </a:lnTo>
                    <a:lnTo>
                      <a:pt x="402" y="25"/>
                    </a:lnTo>
                    <a:lnTo>
                      <a:pt x="401" y="27"/>
                    </a:lnTo>
                    <a:lnTo>
                      <a:pt x="399" y="29"/>
                    </a:lnTo>
                    <a:lnTo>
                      <a:pt x="398" y="27"/>
                    </a:lnTo>
                    <a:lnTo>
                      <a:pt x="396" y="28"/>
                    </a:lnTo>
                    <a:lnTo>
                      <a:pt x="393" y="32"/>
                    </a:lnTo>
                    <a:lnTo>
                      <a:pt x="392" y="39"/>
                    </a:lnTo>
                    <a:lnTo>
                      <a:pt x="390" y="42"/>
                    </a:lnTo>
                    <a:lnTo>
                      <a:pt x="386" y="45"/>
                    </a:lnTo>
                    <a:lnTo>
                      <a:pt x="387" y="47"/>
                    </a:lnTo>
                    <a:lnTo>
                      <a:pt x="386" y="48"/>
                    </a:lnTo>
                    <a:lnTo>
                      <a:pt x="382" y="50"/>
                    </a:lnTo>
                    <a:lnTo>
                      <a:pt x="379" y="52"/>
                    </a:lnTo>
                    <a:lnTo>
                      <a:pt x="378" y="52"/>
                    </a:lnTo>
                    <a:lnTo>
                      <a:pt x="377" y="52"/>
                    </a:lnTo>
                    <a:lnTo>
                      <a:pt x="371" y="60"/>
                    </a:lnTo>
                    <a:lnTo>
                      <a:pt x="369" y="65"/>
                    </a:lnTo>
                    <a:lnTo>
                      <a:pt x="368" y="66"/>
                    </a:lnTo>
                    <a:lnTo>
                      <a:pt x="364" y="69"/>
                    </a:lnTo>
                    <a:lnTo>
                      <a:pt x="361" y="67"/>
                    </a:lnTo>
                    <a:lnTo>
                      <a:pt x="358" y="66"/>
                    </a:lnTo>
                    <a:lnTo>
                      <a:pt x="357" y="65"/>
                    </a:lnTo>
                    <a:lnTo>
                      <a:pt x="350" y="60"/>
                    </a:lnTo>
                    <a:lnTo>
                      <a:pt x="347" y="59"/>
                    </a:lnTo>
                    <a:lnTo>
                      <a:pt x="345" y="59"/>
                    </a:lnTo>
                    <a:lnTo>
                      <a:pt x="344" y="55"/>
                    </a:lnTo>
                    <a:lnTo>
                      <a:pt x="341" y="52"/>
                    </a:lnTo>
                    <a:lnTo>
                      <a:pt x="341" y="49"/>
                    </a:lnTo>
                    <a:lnTo>
                      <a:pt x="338" y="47"/>
                    </a:lnTo>
                    <a:lnTo>
                      <a:pt x="337" y="44"/>
                    </a:lnTo>
                    <a:lnTo>
                      <a:pt x="332" y="43"/>
                    </a:lnTo>
                    <a:lnTo>
                      <a:pt x="331" y="44"/>
                    </a:lnTo>
                    <a:lnTo>
                      <a:pt x="330" y="44"/>
                    </a:lnTo>
                    <a:lnTo>
                      <a:pt x="329" y="44"/>
                    </a:lnTo>
                    <a:lnTo>
                      <a:pt x="322" y="38"/>
                    </a:lnTo>
                    <a:lnTo>
                      <a:pt x="321" y="39"/>
                    </a:lnTo>
                    <a:lnTo>
                      <a:pt x="320" y="38"/>
                    </a:lnTo>
                    <a:lnTo>
                      <a:pt x="319" y="36"/>
                    </a:lnTo>
                    <a:lnTo>
                      <a:pt x="317" y="37"/>
                    </a:lnTo>
                    <a:lnTo>
                      <a:pt x="317" y="32"/>
                    </a:lnTo>
                    <a:lnTo>
                      <a:pt x="314" y="31"/>
                    </a:lnTo>
                    <a:lnTo>
                      <a:pt x="313" y="31"/>
                    </a:lnTo>
                    <a:lnTo>
                      <a:pt x="311" y="29"/>
                    </a:lnTo>
                    <a:lnTo>
                      <a:pt x="308" y="29"/>
                    </a:lnTo>
                    <a:lnTo>
                      <a:pt x="306" y="31"/>
                    </a:lnTo>
                    <a:lnTo>
                      <a:pt x="305" y="40"/>
                    </a:lnTo>
                    <a:lnTo>
                      <a:pt x="303" y="42"/>
                    </a:lnTo>
                    <a:lnTo>
                      <a:pt x="300" y="42"/>
                    </a:lnTo>
                    <a:lnTo>
                      <a:pt x="299" y="44"/>
                    </a:lnTo>
                    <a:lnTo>
                      <a:pt x="298" y="44"/>
                    </a:lnTo>
                    <a:lnTo>
                      <a:pt x="297" y="46"/>
                    </a:lnTo>
                    <a:lnTo>
                      <a:pt x="297" y="45"/>
                    </a:lnTo>
                    <a:lnTo>
                      <a:pt x="293" y="45"/>
                    </a:lnTo>
                    <a:lnTo>
                      <a:pt x="293" y="44"/>
                    </a:lnTo>
                    <a:lnTo>
                      <a:pt x="293" y="45"/>
                    </a:lnTo>
                    <a:lnTo>
                      <a:pt x="290" y="46"/>
                    </a:lnTo>
                    <a:lnTo>
                      <a:pt x="291" y="46"/>
                    </a:lnTo>
                    <a:lnTo>
                      <a:pt x="291" y="48"/>
                    </a:lnTo>
                    <a:lnTo>
                      <a:pt x="290" y="49"/>
                    </a:lnTo>
                    <a:lnTo>
                      <a:pt x="288" y="47"/>
                    </a:lnTo>
                    <a:lnTo>
                      <a:pt x="287" y="48"/>
                    </a:lnTo>
                    <a:lnTo>
                      <a:pt x="286" y="48"/>
                    </a:lnTo>
                    <a:lnTo>
                      <a:pt x="286" y="49"/>
                    </a:lnTo>
                    <a:lnTo>
                      <a:pt x="284" y="49"/>
                    </a:lnTo>
                    <a:lnTo>
                      <a:pt x="284" y="50"/>
                    </a:lnTo>
                    <a:lnTo>
                      <a:pt x="284" y="49"/>
                    </a:lnTo>
                    <a:lnTo>
                      <a:pt x="283" y="49"/>
                    </a:lnTo>
                    <a:lnTo>
                      <a:pt x="281" y="49"/>
                    </a:lnTo>
                    <a:lnTo>
                      <a:pt x="275" y="55"/>
                    </a:lnTo>
                    <a:lnTo>
                      <a:pt x="271" y="55"/>
                    </a:lnTo>
                    <a:lnTo>
                      <a:pt x="269" y="55"/>
                    </a:lnTo>
                    <a:lnTo>
                      <a:pt x="269" y="57"/>
                    </a:lnTo>
                    <a:lnTo>
                      <a:pt x="267" y="57"/>
                    </a:lnTo>
                    <a:lnTo>
                      <a:pt x="265" y="60"/>
                    </a:lnTo>
                    <a:lnTo>
                      <a:pt x="265" y="62"/>
                    </a:lnTo>
                    <a:lnTo>
                      <a:pt x="266" y="62"/>
                    </a:lnTo>
                    <a:lnTo>
                      <a:pt x="267" y="64"/>
                    </a:lnTo>
                    <a:lnTo>
                      <a:pt x="269" y="66"/>
                    </a:lnTo>
                    <a:lnTo>
                      <a:pt x="267" y="67"/>
                    </a:lnTo>
                    <a:lnTo>
                      <a:pt x="266" y="69"/>
                    </a:lnTo>
                    <a:lnTo>
                      <a:pt x="264" y="69"/>
                    </a:lnTo>
                    <a:lnTo>
                      <a:pt x="262" y="70"/>
                    </a:lnTo>
                    <a:lnTo>
                      <a:pt x="260" y="69"/>
                    </a:lnTo>
                    <a:lnTo>
                      <a:pt x="258" y="69"/>
                    </a:lnTo>
                    <a:lnTo>
                      <a:pt x="259" y="71"/>
                    </a:lnTo>
                    <a:lnTo>
                      <a:pt x="258" y="72"/>
                    </a:lnTo>
                    <a:lnTo>
                      <a:pt x="257" y="72"/>
                    </a:lnTo>
                    <a:lnTo>
                      <a:pt x="257" y="74"/>
                    </a:lnTo>
                    <a:lnTo>
                      <a:pt x="259" y="75"/>
                    </a:lnTo>
                    <a:lnTo>
                      <a:pt x="260" y="78"/>
                    </a:lnTo>
                    <a:lnTo>
                      <a:pt x="261" y="78"/>
                    </a:lnTo>
                    <a:lnTo>
                      <a:pt x="261" y="83"/>
                    </a:lnTo>
                    <a:lnTo>
                      <a:pt x="254" y="79"/>
                    </a:lnTo>
                    <a:lnTo>
                      <a:pt x="252" y="78"/>
                    </a:lnTo>
                    <a:lnTo>
                      <a:pt x="251" y="76"/>
                    </a:lnTo>
                    <a:lnTo>
                      <a:pt x="250" y="77"/>
                    </a:lnTo>
                    <a:lnTo>
                      <a:pt x="248" y="76"/>
                    </a:lnTo>
                    <a:lnTo>
                      <a:pt x="248" y="78"/>
                    </a:lnTo>
                    <a:lnTo>
                      <a:pt x="246" y="77"/>
                    </a:lnTo>
                    <a:lnTo>
                      <a:pt x="245" y="78"/>
                    </a:lnTo>
                    <a:lnTo>
                      <a:pt x="244" y="78"/>
                    </a:lnTo>
                    <a:lnTo>
                      <a:pt x="243" y="78"/>
                    </a:lnTo>
                    <a:lnTo>
                      <a:pt x="238" y="78"/>
                    </a:lnTo>
                    <a:lnTo>
                      <a:pt x="238" y="76"/>
                    </a:lnTo>
                    <a:lnTo>
                      <a:pt x="240" y="74"/>
                    </a:lnTo>
                    <a:lnTo>
                      <a:pt x="240" y="73"/>
                    </a:lnTo>
                    <a:lnTo>
                      <a:pt x="237" y="73"/>
                    </a:lnTo>
                    <a:lnTo>
                      <a:pt x="237" y="72"/>
                    </a:lnTo>
                    <a:lnTo>
                      <a:pt x="237" y="74"/>
                    </a:lnTo>
                    <a:lnTo>
                      <a:pt x="237" y="75"/>
                    </a:lnTo>
                    <a:lnTo>
                      <a:pt x="237" y="76"/>
                    </a:lnTo>
                    <a:lnTo>
                      <a:pt x="233" y="78"/>
                    </a:lnTo>
                    <a:lnTo>
                      <a:pt x="232" y="76"/>
                    </a:lnTo>
                    <a:lnTo>
                      <a:pt x="231" y="77"/>
                    </a:lnTo>
                    <a:lnTo>
                      <a:pt x="228" y="76"/>
                    </a:lnTo>
                    <a:lnTo>
                      <a:pt x="227" y="78"/>
                    </a:lnTo>
                    <a:lnTo>
                      <a:pt x="225" y="78"/>
                    </a:lnTo>
                    <a:lnTo>
                      <a:pt x="224" y="78"/>
                    </a:lnTo>
                    <a:lnTo>
                      <a:pt x="223" y="76"/>
                    </a:lnTo>
                    <a:lnTo>
                      <a:pt x="223" y="75"/>
                    </a:lnTo>
                    <a:lnTo>
                      <a:pt x="223" y="74"/>
                    </a:lnTo>
                    <a:lnTo>
                      <a:pt x="221" y="72"/>
                    </a:lnTo>
                    <a:lnTo>
                      <a:pt x="219" y="68"/>
                    </a:lnTo>
                    <a:lnTo>
                      <a:pt x="218" y="68"/>
                    </a:lnTo>
                    <a:lnTo>
                      <a:pt x="218" y="67"/>
                    </a:lnTo>
                    <a:lnTo>
                      <a:pt x="217" y="68"/>
                    </a:lnTo>
                    <a:lnTo>
                      <a:pt x="216" y="67"/>
                    </a:lnTo>
                    <a:lnTo>
                      <a:pt x="215" y="67"/>
                    </a:lnTo>
                    <a:lnTo>
                      <a:pt x="213" y="63"/>
                    </a:lnTo>
                    <a:lnTo>
                      <a:pt x="211" y="64"/>
                    </a:lnTo>
                    <a:lnTo>
                      <a:pt x="211" y="65"/>
                    </a:lnTo>
                    <a:lnTo>
                      <a:pt x="210" y="65"/>
                    </a:lnTo>
                    <a:lnTo>
                      <a:pt x="207" y="62"/>
                    </a:lnTo>
                    <a:lnTo>
                      <a:pt x="207" y="57"/>
                    </a:lnTo>
                    <a:lnTo>
                      <a:pt x="203" y="54"/>
                    </a:lnTo>
                    <a:lnTo>
                      <a:pt x="201" y="55"/>
                    </a:lnTo>
                    <a:lnTo>
                      <a:pt x="200" y="54"/>
                    </a:lnTo>
                    <a:lnTo>
                      <a:pt x="199" y="54"/>
                    </a:lnTo>
                    <a:lnTo>
                      <a:pt x="198" y="53"/>
                    </a:lnTo>
                    <a:lnTo>
                      <a:pt x="195" y="52"/>
                    </a:lnTo>
                    <a:lnTo>
                      <a:pt x="194" y="52"/>
                    </a:lnTo>
                    <a:lnTo>
                      <a:pt x="194" y="51"/>
                    </a:lnTo>
                    <a:lnTo>
                      <a:pt x="194" y="48"/>
                    </a:lnTo>
                    <a:lnTo>
                      <a:pt x="192" y="40"/>
                    </a:lnTo>
                    <a:lnTo>
                      <a:pt x="190" y="39"/>
                    </a:lnTo>
                    <a:lnTo>
                      <a:pt x="178" y="37"/>
                    </a:lnTo>
                    <a:lnTo>
                      <a:pt x="179" y="27"/>
                    </a:lnTo>
                    <a:lnTo>
                      <a:pt x="179" y="23"/>
                    </a:lnTo>
                    <a:lnTo>
                      <a:pt x="174" y="21"/>
                    </a:lnTo>
                    <a:lnTo>
                      <a:pt x="175" y="15"/>
                    </a:lnTo>
                    <a:lnTo>
                      <a:pt x="167" y="15"/>
                    </a:lnTo>
                    <a:lnTo>
                      <a:pt x="166" y="13"/>
                    </a:lnTo>
                    <a:lnTo>
                      <a:pt x="164" y="13"/>
                    </a:lnTo>
                    <a:lnTo>
                      <a:pt x="164" y="11"/>
                    </a:lnTo>
                    <a:lnTo>
                      <a:pt x="162" y="13"/>
                    </a:lnTo>
                    <a:lnTo>
                      <a:pt x="158" y="8"/>
                    </a:lnTo>
                    <a:lnTo>
                      <a:pt x="156" y="7"/>
                    </a:lnTo>
                    <a:lnTo>
                      <a:pt x="156" y="10"/>
                    </a:lnTo>
                    <a:lnTo>
                      <a:pt x="155" y="10"/>
                    </a:lnTo>
                    <a:lnTo>
                      <a:pt x="147" y="10"/>
                    </a:lnTo>
                    <a:lnTo>
                      <a:pt x="146" y="17"/>
                    </a:lnTo>
                    <a:lnTo>
                      <a:pt x="142" y="16"/>
                    </a:lnTo>
                    <a:lnTo>
                      <a:pt x="137" y="15"/>
                    </a:lnTo>
                    <a:lnTo>
                      <a:pt x="136" y="19"/>
                    </a:lnTo>
                    <a:lnTo>
                      <a:pt x="133" y="21"/>
                    </a:lnTo>
                    <a:lnTo>
                      <a:pt x="133" y="22"/>
                    </a:lnTo>
                    <a:lnTo>
                      <a:pt x="131" y="23"/>
                    </a:lnTo>
                    <a:lnTo>
                      <a:pt x="131" y="21"/>
                    </a:lnTo>
                    <a:lnTo>
                      <a:pt x="127" y="20"/>
                    </a:lnTo>
                    <a:lnTo>
                      <a:pt x="126" y="20"/>
                    </a:lnTo>
                    <a:lnTo>
                      <a:pt x="126" y="19"/>
                    </a:lnTo>
                    <a:lnTo>
                      <a:pt x="124" y="18"/>
                    </a:lnTo>
                    <a:lnTo>
                      <a:pt x="123" y="15"/>
                    </a:lnTo>
                    <a:lnTo>
                      <a:pt x="124" y="12"/>
                    </a:lnTo>
                    <a:lnTo>
                      <a:pt x="126" y="8"/>
                    </a:lnTo>
                    <a:lnTo>
                      <a:pt x="124" y="7"/>
                    </a:lnTo>
                    <a:lnTo>
                      <a:pt x="125" y="6"/>
                    </a:lnTo>
                    <a:lnTo>
                      <a:pt x="125" y="5"/>
                    </a:lnTo>
                    <a:lnTo>
                      <a:pt x="121" y="4"/>
                    </a:lnTo>
                    <a:lnTo>
                      <a:pt x="120" y="2"/>
                    </a:lnTo>
                    <a:lnTo>
                      <a:pt x="118" y="0"/>
                    </a:lnTo>
                    <a:lnTo>
                      <a:pt x="116" y="1"/>
                    </a:lnTo>
                    <a:lnTo>
                      <a:pt x="115" y="4"/>
                    </a:lnTo>
                    <a:lnTo>
                      <a:pt x="112" y="2"/>
                    </a:lnTo>
                    <a:lnTo>
                      <a:pt x="111" y="5"/>
                    </a:lnTo>
                    <a:lnTo>
                      <a:pt x="109" y="5"/>
                    </a:lnTo>
                    <a:lnTo>
                      <a:pt x="107" y="6"/>
                    </a:lnTo>
                    <a:lnTo>
                      <a:pt x="107" y="8"/>
                    </a:lnTo>
                    <a:lnTo>
                      <a:pt x="108" y="9"/>
                    </a:lnTo>
                    <a:lnTo>
                      <a:pt x="107" y="14"/>
                    </a:lnTo>
                    <a:lnTo>
                      <a:pt x="106" y="15"/>
                    </a:lnTo>
                    <a:lnTo>
                      <a:pt x="105" y="15"/>
                    </a:lnTo>
                    <a:lnTo>
                      <a:pt x="104" y="14"/>
                    </a:lnTo>
                    <a:lnTo>
                      <a:pt x="102" y="18"/>
                    </a:lnTo>
                    <a:lnTo>
                      <a:pt x="101" y="15"/>
                    </a:lnTo>
                    <a:lnTo>
                      <a:pt x="99" y="15"/>
                    </a:lnTo>
                    <a:lnTo>
                      <a:pt x="98" y="15"/>
                    </a:lnTo>
                    <a:lnTo>
                      <a:pt x="97" y="14"/>
                    </a:lnTo>
                    <a:lnTo>
                      <a:pt x="96" y="15"/>
                    </a:lnTo>
                    <a:lnTo>
                      <a:pt x="95" y="15"/>
                    </a:lnTo>
                    <a:lnTo>
                      <a:pt x="94" y="18"/>
                    </a:lnTo>
                    <a:lnTo>
                      <a:pt x="93" y="18"/>
                    </a:lnTo>
                    <a:lnTo>
                      <a:pt x="93" y="19"/>
                    </a:lnTo>
                    <a:lnTo>
                      <a:pt x="92" y="20"/>
                    </a:lnTo>
                    <a:lnTo>
                      <a:pt x="90" y="19"/>
                    </a:lnTo>
                    <a:lnTo>
                      <a:pt x="89" y="20"/>
                    </a:lnTo>
                    <a:lnTo>
                      <a:pt x="88" y="19"/>
                    </a:lnTo>
                    <a:lnTo>
                      <a:pt x="88" y="18"/>
                    </a:lnTo>
                    <a:lnTo>
                      <a:pt x="86" y="17"/>
                    </a:lnTo>
                    <a:lnTo>
                      <a:pt x="86" y="16"/>
                    </a:lnTo>
                    <a:lnTo>
                      <a:pt x="82" y="14"/>
                    </a:lnTo>
                    <a:lnTo>
                      <a:pt x="82" y="13"/>
                    </a:lnTo>
                    <a:lnTo>
                      <a:pt x="81" y="12"/>
                    </a:lnTo>
                    <a:lnTo>
                      <a:pt x="81" y="15"/>
                    </a:lnTo>
                    <a:lnTo>
                      <a:pt x="79" y="14"/>
                    </a:lnTo>
                    <a:lnTo>
                      <a:pt x="79" y="15"/>
                    </a:lnTo>
                    <a:lnTo>
                      <a:pt x="77" y="14"/>
                    </a:lnTo>
                    <a:lnTo>
                      <a:pt x="76" y="14"/>
                    </a:lnTo>
                    <a:lnTo>
                      <a:pt x="76" y="13"/>
                    </a:lnTo>
                    <a:lnTo>
                      <a:pt x="76" y="12"/>
                    </a:lnTo>
                    <a:lnTo>
                      <a:pt x="75" y="13"/>
                    </a:lnTo>
                    <a:lnTo>
                      <a:pt x="73" y="12"/>
                    </a:lnTo>
                    <a:lnTo>
                      <a:pt x="71" y="13"/>
                    </a:lnTo>
                    <a:lnTo>
                      <a:pt x="71" y="12"/>
                    </a:lnTo>
                    <a:lnTo>
                      <a:pt x="69" y="12"/>
                    </a:lnTo>
                    <a:lnTo>
                      <a:pt x="69" y="11"/>
                    </a:lnTo>
                    <a:lnTo>
                      <a:pt x="68" y="12"/>
                    </a:lnTo>
                    <a:lnTo>
                      <a:pt x="68" y="10"/>
                    </a:lnTo>
                    <a:lnTo>
                      <a:pt x="68" y="13"/>
                    </a:lnTo>
                    <a:lnTo>
                      <a:pt x="69" y="13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6" y="12"/>
                    </a:lnTo>
                    <a:lnTo>
                      <a:pt x="66" y="13"/>
                    </a:lnTo>
                    <a:lnTo>
                      <a:pt x="65" y="13"/>
                    </a:lnTo>
                    <a:lnTo>
                      <a:pt x="65" y="11"/>
                    </a:lnTo>
                    <a:lnTo>
                      <a:pt x="63" y="11"/>
                    </a:lnTo>
                    <a:lnTo>
                      <a:pt x="64" y="6"/>
                    </a:lnTo>
                    <a:lnTo>
                      <a:pt x="61" y="5"/>
                    </a:lnTo>
                    <a:lnTo>
                      <a:pt x="60" y="5"/>
                    </a:lnTo>
                    <a:lnTo>
                      <a:pt x="60" y="6"/>
                    </a:lnTo>
                    <a:lnTo>
                      <a:pt x="61" y="8"/>
                    </a:lnTo>
                    <a:lnTo>
                      <a:pt x="59" y="8"/>
                    </a:lnTo>
                    <a:lnTo>
                      <a:pt x="58" y="8"/>
                    </a:lnTo>
                    <a:lnTo>
                      <a:pt x="58" y="10"/>
                    </a:lnTo>
                    <a:lnTo>
                      <a:pt x="56" y="11"/>
                    </a:lnTo>
                    <a:lnTo>
                      <a:pt x="55" y="10"/>
                    </a:lnTo>
                    <a:lnTo>
                      <a:pt x="55" y="8"/>
                    </a:lnTo>
                    <a:lnTo>
                      <a:pt x="54" y="9"/>
                    </a:lnTo>
                    <a:lnTo>
                      <a:pt x="53" y="8"/>
                    </a:lnTo>
                    <a:lnTo>
                      <a:pt x="52" y="8"/>
                    </a:lnTo>
                    <a:lnTo>
                      <a:pt x="48" y="10"/>
                    </a:lnTo>
                    <a:lnTo>
                      <a:pt x="47" y="10"/>
                    </a:lnTo>
                    <a:lnTo>
                      <a:pt x="47" y="14"/>
                    </a:lnTo>
                    <a:lnTo>
                      <a:pt x="46" y="15"/>
                    </a:lnTo>
                    <a:lnTo>
                      <a:pt x="47" y="15"/>
                    </a:lnTo>
                    <a:lnTo>
                      <a:pt x="47" y="18"/>
                    </a:lnTo>
                    <a:lnTo>
                      <a:pt x="45" y="17"/>
                    </a:lnTo>
                    <a:lnTo>
                      <a:pt x="44" y="18"/>
                    </a:lnTo>
                    <a:lnTo>
                      <a:pt x="42" y="19"/>
                    </a:lnTo>
                    <a:lnTo>
                      <a:pt x="41" y="19"/>
                    </a:lnTo>
                    <a:lnTo>
                      <a:pt x="37" y="18"/>
                    </a:lnTo>
                    <a:lnTo>
                      <a:pt x="37" y="20"/>
                    </a:lnTo>
                    <a:lnTo>
                      <a:pt x="39" y="20"/>
                    </a:lnTo>
                    <a:lnTo>
                      <a:pt x="38" y="21"/>
                    </a:lnTo>
                    <a:lnTo>
                      <a:pt x="36" y="20"/>
                    </a:lnTo>
                    <a:lnTo>
                      <a:pt x="36" y="21"/>
                    </a:lnTo>
                    <a:lnTo>
                      <a:pt x="34" y="22"/>
                    </a:lnTo>
                    <a:lnTo>
                      <a:pt x="33" y="22"/>
                    </a:lnTo>
                    <a:lnTo>
                      <a:pt x="32" y="24"/>
                    </a:lnTo>
                    <a:lnTo>
                      <a:pt x="27" y="25"/>
                    </a:lnTo>
                    <a:lnTo>
                      <a:pt x="24" y="18"/>
                    </a:lnTo>
                    <a:lnTo>
                      <a:pt x="23" y="18"/>
                    </a:lnTo>
                    <a:lnTo>
                      <a:pt x="22" y="18"/>
                    </a:lnTo>
                    <a:lnTo>
                      <a:pt x="23" y="21"/>
                    </a:lnTo>
                    <a:lnTo>
                      <a:pt x="20" y="23"/>
                    </a:lnTo>
                    <a:lnTo>
                      <a:pt x="19" y="21"/>
                    </a:lnTo>
                    <a:lnTo>
                      <a:pt x="19" y="19"/>
                    </a:lnTo>
                    <a:lnTo>
                      <a:pt x="17" y="18"/>
                    </a:lnTo>
                    <a:lnTo>
                      <a:pt x="15" y="19"/>
                    </a:lnTo>
                    <a:lnTo>
                      <a:pt x="13" y="23"/>
                    </a:lnTo>
                    <a:lnTo>
                      <a:pt x="16" y="26"/>
                    </a:lnTo>
                    <a:lnTo>
                      <a:pt x="17" y="25"/>
                    </a:lnTo>
                    <a:lnTo>
                      <a:pt x="19" y="28"/>
                    </a:lnTo>
                    <a:lnTo>
                      <a:pt x="20" y="28"/>
                    </a:lnTo>
                    <a:lnTo>
                      <a:pt x="18" y="29"/>
                    </a:lnTo>
                    <a:lnTo>
                      <a:pt x="17" y="27"/>
                    </a:lnTo>
                    <a:lnTo>
                      <a:pt x="16" y="28"/>
                    </a:lnTo>
                    <a:lnTo>
                      <a:pt x="14" y="28"/>
                    </a:lnTo>
                    <a:lnTo>
                      <a:pt x="14" y="29"/>
                    </a:lnTo>
                    <a:lnTo>
                      <a:pt x="14" y="32"/>
                    </a:lnTo>
                    <a:lnTo>
                      <a:pt x="15" y="34"/>
                    </a:lnTo>
                    <a:lnTo>
                      <a:pt x="14" y="40"/>
                    </a:lnTo>
                    <a:lnTo>
                      <a:pt x="12" y="39"/>
                    </a:lnTo>
                    <a:lnTo>
                      <a:pt x="10" y="40"/>
                    </a:lnTo>
                    <a:lnTo>
                      <a:pt x="9" y="39"/>
                    </a:lnTo>
                    <a:lnTo>
                      <a:pt x="9" y="40"/>
                    </a:lnTo>
                    <a:lnTo>
                      <a:pt x="8" y="40"/>
                    </a:lnTo>
                    <a:lnTo>
                      <a:pt x="6" y="39"/>
                    </a:lnTo>
                    <a:lnTo>
                      <a:pt x="6" y="40"/>
                    </a:lnTo>
                    <a:lnTo>
                      <a:pt x="4" y="41"/>
                    </a:lnTo>
                    <a:lnTo>
                      <a:pt x="4" y="42"/>
                    </a:lnTo>
                    <a:lnTo>
                      <a:pt x="6" y="43"/>
                    </a:lnTo>
                    <a:lnTo>
                      <a:pt x="10" y="44"/>
                    </a:lnTo>
                    <a:lnTo>
                      <a:pt x="9" y="45"/>
                    </a:lnTo>
                    <a:lnTo>
                      <a:pt x="11" y="44"/>
                    </a:lnTo>
                    <a:lnTo>
                      <a:pt x="11" y="46"/>
                    </a:lnTo>
                    <a:lnTo>
                      <a:pt x="11" y="47"/>
                    </a:lnTo>
                    <a:lnTo>
                      <a:pt x="10" y="46"/>
                    </a:lnTo>
                    <a:lnTo>
                      <a:pt x="9" y="47"/>
                    </a:lnTo>
                    <a:lnTo>
                      <a:pt x="8" y="46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6" y="46"/>
                    </a:lnTo>
                    <a:lnTo>
                      <a:pt x="5" y="45"/>
                    </a:lnTo>
                    <a:lnTo>
                      <a:pt x="2" y="47"/>
                    </a:lnTo>
                    <a:lnTo>
                      <a:pt x="0" y="48"/>
                    </a:lnTo>
                    <a:lnTo>
                      <a:pt x="2" y="49"/>
                    </a:lnTo>
                    <a:lnTo>
                      <a:pt x="2" y="51"/>
                    </a:lnTo>
                    <a:lnTo>
                      <a:pt x="2" y="53"/>
                    </a:lnTo>
                    <a:lnTo>
                      <a:pt x="4" y="55"/>
                    </a:lnTo>
                    <a:lnTo>
                      <a:pt x="5" y="55"/>
                    </a:lnTo>
                    <a:lnTo>
                      <a:pt x="5" y="57"/>
                    </a:lnTo>
                    <a:lnTo>
                      <a:pt x="7" y="58"/>
                    </a:lnTo>
                    <a:lnTo>
                      <a:pt x="9" y="59"/>
                    </a:lnTo>
                    <a:lnTo>
                      <a:pt x="9" y="60"/>
                    </a:lnTo>
                    <a:lnTo>
                      <a:pt x="11" y="58"/>
                    </a:lnTo>
                    <a:lnTo>
                      <a:pt x="14" y="59"/>
                    </a:lnTo>
                    <a:lnTo>
                      <a:pt x="14" y="60"/>
                    </a:lnTo>
                    <a:lnTo>
                      <a:pt x="13" y="59"/>
                    </a:lnTo>
                    <a:lnTo>
                      <a:pt x="14" y="61"/>
                    </a:lnTo>
                    <a:lnTo>
                      <a:pt x="16" y="61"/>
                    </a:lnTo>
                    <a:lnTo>
                      <a:pt x="17" y="62"/>
                    </a:lnTo>
                    <a:lnTo>
                      <a:pt x="16" y="63"/>
                    </a:lnTo>
                    <a:lnTo>
                      <a:pt x="14" y="63"/>
                    </a:lnTo>
                    <a:lnTo>
                      <a:pt x="15" y="65"/>
                    </a:lnTo>
                    <a:lnTo>
                      <a:pt x="16" y="65"/>
                    </a:lnTo>
                    <a:lnTo>
                      <a:pt x="17" y="65"/>
                    </a:lnTo>
                    <a:lnTo>
                      <a:pt x="17" y="66"/>
                    </a:lnTo>
                    <a:lnTo>
                      <a:pt x="18" y="65"/>
                    </a:lnTo>
                    <a:lnTo>
                      <a:pt x="19" y="66"/>
                    </a:lnTo>
                    <a:lnTo>
                      <a:pt x="20" y="67"/>
                    </a:lnTo>
                    <a:lnTo>
                      <a:pt x="24" y="65"/>
                    </a:lnTo>
                    <a:lnTo>
                      <a:pt x="24" y="66"/>
                    </a:lnTo>
                    <a:lnTo>
                      <a:pt x="24" y="67"/>
                    </a:lnTo>
                    <a:lnTo>
                      <a:pt x="25" y="68"/>
                    </a:lnTo>
                    <a:lnTo>
                      <a:pt x="24" y="69"/>
                    </a:lnTo>
                    <a:lnTo>
                      <a:pt x="24" y="71"/>
                    </a:lnTo>
                    <a:lnTo>
                      <a:pt x="25" y="71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7" y="70"/>
                    </a:lnTo>
                    <a:lnTo>
                      <a:pt x="28" y="70"/>
                    </a:lnTo>
                    <a:lnTo>
                      <a:pt x="27" y="72"/>
                    </a:lnTo>
                    <a:lnTo>
                      <a:pt x="27" y="74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7" y="80"/>
                    </a:lnTo>
                    <a:lnTo>
                      <a:pt x="34" y="87"/>
                    </a:lnTo>
                    <a:lnTo>
                      <a:pt x="35" y="86"/>
                    </a:lnTo>
                    <a:lnTo>
                      <a:pt x="36" y="86"/>
                    </a:lnTo>
                    <a:lnTo>
                      <a:pt x="36" y="88"/>
                    </a:lnTo>
                    <a:lnTo>
                      <a:pt x="37" y="87"/>
                    </a:lnTo>
                    <a:lnTo>
                      <a:pt x="38" y="88"/>
                    </a:lnTo>
                    <a:lnTo>
                      <a:pt x="38" y="89"/>
                    </a:lnTo>
                    <a:lnTo>
                      <a:pt x="38" y="90"/>
                    </a:lnTo>
                    <a:lnTo>
                      <a:pt x="39" y="91"/>
                    </a:lnTo>
                    <a:lnTo>
                      <a:pt x="40" y="89"/>
                    </a:lnTo>
                    <a:lnTo>
                      <a:pt x="41" y="92"/>
                    </a:lnTo>
                    <a:lnTo>
                      <a:pt x="40" y="94"/>
                    </a:lnTo>
                    <a:lnTo>
                      <a:pt x="41" y="95"/>
                    </a:lnTo>
                    <a:lnTo>
                      <a:pt x="40" y="96"/>
                    </a:lnTo>
                    <a:lnTo>
                      <a:pt x="41" y="98"/>
                    </a:lnTo>
                    <a:lnTo>
                      <a:pt x="40" y="97"/>
                    </a:lnTo>
                    <a:lnTo>
                      <a:pt x="38" y="98"/>
                    </a:lnTo>
                    <a:lnTo>
                      <a:pt x="36" y="100"/>
                    </a:lnTo>
                    <a:lnTo>
                      <a:pt x="39" y="105"/>
                    </a:lnTo>
                    <a:lnTo>
                      <a:pt x="40" y="106"/>
                    </a:lnTo>
                    <a:lnTo>
                      <a:pt x="40" y="108"/>
                    </a:lnTo>
                    <a:lnTo>
                      <a:pt x="40" y="109"/>
                    </a:lnTo>
                    <a:lnTo>
                      <a:pt x="39" y="110"/>
                    </a:lnTo>
                    <a:lnTo>
                      <a:pt x="38" y="109"/>
                    </a:lnTo>
                    <a:lnTo>
                      <a:pt x="38" y="112"/>
                    </a:lnTo>
                    <a:lnTo>
                      <a:pt x="37" y="112"/>
                    </a:lnTo>
                    <a:lnTo>
                      <a:pt x="36" y="113"/>
                    </a:lnTo>
                    <a:lnTo>
                      <a:pt x="36" y="114"/>
                    </a:lnTo>
                    <a:lnTo>
                      <a:pt x="33" y="117"/>
                    </a:lnTo>
                    <a:lnTo>
                      <a:pt x="35" y="119"/>
                    </a:lnTo>
                    <a:lnTo>
                      <a:pt x="33" y="119"/>
                    </a:lnTo>
                    <a:lnTo>
                      <a:pt x="30" y="120"/>
                    </a:lnTo>
                    <a:lnTo>
                      <a:pt x="29" y="120"/>
                    </a:lnTo>
                    <a:lnTo>
                      <a:pt x="29" y="122"/>
                    </a:lnTo>
                    <a:lnTo>
                      <a:pt x="28" y="123"/>
                    </a:lnTo>
                    <a:lnTo>
                      <a:pt x="30" y="124"/>
                    </a:lnTo>
                    <a:lnTo>
                      <a:pt x="30" y="127"/>
                    </a:lnTo>
                    <a:lnTo>
                      <a:pt x="29" y="129"/>
                    </a:lnTo>
                    <a:lnTo>
                      <a:pt x="30" y="129"/>
                    </a:lnTo>
                    <a:lnTo>
                      <a:pt x="29" y="132"/>
                    </a:lnTo>
                    <a:lnTo>
                      <a:pt x="28" y="132"/>
                    </a:lnTo>
                    <a:lnTo>
                      <a:pt x="28" y="130"/>
                    </a:lnTo>
                    <a:lnTo>
                      <a:pt x="27" y="133"/>
                    </a:lnTo>
                    <a:lnTo>
                      <a:pt x="28" y="134"/>
                    </a:lnTo>
                    <a:lnTo>
                      <a:pt x="28" y="136"/>
                    </a:lnTo>
                    <a:lnTo>
                      <a:pt x="27" y="136"/>
                    </a:lnTo>
                    <a:lnTo>
                      <a:pt x="30" y="140"/>
                    </a:lnTo>
                    <a:lnTo>
                      <a:pt x="32" y="142"/>
                    </a:lnTo>
                    <a:lnTo>
                      <a:pt x="33" y="143"/>
                    </a:lnTo>
                    <a:lnTo>
                      <a:pt x="35" y="146"/>
                    </a:lnTo>
                    <a:lnTo>
                      <a:pt x="36" y="147"/>
                    </a:lnTo>
                    <a:lnTo>
                      <a:pt x="38" y="147"/>
                    </a:lnTo>
                    <a:lnTo>
                      <a:pt x="41" y="152"/>
                    </a:lnTo>
                    <a:lnTo>
                      <a:pt x="43" y="152"/>
                    </a:lnTo>
                    <a:lnTo>
                      <a:pt x="43" y="153"/>
                    </a:lnTo>
                    <a:lnTo>
                      <a:pt x="44" y="155"/>
                    </a:lnTo>
                    <a:lnTo>
                      <a:pt x="47" y="155"/>
                    </a:lnTo>
                    <a:lnTo>
                      <a:pt x="46" y="157"/>
                    </a:lnTo>
                    <a:lnTo>
                      <a:pt x="47" y="159"/>
                    </a:lnTo>
                    <a:lnTo>
                      <a:pt x="49" y="159"/>
                    </a:lnTo>
                    <a:lnTo>
                      <a:pt x="49" y="160"/>
                    </a:lnTo>
                    <a:lnTo>
                      <a:pt x="50" y="160"/>
                    </a:lnTo>
                    <a:lnTo>
                      <a:pt x="49" y="160"/>
                    </a:lnTo>
                    <a:lnTo>
                      <a:pt x="50" y="163"/>
                    </a:lnTo>
                    <a:lnTo>
                      <a:pt x="49" y="164"/>
                    </a:lnTo>
                    <a:lnTo>
                      <a:pt x="49" y="165"/>
                    </a:lnTo>
                    <a:lnTo>
                      <a:pt x="50" y="163"/>
                    </a:lnTo>
                    <a:lnTo>
                      <a:pt x="50" y="164"/>
                    </a:lnTo>
                    <a:lnTo>
                      <a:pt x="52" y="163"/>
                    </a:lnTo>
                    <a:lnTo>
                      <a:pt x="52" y="164"/>
                    </a:lnTo>
                    <a:lnTo>
                      <a:pt x="53" y="164"/>
                    </a:lnTo>
                    <a:lnTo>
                      <a:pt x="55" y="164"/>
                    </a:lnTo>
                    <a:lnTo>
                      <a:pt x="57" y="164"/>
                    </a:lnTo>
                    <a:lnTo>
                      <a:pt x="57" y="165"/>
                    </a:lnTo>
                    <a:lnTo>
                      <a:pt x="58" y="165"/>
                    </a:lnTo>
                    <a:lnTo>
                      <a:pt x="58" y="164"/>
                    </a:lnTo>
                    <a:lnTo>
                      <a:pt x="60" y="164"/>
                    </a:lnTo>
                    <a:lnTo>
                      <a:pt x="60" y="163"/>
                    </a:lnTo>
                    <a:lnTo>
                      <a:pt x="63" y="163"/>
                    </a:lnTo>
                    <a:lnTo>
                      <a:pt x="62" y="164"/>
                    </a:lnTo>
                    <a:lnTo>
                      <a:pt x="63" y="168"/>
                    </a:lnTo>
                    <a:lnTo>
                      <a:pt x="64" y="167"/>
                    </a:lnTo>
                    <a:lnTo>
                      <a:pt x="65" y="168"/>
                    </a:lnTo>
                    <a:lnTo>
                      <a:pt x="67" y="168"/>
                    </a:lnTo>
                    <a:lnTo>
                      <a:pt x="68" y="164"/>
                    </a:lnTo>
                    <a:lnTo>
                      <a:pt x="69" y="163"/>
                    </a:lnTo>
                    <a:lnTo>
                      <a:pt x="70" y="166"/>
                    </a:lnTo>
                    <a:lnTo>
                      <a:pt x="71" y="166"/>
                    </a:lnTo>
                    <a:lnTo>
                      <a:pt x="72" y="166"/>
                    </a:lnTo>
                    <a:lnTo>
                      <a:pt x="72" y="167"/>
                    </a:lnTo>
                    <a:lnTo>
                      <a:pt x="75" y="167"/>
                    </a:lnTo>
                    <a:lnTo>
                      <a:pt x="76" y="169"/>
                    </a:lnTo>
                    <a:lnTo>
                      <a:pt x="74" y="169"/>
                    </a:lnTo>
                    <a:lnTo>
                      <a:pt x="74" y="170"/>
                    </a:lnTo>
                    <a:lnTo>
                      <a:pt x="76" y="172"/>
                    </a:lnTo>
                    <a:lnTo>
                      <a:pt x="77" y="170"/>
                    </a:lnTo>
                    <a:lnTo>
                      <a:pt x="77" y="172"/>
                    </a:lnTo>
                    <a:lnTo>
                      <a:pt x="79" y="173"/>
                    </a:lnTo>
                    <a:lnTo>
                      <a:pt x="81" y="171"/>
                    </a:lnTo>
                    <a:lnTo>
                      <a:pt x="81" y="172"/>
                    </a:lnTo>
                    <a:lnTo>
                      <a:pt x="82" y="173"/>
                    </a:lnTo>
                    <a:lnTo>
                      <a:pt x="82" y="176"/>
                    </a:lnTo>
                    <a:lnTo>
                      <a:pt x="83" y="176"/>
                    </a:lnTo>
                    <a:lnTo>
                      <a:pt x="84" y="176"/>
                    </a:lnTo>
                    <a:lnTo>
                      <a:pt x="83" y="177"/>
                    </a:lnTo>
                    <a:lnTo>
                      <a:pt x="82" y="177"/>
                    </a:lnTo>
                    <a:lnTo>
                      <a:pt x="83" y="178"/>
                    </a:lnTo>
                    <a:lnTo>
                      <a:pt x="84" y="178"/>
                    </a:lnTo>
                    <a:lnTo>
                      <a:pt x="84" y="179"/>
                    </a:lnTo>
                    <a:lnTo>
                      <a:pt x="85" y="178"/>
                    </a:lnTo>
                    <a:lnTo>
                      <a:pt x="85" y="179"/>
                    </a:lnTo>
                    <a:lnTo>
                      <a:pt x="86" y="181"/>
                    </a:lnTo>
                    <a:lnTo>
                      <a:pt x="85" y="181"/>
                    </a:lnTo>
                    <a:lnTo>
                      <a:pt x="89" y="184"/>
                    </a:lnTo>
                    <a:lnTo>
                      <a:pt x="89" y="183"/>
                    </a:lnTo>
                    <a:lnTo>
                      <a:pt x="93" y="183"/>
                    </a:lnTo>
                    <a:lnTo>
                      <a:pt x="94" y="185"/>
                    </a:lnTo>
                    <a:lnTo>
                      <a:pt x="96" y="185"/>
                    </a:lnTo>
                    <a:lnTo>
                      <a:pt x="98" y="186"/>
                    </a:lnTo>
                    <a:lnTo>
                      <a:pt x="98" y="185"/>
                    </a:lnTo>
                    <a:lnTo>
                      <a:pt x="100" y="185"/>
                    </a:lnTo>
                    <a:lnTo>
                      <a:pt x="99" y="187"/>
                    </a:lnTo>
                    <a:lnTo>
                      <a:pt x="97" y="192"/>
                    </a:lnTo>
                    <a:lnTo>
                      <a:pt x="97" y="195"/>
                    </a:lnTo>
                    <a:lnTo>
                      <a:pt x="97" y="197"/>
                    </a:lnTo>
                    <a:lnTo>
                      <a:pt x="99" y="197"/>
                    </a:lnTo>
                    <a:lnTo>
                      <a:pt x="101" y="195"/>
                    </a:lnTo>
                    <a:lnTo>
                      <a:pt x="101" y="196"/>
                    </a:lnTo>
                    <a:lnTo>
                      <a:pt x="101" y="195"/>
                    </a:lnTo>
                    <a:lnTo>
                      <a:pt x="102" y="194"/>
                    </a:lnTo>
                    <a:lnTo>
                      <a:pt x="104" y="197"/>
                    </a:lnTo>
                    <a:lnTo>
                      <a:pt x="105" y="196"/>
                    </a:lnTo>
                    <a:lnTo>
                      <a:pt x="106" y="197"/>
                    </a:lnTo>
                    <a:lnTo>
                      <a:pt x="108" y="199"/>
                    </a:lnTo>
                    <a:lnTo>
                      <a:pt x="109" y="199"/>
                    </a:lnTo>
                    <a:lnTo>
                      <a:pt x="111" y="204"/>
                    </a:lnTo>
                    <a:lnTo>
                      <a:pt x="115" y="206"/>
                    </a:lnTo>
                    <a:lnTo>
                      <a:pt x="116" y="208"/>
                    </a:lnTo>
                    <a:lnTo>
                      <a:pt x="118" y="206"/>
                    </a:lnTo>
                    <a:lnTo>
                      <a:pt x="120" y="205"/>
                    </a:lnTo>
                    <a:lnTo>
                      <a:pt x="120" y="210"/>
                    </a:lnTo>
                    <a:lnTo>
                      <a:pt x="118" y="211"/>
                    </a:lnTo>
                    <a:lnTo>
                      <a:pt x="115" y="216"/>
                    </a:lnTo>
                    <a:lnTo>
                      <a:pt x="117" y="219"/>
                    </a:lnTo>
                    <a:lnTo>
                      <a:pt x="116" y="220"/>
                    </a:lnTo>
                    <a:lnTo>
                      <a:pt x="120" y="224"/>
                    </a:lnTo>
                    <a:lnTo>
                      <a:pt x="123" y="224"/>
                    </a:lnTo>
                    <a:lnTo>
                      <a:pt x="126" y="227"/>
                    </a:lnTo>
                    <a:lnTo>
                      <a:pt x="128" y="228"/>
                    </a:lnTo>
                    <a:lnTo>
                      <a:pt x="128" y="229"/>
                    </a:lnTo>
                    <a:lnTo>
                      <a:pt x="129" y="229"/>
                    </a:lnTo>
                    <a:lnTo>
                      <a:pt x="132" y="234"/>
                    </a:lnTo>
                    <a:lnTo>
                      <a:pt x="133" y="234"/>
                    </a:lnTo>
                    <a:lnTo>
                      <a:pt x="134" y="233"/>
                    </a:lnTo>
                    <a:lnTo>
                      <a:pt x="136" y="233"/>
                    </a:lnTo>
                    <a:lnTo>
                      <a:pt x="138" y="234"/>
                    </a:lnTo>
                    <a:lnTo>
                      <a:pt x="140" y="234"/>
                    </a:lnTo>
                    <a:lnTo>
                      <a:pt x="143" y="233"/>
                    </a:lnTo>
                    <a:lnTo>
                      <a:pt x="142" y="227"/>
                    </a:lnTo>
                    <a:lnTo>
                      <a:pt x="146" y="229"/>
                    </a:lnTo>
                    <a:lnTo>
                      <a:pt x="147" y="228"/>
                    </a:lnTo>
                    <a:lnTo>
                      <a:pt x="148" y="228"/>
                    </a:lnTo>
                    <a:lnTo>
                      <a:pt x="147" y="224"/>
                    </a:lnTo>
                    <a:lnTo>
                      <a:pt x="148" y="220"/>
                    </a:lnTo>
                    <a:lnTo>
                      <a:pt x="155" y="215"/>
                    </a:lnTo>
                    <a:lnTo>
                      <a:pt x="156" y="212"/>
                    </a:lnTo>
                    <a:lnTo>
                      <a:pt x="158" y="212"/>
                    </a:lnTo>
                    <a:lnTo>
                      <a:pt x="158" y="214"/>
                    </a:lnTo>
                    <a:lnTo>
                      <a:pt x="159" y="213"/>
                    </a:lnTo>
                    <a:lnTo>
                      <a:pt x="159" y="214"/>
                    </a:lnTo>
                    <a:lnTo>
                      <a:pt x="158" y="215"/>
                    </a:lnTo>
                    <a:lnTo>
                      <a:pt x="159" y="217"/>
                    </a:lnTo>
                    <a:lnTo>
                      <a:pt x="158" y="217"/>
                    </a:lnTo>
                    <a:lnTo>
                      <a:pt x="158" y="219"/>
                    </a:lnTo>
                    <a:lnTo>
                      <a:pt x="161" y="223"/>
                    </a:lnTo>
                    <a:lnTo>
                      <a:pt x="163" y="223"/>
                    </a:lnTo>
                    <a:lnTo>
                      <a:pt x="165" y="223"/>
                    </a:lnTo>
                    <a:lnTo>
                      <a:pt x="166" y="224"/>
                    </a:lnTo>
                    <a:lnTo>
                      <a:pt x="168" y="226"/>
                    </a:lnTo>
                    <a:lnTo>
                      <a:pt x="169" y="227"/>
                    </a:lnTo>
                    <a:lnTo>
                      <a:pt x="170" y="224"/>
                    </a:lnTo>
                    <a:lnTo>
                      <a:pt x="171" y="225"/>
                    </a:lnTo>
                    <a:lnTo>
                      <a:pt x="172" y="225"/>
                    </a:lnTo>
                    <a:lnTo>
                      <a:pt x="174" y="227"/>
                    </a:lnTo>
                    <a:lnTo>
                      <a:pt x="175" y="227"/>
                    </a:lnTo>
                    <a:lnTo>
                      <a:pt x="176" y="229"/>
                    </a:lnTo>
                    <a:lnTo>
                      <a:pt x="177" y="230"/>
                    </a:lnTo>
                    <a:lnTo>
                      <a:pt x="177" y="231"/>
                    </a:lnTo>
                    <a:lnTo>
                      <a:pt x="179" y="233"/>
                    </a:lnTo>
                    <a:lnTo>
                      <a:pt x="180" y="239"/>
                    </a:lnTo>
                    <a:lnTo>
                      <a:pt x="182" y="241"/>
                    </a:lnTo>
                    <a:lnTo>
                      <a:pt x="183" y="240"/>
                    </a:lnTo>
                    <a:lnTo>
                      <a:pt x="185" y="240"/>
                    </a:lnTo>
                    <a:lnTo>
                      <a:pt x="189" y="241"/>
                    </a:lnTo>
                    <a:lnTo>
                      <a:pt x="192" y="239"/>
                    </a:lnTo>
                    <a:lnTo>
                      <a:pt x="194" y="241"/>
                    </a:lnTo>
                    <a:lnTo>
                      <a:pt x="195" y="244"/>
                    </a:lnTo>
                    <a:lnTo>
                      <a:pt x="194" y="245"/>
                    </a:lnTo>
                    <a:lnTo>
                      <a:pt x="195" y="246"/>
                    </a:lnTo>
                    <a:lnTo>
                      <a:pt x="197" y="244"/>
                    </a:lnTo>
                    <a:lnTo>
                      <a:pt x="200" y="244"/>
                    </a:lnTo>
                    <a:lnTo>
                      <a:pt x="201" y="246"/>
                    </a:lnTo>
                    <a:lnTo>
                      <a:pt x="203" y="249"/>
                    </a:lnTo>
                    <a:lnTo>
                      <a:pt x="205" y="249"/>
                    </a:lnTo>
                    <a:lnTo>
                      <a:pt x="205" y="247"/>
                    </a:lnTo>
                    <a:lnTo>
                      <a:pt x="207" y="247"/>
                    </a:lnTo>
                    <a:lnTo>
                      <a:pt x="207" y="250"/>
                    </a:lnTo>
                    <a:lnTo>
                      <a:pt x="209" y="251"/>
                    </a:lnTo>
                    <a:lnTo>
                      <a:pt x="209" y="253"/>
                    </a:lnTo>
                    <a:lnTo>
                      <a:pt x="211" y="253"/>
                    </a:lnTo>
                    <a:lnTo>
                      <a:pt x="211" y="254"/>
                    </a:lnTo>
                    <a:lnTo>
                      <a:pt x="212" y="253"/>
                    </a:lnTo>
                    <a:lnTo>
                      <a:pt x="215" y="255"/>
                    </a:lnTo>
                    <a:lnTo>
                      <a:pt x="218" y="256"/>
                    </a:lnTo>
                    <a:lnTo>
                      <a:pt x="219" y="258"/>
                    </a:lnTo>
                    <a:lnTo>
                      <a:pt x="222" y="264"/>
                    </a:lnTo>
                    <a:lnTo>
                      <a:pt x="224" y="267"/>
                    </a:lnTo>
                    <a:lnTo>
                      <a:pt x="226" y="268"/>
                    </a:lnTo>
                    <a:lnTo>
                      <a:pt x="224" y="272"/>
                    </a:lnTo>
                    <a:lnTo>
                      <a:pt x="227" y="274"/>
                    </a:lnTo>
                    <a:lnTo>
                      <a:pt x="228" y="275"/>
                    </a:lnTo>
                    <a:lnTo>
                      <a:pt x="229" y="278"/>
                    </a:lnTo>
                    <a:lnTo>
                      <a:pt x="231" y="278"/>
                    </a:lnTo>
                    <a:lnTo>
                      <a:pt x="232" y="278"/>
                    </a:lnTo>
                    <a:lnTo>
                      <a:pt x="233" y="276"/>
                    </a:lnTo>
                    <a:lnTo>
                      <a:pt x="236" y="279"/>
                    </a:lnTo>
                    <a:lnTo>
                      <a:pt x="237" y="278"/>
                    </a:lnTo>
                    <a:lnTo>
                      <a:pt x="240" y="281"/>
                    </a:lnTo>
                    <a:lnTo>
                      <a:pt x="243" y="281"/>
                    </a:lnTo>
                    <a:lnTo>
                      <a:pt x="245" y="283"/>
                    </a:lnTo>
                    <a:lnTo>
                      <a:pt x="246" y="285"/>
                    </a:lnTo>
                    <a:lnTo>
                      <a:pt x="248" y="289"/>
                    </a:lnTo>
                    <a:lnTo>
                      <a:pt x="250" y="289"/>
                    </a:lnTo>
                    <a:lnTo>
                      <a:pt x="252" y="291"/>
                    </a:lnTo>
                    <a:lnTo>
                      <a:pt x="252" y="293"/>
                    </a:lnTo>
                    <a:lnTo>
                      <a:pt x="255" y="299"/>
                    </a:lnTo>
                    <a:lnTo>
                      <a:pt x="256" y="300"/>
                    </a:lnTo>
                    <a:lnTo>
                      <a:pt x="257" y="302"/>
                    </a:lnTo>
                    <a:lnTo>
                      <a:pt x="259" y="304"/>
                    </a:lnTo>
                    <a:lnTo>
                      <a:pt x="259" y="301"/>
                    </a:lnTo>
                    <a:lnTo>
                      <a:pt x="263" y="298"/>
                    </a:lnTo>
                    <a:lnTo>
                      <a:pt x="262" y="295"/>
                    </a:lnTo>
                    <a:lnTo>
                      <a:pt x="263" y="293"/>
                    </a:lnTo>
                    <a:lnTo>
                      <a:pt x="265" y="294"/>
                    </a:lnTo>
                    <a:lnTo>
                      <a:pt x="267" y="294"/>
                    </a:lnTo>
                    <a:lnTo>
                      <a:pt x="268" y="292"/>
                    </a:lnTo>
                    <a:lnTo>
                      <a:pt x="269" y="293"/>
                    </a:lnTo>
                    <a:lnTo>
                      <a:pt x="270" y="293"/>
                    </a:lnTo>
                    <a:lnTo>
                      <a:pt x="272" y="294"/>
                    </a:lnTo>
                    <a:lnTo>
                      <a:pt x="270" y="298"/>
                    </a:lnTo>
                    <a:lnTo>
                      <a:pt x="272" y="298"/>
                    </a:lnTo>
                    <a:lnTo>
                      <a:pt x="273" y="297"/>
                    </a:lnTo>
                    <a:lnTo>
                      <a:pt x="274" y="297"/>
                    </a:lnTo>
                    <a:lnTo>
                      <a:pt x="275" y="297"/>
                    </a:lnTo>
                    <a:lnTo>
                      <a:pt x="278" y="297"/>
                    </a:lnTo>
                    <a:lnTo>
                      <a:pt x="282" y="294"/>
                    </a:lnTo>
                    <a:lnTo>
                      <a:pt x="284" y="294"/>
                    </a:lnTo>
                    <a:lnTo>
                      <a:pt x="286" y="298"/>
                    </a:lnTo>
                    <a:lnTo>
                      <a:pt x="288" y="298"/>
                    </a:lnTo>
                    <a:lnTo>
                      <a:pt x="290" y="299"/>
                    </a:lnTo>
                    <a:lnTo>
                      <a:pt x="290" y="298"/>
                    </a:lnTo>
                    <a:lnTo>
                      <a:pt x="295" y="299"/>
                    </a:lnTo>
                    <a:lnTo>
                      <a:pt x="296" y="298"/>
                    </a:lnTo>
                    <a:lnTo>
                      <a:pt x="296" y="300"/>
                    </a:lnTo>
                    <a:lnTo>
                      <a:pt x="297" y="299"/>
                    </a:lnTo>
                    <a:lnTo>
                      <a:pt x="297" y="298"/>
                    </a:lnTo>
                    <a:lnTo>
                      <a:pt x="296" y="295"/>
                    </a:lnTo>
                    <a:lnTo>
                      <a:pt x="298" y="293"/>
                    </a:lnTo>
                    <a:lnTo>
                      <a:pt x="298" y="292"/>
                    </a:lnTo>
                    <a:lnTo>
                      <a:pt x="299" y="291"/>
                    </a:lnTo>
                    <a:lnTo>
                      <a:pt x="299" y="289"/>
                    </a:lnTo>
                    <a:lnTo>
                      <a:pt x="299" y="286"/>
                    </a:lnTo>
                    <a:lnTo>
                      <a:pt x="301" y="284"/>
                    </a:lnTo>
                    <a:lnTo>
                      <a:pt x="301" y="283"/>
                    </a:lnTo>
                    <a:lnTo>
                      <a:pt x="302" y="282"/>
                    </a:lnTo>
                    <a:lnTo>
                      <a:pt x="304" y="282"/>
                    </a:lnTo>
                    <a:lnTo>
                      <a:pt x="305" y="284"/>
                    </a:lnTo>
                    <a:lnTo>
                      <a:pt x="306" y="284"/>
                    </a:lnTo>
                    <a:lnTo>
                      <a:pt x="308" y="282"/>
                    </a:lnTo>
                    <a:lnTo>
                      <a:pt x="308" y="284"/>
                    </a:lnTo>
                    <a:lnTo>
                      <a:pt x="310" y="286"/>
                    </a:lnTo>
                    <a:lnTo>
                      <a:pt x="312" y="285"/>
                    </a:lnTo>
                    <a:lnTo>
                      <a:pt x="314" y="286"/>
                    </a:lnTo>
                    <a:lnTo>
                      <a:pt x="315" y="287"/>
                    </a:lnTo>
                    <a:lnTo>
                      <a:pt x="318" y="287"/>
                    </a:lnTo>
                    <a:lnTo>
                      <a:pt x="318" y="286"/>
                    </a:lnTo>
                    <a:lnTo>
                      <a:pt x="319" y="286"/>
                    </a:lnTo>
                    <a:lnTo>
                      <a:pt x="319" y="285"/>
                    </a:lnTo>
                    <a:lnTo>
                      <a:pt x="319" y="283"/>
                    </a:lnTo>
                    <a:lnTo>
                      <a:pt x="320" y="283"/>
                    </a:lnTo>
                    <a:lnTo>
                      <a:pt x="324" y="285"/>
                    </a:lnTo>
                    <a:lnTo>
                      <a:pt x="328" y="290"/>
                    </a:lnTo>
                    <a:lnTo>
                      <a:pt x="331" y="287"/>
                    </a:lnTo>
                    <a:lnTo>
                      <a:pt x="333" y="289"/>
                    </a:lnTo>
                    <a:lnTo>
                      <a:pt x="333" y="287"/>
                    </a:lnTo>
                    <a:lnTo>
                      <a:pt x="332" y="287"/>
                    </a:lnTo>
                    <a:lnTo>
                      <a:pt x="332" y="286"/>
                    </a:lnTo>
                    <a:lnTo>
                      <a:pt x="336" y="289"/>
                    </a:lnTo>
                    <a:lnTo>
                      <a:pt x="337" y="289"/>
                    </a:lnTo>
                    <a:lnTo>
                      <a:pt x="339" y="289"/>
                    </a:lnTo>
                    <a:lnTo>
                      <a:pt x="341" y="288"/>
                    </a:lnTo>
                    <a:lnTo>
                      <a:pt x="340" y="289"/>
                    </a:lnTo>
                    <a:lnTo>
                      <a:pt x="345" y="291"/>
                    </a:lnTo>
                    <a:lnTo>
                      <a:pt x="346" y="294"/>
                    </a:lnTo>
                    <a:lnTo>
                      <a:pt x="347" y="294"/>
                    </a:lnTo>
                    <a:lnTo>
                      <a:pt x="348" y="294"/>
                    </a:lnTo>
                    <a:lnTo>
                      <a:pt x="355" y="299"/>
                    </a:lnTo>
                    <a:lnTo>
                      <a:pt x="356" y="300"/>
                    </a:lnTo>
                    <a:lnTo>
                      <a:pt x="360" y="303"/>
                    </a:lnTo>
                    <a:lnTo>
                      <a:pt x="363" y="305"/>
                    </a:lnTo>
                    <a:lnTo>
                      <a:pt x="368" y="304"/>
                    </a:lnTo>
                    <a:lnTo>
                      <a:pt x="368" y="302"/>
                    </a:lnTo>
                    <a:lnTo>
                      <a:pt x="369" y="301"/>
                    </a:lnTo>
                    <a:lnTo>
                      <a:pt x="369" y="300"/>
                    </a:lnTo>
                    <a:lnTo>
                      <a:pt x="368" y="298"/>
                    </a:lnTo>
                    <a:lnTo>
                      <a:pt x="370" y="297"/>
                    </a:lnTo>
                    <a:lnTo>
                      <a:pt x="371" y="293"/>
                    </a:lnTo>
                    <a:lnTo>
                      <a:pt x="372" y="292"/>
                    </a:lnTo>
                    <a:lnTo>
                      <a:pt x="372" y="291"/>
                    </a:lnTo>
                    <a:lnTo>
                      <a:pt x="373" y="291"/>
                    </a:lnTo>
                    <a:lnTo>
                      <a:pt x="373" y="293"/>
                    </a:lnTo>
                    <a:lnTo>
                      <a:pt x="374" y="294"/>
                    </a:lnTo>
                    <a:lnTo>
                      <a:pt x="375" y="293"/>
                    </a:lnTo>
                    <a:lnTo>
                      <a:pt x="372" y="290"/>
                    </a:lnTo>
                    <a:lnTo>
                      <a:pt x="370" y="286"/>
                    </a:lnTo>
                    <a:lnTo>
                      <a:pt x="370" y="284"/>
                    </a:lnTo>
                    <a:lnTo>
                      <a:pt x="371" y="283"/>
                    </a:lnTo>
                    <a:lnTo>
                      <a:pt x="371" y="278"/>
                    </a:lnTo>
                    <a:lnTo>
                      <a:pt x="373" y="278"/>
                    </a:lnTo>
                    <a:lnTo>
                      <a:pt x="373" y="276"/>
                    </a:lnTo>
                    <a:lnTo>
                      <a:pt x="375" y="274"/>
                    </a:lnTo>
                    <a:lnTo>
                      <a:pt x="377" y="274"/>
                    </a:lnTo>
                    <a:lnTo>
                      <a:pt x="378" y="274"/>
                    </a:lnTo>
                    <a:lnTo>
                      <a:pt x="378" y="273"/>
                    </a:lnTo>
                    <a:lnTo>
                      <a:pt x="378" y="271"/>
                    </a:lnTo>
                    <a:lnTo>
                      <a:pt x="380" y="270"/>
                    </a:lnTo>
                    <a:lnTo>
                      <a:pt x="382" y="270"/>
                    </a:lnTo>
                    <a:lnTo>
                      <a:pt x="384" y="268"/>
                    </a:lnTo>
                    <a:lnTo>
                      <a:pt x="383" y="265"/>
                    </a:lnTo>
                    <a:lnTo>
                      <a:pt x="385" y="258"/>
                    </a:lnTo>
                    <a:lnTo>
                      <a:pt x="385" y="256"/>
                    </a:lnTo>
                    <a:lnTo>
                      <a:pt x="384" y="257"/>
                    </a:lnTo>
                    <a:lnTo>
                      <a:pt x="384" y="255"/>
                    </a:lnTo>
                    <a:lnTo>
                      <a:pt x="383" y="255"/>
                    </a:lnTo>
                    <a:lnTo>
                      <a:pt x="385" y="251"/>
                    </a:lnTo>
                    <a:lnTo>
                      <a:pt x="386" y="249"/>
                    </a:lnTo>
                    <a:lnTo>
                      <a:pt x="383" y="247"/>
                    </a:lnTo>
                    <a:lnTo>
                      <a:pt x="382" y="244"/>
                    </a:lnTo>
                    <a:lnTo>
                      <a:pt x="379" y="244"/>
                    </a:lnTo>
                    <a:lnTo>
                      <a:pt x="378" y="245"/>
                    </a:lnTo>
                    <a:lnTo>
                      <a:pt x="377" y="244"/>
                    </a:lnTo>
                    <a:lnTo>
                      <a:pt x="377" y="242"/>
                    </a:lnTo>
                    <a:lnTo>
                      <a:pt x="375" y="242"/>
                    </a:lnTo>
                    <a:lnTo>
                      <a:pt x="375" y="244"/>
                    </a:lnTo>
                    <a:lnTo>
                      <a:pt x="373" y="244"/>
                    </a:lnTo>
                    <a:lnTo>
                      <a:pt x="371" y="244"/>
                    </a:lnTo>
                    <a:lnTo>
                      <a:pt x="371" y="242"/>
                    </a:lnTo>
                    <a:lnTo>
                      <a:pt x="373" y="241"/>
                    </a:lnTo>
                    <a:lnTo>
                      <a:pt x="375" y="238"/>
                    </a:lnTo>
                    <a:lnTo>
                      <a:pt x="376" y="238"/>
                    </a:lnTo>
                    <a:lnTo>
                      <a:pt x="378" y="235"/>
                    </a:lnTo>
                    <a:lnTo>
                      <a:pt x="376" y="234"/>
                    </a:lnTo>
                    <a:lnTo>
                      <a:pt x="373" y="229"/>
                    </a:lnTo>
                    <a:lnTo>
                      <a:pt x="375" y="228"/>
                    </a:lnTo>
                    <a:lnTo>
                      <a:pt x="375" y="227"/>
                    </a:lnTo>
                    <a:lnTo>
                      <a:pt x="375" y="226"/>
                    </a:lnTo>
                    <a:lnTo>
                      <a:pt x="376" y="225"/>
                    </a:lnTo>
                    <a:lnTo>
                      <a:pt x="375" y="223"/>
                    </a:lnTo>
                    <a:lnTo>
                      <a:pt x="373" y="222"/>
                    </a:lnTo>
                    <a:lnTo>
                      <a:pt x="371" y="220"/>
                    </a:lnTo>
                    <a:lnTo>
                      <a:pt x="367" y="213"/>
                    </a:lnTo>
                    <a:lnTo>
                      <a:pt x="365" y="207"/>
                    </a:lnTo>
                    <a:lnTo>
                      <a:pt x="366" y="204"/>
                    </a:lnTo>
                    <a:lnTo>
                      <a:pt x="365" y="202"/>
                    </a:lnTo>
                    <a:lnTo>
                      <a:pt x="366" y="200"/>
                    </a:lnTo>
                    <a:lnTo>
                      <a:pt x="365" y="199"/>
                    </a:lnTo>
                    <a:lnTo>
                      <a:pt x="364" y="198"/>
                    </a:lnTo>
                    <a:lnTo>
                      <a:pt x="363" y="197"/>
                    </a:lnTo>
                    <a:lnTo>
                      <a:pt x="363" y="196"/>
                    </a:lnTo>
                    <a:lnTo>
                      <a:pt x="361" y="195"/>
                    </a:lnTo>
                    <a:lnTo>
                      <a:pt x="360" y="192"/>
                    </a:lnTo>
                    <a:lnTo>
                      <a:pt x="362" y="189"/>
                    </a:lnTo>
                    <a:lnTo>
                      <a:pt x="361" y="188"/>
                    </a:lnTo>
                    <a:lnTo>
                      <a:pt x="361" y="186"/>
                    </a:lnTo>
                    <a:lnTo>
                      <a:pt x="362" y="180"/>
                    </a:lnTo>
                    <a:lnTo>
                      <a:pt x="363" y="179"/>
                    </a:lnTo>
                    <a:lnTo>
                      <a:pt x="366" y="177"/>
                    </a:lnTo>
                    <a:lnTo>
                      <a:pt x="367" y="177"/>
                    </a:lnTo>
                    <a:lnTo>
                      <a:pt x="371" y="176"/>
                    </a:lnTo>
                    <a:lnTo>
                      <a:pt x="370" y="175"/>
                    </a:lnTo>
                    <a:lnTo>
                      <a:pt x="371" y="174"/>
                    </a:lnTo>
                    <a:lnTo>
                      <a:pt x="369" y="173"/>
                    </a:lnTo>
                    <a:lnTo>
                      <a:pt x="369" y="170"/>
                    </a:lnTo>
                    <a:lnTo>
                      <a:pt x="367" y="164"/>
                    </a:lnTo>
                    <a:lnTo>
                      <a:pt x="369" y="162"/>
                    </a:lnTo>
                    <a:lnTo>
                      <a:pt x="368" y="160"/>
                    </a:lnTo>
                    <a:lnTo>
                      <a:pt x="368" y="158"/>
                    </a:lnTo>
                    <a:lnTo>
                      <a:pt x="369" y="156"/>
                    </a:lnTo>
                    <a:lnTo>
                      <a:pt x="369" y="154"/>
                    </a:lnTo>
                    <a:lnTo>
                      <a:pt x="370" y="152"/>
                    </a:lnTo>
                    <a:lnTo>
                      <a:pt x="367" y="150"/>
                    </a:lnTo>
                    <a:lnTo>
                      <a:pt x="369" y="147"/>
                    </a:lnTo>
                    <a:lnTo>
                      <a:pt x="366" y="145"/>
                    </a:lnTo>
                    <a:lnTo>
                      <a:pt x="366" y="140"/>
                    </a:lnTo>
                    <a:lnTo>
                      <a:pt x="365" y="139"/>
                    </a:lnTo>
                    <a:lnTo>
                      <a:pt x="365" y="137"/>
                    </a:lnTo>
                    <a:lnTo>
                      <a:pt x="365" y="133"/>
                    </a:lnTo>
                    <a:lnTo>
                      <a:pt x="366" y="130"/>
                    </a:lnTo>
                    <a:lnTo>
                      <a:pt x="365" y="127"/>
                    </a:lnTo>
                    <a:lnTo>
                      <a:pt x="365" y="125"/>
                    </a:lnTo>
                    <a:lnTo>
                      <a:pt x="364" y="123"/>
                    </a:lnTo>
                    <a:lnTo>
                      <a:pt x="362" y="121"/>
                    </a:lnTo>
                    <a:lnTo>
                      <a:pt x="361" y="113"/>
                    </a:lnTo>
                    <a:lnTo>
                      <a:pt x="364" y="113"/>
                    </a:lnTo>
                    <a:lnTo>
                      <a:pt x="369" y="114"/>
                    </a:lnTo>
                    <a:lnTo>
                      <a:pt x="371" y="117"/>
                    </a:lnTo>
                    <a:lnTo>
                      <a:pt x="373" y="117"/>
                    </a:lnTo>
                    <a:lnTo>
                      <a:pt x="373" y="116"/>
                    </a:lnTo>
                    <a:lnTo>
                      <a:pt x="375" y="113"/>
                    </a:lnTo>
                    <a:lnTo>
                      <a:pt x="377" y="112"/>
                    </a:lnTo>
                    <a:lnTo>
                      <a:pt x="377" y="111"/>
                    </a:lnTo>
                    <a:lnTo>
                      <a:pt x="377" y="109"/>
                    </a:lnTo>
                    <a:lnTo>
                      <a:pt x="378" y="107"/>
                    </a:lnTo>
                    <a:lnTo>
                      <a:pt x="379" y="108"/>
                    </a:lnTo>
                    <a:lnTo>
                      <a:pt x="381" y="105"/>
                    </a:lnTo>
                    <a:lnTo>
                      <a:pt x="385" y="104"/>
                    </a:lnTo>
                    <a:lnTo>
                      <a:pt x="385" y="102"/>
                    </a:lnTo>
                    <a:lnTo>
                      <a:pt x="388" y="102"/>
                    </a:lnTo>
                    <a:lnTo>
                      <a:pt x="389" y="101"/>
                    </a:lnTo>
                    <a:lnTo>
                      <a:pt x="389" y="100"/>
                    </a:lnTo>
                    <a:lnTo>
                      <a:pt x="390" y="98"/>
                    </a:lnTo>
                    <a:lnTo>
                      <a:pt x="392" y="96"/>
                    </a:lnTo>
                    <a:lnTo>
                      <a:pt x="390" y="92"/>
                    </a:lnTo>
                    <a:lnTo>
                      <a:pt x="391" y="89"/>
                    </a:lnTo>
                    <a:lnTo>
                      <a:pt x="388" y="85"/>
                    </a:lnTo>
                    <a:lnTo>
                      <a:pt x="389" y="83"/>
                    </a:lnTo>
                    <a:lnTo>
                      <a:pt x="392" y="80"/>
                    </a:lnTo>
                    <a:lnTo>
                      <a:pt x="395" y="78"/>
                    </a:lnTo>
                    <a:lnTo>
                      <a:pt x="394" y="76"/>
                    </a:lnTo>
                    <a:lnTo>
                      <a:pt x="394" y="73"/>
                    </a:lnTo>
                    <a:lnTo>
                      <a:pt x="392" y="67"/>
                    </a:lnTo>
                    <a:lnTo>
                      <a:pt x="391" y="66"/>
                    </a:lnTo>
                    <a:lnTo>
                      <a:pt x="392" y="65"/>
                    </a:lnTo>
                    <a:lnTo>
                      <a:pt x="395" y="65"/>
                    </a:lnTo>
                    <a:lnTo>
                      <a:pt x="398" y="63"/>
                    </a:lnTo>
                    <a:lnTo>
                      <a:pt x="398" y="57"/>
                    </a:lnTo>
                    <a:lnTo>
                      <a:pt x="399" y="57"/>
                    </a:lnTo>
                    <a:lnTo>
                      <a:pt x="399" y="59"/>
                    </a:lnTo>
                    <a:lnTo>
                      <a:pt x="401" y="57"/>
                    </a:lnTo>
                    <a:lnTo>
                      <a:pt x="401" y="54"/>
                    </a:lnTo>
                    <a:lnTo>
                      <a:pt x="402" y="50"/>
                    </a:lnTo>
                    <a:lnTo>
                      <a:pt x="403" y="49"/>
                    </a:lnTo>
                    <a:lnTo>
                      <a:pt x="404" y="46"/>
                    </a:lnTo>
                    <a:lnTo>
                      <a:pt x="406" y="42"/>
                    </a:lnTo>
                    <a:lnTo>
                      <a:pt x="406" y="40"/>
                    </a:lnTo>
                    <a:lnTo>
                      <a:pt x="409" y="38"/>
                    </a:lnTo>
                    <a:lnTo>
                      <a:pt x="410" y="36"/>
                    </a:lnTo>
                    <a:lnTo>
                      <a:pt x="410" y="32"/>
                    </a:lnTo>
                    <a:lnTo>
                      <a:pt x="411" y="31"/>
                    </a:lnTo>
                    <a:lnTo>
                      <a:pt x="410" y="2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0" name="Freeform 106">
                <a:extLst>
                  <a:ext uri="{FF2B5EF4-FFF2-40B4-BE49-F238E27FC236}">
                    <a16:creationId xmlns:a16="http://schemas.microsoft.com/office/drawing/2014/main" id="{C7963D9A-CA10-46D8-9FEB-D1ECF0607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9" y="3149"/>
                <a:ext cx="411" cy="305"/>
              </a:xfrm>
              <a:custGeom>
                <a:avLst/>
                <a:gdLst>
                  <a:gd name="T0" fmla="*/ 390 w 411"/>
                  <a:gd name="T1" fmla="*/ 42 h 305"/>
                  <a:gd name="T2" fmla="*/ 357 w 411"/>
                  <a:gd name="T3" fmla="*/ 65 h 305"/>
                  <a:gd name="T4" fmla="*/ 321 w 411"/>
                  <a:gd name="T5" fmla="*/ 39 h 305"/>
                  <a:gd name="T6" fmla="*/ 299 w 411"/>
                  <a:gd name="T7" fmla="*/ 44 h 305"/>
                  <a:gd name="T8" fmla="*/ 286 w 411"/>
                  <a:gd name="T9" fmla="*/ 48 h 305"/>
                  <a:gd name="T10" fmla="*/ 265 w 411"/>
                  <a:gd name="T11" fmla="*/ 62 h 305"/>
                  <a:gd name="T12" fmla="*/ 257 w 411"/>
                  <a:gd name="T13" fmla="*/ 74 h 305"/>
                  <a:gd name="T14" fmla="*/ 245 w 411"/>
                  <a:gd name="T15" fmla="*/ 78 h 305"/>
                  <a:gd name="T16" fmla="*/ 233 w 411"/>
                  <a:gd name="T17" fmla="*/ 78 h 305"/>
                  <a:gd name="T18" fmla="*/ 218 w 411"/>
                  <a:gd name="T19" fmla="*/ 67 h 305"/>
                  <a:gd name="T20" fmla="*/ 199 w 411"/>
                  <a:gd name="T21" fmla="*/ 54 h 305"/>
                  <a:gd name="T22" fmla="*/ 166 w 411"/>
                  <a:gd name="T23" fmla="*/ 13 h 305"/>
                  <a:gd name="T24" fmla="*/ 133 w 411"/>
                  <a:gd name="T25" fmla="*/ 22 h 305"/>
                  <a:gd name="T26" fmla="*/ 120 w 411"/>
                  <a:gd name="T27" fmla="*/ 2 h 305"/>
                  <a:gd name="T28" fmla="*/ 105 w 411"/>
                  <a:gd name="T29" fmla="*/ 15 h 305"/>
                  <a:gd name="T30" fmla="*/ 90 w 411"/>
                  <a:gd name="T31" fmla="*/ 19 h 305"/>
                  <a:gd name="T32" fmla="*/ 76 w 411"/>
                  <a:gd name="T33" fmla="*/ 14 h 305"/>
                  <a:gd name="T34" fmla="*/ 68 w 411"/>
                  <a:gd name="T35" fmla="*/ 10 h 305"/>
                  <a:gd name="T36" fmla="*/ 61 w 411"/>
                  <a:gd name="T37" fmla="*/ 5 h 305"/>
                  <a:gd name="T38" fmla="*/ 48 w 411"/>
                  <a:gd name="T39" fmla="*/ 10 h 305"/>
                  <a:gd name="T40" fmla="*/ 39 w 411"/>
                  <a:gd name="T41" fmla="*/ 20 h 305"/>
                  <a:gd name="T42" fmla="*/ 19 w 411"/>
                  <a:gd name="T43" fmla="*/ 19 h 305"/>
                  <a:gd name="T44" fmla="*/ 15 w 411"/>
                  <a:gd name="T45" fmla="*/ 34 h 305"/>
                  <a:gd name="T46" fmla="*/ 9 w 411"/>
                  <a:gd name="T47" fmla="*/ 45 h 305"/>
                  <a:gd name="T48" fmla="*/ 2 w 411"/>
                  <a:gd name="T49" fmla="*/ 49 h 305"/>
                  <a:gd name="T50" fmla="*/ 14 w 411"/>
                  <a:gd name="T51" fmla="*/ 60 h 305"/>
                  <a:gd name="T52" fmla="*/ 24 w 411"/>
                  <a:gd name="T53" fmla="*/ 65 h 305"/>
                  <a:gd name="T54" fmla="*/ 24 w 411"/>
                  <a:gd name="T55" fmla="*/ 76 h 305"/>
                  <a:gd name="T56" fmla="*/ 41 w 411"/>
                  <a:gd name="T57" fmla="*/ 92 h 305"/>
                  <a:gd name="T58" fmla="*/ 38 w 411"/>
                  <a:gd name="T59" fmla="*/ 109 h 305"/>
                  <a:gd name="T60" fmla="*/ 30 w 411"/>
                  <a:gd name="T61" fmla="*/ 127 h 305"/>
                  <a:gd name="T62" fmla="*/ 36 w 411"/>
                  <a:gd name="T63" fmla="*/ 147 h 305"/>
                  <a:gd name="T64" fmla="*/ 50 w 411"/>
                  <a:gd name="T65" fmla="*/ 163 h 305"/>
                  <a:gd name="T66" fmla="*/ 60 w 411"/>
                  <a:gd name="T67" fmla="*/ 163 h 305"/>
                  <a:gd name="T68" fmla="*/ 76 w 411"/>
                  <a:gd name="T69" fmla="*/ 169 h 305"/>
                  <a:gd name="T70" fmla="*/ 83 w 411"/>
                  <a:gd name="T71" fmla="*/ 177 h 305"/>
                  <a:gd name="T72" fmla="*/ 98 w 411"/>
                  <a:gd name="T73" fmla="*/ 186 h 305"/>
                  <a:gd name="T74" fmla="*/ 105 w 411"/>
                  <a:gd name="T75" fmla="*/ 196 h 305"/>
                  <a:gd name="T76" fmla="*/ 116 w 411"/>
                  <a:gd name="T77" fmla="*/ 220 h 305"/>
                  <a:gd name="T78" fmla="*/ 143 w 411"/>
                  <a:gd name="T79" fmla="*/ 233 h 305"/>
                  <a:gd name="T80" fmla="*/ 159 w 411"/>
                  <a:gd name="T81" fmla="*/ 217 h 305"/>
                  <a:gd name="T82" fmla="*/ 176 w 411"/>
                  <a:gd name="T83" fmla="*/ 229 h 305"/>
                  <a:gd name="T84" fmla="*/ 195 w 411"/>
                  <a:gd name="T85" fmla="*/ 246 h 305"/>
                  <a:gd name="T86" fmla="*/ 215 w 411"/>
                  <a:gd name="T87" fmla="*/ 255 h 305"/>
                  <a:gd name="T88" fmla="*/ 237 w 411"/>
                  <a:gd name="T89" fmla="*/ 278 h 305"/>
                  <a:gd name="T90" fmla="*/ 263 w 411"/>
                  <a:gd name="T91" fmla="*/ 298 h 305"/>
                  <a:gd name="T92" fmla="*/ 278 w 411"/>
                  <a:gd name="T93" fmla="*/ 297 h 305"/>
                  <a:gd name="T94" fmla="*/ 296 w 411"/>
                  <a:gd name="T95" fmla="*/ 295 h 305"/>
                  <a:gd name="T96" fmla="*/ 310 w 411"/>
                  <a:gd name="T97" fmla="*/ 286 h 305"/>
                  <a:gd name="T98" fmla="*/ 333 w 411"/>
                  <a:gd name="T99" fmla="*/ 287 h 305"/>
                  <a:gd name="T100" fmla="*/ 356 w 411"/>
                  <a:gd name="T101" fmla="*/ 300 h 305"/>
                  <a:gd name="T102" fmla="*/ 373 w 411"/>
                  <a:gd name="T103" fmla="*/ 293 h 305"/>
                  <a:gd name="T104" fmla="*/ 378 w 411"/>
                  <a:gd name="T105" fmla="*/ 271 h 305"/>
                  <a:gd name="T106" fmla="*/ 379 w 411"/>
                  <a:gd name="T107" fmla="*/ 244 h 305"/>
                  <a:gd name="T108" fmla="*/ 373 w 411"/>
                  <a:gd name="T109" fmla="*/ 229 h 305"/>
                  <a:gd name="T110" fmla="*/ 365 w 411"/>
                  <a:gd name="T111" fmla="*/ 199 h 305"/>
                  <a:gd name="T112" fmla="*/ 370 w 411"/>
                  <a:gd name="T113" fmla="*/ 175 h 305"/>
                  <a:gd name="T114" fmla="*/ 366 w 411"/>
                  <a:gd name="T115" fmla="*/ 140 h 305"/>
                  <a:gd name="T116" fmla="*/ 373 w 411"/>
                  <a:gd name="T117" fmla="*/ 116 h 305"/>
                  <a:gd name="T118" fmla="*/ 392 w 411"/>
                  <a:gd name="T119" fmla="*/ 96 h 305"/>
                  <a:gd name="T120" fmla="*/ 398 w 411"/>
                  <a:gd name="T121" fmla="*/ 57 h 305"/>
                  <a:gd name="T122" fmla="*/ 411 w 411"/>
                  <a:gd name="T123" fmla="*/ 31 h 30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11"/>
                  <a:gd name="T187" fmla="*/ 0 h 305"/>
                  <a:gd name="T188" fmla="*/ 411 w 411"/>
                  <a:gd name="T189" fmla="*/ 305 h 30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11" h="305">
                    <a:moveTo>
                      <a:pt x="410" y="29"/>
                    </a:moveTo>
                    <a:lnTo>
                      <a:pt x="411" y="26"/>
                    </a:lnTo>
                    <a:lnTo>
                      <a:pt x="410" y="24"/>
                    </a:lnTo>
                    <a:lnTo>
                      <a:pt x="407" y="21"/>
                    </a:lnTo>
                    <a:lnTo>
                      <a:pt x="404" y="23"/>
                    </a:lnTo>
                    <a:lnTo>
                      <a:pt x="403" y="25"/>
                    </a:lnTo>
                    <a:lnTo>
                      <a:pt x="402" y="25"/>
                    </a:lnTo>
                    <a:lnTo>
                      <a:pt x="401" y="27"/>
                    </a:lnTo>
                    <a:lnTo>
                      <a:pt x="399" y="29"/>
                    </a:lnTo>
                    <a:lnTo>
                      <a:pt x="398" y="27"/>
                    </a:lnTo>
                    <a:lnTo>
                      <a:pt x="396" y="28"/>
                    </a:lnTo>
                    <a:lnTo>
                      <a:pt x="393" y="32"/>
                    </a:lnTo>
                    <a:lnTo>
                      <a:pt x="392" y="39"/>
                    </a:lnTo>
                    <a:lnTo>
                      <a:pt x="390" y="42"/>
                    </a:lnTo>
                    <a:lnTo>
                      <a:pt x="386" y="45"/>
                    </a:lnTo>
                    <a:lnTo>
                      <a:pt x="387" y="47"/>
                    </a:lnTo>
                    <a:lnTo>
                      <a:pt x="386" y="48"/>
                    </a:lnTo>
                    <a:lnTo>
                      <a:pt x="382" y="50"/>
                    </a:lnTo>
                    <a:lnTo>
                      <a:pt x="379" y="52"/>
                    </a:lnTo>
                    <a:lnTo>
                      <a:pt x="378" y="52"/>
                    </a:lnTo>
                    <a:lnTo>
                      <a:pt x="377" y="52"/>
                    </a:lnTo>
                    <a:lnTo>
                      <a:pt x="371" y="60"/>
                    </a:lnTo>
                    <a:lnTo>
                      <a:pt x="369" y="65"/>
                    </a:lnTo>
                    <a:lnTo>
                      <a:pt x="368" y="66"/>
                    </a:lnTo>
                    <a:lnTo>
                      <a:pt x="364" y="69"/>
                    </a:lnTo>
                    <a:lnTo>
                      <a:pt x="361" y="67"/>
                    </a:lnTo>
                    <a:lnTo>
                      <a:pt x="358" y="66"/>
                    </a:lnTo>
                    <a:lnTo>
                      <a:pt x="357" y="65"/>
                    </a:lnTo>
                    <a:lnTo>
                      <a:pt x="350" y="60"/>
                    </a:lnTo>
                    <a:lnTo>
                      <a:pt x="347" y="59"/>
                    </a:lnTo>
                    <a:lnTo>
                      <a:pt x="345" y="59"/>
                    </a:lnTo>
                    <a:lnTo>
                      <a:pt x="344" y="55"/>
                    </a:lnTo>
                    <a:lnTo>
                      <a:pt x="341" y="52"/>
                    </a:lnTo>
                    <a:lnTo>
                      <a:pt x="341" y="49"/>
                    </a:lnTo>
                    <a:lnTo>
                      <a:pt x="338" y="47"/>
                    </a:lnTo>
                    <a:lnTo>
                      <a:pt x="337" y="44"/>
                    </a:lnTo>
                    <a:lnTo>
                      <a:pt x="332" y="43"/>
                    </a:lnTo>
                    <a:lnTo>
                      <a:pt x="331" y="44"/>
                    </a:lnTo>
                    <a:lnTo>
                      <a:pt x="330" y="44"/>
                    </a:lnTo>
                    <a:lnTo>
                      <a:pt x="329" y="44"/>
                    </a:lnTo>
                    <a:lnTo>
                      <a:pt x="322" y="38"/>
                    </a:lnTo>
                    <a:lnTo>
                      <a:pt x="321" y="39"/>
                    </a:lnTo>
                    <a:lnTo>
                      <a:pt x="320" y="38"/>
                    </a:lnTo>
                    <a:lnTo>
                      <a:pt x="319" y="36"/>
                    </a:lnTo>
                    <a:lnTo>
                      <a:pt x="317" y="37"/>
                    </a:lnTo>
                    <a:lnTo>
                      <a:pt x="317" y="32"/>
                    </a:lnTo>
                    <a:lnTo>
                      <a:pt x="314" y="31"/>
                    </a:lnTo>
                    <a:lnTo>
                      <a:pt x="313" y="31"/>
                    </a:lnTo>
                    <a:lnTo>
                      <a:pt x="311" y="29"/>
                    </a:lnTo>
                    <a:lnTo>
                      <a:pt x="308" y="29"/>
                    </a:lnTo>
                    <a:lnTo>
                      <a:pt x="306" y="31"/>
                    </a:lnTo>
                    <a:lnTo>
                      <a:pt x="305" y="40"/>
                    </a:lnTo>
                    <a:lnTo>
                      <a:pt x="303" y="42"/>
                    </a:lnTo>
                    <a:lnTo>
                      <a:pt x="300" y="42"/>
                    </a:lnTo>
                    <a:lnTo>
                      <a:pt x="299" y="44"/>
                    </a:lnTo>
                    <a:lnTo>
                      <a:pt x="298" y="44"/>
                    </a:lnTo>
                    <a:lnTo>
                      <a:pt x="297" y="46"/>
                    </a:lnTo>
                    <a:lnTo>
                      <a:pt x="297" y="45"/>
                    </a:lnTo>
                    <a:lnTo>
                      <a:pt x="293" y="45"/>
                    </a:lnTo>
                    <a:lnTo>
                      <a:pt x="293" y="44"/>
                    </a:lnTo>
                    <a:lnTo>
                      <a:pt x="293" y="45"/>
                    </a:lnTo>
                    <a:lnTo>
                      <a:pt x="290" y="46"/>
                    </a:lnTo>
                    <a:lnTo>
                      <a:pt x="291" y="46"/>
                    </a:lnTo>
                    <a:lnTo>
                      <a:pt x="291" y="48"/>
                    </a:lnTo>
                    <a:lnTo>
                      <a:pt x="290" y="49"/>
                    </a:lnTo>
                    <a:lnTo>
                      <a:pt x="288" y="47"/>
                    </a:lnTo>
                    <a:lnTo>
                      <a:pt x="287" y="48"/>
                    </a:lnTo>
                    <a:lnTo>
                      <a:pt x="286" y="48"/>
                    </a:lnTo>
                    <a:lnTo>
                      <a:pt x="286" y="49"/>
                    </a:lnTo>
                    <a:lnTo>
                      <a:pt x="284" y="49"/>
                    </a:lnTo>
                    <a:lnTo>
                      <a:pt x="284" y="50"/>
                    </a:lnTo>
                    <a:lnTo>
                      <a:pt x="284" y="49"/>
                    </a:lnTo>
                    <a:lnTo>
                      <a:pt x="283" y="49"/>
                    </a:lnTo>
                    <a:lnTo>
                      <a:pt x="281" y="49"/>
                    </a:lnTo>
                    <a:lnTo>
                      <a:pt x="275" y="55"/>
                    </a:lnTo>
                    <a:lnTo>
                      <a:pt x="271" y="55"/>
                    </a:lnTo>
                    <a:lnTo>
                      <a:pt x="269" y="55"/>
                    </a:lnTo>
                    <a:lnTo>
                      <a:pt x="269" y="57"/>
                    </a:lnTo>
                    <a:lnTo>
                      <a:pt x="267" y="57"/>
                    </a:lnTo>
                    <a:lnTo>
                      <a:pt x="265" y="60"/>
                    </a:lnTo>
                    <a:lnTo>
                      <a:pt x="265" y="62"/>
                    </a:lnTo>
                    <a:lnTo>
                      <a:pt x="266" y="62"/>
                    </a:lnTo>
                    <a:lnTo>
                      <a:pt x="267" y="64"/>
                    </a:lnTo>
                    <a:lnTo>
                      <a:pt x="269" y="66"/>
                    </a:lnTo>
                    <a:lnTo>
                      <a:pt x="267" y="67"/>
                    </a:lnTo>
                    <a:lnTo>
                      <a:pt x="266" y="69"/>
                    </a:lnTo>
                    <a:lnTo>
                      <a:pt x="264" y="69"/>
                    </a:lnTo>
                    <a:lnTo>
                      <a:pt x="262" y="70"/>
                    </a:lnTo>
                    <a:lnTo>
                      <a:pt x="260" y="69"/>
                    </a:lnTo>
                    <a:lnTo>
                      <a:pt x="258" y="69"/>
                    </a:lnTo>
                    <a:lnTo>
                      <a:pt x="259" y="71"/>
                    </a:lnTo>
                    <a:lnTo>
                      <a:pt x="258" y="72"/>
                    </a:lnTo>
                    <a:lnTo>
                      <a:pt x="257" y="72"/>
                    </a:lnTo>
                    <a:lnTo>
                      <a:pt x="257" y="74"/>
                    </a:lnTo>
                    <a:lnTo>
                      <a:pt x="259" y="75"/>
                    </a:lnTo>
                    <a:lnTo>
                      <a:pt x="260" y="78"/>
                    </a:lnTo>
                    <a:lnTo>
                      <a:pt x="261" y="78"/>
                    </a:lnTo>
                    <a:lnTo>
                      <a:pt x="261" y="83"/>
                    </a:lnTo>
                    <a:lnTo>
                      <a:pt x="254" y="79"/>
                    </a:lnTo>
                    <a:lnTo>
                      <a:pt x="252" y="78"/>
                    </a:lnTo>
                    <a:lnTo>
                      <a:pt x="251" y="76"/>
                    </a:lnTo>
                    <a:lnTo>
                      <a:pt x="250" y="77"/>
                    </a:lnTo>
                    <a:lnTo>
                      <a:pt x="248" y="76"/>
                    </a:lnTo>
                    <a:lnTo>
                      <a:pt x="248" y="78"/>
                    </a:lnTo>
                    <a:lnTo>
                      <a:pt x="246" y="77"/>
                    </a:lnTo>
                    <a:lnTo>
                      <a:pt x="245" y="78"/>
                    </a:lnTo>
                    <a:lnTo>
                      <a:pt x="244" y="78"/>
                    </a:lnTo>
                    <a:lnTo>
                      <a:pt x="243" y="78"/>
                    </a:lnTo>
                    <a:lnTo>
                      <a:pt x="238" y="78"/>
                    </a:lnTo>
                    <a:lnTo>
                      <a:pt x="238" y="76"/>
                    </a:lnTo>
                    <a:lnTo>
                      <a:pt x="240" y="74"/>
                    </a:lnTo>
                    <a:lnTo>
                      <a:pt x="240" y="73"/>
                    </a:lnTo>
                    <a:lnTo>
                      <a:pt x="237" y="73"/>
                    </a:lnTo>
                    <a:lnTo>
                      <a:pt x="237" y="72"/>
                    </a:lnTo>
                    <a:lnTo>
                      <a:pt x="237" y="74"/>
                    </a:lnTo>
                    <a:lnTo>
                      <a:pt x="237" y="75"/>
                    </a:lnTo>
                    <a:lnTo>
                      <a:pt x="237" y="76"/>
                    </a:lnTo>
                    <a:lnTo>
                      <a:pt x="233" y="78"/>
                    </a:lnTo>
                    <a:lnTo>
                      <a:pt x="232" y="76"/>
                    </a:lnTo>
                    <a:lnTo>
                      <a:pt x="231" y="77"/>
                    </a:lnTo>
                    <a:lnTo>
                      <a:pt x="228" y="76"/>
                    </a:lnTo>
                    <a:lnTo>
                      <a:pt x="227" y="78"/>
                    </a:lnTo>
                    <a:lnTo>
                      <a:pt x="225" y="78"/>
                    </a:lnTo>
                    <a:lnTo>
                      <a:pt x="224" y="78"/>
                    </a:lnTo>
                    <a:lnTo>
                      <a:pt x="223" y="76"/>
                    </a:lnTo>
                    <a:lnTo>
                      <a:pt x="223" y="75"/>
                    </a:lnTo>
                    <a:lnTo>
                      <a:pt x="223" y="74"/>
                    </a:lnTo>
                    <a:lnTo>
                      <a:pt x="221" y="72"/>
                    </a:lnTo>
                    <a:lnTo>
                      <a:pt x="219" y="68"/>
                    </a:lnTo>
                    <a:lnTo>
                      <a:pt x="218" y="68"/>
                    </a:lnTo>
                    <a:lnTo>
                      <a:pt x="218" y="67"/>
                    </a:lnTo>
                    <a:lnTo>
                      <a:pt x="217" y="68"/>
                    </a:lnTo>
                    <a:lnTo>
                      <a:pt x="216" y="67"/>
                    </a:lnTo>
                    <a:lnTo>
                      <a:pt x="215" y="67"/>
                    </a:lnTo>
                    <a:lnTo>
                      <a:pt x="213" y="63"/>
                    </a:lnTo>
                    <a:lnTo>
                      <a:pt x="211" y="64"/>
                    </a:lnTo>
                    <a:lnTo>
                      <a:pt x="211" y="65"/>
                    </a:lnTo>
                    <a:lnTo>
                      <a:pt x="210" y="65"/>
                    </a:lnTo>
                    <a:lnTo>
                      <a:pt x="207" y="62"/>
                    </a:lnTo>
                    <a:lnTo>
                      <a:pt x="207" y="57"/>
                    </a:lnTo>
                    <a:lnTo>
                      <a:pt x="203" y="54"/>
                    </a:lnTo>
                    <a:lnTo>
                      <a:pt x="201" y="55"/>
                    </a:lnTo>
                    <a:lnTo>
                      <a:pt x="200" y="54"/>
                    </a:lnTo>
                    <a:lnTo>
                      <a:pt x="199" y="54"/>
                    </a:lnTo>
                    <a:lnTo>
                      <a:pt x="198" y="53"/>
                    </a:lnTo>
                    <a:lnTo>
                      <a:pt x="195" y="52"/>
                    </a:lnTo>
                    <a:lnTo>
                      <a:pt x="194" y="52"/>
                    </a:lnTo>
                    <a:lnTo>
                      <a:pt x="194" y="51"/>
                    </a:lnTo>
                    <a:lnTo>
                      <a:pt x="194" y="48"/>
                    </a:lnTo>
                    <a:lnTo>
                      <a:pt x="192" y="40"/>
                    </a:lnTo>
                    <a:lnTo>
                      <a:pt x="190" y="39"/>
                    </a:lnTo>
                    <a:lnTo>
                      <a:pt x="178" y="37"/>
                    </a:lnTo>
                    <a:lnTo>
                      <a:pt x="179" y="27"/>
                    </a:lnTo>
                    <a:lnTo>
                      <a:pt x="179" y="23"/>
                    </a:lnTo>
                    <a:lnTo>
                      <a:pt x="174" y="21"/>
                    </a:lnTo>
                    <a:lnTo>
                      <a:pt x="175" y="15"/>
                    </a:lnTo>
                    <a:lnTo>
                      <a:pt x="167" y="15"/>
                    </a:lnTo>
                    <a:lnTo>
                      <a:pt x="166" y="13"/>
                    </a:lnTo>
                    <a:lnTo>
                      <a:pt x="164" y="13"/>
                    </a:lnTo>
                    <a:lnTo>
                      <a:pt x="164" y="11"/>
                    </a:lnTo>
                    <a:lnTo>
                      <a:pt x="162" y="13"/>
                    </a:lnTo>
                    <a:lnTo>
                      <a:pt x="158" y="8"/>
                    </a:lnTo>
                    <a:lnTo>
                      <a:pt x="156" y="7"/>
                    </a:lnTo>
                    <a:lnTo>
                      <a:pt x="156" y="10"/>
                    </a:lnTo>
                    <a:lnTo>
                      <a:pt x="155" y="10"/>
                    </a:lnTo>
                    <a:lnTo>
                      <a:pt x="147" y="10"/>
                    </a:lnTo>
                    <a:lnTo>
                      <a:pt x="146" y="17"/>
                    </a:lnTo>
                    <a:lnTo>
                      <a:pt x="142" y="16"/>
                    </a:lnTo>
                    <a:lnTo>
                      <a:pt x="137" y="15"/>
                    </a:lnTo>
                    <a:lnTo>
                      <a:pt x="136" y="19"/>
                    </a:lnTo>
                    <a:lnTo>
                      <a:pt x="133" y="21"/>
                    </a:lnTo>
                    <a:lnTo>
                      <a:pt x="133" y="22"/>
                    </a:lnTo>
                    <a:lnTo>
                      <a:pt x="131" y="23"/>
                    </a:lnTo>
                    <a:lnTo>
                      <a:pt x="131" y="21"/>
                    </a:lnTo>
                    <a:lnTo>
                      <a:pt x="127" y="20"/>
                    </a:lnTo>
                    <a:lnTo>
                      <a:pt x="126" y="20"/>
                    </a:lnTo>
                    <a:lnTo>
                      <a:pt x="126" y="19"/>
                    </a:lnTo>
                    <a:lnTo>
                      <a:pt x="124" y="18"/>
                    </a:lnTo>
                    <a:lnTo>
                      <a:pt x="123" y="15"/>
                    </a:lnTo>
                    <a:lnTo>
                      <a:pt x="124" y="12"/>
                    </a:lnTo>
                    <a:lnTo>
                      <a:pt x="126" y="8"/>
                    </a:lnTo>
                    <a:lnTo>
                      <a:pt x="124" y="7"/>
                    </a:lnTo>
                    <a:lnTo>
                      <a:pt x="125" y="6"/>
                    </a:lnTo>
                    <a:lnTo>
                      <a:pt x="125" y="5"/>
                    </a:lnTo>
                    <a:lnTo>
                      <a:pt x="121" y="4"/>
                    </a:lnTo>
                    <a:lnTo>
                      <a:pt x="120" y="2"/>
                    </a:lnTo>
                    <a:lnTo>
                      <a:pt x="118" y="0"/>
                    </a:lnTo>
                    <a:lnTo>
                      <a:pt x="116" y="1"/>
                    </a:lnTo>
                    <a:lnTo>
                      <a:pt x="115" y="4"/>
                    </a:lnTo>
                    <a:lnTo>
                      <a:pt x="112" y="2"/>
                    </a:lnTo>
                    <a:lnTo>
                      <a:pt x="111" y="5"/>
                    </a:lnTo>
                    <a:lnTo>
                      <a:pt x="109" y="5"/>
                    </a:lnTo>
                    <a:lnTo>
                      <a:pt x="107" y="6"/>
                    </a:lnTo>
                    <a:lnTo>
                      <a:pt x="107" y="8"/>
                    </a:lnTo>
                    <a:lnTo>
                      <a:pt x="108" y="9"/>
                    </a:lnTo>
                    <a:lnTo>
                      <a:pt x="107" y="14"/>
                    </a:lnTo>
                    <a:lnTo>
                      <a:pt x="106" y="15"/>
                    </a:lnTo>
                    <a:lnTo>
                      <a:pt x="105" y="15"/>
                    </a:lnTo>
                    <a:lnTo>
                      <a:pt x="104" y="14"/>
                    </a:lnTo>
                    <a:lnTo>
                      <a:pt x="102" y="18"/>
                    </a:lnTo>
                    <a:lnTo>
                      <a:pt x="101" y="15"/>
                    </a:lnTo>
                    <a:lnTo>
                      <a:pt x="99" y="15"/>
                    </a:lnTo>
                    <a:lnTo>
                      <a:pt x="98" y="15"/>
                    </a:lnTo>
                    <a:lnTo>
                      <a:pt x="97" y="14"/>
                    </a:lnTo>
                    <a:lnTo>
                      <a:pt x="96" y="15"/>
                    </a:lnTo>
                    <a:lnTo>
                      <a:pt x="95" y="15"/>
                    </a:lnTo>
                    <a:lnTo>
                      <a:pt x="94" y="18"/>
                    </a:lnTo>
                    <a:lnTo>
                      <a:pt x="93" y="18"/>
                    </a:lnTo>
                    <a:lnTo>
                      <a:pt x="93" y="19"/>
                    </a:lnTo>
                    <a:lnTo>
                      <a:pt x="92" y="20"/>
                    </a:lnTo>
                    <a:lnTo>
                      <a:pt x="90" y="19"/>
                    </a:lnTo>
                    <a:lnTo>
                      <a:pt x="89" y="20"/>
                    </a:lnTo>
                    <a:lnTo>
                      <a:pt x="88" y="19"/>
                    </a:lnTo>
                    <a:lnTo>
                      <a:pt x="88" y="18"/>
                    </a:lnTo>
                    <a:lnTo>
                      <a:pt x="86" y="17"/>
                    </a:lnTo>
                    <a:lnTo>
                      <a:pt x="86" y="16"/>
                    </a:lnTo>
                    <a:lnTo>
                      <a:pt x="82" y="14"/>
                    </a:lnTo>
                    <a:lnTo>
                      <a:pt x="82" y="13"/>
                    </a:lnTo>
                    <a:lnTo>
                      <a:pt x="81" y="12"/>
                    </a:lnTo>
                    <a:lnTo>
                      <a:pt x="81" y="15"/>
                    </a:lnTo>
                    <a:lnTo>
                      <a:pt x="79" y="14"/>
                    </a:lnTo>
                    <a:lnTo>
                      <a:pt x="79" y="15"/>
                    </a:lnTo>
                    <a:lnTo>
                      <a:pt x="77" y="14"/>
                    </a:lnTo>
                    <a:lnTo>
                      <a:pt x="76" y="14"/>
                    </a:lnTo>
                    <a:lnTo>
                      <a:pt x="76" y="13"/>
                    </a:lnTo>
                    <a:lnTo>
                      <a:pt x="76" y="12"/>
                    </a:lnTo>
                    <a:lnTo>
                      <a:pt x="75" y="13"/>
                    </a:lnTo>
                    <a:lnTo>
                      <a:pt x="73" y="12"/>
                    </a:lnTo>
                    <a:lnTo>
                      <a:pt x="71" y="13"/>
                    </a:lnTo>
                    <a:lnTo>
                      <a:pt x="71" y="12"/>
                    </a:lnTo>
                    <a:lnTo>
                      <a:pt x="69" y="12"/>
                    </a:lnTo>
                    <a:lnTo>
                      <a:pt x="69" y="11"/>
                    </a:lnTo>
                    <a:lnTo>
                      <a:pt x="68" y="12"/>
                    </a:lnTo>
                    <a:lnTo>
                      <a:pt x="68" y="10"/>
                    </a:lnTo>
                    <a:lnTo>
                      <a:pt x="68" y="13"/>
                    </a:lnTo>
                    <a:lnTo>
                      <a:pt x="69" y="13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6" y="12"/>
                    </a:lnTo>
                    <a:lnTo>
                      <a:pt x="66" y="13"/>
                    </a:lnTo>
                    <a:lnTo>
                      <a:pt x="65" y="13"/>
                    </a:lnTo>
                    <a:lnTo>
                      <a:pt x="65" y="11"/>
                    </a:lnTo>
                    <a:lnTo>
                      <a:pt x="63" y="11"/>
                    </a:lnTo>
                    <a:lnTo>
                      <a:pt x="64" y="6"/>
                    </a:lnTo>
                    <a:lnTo>
                      <a:pt x="61" y="5"/>
                    </a:lnTo>
                    <a:lnTo>
                      <a:pt x="60" y="5"/>
                    </a:lnTo>
                    <a:lnTo>
                      <a:pt x="60" y="6"/>
                    </a:lnTo>
                    <a:lnTo>
                      <a:pt x="61" y="8"/>
                    </a:lnTo>
                    <a:lnTo>
                      <a:pt x="59" y="8"/>
                    </a:lnTo>
                    <a:lnTo>
                      <a:pt x="58" y="8"/>
                    </a:lnTo>
                    <a:lnTo>
                      <a:pt x="58" y="10"/>
                    </a:lnTo>
                    <a:lnTo>
                      <a:pt x="56" y="11"/>
                    </a:lnTo>
                    <a:lnTo>
                      <a:pt x="55" y="10"/>
                    </a:lnTo>
                    <a:lnTo>
                      <a:pt x="55" y="8"/>
                    </a:lnTo>
                    <a:lnTo>
                      <a:pt x="54" y="9"/>
                    </a:lnTo>
                    <a:lnTo>
                      <a:pt x="53" y="8"/>
                    </a:lnTo>
                    <a:lnTo>
                      <a:pt x="52" y="8"/>
                    </a:lnTo>
                    <a:lnTo>
                      <a:pt x="48" y="10"/>
                    </a:lnTo>
                    <a:lnTo>
                      <a:pt x="47" y="10"/>
                    </a:lnTo>
                    <a:lnTo>
                      <a:pt x="47" y="14"/>
                    </a:lnTo>
                    <a:lnTo>
                      <a:pt x="46" y="15"/>
                    </a:lnTo>
                    <a:lnTo>
                      <a:pt x="47" y="15"/>
                    </a:lnTo>
                    <a:lnTo>
                      <a:pt x="47" y="18"/>
                    </a:lnTo>
                    <a:lnTo>
                      <a:pt x="45" y="17"/>
                    </a:lnTo>
                    <a:lnTo>
                      <a:pt x="44" y="18"/>
                    </a:lnTo>
                    <a:lnTo>
                      <a:pt x="42" y="19"/>
                    </a:lnTo>
                    <a:lnTo>
                      <a:pt x="41" y="19"/>
                    </a:lnTo>
                    <a:lnTo>
                      <a:pt x="37" y="18"/>
                    </a:lnTo>
                    <a:lnTo>
                      <a:pt x="37" y="20"/>
                    </a:lnTo>
                    <a:lnTo>
                      <a:pt x="39" y="20"/>
                    </a:lnTo>
                    <a:lnTo>
                      <a:pt x="38" y="21"/>
                    </a:lnTo>
                    <a:lnTo>
                      <a:pt x="36" y="20"/>
                    </a:lnTo>
                    <a:lnTo>
                      <a:pt x="36" y="21"/>
                    </a:lnTo>
                    <a:lnTo>
                      <a:pt x="34" y="22"/>
                    </a:lnTo>
                    <a:lnTo>
                      <a:pt x="33" y="22"/>
                    </a:lnTo>
                    <a:lnTo>
                      <a:pt x="32" y="24"/>
                    </a:lnTo>
                    <a:lnTo>
                      <a:pt x="27" y="25"/>
                    </a:lnTo>
                    <a:lnTo>
                      <a:pt x="24" y="18"/>
                    </a:lnTo>
                    <a:lnTo>
                      <a:pt x="23" y="18"/>
                    </a:lnTo>
                    <a:lnTo>
                      <a:pt x="22" y="18"/>
                    </a:lnTo>
                    <a:lnTo>
                      <a:pt x="23" y="21"/>
                    </a:lnTo>
                    <a:lnTo>
                      <a:pt x="20" y="23"/>
                    </a:lnTo>
                    <a:lnTo>
                      <a:pt x="19" y="21"/>
                    </a:lnTo>
                    <a:lnTo>
                      <a:pt x="19" y="19"/>
                    </a:lnTo>
                    <a:lnTo>
                      <a:pt x="17" y="18"/>
                    </a:lnTo>
                    <a:lnTo>
                      <a:pt x="15" y="19"/>
                    </a:lnTo>
                    <a:lnTo>
                      <a:pt x="13" y="23"/>
                    </a:lnTo>
                    <a:lnTo>
                      <a:pt x="16" y="26"/>
                    </a:lnTo>
                    <a:lnTo>
                      <a:pt x="17" y="25"/>
                    </a:lnTo>
                    <a:lnTo>
                      <a:pt x="19" y="28"/>
                    </a:lnTo>
                    <a:lnTo>
                      <a:pt x="20" y="28"/>
                    </a:lnTo>
                    <a:lnTo>
                      <a:pt x="18" y="29"/>
                    </a:lnTo>
                    <a:lnTo>
                      <a:pt x="17" y="27"/>
                    </a:lnTo>
                    <a:lnTo>
                      <a:pt x="16" y="28"/>
                    </a:lnTo>
                    <a:lnTo>
                      <a:pt x="14" y="28"/>
                    </a:lnTo>
                    <a:lnTo>
                      <a:pt x="14" y="29"/>
                    </a:lnTo>
                    <a:lnTo>
                      <a:pt x="14" y="32"/>
                    </a:lnTo>
                    <a:lnTo>
                      <a:pt x="15" y="34"/>
                    </a:lnTo>
                    <a:lnTo>
                      <a:pt x="14" y="40"/>
                    </a:lnTo>
                    <a:lnTo>
                      <a:pt x="12" y="39"/>
                    </a:lnTo>
                    <a:lnTo>
                      <a:pt x="10" y="40"/>
                    </a:lnTo>
                    <a:lnTo>
                      <a:pt x="9" y="39"/>
                    </a:lnTo>
                    <a:lnTo>
                      <a:pt x="9" y="40"/>
                    </a:lnTo>
                    <a:lnTo>
                      <a:pt x="8" y="40"/>
                    </a:lnTo>
                    <a:lnTo>
                      <a:pt x="6" y="39"/>
                    </a:lnTo>
                    <a:lnTo>
                      <a:pt x="6" y="40"/>
                    </a:lnTo>
                    <a:lnTo>
                      <a:pt x="4" y="41"/>
                    </a:lnTo>
                    <a:lnTo>
                      <a:pt x="4" y="42"/>
                    </a:lnTo>
                    <a:lnTo>
                      <a:pt x="6" y="43"/>
                    </a:lnTo>
                    <a:lnTo>
                      <a:pt x="10" y="44"/>
                    </a:lnTo>
                    <a:lnTo>
                      <a:pt x="9" y="45"/>
                    </a:lnTo>
                    <a:lnTo>
                      <a:pt x="11" y="44"/>
                    </a:lnTo>
                    <a:lnTo>
                      <a:pt x="11" y="46"/>
                    </a:lnTo>
                    <a:lnTo>
                      <a:pt x="11" y="47"/>
                    </a:lnTo>
                    <a:lnTo>
                      <a:pt x="10" y="46"/>
                    </a:lnTo>
                    <a:lnTo>
                      <a:pt x="9" y="47"/>
                    </a:lnTo>
                    <a:lnTo>
                      <a:pt x="8" y="46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6" y="46"/>
                    </a:lnTo>
                    <a:lnTo>
                      <a:pt x="5" y="45"/>
                    </a:lnTo>
                    <a:lnTo>
                      <a:pt x="2" y="47"/>
                    </a:lnTo>
                    <a:lnTo>
                      <a:pt x="0" y="48"/>
                    </a:lnTo>
                    <a:lnTo>
                      <a:pt x="2" y="49"/>
                    </a:lnTo>
                    <a:lnTo>
                      <a:pt x="2" y="51"/>
                    </a:lnTo>
                    <a:lnTo>
                      <a:pt x="2" y="53"/>
                    </a:lnTo>
                    <a:lnTo>
                      <a:pt x="4" y="55"/>
                    </a:lnTo>
                    <a:lnTo>
                      <a:pt x="5" y="55"/>
                    </a:lnTo>
                    <a:lnTo>
                      <a:pt x="5" y="57"/>
                    </a:lnTo>
                    <a:lnTo>
                      <a:pt x="7" y="58"/>
                    </a:lnTo>
                    <a:lnTo>
                      <a:pt x="9" y="59"/>
                    </a:lnTo>
                    <a:lnTo>
                      <a:pt x="9" y="60"/>
                    </a:lnTo>
                    <a:lnTo>
                      <a:pt x="11" y="58"/>
                    </a:lnTo>
                    <a:lnTo>
                      <a:pt x="14" y="59"/>
                    </a:lnTo>
                    <a:lnTo>
                      <a:pt x="14" y="60"/>
                    </a:lnTo>
                    <a:lnTo>
                      <a:pt x="13" y="59"/>
                    </a:lnTo>
                    <a:lnTo>
                      <a:pt x="14" y="61"/>
                    </a:lnTo>
                    <a:lnTo>
                      <a:pt x="16" y="61"/>
                    </a:lnTo>
                    <a:lnTo>
                      <a:pt x="17" y="62"/>
                    </a:lnTo>
                    <a:lnTo>
                      <a:pt x="16" y="63"/>
                    </a:lnTo>
                    <a:lnTo>
                      <a:pt x="14" y="63"/>
                    </a:lnTo>
                    <a:lnTo>
                      <a:pt x="15" y="65"/>
                    </a:lnTo>
                    <a:lnTo>
                      <a:pt x="16" y="65"/>
                    </a:lnTo>
                    <a:lnTo>
                      <a:pt x="17" y="65"/>
                    </a:lnTo>
                    <a:lnTo>
                      <a:pt x="17" y="66"/>
                    </a:lnTo>
                    <a:lnTo>
                      <a:pt x="18" y="65"/>
                    </a:lnTo>
                    <a:lnTo>
                      <a:pt x="19" y="66"/>
                    </a:lnTo>
                    <a:lnTo>
                      <a:pt x="20" y="67"/>
                    </a:lnTo>
                    <a:lnTo>
                      <a:pt x="24" y="65"/>
                    </a:lnTo>
                    <a:lnTo>
                      <a:pt x="24" y="66"/>
                    </a:lnTo>
                    <a:lnTo>
                      <a:pt x="24" y="67"/>
                    </a:lnTo>
                    <a:lnTo>
                      <a:pt x="25" y="68"/>
                    </a:lnTo>
                    <a:lnTo>
                      <a:pt x="24" y="69"/>
                    </a:lnTo>
                    <a:lnTo>
                      <a:pt x="24" y="71"/>
                    </a:lnTo>
                    <a:lnTo>
                      <a:pt x="25" y="71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7" y="70"/>
                    </a:lnTo>
                    <a:lnTo>
                      <a:pt x="28" y="70"/>
                    </a:lnTo>
                    <a:lnTo>
                      <a:pt x="27" y="72"/>
                    </a:lnTo>
                    <a:lnTo>
                      <a:pt x="27" y="74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7" y="80"/>
                    </a:lnTo>
                    <a:lnTo>
                      <a:pt x="34" y="87"/>
                    </a:lnTo>
                    <a:lnTo>
                      <a:pt x="35" y="86"/>
                    </a:lnTo>
                    <a:lnTo>
                      <a:pt x="36" y="86"/>
                    </a:lnTo>
                    <a:lnTo>
                      <a:pt x="36" y="88"/>
                    </a:lnTo>
                    <a:lnTo>
                      <a:pt x="37" y="87"/>
                    </a:lnTo>
                    <a:lnTo>
                      <a:pt x="38" y="88"/>
                    </a:lnTo>
                    <a:lnTo>
                      <a:pt x="38" y="89"/>
                    </a:lnTo>
                    <a:lnTo>
                      <a:pt x="38" y="90"/>
                    </a:lnTo>
                    <a:lnTo>
                      <a:pt x="39" y="91"/>
                    </a:lnTo>
                    <a:lnTo>
                      <a:pt x="40" y="89"/>
                    </a:lnTo>
                    <a:lnTo>
                      <a:pt x="41" y="92"/>
                    </a:lnTo>
                    <a:lnTo>
                      <a:pt x="40" y="94"/>
                    </a:lnTo>
                    <a:lnTo>
                      <a:pt x="41" y="95"/>
                    </a:lnTo>
                    <a:lnTo>
                      <a:pt x="40" y="96"/>
                    </a:lnTo>
                    <a:lnTo>
                      <a:pt x="41" y="98"/>
                    </a:lnTo>
                    <a:lnTo>
                      <a:pt x="40" y="97"/>
                    </a:lnTo>
                    <a:lnTo>
                      <a:pt x="38" y="98"/>
                    </a:lnTo>
                    <a:lnTo>
                      <a:pt x="36" y="100"/>
                    </a:lnTo>
                    <a:lnTo>
                      <a:pt x="39" y="105"/>
                    </a:lnTo>
                    <a:lnTo>
                      <a:pt x="40" y="106"/>
                    </a:lnTo>
                    <a:lnTo>
                      <a:pt x="40" y="108"/>
                    </a:lnTo>
                    <a:lnTo>
                      <a:pt x="40" y="109"/>
                    </a:lnTo>
                    <a:lnTo>
                      <a:pt x="39" y="110"/>
                    </a:lnTo>
                    <a:lnTo>
                      <a:pt x="38" y="109"/>
                    </a:lnTo>
                    <a:lnTo>
                      <a:pt x="38" y="112"/>
                    </a:lnTo>
                    <a:lnTo>
                      <a:pt x="37" y="112"/>
                    </a:lnTo>
                    <a:lnTo>
                      <a:pt x="36" y="113"/>
                    </a:lnTo>
                    <a:lnTo>
                      <a:pt x="36" y="114"/>
                    </a:lnTo>
                    <a:lnTo>
                      <a:pt x="33" y="117"/>
                    </a:lnTo>
                    <a:lnTo>
                      <a:pt x="35" y="119"/>
                    </a:lnTo>
                    <a:lnTo>
                      <a:pt x="33" y="119"/>
                    </a:lnTo>
                    <a:lnTo>
                      <a:pt x="30" y="120"/>
                    </a:lnTo>
                    <a:lnTo>
                      <a:pt x="29" y="120"/>
                    </a:lnTo>
                    <a:lnTo>
                      <a:pt x="29" y="122"/>
                    </a:lnTo>
                    <a:lnTo>
                      <a:pt x="28" y="123"/>
                    </a:lnTo>
                    <a:lnTo>
                      <a:pt x="30" y="124"/>
                    </a:lnTo>
                    <a:lnTo>
                      <a:pt x="30" y="127"/>
                    </a:lnTo>
                    <a:lnTo>
                      <a:pt x="29" y="129"/>
                    </a:lnTo>
                    <a:lnTo>
                      <a:pt x="30" y="129"/>
                    </a:lnTo>
                    <a:lnTo>
                      <a:pt x="29" y="132"/>
                    </a:lnTo>
                    <a:lnTo>
                      <a:pt x="28" y="132"/>
                    </a:lnTo>
                    <a:lnTo>
                      <a:pt x="28" y="130"/>
                    </a:lnTo>
                    <a:lnTo>
                      <a:pt x="27" y="133"/>
                    </a:lnTo>
                    <a:lnTo>
                      <a:pt x="28" y="134"/>
                    </a:lnTo>
                    <a:lnTo>
                      <a:pt x="28" y="136"/>
                    </a:lnTo>
                    <a:lnTo>
                      <a:pt x="27" y="136"/>
                    </a:lnTo>
                    <a:lnTo>
                      <a:pt x="30" y="140"/>
                    </a:lnTo>
                    <a:lnTo>
                      <a:pt x="32" y="142"/>
                    </a:lnTo>
                    <a:lnTo>
                      <a:pt x="33" y="143"/>
                    </a:lnTo>
                    <a:lnTo>
                      <a:pt x="35" y="146"/>
                    </a:lnTo>
                    <a:lnTo>
                      <a:pt x="36" y="147"/>
                    </a:lnTo>
                    <a:lnTo>
                      <a:pt x="38" y="147"/>
                    </a:lnTo>
                    <a:lnTo>
                      <a:pt x="41" y="152"/>
                    </a:lnTo>
                    <a:lnTo>
                      <a:pt x="43" y="152"/>
                    </a:lnTo>
                    <a:lnTo>
                      <a:pt x="43" y="153"/>
                    </a:lnTo>
                    <a:lnTo>
                      <a:pt x="44" y="155"/>
                    </a:lnTo>
                    <a:lnTo>
                      <a:pt x="47" y="155"/>
                    </a:lnTo>
                    <a:lnTo>
                      <a:pt x="46" y="157"/>
                    </a:lnTo>
                    <a:lnTo>
                      <a:pt x="47" y="159"/>
                    </a:lnTo>
                    <a:lnTo>
                      <a:pt x="49" y="159"/>
                    </a:lnTo>
                    <a:lnTo>
                      <a:pt x="49" y="160"/>
                    </a:lnTo>
                    <a:lnTo>
                      <a:pt x="50" y="160"/>
                    </a:lnTo>
                    <a:lnTo>
                      <a:pt x="49" y="160"/>
                    </a:lnTo>
                    <a:lnTo>
                      <a:pt x="50" y="163"/>
                    </a:lnTo>
                    <a:lnTo>
                      <a:pt x="49" y="164"/>
                    </a:lnTo>
                    <a:lnTo>
                      <a:pt x="49" y="165"/>
                    </a:lnTo>
                    <a:lnTo>
                      <a:pt x="50" y="163"/>
                    </a:lnTo>
                    <a:lnTo>
                      <a:pt x="50" y="164"/>
                    </a:lnTo>
                    <a:lnTo>
                      <a:pt x="52" y="163"/>
                    </a:lnTo>
                    <a:lnTo>
                      <a:pt x="52" y="164"/>
                    </a:lnTo>
                    <a:lnTo>
                      <a:pt x="53" y="164"/>
                    </a:lnTo>
                    <a:lnTo>
                      <a:pt x="55" y="164"/>
                    </a:lnTo>
                    <a:lnTo>
                      <a:pt x="57" y="164"/>
                    </a:lnTo>
                    <a:lnTo>
                      <a:pt x="57" y="165"/>
                    </a:lnTo>
                    <a:lnTo>
                      <a:pt x="58" y="165"/>
                    </a:lnTo>
                    <a:lnTo>
                      <a:pt x="58" y="164"/>
                    </a:lnTo>
                    <a:lnTo>
                      <a:pt x="60" y="164"/>
                    </a:lnTo>
                    <a:lnTo>
                      <a:pt x="60" y="163"/>
                    </a:lnTo>
                    <a:lnTo>
                      <a:pt x="63" y="163"/>
                    </a:lnTo>
                    <a:lnTo>
                      <a:pt x="62" y="164"/>
                    </a:lnTo>
                    <a:lnTo>
                      <a:pt x="63" y="168"/>
                    </a:lnTo>
                    <a:lnTo>
                      <a:pt x="64" y="167"/>
                    </a:lnTo>
                    <a:lnTo>
                      <a:pt x="65" y="168"/>
                    </a:lnTo>
                    <a:lnTo>
                      <a:pt x="67" y="168"/>
                    </a:lnTo>
                    <a:lnTo>
                      <a:pt x="68" y="164"/>
                    </a:lnTo>
                    <a:lnTo>
                      <a:pt x="69" y="163"/>
                    </a:lnTo>
                    <a:lnTo>
                      <a:pt x="70" y="166"/>
                    </a:lnTo>
                    <a:lnTo>
                      <a:pt x="71" y="166"/>
                    </a:lnTo>
                    <a:lnTo>
                      <a:pt x="72" y="166"/>
                    </a:lnTo>
                    <a:lnTo>
                      <a:pt x="72" y="167"/>
                    </a:lnTo>
                    <a:lnTo>
                      <a:pt x="75" y="167"/>
                    </a:lnTo>
                    <a:lnTo>
                      <a:pt x="76" y="169"/>
                    </a:lnTo>
                    <a:lnTo>
                      <a:pt x="74" y="169"/>
                    </a:lnTo>
                    <a:lnTo>
                      <a:pt x="74" y="170"/>
                    </a:lnTo>
                    <a:lnTo>
                      <a:pt x="76" y="172"/>
                    </a:lnTo>
                    <a:lnTo>
                      <a:pt x="77" y="170"/>
                    </a:lnTo>
                    <a:lnTo>
                      <a:pt x="77" y="172"/>
                    </a:lnTo>
                    <a:lnTo>
                      <a:pt x="79" y="173"/>
                    </a:lnTo>
                    <a:lnTo>
                      <a:pt x="81" y="171"/>
                    </a:lnTo>
                    <a:lnTo>
                      <a:pt x="81" y="172"/>
                    </a:lnTo>
                    <a:lnTo>
                      <a:pt x="82" y="173"/>
                    </a:lnTo>
                    <a:lnTo>
                      <a:pt x="82" y="176"/>
                    </a:lnTo>
                    <a:lnTo>
                      <a:pt x="83" y="176"/>
                    </a:lnTo>
                    <a:lnTo>
                      <a:pt x="84" y="176"/>
                    </a:lnTo>
                    <a:lnTo>
                      <a:pt x="83" y="177"/>
                    </a:lnTo>
                    <a:lnTo>
                      <a:pt x="82" y="177"/>
                    </a:lnTo>
                    <a:lnTo>
                      <a:pt x="83" y="178"/>
                    </a:lnTo>
                    <a:lnTo>
                      <a:pt x="84" y="178"/>
                    </a:lnTo>
                    <a:lnTo>
                      <a:pt x="84" y="179"/>
                    </a:lnTo>
                    <a:lnTo>
                      <a:pt x="85" y="178"/>
                    </a:lnTo>
                    <a:lnTo>
                      <a:pt x="85" y="179"/>
                    </a:lnTo>
                    <a:lnTo>
                      <a:pt x="86" y="181"/>
                    </a:lnTo>
                    <a:lnTo>
                      <a:pt x="85" y="181"/>
                    </a:lnTo>
                    <a:lnTo>
                      <a:pt x="89" y="184"/>
                    </a:lnTo>
                    <a:lnTo>
                      <a:pt x="89" y="183"/>
                    </a:lnTo>
                    <a:lnTo>
                      <a:pt x="93" y="183"/>
                    </a:lnTo>
                    <a:lnTo>
                      <a:pt x="94" y="185"/>
                    </a:lnTo>
                    <a:lnTo>
                      <a:pt x="96" y="185"/>
                    </a:lnTo>
                    <a:lnTo>
                      <a:pt x="98" y="186"/>
                    </a:lnTo>
                    <a:lnTo>
                      <a:pt x="98" y="185"/>
                    </a:lnTo>
                    <a:lnTo>
                      <a:pt x="100" y="185"/>
                    </a:lnTo>
                    <a:lnTo>
                      <a:pt x="99" y="187"/>
                    </a:lnTo>
                    <a:lnTo>
                      <a:pt x="97" y="192"/>
                    </a:lnTo>
                    <a:lnTo>
                      <a:pt x="97" y="195"/>
                    </a:lnTo>
                    <a:lnTo>
                      <a:pt x="97" y="197"/>
                    </a:lnTo>
                    <a:lnTo>
                      <a:pt x="99" y="197"/>
                    </a:lnTo>
                    <a:lnTo>
                      <a:pt x="101" y="195"/>
                    </a:lnTo>
                    <a:lnTo>
                      <a:pt x="101" y="196"/>
                    </a:lnTo>
                    <a:lnTo>
                      <a:pt x="101" y="195"/>
                    </a:lnTo>
                    <a:lnTo>
                      <a:pt x="102" y="194"/>
                    </a:lnTo>
                    <a:lnTo>
                      <a:pt x="104" y="197"/>
                    </a:lnTo>
                    <a:lnTo>
                      <a:pt x="105" y="196"/>
                    </a:lnTo>
                    <a:lnTo>
                      <a:pt x="106" y="197"/>
                    </a:lnTo>
                    <a:lnTo>
                      <a:pt x="108" y="199"/>
                    </a:lnTo>
                    <a:lnTo>
                      <a:pt x="109" y="199"/>
                    </a:lnTo>
                    <a:lnTo>
                      <a:pt x="111" y="204"/>
                    </a:lnTo>
                    <a:lnTo>
                      <a:pt x="115" y="206"/>
                    </a:lnTo>
                    <a:lnTo>
                      <a:pt x="116" y="208"/>
                    </a:lnTo>
                    <a:lnTo>
                      <a:pt x="118" y="206"/>
                    </a:lnTo>
                    <a:lnTo>
                      <a:pt x="120" y="205"/>
                    </a:lnTo>
                    <a:lnTo>
                      <a:pt x="120" y="210"/>
                    </a:lnTo>
                    <a:lnTo>
                      <a:pt x="118" y="211"/>
                    </a:lnTo>
                    <a:lnTo>
                      <a:pt x="115" y="216"/>
                    </a:lnTo>
                    <a:lnTo>
                      <a:pt x="117" y="219"/>
                    </a:lnTo>
                    <a:lnTo>
                      <a:pt x="116" y="220"/>
                    </a:lnTo>
                    <a:lnTo>
                      <a:pt x="120" y="224"/>
                    </a:lnTo>
                    <a:lnTo>
                      <a:pt x="123" y="224"/>
                    </a:lnTo>
                    <a:lnTo>
                      <a:pt x="126" y="227"/>
                    </a:lnTo>
                    <a:lnTo>
                      <a:pt x="128" y="228"/>
                    </a:lnTo>
                    <a:lnTo>
                      <a:pt x="128" y="229"/>
                    </a:lnTo>
                    <a:lnTo>
                      <a:pt x="129" y="229"/>
                    </a:lnTo>
                    <a:lnTo>
                      <a:pt x="132" y="234"/>
                    </a:lnTo>
                    <a:lnTo>
                      <a:pt x="133" y="234"/>
                    </a:lnTo>
                    <a:lnTo>
                      <a:pt x="134" y="233"/>
                    </a:lnTo>
                    <a:lnTo>
                      <a:pt x="136" y="233"/>
                    </a:lnTo>
                    <a:lnTo>
                      <a:pt x="138" y="234"/>
                    </a:lnTo>
                    <a:lnTo>
                      <a:pt x="140" y="234"/>
                    </a:lnTo>
                    <a:lnTo>
                      <a:pt x="143" y="233"/>
                    </a:lnTo>
                    <a:lnTo>
                      <a:pt x="142" y="227"/>
                    </a:lnTo>
                    <a:lnTo>
                      <a:pt x="146" y="229"/>
                    </a:lnTo>
                    <a:lnTo>
                      <a:pt x="147" y="228"/>
                    </a:lnTo>
                    <a:lnTo>
                      <a:pt x="148" y="228"/>
                    </a:lnTo>
                    <a:lnTo>
                      <a:pt x="147" y="224"/>
                    </a:lnTo>
                    <a:lnTo>
                      <a:pt x="148" y="220"/>
                    </a:lnTo>
                    <a:lnTo>
                      <a:pt x="155" y="215"/>
                    </a:lnTo>
                    <a:lnTo>
                      <a:pt x="156" y="212"/>
                    </a:lnTo>
                    <a:lnTo>
                      <a:pt x="158" y="212"/>
                    </a:lnTo>
                    <a:lnTo>
                      <a:pt x="158" y="214"/>
                    </a:lnTo>
                    <a:lnTo>
                      <a:pt x="159" y="213"/>
                    </a:lnTo>
                    <a:lnTo>
                      <a:pt x="159" y="214"/>
                    </a:lnTo>
                    <a:lnTo>
                      <a:pt x="158" y="215"/>
                    </a:lnTo>
                    <a:lnTo>
                      <a:pt x="159" y="217"/>
                    </a:lnTo>
                    <a:lnTo>
                      <a:pt x="158" y="217"/>
                    </a:lnTo>
                    <a:lnTo>
                      <a:pt x="158" y="219"/>
                    </a:lnTo>
                    <a:lnTo>
                      <a:pt x="161" y="223"/>
                    </a:lnTo>
                    <a:lnTo>
                      <a:pt x="163" y="223"/>
                    </a:lnTo>
                    <a:lnTo>
                      <a:pt x="165" y="223"/>
                    </a:lnTo>
                    <a:lnTo>
                      <a:pt x="166" y="224"/>
                    </a:lnTo>
                    <a:lnTo>
                      <a:pt x="168" y="226"/>
                    </a:lnTo>
                    <a:lnTo>
                      <a:pt x="169" y="227"/>
                    </a:lnTo>
                    <a:lnTo>
                      <a:pt x="170" y="224"/>
                    </a:lnTo>
                    <a:lnTo>
                      <a:pt x="171" y="225"/>
                    </a:lnTo>
                    <a:lnTo>
                      <a:pt x="172" y="225"/>
                    </a:lnTo>
                    <a:lnTo>
                      <a:pt x="174" y="227"/>
                    </a:lnTo>
                    <a:lnTo>
                      <a:pt x="175" y="227"/>
                    </a:lnTo>
                    <a:lnTo>
                      <a:pt x="176" y="229"/>
                    </a:lnTo>
                    <a:lnTo>
                      <a:pt x="177" y="230"/>
                    </a:lnTo>
                    <a:lnTo>
                      <a:pt x="177" y="231"/>
                    </a:lnTo>
                    <a:lnTo>
                      <a:pt x="179" y="233"/>
                    </a:lnTo>
                    <a:lnTo>
                      <a:pt x="180" y="239"/>
                    </a:lnTo>
                    <a:lnTo>
                      <a:pt x="182" y="241"/>
                    </a:lnTo>
                    <a:lnTo>
                      <a:pt x="183" y="240"/>
                    </a:lnTo>
                    <a:lnTo>
                      <a:pt x="185" y="240"/>
                    </a:lnTo>
                    <a:lnTo>
                      <a:pt x="189" y="241"/>
                    </a:lnTo>
                    <a:lnTo>
                      <a:pt x="192" y="239"/>
                    </a:lnTo>
                    <a:lnTo>
                      <a:pt x="194" y="241"/>
                    </a:lnTo>
                    <a:lnTo>
                      <a:pt x="195" y="244"/>
                    </a:lnTo>
                    <a:lnTo>
                      <a:pt x="194" y="245"/>
                    </a:lnTo>
                    <a:lnTo>
                      <a:pt x="195" y="246"/>
                    </a:lnTo>
                    <a:lnTo>
                      <a:pt x="197" y="244"/>
                    </a:lnTo>
                    <a:lnTo>
                      <a:pt x="200" y="244"/>
                    </a:lnTo>
                    <a:lnTo>
                      <a:pt x="201" y="246"/>
                    </a:lnTo>
                    <a:lnTo>
                      <a:pt x="203" y="249"/>
                    </a:lnTo>
                    <a:lnTo>
                      <a:pt x="205" y="249"/>
                    </a:lnTo>
                    <a:lnTo>
                      <a:pt x="205" y="247"/>
                    </a:lnTo>
                    <a:lnTo>
                      <a:pt x="207" y="247"/>
                    </a:lnTo>
                    <a:lnTo>
                      <a:pt x="207" y="250"/>
                    </a:lnTo>
                    <a:lnTo>
                      <a:pt x="209" y="251"/>
                    </a:lnTo>
                    <a:lnTo>
                      <a:pt x="209" y="253"/>
                    </a:lnTo>
                    <a:lnTo>
                      <a:pt x="211" y="253"/>
                    </a:lnTo>
                    <a:lnTo>
                      <a:pt x="211" y="254"/>
                    </a:lnTo>
                    <a:lnTo>
                      <a:pt x="212" y="253"/>
                    </a:lnTo>
                    <a:lnTo>
                      <a:pt x="215" y="255"/>
                    </a:lnTo>
                    <a:lnTo>
                      <a:pt x="218" y="256"/>
                    </a:lnTo>
                    <a:lnTo>
                      <a:pt x="219" y="258"/>
                    </a:lnTo>
                    <a:lnTo>
                      <a:pt x="222" y="264"/>
                    </a:lnTo>
                    <a:lnTo>
                      <a:pt x="224" y="267"/>
                    </a:lnTo>
                    <a:lnTo>
                      <a:pt x="226" y="268"/>
                    </a:lnTo>
                    <a:lnTo>
                      <a:pt x="224" y="272"/>
                    </a:lnTo>
                    <a:lnTo>
                      <a:pt x="227" y="274"/>
                    </a:lnTo>
                    <a:lnTo>
                      <a:pt x="228" y="275"/>
                    </a:lnTo>
                    <a:lnTo>
                      <a:pt x="229" y="278"/>
                    </a:lnTo>
                    <a:lnTo>
                      <a:pt x="231" y="278"/>
                    </a:lnTo>
                    <a:lnTo>
                      <a:pt x="232" y="278"/>
                    </a:lnTo>
                    <a:lnTo>
                      <a:pt x="233" y="276"/>
                    </a:lnTo>
                    <a:lnTo>
                      <a:pt x="236" y="279"/>
                    </a:lnTo>
                    <a:lnTo>
                      <a:pt x="237" y="278"/>
                    </a:lnTo>
                    <a:lnTo>
                      <a:pt x="240" y="281"/>
                    </a:lnTo>
                    <a:lnTo>
                      <a:pt x="243" y="281"/>
                    </a:lnTo>
                    <a:lnTo>
                      <a:pt x="245" y="283"/>
                    </a:lnTo>
                    <a:lnTo>
                      <a:pt x="246" y="285"/>
                    </a:lnTo>
                    <a:lnTo>
                      <a:pt x="248" y="289"/>
                    </a:lnTo>
                    <a:lnTo>
                      <a:pt x="250" y="289"/>
                    </a:lnTo>
                    <a:lnTo>
                      <a:pt x="252" y="291"/>
                    </a:lnTo>
                    <a:lnTo>
                      <a:pt x="252" y="293"/>
                    </a:lnTo>
                    <a:lnTo>
                      <a:pt x="255" y="299"/>
                    </a:lnTo>
                    <a:lnTo>
                      <a:pt x="256" y="300"/>
                    </a:lnTo>
                    <a:lnTo>
                      <a:pt x="257" y="302"/>
                    </a:lnTo>
                    <a:lnTo>
                      <a:pt x="259" y="304"/>
                    </a:lnTo>
                    <a:lnTo>
                      <a:pt x="259" y="301"/>
                    </a:lnTo>
                    <a:lnTo>
                      <a:pt x="263" y="298"/>
                    </a:lnTo>
                    <a:lnTo>
                      <a:pt x="262" y="295"/>
                    </a:lnTo>
                    <a:lnTo>
                      <a:pt x="263" y="293"/>
                    </a:lnTo>
                    <a:lnTo>
                      <a:pt x="265" y="294"/>
                    </a:lnTo>
                    <a:lnTo>
                      <a:pt x="267" y="294"/>
                    </a:lnTo>
                    <a:lnTo>
                      <a:pt x="268" y="292"/>
                    </a:lnTo>
                    <a:lnTo>
                      <a:pt x="269" y="293"/>
                    </a:lnTo>
                    <a:lnTo>
                      <a:pt x="270" y="293"/>
                    </a:lnTo>
                    <a:lnTo>
                      <a:pt x="272" y="294"/>
                    </a:lnTo>
                    <a:lnTo>
                      <a:pt x="270" y="298"/>
                    </a:lnTo>
                    <a:lnTo>
                      <a:pt x="272" y="298"/>
                    </a:lnTo>
                    <a:lnTo>
                      <a:pt x="273" y="297"/>
                    </a:lnTo>
                    <a:lnTo>
                      <a:pt x="274" y="297"/>
                    </a:lnTo>
                    <a:lnTo>
                      <a:pt x="275" y="297"/>
                    </a:lnTo>
                    <a:lnTo>
                      <a:pt x="278" y="297"/>
                    </a:lnTo>
                    <a:lnTo>
                      <a:pt x="282" y="294"/>
                    </a:lnTo>
                    <a:lnTo>
                      <a:pt x="284" y="294"/>
                    </a:lnTo>
                    <a:lnTo>
                      <a:pt x="286" y="298"/>
                    </a:lnTo>
                    <a:lnTo>
                      <a:pt x="288" y="298"/>
                    </a:lnTo>
                    <a:lnTo>
                      <a:pt x="290" y="299"/>
                    </a:lnTo>
                    <a:lnTo>
                      <a:pt x="290" y="298"/>
                    </a:lnTo>
                    <a:lnTo>
                      <a:pt x="295" y="299"/>
                    </a:lnTo>
                    <a:lnTo>
                      <a:pt x="296" y="298"/>
                    </a:lnTo>
                    <a:lnTo>
                      <a:pt x="296" y="300"/>
                    </a:lnTo>
                    <a:lnTo>
                      <a:pt x="297" y="299"/>
                    </a:lnTo>
                    <a:lnTo>
                      <a:pt x="297" y="298"/>
                    </a:lnTo>
                    <a:lnTo>
                      <a:pt x="296" y="295"/>
                    </a:lnTo>
                    <a:lnTo>
                      <a:pt x="298" y="293"/>
                    </a:lnTo>
                    <a:lnTo>
                      <a:pt x="298" y="292"/>
                    </a:lnTo>
                    <a:lnTo>
                      <a:pt x="299" y="291"/>
                    </a:lnTo>
                    <a:lnTo>
                      <a:pt x="299" y="289"/>
                    </a:lnTo>
                    <a:lnTo>
                      <a:pt x="299" y="286"/>
                    </a:lnTo>
                    <a:lnTo>
                      <a:pt x="301" y="284"/>
                    </a:lnTo>
                    <a:lnTo>
                      <a:pt x="301" y="283"/>
                    </a:lnTo>
                    <a:lnTo>
                      <a:pt x="302" y="282"/>
                    </a:lnTo>
                    <a:lnTo>
                      <a:pt x="304" y="282"/>
                    </a:lnTo>
                    <a:lnTo>
                      <a:pt x="305" y="284"/>
                    </a:lnTo>
                    <a:lnTo>
                      <a:pt x="306" y="284"/>
                    </a:lnTo>
                    <a:lnTo>
                      <a:pt x="308" y="282"/>
                    </a:lnTo>
                    <a:lnTo>
                      <a:pt x="308" y="284"/>
                    </a:lnTo>
                    <a:lnTo>
                      <a:pt x="310" y="286"/>
                    </a:lnTo>
                    <a:lnTo>
                      <a:pt x="312" y="285"/>
                    </a:lnTo>
                    <a:lnTo>
                      <a:pt x="314" y="286"/>
                    </a:lnTo>
                    <a:lnTo>
                      <a:pt x="315" y="287"/>
                    </a:lnTo>
                    <a:lnTo>
                      <a:pt x="318" y="287"/>
                    </a:lnTo>
                    <a:lnTo>
                      <a:pt x="318" y="286"/>
                    </a:lnTo>
                    <a:lnTo>
                      <a:pt x="319" y="286"/>
                    </a:lnTo>
                    <a:lnTo>
                      <a:pt x="319" y="285"/>
                    </a:lnTo>
                    <a:lnTo>
                      <a:pt x="319" y="283"/>
                    </a:lnTo>
                    <a:lnTo>
                      <a:pt x="320" y="283"/>
                    </a:lnTo>
                    <a:lnTo>
                      <a:pt x="324" y="285"/>
                    </a:lnTo>
                    <a:lnTo>
                      <a:pt x="328" y="290"/>
                    </a:lnTo>
                    <a:lnTo>
                      <a:pt x="331" y="287"/>
                    </a:lnTo>
                    <a:lnTo>
                      <a:pt x="333" y="289"/>
                    </a:lnTo>
                    <a:lnTo>
                      <a:pt x="333" y="287"/>
                    </a:lnTo>
                    <a:lnTo>
                      <a:pt x="332" y="287"/>
                    </a:lnTo>
                    <a:lnTo>
                      <a:pt x="332" y="286"/>
                    </a:lnTo>
                    <a:lnTo>
                      <a:pt x="336" y="289"/>
                    </a:lnTo>
                    <a:lnTo>
                      <a:pt x="337" y="289"/>
                    </a:lnTo>
                    <a:lnTo>
                      <a:pt x="339" y="289"/>
                    </a:lnTo>
                    <a:lnTo>
                      <a:pt x="341" y="288"/>
                    </a:lnTo>
                    <a:lnTo>
                      <a:pt x="340" y="289"/>
                    </a:lnTo>
                    <a:lnTo>
                      <a:pt x="345" y="291"/>
                    </a:lnTo>
                    <a:lnTo>
                      <a:pt x="346" y="294"/>
                    </a:lnTo>
                    <a:lnTo>
                      <a:pt x="347" y="294"/>
                    </a:lnTo>
                    <a:lnTo>
                      <a:pt x="348" y="294"/>
                    </a:lnTo>
                    <a:lnTo>
                      <a:pt x="355" y="299"/>
                    </a:lnTo>
                    <a:lnTo>
                      <a:pt x="356" y="300"/>
                    </a:lnTo>
                    <a:lnTo>
                      <a:pt x="360" y="303"/>
                    </a:lnTo>
                    <a:lnTo>
                      <a:pt x="363" y="305"/>
                    </a:lnTo>
                    <a:lnTo>
                      <a:pt x="368" y="304"/>
                    </a:lnTo>
                    <a:lnTo>
                      <a:pt x="368" y="302"/>
                    </a:lnTo>
                    <a:lnTo>
                      <a:pt x="369" y="301"/>
                    </a:lnTo>
                    <a:lnTo>
                      <a:pt x="369" y="300"/>
                    </a:lnTo>
                    <a:lnTo>
                      <a:pt x="368" y="298"/>
                    </a:lnTo>
                    <a:lnTo>
                      <a:pt x="370" y="297"/>
                    </a:lnTo>
                    <a:lnTo>
                      <a:pt x="371" y="293"/>
                    </a:lnTo>
                    <a:lnTo>
                      <a:pt x="372" y="292"/>
                    </a:lnTo>
                    <a:lnTo>
                      <a:pt x="372" y="291"/>
                    </a:lnTo>
                    <a:lnTo>
                      <a:pt x="373" y="291"/>
                    </a:lnTo>
                    <a:lnTo>
                      <a:pt x="373" y="293"/>
                    </a:lnTo>
                    <a:lnTo>
                      <a:pt x="374" y="294"/>
                    </a:lnTo>
                    <a:lnTo>
                      <a:pt x="375" y="293"/>
                    </a:lnTo>
                    <a:lnTo>
                      <a:pt x="372" y="290"/>
                    </a:lnTo>
                    <a:lnTo>
                      <a:pt x="370" y="286"/>
                    </a:lnTo>
                    <a:lnTo>
                      <a:pt x="370" y="284"/>
                    </a:lnTo>
                    <a:lnTo>
                      <a:pt x="371" y="283"/>
                    </a:lnTo>
                    <a:lnTo>
                      <a:pt x="371" y="278"/>
                    </a:lnTo>
                    <a:lnTo>
                      <a:pt x="373" y="278"/>
                    </a:lnTo>
                    <a:lnTo>
                      <a:pt x="373" y="276"/>
                    </a:lnTo>
                    <a:lnTo>
                      <a:pt x="375" y="274"/>
                    </a:lnTo>
                    <a:lnTo>
                      <a:pt x="377" y="274"/>
                    </a:lnTo>
                    <a:lnTo>
                      <a:pt x="378" y="274"/>
                    </a:lnTo>
                    <a:lnTo>
                      <a:pt x="378" y="273"/>
                    </a:lnTo>
                    <a:lnTo>
                      <a:pt x="378" y="271"/>
                    </a:lnTo>
                    <a:lnTo>
                      <a:pt x="380" y="270"/>
                    </a:lnTo>
                    <a:lnTo>
                      <a:pt x="382" y="270"/>
                    </a:lnTo>
                    <a:lnTo>
                      <a:pt x="384" y="268"/>
                    </a:lnTo>
                    <a:lnTo>
                      <a:pt x="383" y="265"/>
                    </a:lnTo>
                    <a:lnTo>
                      <a:pt x="385" y="258"/>
                    </a:lnTo>
                    <a:lnTo>
                      <a:pt x="385" y="256"/>
                    </a:lnTo>
                    <a:lnTo>
                      <a:pt x="384" y="257"/>
                    </a:lnTo>
                    <a:lnTo>
                      <a:pt x="384" y="255"/>
                    </a:lnTo>
                    <a:lnTo>
                      <a:pt x="383" y="255"/>
                    </a:lnTo>
                    <a:lnTo>
                      <a:pt x="385" y="251"/>
                    </a:lnTo>
                    <a:lnTo>
                      <a:pt x="386" y="249"/>
                    </a:lnTo>
                    <a:lnTo>
                      <a:pt x="383" y="247"/>
                    </a:lnTo>
                    <a:lnTo>
                      <a:pt x="382" y="244"/>
                    </a:lnTo>
                    <a:lnTo>
                      <a:pt x="379" y="244"/>
                    </a:lnTo>
                    <a:lnTo>
                      <a:pt x="378" y="245"/>
                    </a:lnTo>
                    <a:lnTo>
                      <a:pt x="377" y="244"/>
                    </a:lnTo>
                    <a:lnTo>
                      <a:pt x="377" y="242"/>
                    </a:lnTo>
                    <a:lnTo>
                      <a:pt x="375" y="242"/>
                    </a:lnTo>
                    <a:lnTo>
                      <a:pt x="375" y="244"/>
                    </a:lnTo>
                    <a:lnTo>
                      <a:pt x="373" y="244"/>
                    </a:lnTo>
                    <a:lnTo>
                      <a:pt x="371" y="244"/>
                    </a:lnTo>
                    <a:lnTo>
                      <a:pt x="371" y="242"/>
                    </a:lnTo>
                    <a:lnTo>
                      <a:pt x="373" y="241"/>
                    </a:lnTo>
                    <a:lnTo>
                      <a:pt x="375" y="238"/>
                    </a:lnTo>
                    <a:lnTo>
                      <a:pt x="376" y="238"/>
                    </a:lnTo>
                    <a:lnTo>
                      <a:pt x="378" y="235"/>
                    </a:lnTo>
                    <a:lnTo>
                      <a:pt x="376" y="234"/>
                    </a:lnTo>
                    <a:lnTo>
                      <a:pt x="373" y="229"/>
                    </a:lnTo>
                    <a:lnTo>
                      <a:pt x="375" y="228"/>
                    </a:lnTo>
                    <a:lnTo>
                      <a:pt x="375" y="227"/>
                    </a:lnTo>
                    <a:lnTo>
                      <a:pt x="375" y="226"/>
                    </a:lnTo>
                    <a:lnTo>
                      <a:pt x="376" y="225"/>
                    </a:lnTo>
                    <a:lnTo>
                      <a:pt x="375" y="223"/>
                    </a:lnTo>
                    <a:lnTo>
                      <a:pt x="373" y="222"/>
                    </a:lnTo>
                    <a:lnTo>
                      <a:pt x="371" y="220"/>
                    </a:lnTo>
                    <a:lnTo>
                      <a:pt x="367" y="213"/>
                    </a:lnTo>
                    <a:lnTo>
                      <a:pt x="365" y="207"/>
                    </a:lnTo>
                    <a:lnTo>
                      <a:pt x="366" y="204"/>
                    </a:lnTo>
                    <a:lnTo>
                      <a:pt x="365" y="202"/>
                    </a:lnTo>
                    <a:lnTo>
                      <a:pt x="366" y="200"/>
                    </a:lnTo>
                    <a:lnTo>
                      <a:pt x="365" y="199"/>
                    </a:lnTo>
                    <a:lnTo>
                      <a:pt x="364" y="198"/>
                    </a:lnTo>
                    <a:lnTo>
                      <a:pt x="363" y="197"/>
                    </a:lnTo>
                    <a:lnTo>
                      <a:pt x="363" y="196"/>
                    </a:lnTo>
                    <a:lnTo>
                      <a:pt x="361" y="195"/>
                    </a:lnTo>
                    <a:lnTo>
                      <a:pt x="360" y="192"/>
                    </a:lnTo>
                    <a:lnTo>
                      <a:pt x="362" y="189"/>
                    </a:lnTo>
                    <a:lnTo>
                      <a:pt x="361" y="188"/>
                    </a:lnTo>
                    <a:lnTo>
                      <a:pt x="361" y="186"/>
                    </a:lnTo>
                    <a:lnTo>
                      <a:pt x="362" y="180"/>
                    </a:lnTo>
                    <a:lnTo>
                      <a:pt x="363" y="179"/>
                    </a:lnTo>
                    <a:lnTo>
                      <a:pt x="366" y="177"/>
                    </a:lnTo>
                    <a:lnTo>
                      <a:pt x="367" y="177"/>
                    </a:lnTo>
                    <a:lnTo>
                      <a:pt x="371" y="176"/>
                    </a:lnTo>
                    <a:lnTo>
                      <a:pt x="370" y="175"/>
                    </a:lnTo>
                    <a:lnTo>
                      <a:pt x="371" y="174"/>
                    </a:lnTo>
                    <a:lnTo>
                      <a:pt x="369" y="173"/>
                    </a:lnTo>
                    <a:lnTo>
                      <a:pt x="369" y="170"/>
                    </a:lnTo>
                    <a:lnTo>
                      <a:pt x="367" y="164"/>
                    </a:lnTo>
                    <a:lnTo>
                      <a:pt x="369" y="162"/>
                    </a:lnTo>
                    <a:lnTo>
                      <a:pt x="368" y="160"/>
                    </a:lnTo>
                    <a:lnTo>
                      <a:pt x="368" y="158"/>
                    </a:lnTo>
                    <a:lnTo>
                      <a:pt x="369" y="156"/>
                    </a:lnTo>
                    <a:lnTo>
                      <a:pt x="369" y="154"/>
                    </a:lnTo>
                    <a:lnTo>
                      <a:pt x="370" y="152"/>
                    </a:lnTo>
                    <a:lnTo>
                      <a:pt x="367" y="150"/>
                    </a:lnTo>
                    <a:lnTo>
                      <a:pt x="369" y="147"/>
                    </a:lnTo>
                    <a:lnTo>
                      <a:pt x="366" y="145"/>
                    </a:lnTo>
                    <a:lnTo>
                      <a:pt x="366" y="140"/>
                    </a:lnTo>
                    <a:lnTo>
                      <a:pt x="365" y="139"/>
                    </a:lnTo>
                    <a:lnTo>
                      <a:pt x="365" y="137"/>
                    </a:lnTo>
                    <a:lnTo>
                      <a:pt x="365" y="133"/>
                    </a:lnTo>
                    <a:lnTo>
                      <a:pt x="366" y="130"/>
                    </a:lnTo>
                    <a:lnTo>
                      <a:pt x="365" y="127"/>
                    </a:lnTo>
                    <a:lnTo>
                      <a:pt x="365" y="125"/>
                    </a:lnTo>
                    <a:lnTo>
                      <a:pt x="364" y="123"/>
                    </a:lnTo>
                    <a:lnTo>
                      <a:pt x="362" y="121"/>
                    </a:lnTo>
                    <a:lnTo>
                      <a:pt x="361" y="113"/>
                    </a:lnTo>
                    <a:lnTo>
                      <a:pt x="364" y="113"/>
                    </a:lnTo>
                    <a:lnTo>
                      <a:pt x="369" y="114"/>
                    </a:lnTo>
                    <a:lnTo>
                      <a:pt x="371" y="117"/>
                    </a:lnTo>
                    <a:lnTo>
                      <a:pt x="373" y="117"/>
                    </a:lnTo>
                    <a:lnTo>
                      <a:pt x="373" y="116"/>
                    </a:lnTo>
                    <a:lnTo>
                      <a:pt x="375" y="113"/>
                    </a:lnTo>
                    <a:lnTo>
                      <a:pt x="377" y="112"/>
                    </a:lnTo>
                    <a:lnTo>
                      <a:pt x="377" y="111"/>
                    </a:lnTo>
                    <a:lnTo>
                      <a:pt x="377" y="109"/>
                    </a:lnTo>
                    <a:lnTo>
                      <a:pt x="378" y="107"/>
                    </a:lnTo>
                    <a:lnTo>
                      <a:pt x="379" y="108"/>
                    </a:lnTo>
                    <a:lnTo>
                      <a:pt x="381" y="105"/>
                    </a:lnTo>
                    <a:lnTo>
                      <a:pt x="385" y="104"/>
                    </a:lnTo>
                    <a:lnTo>
                      <a:pt x="385" y="102"/>
                    </a:lnTo>
                    <a:lnTo>
                      <a:pt x="388" y="102"/>
                    </a:lnTo>
                    <a:lnTo>
                      <a:pt x="389" y="101"/>
                    </a:lnTo>
                    <a:lnTo>
                      <a:pt x="389" y="100"/>
                    </a:lnTo>
                    <a:lnTo>
                      <a:pt x="390" y="98"/>
                    </a:lnTo>
                    <a:lnTo>
                      <a:pt x="392" y="96"/>
                    </a:lnTo>
                    <a:lnTo>
                      <a:pt x="390" y="92"/>
                    </a:lnTo>
                    <a:lnTo>
                      <a:pt x="391" y="89"/>
                    </a:lnTo>
                    <a:lnTo>
                      <a:pt x="388" y="85"/>
                    </a:lnTo>
                    <a:lnTo>
                      <a:pt x="389" y="83"/>
                    </a:lnTo>
                    <a:lnTo>
                      <a:pt x="392" y="80"/>
                    </a:lnTo>
                    <a:lnTo>
                      <a:pt x="395" y="78"/>
                    </a:lnTo>
                    <a:lnTo>
                      <a:pt x="394" y="76"/>
                    </a:lnTo>
                    <a:lnTo>
                      <a:pt x="394" y="73"/>
                    </a:lnTo>
                    <a:lnTo>
                      <a:pt x="392" y="67"/>
                    </a:lnTo>
                    <a:lnTo>
                      <a:pt x="391" y="66"/>
                    </a:lnTo>
                    <a:lnTo>
                      <a:pt x="392" y="65"/>
                    </a:lnTo>
                    <a:lnTo>
                      <a:pt x="395" y="65"/>
                    </a:lnTo>
                    <a:lnTo>
                      <a:pt x="398" y="63"/>
                    </a:lnTo>
                    <a:lnTo>
                      <a:pt x="398" y="57"/>
                    </a:lnTo>
                    <a:lnTo>
                      <a:pt x="399" y="57"/>
                    </a:lnTo>
                    <a:lnTo>
                      <a:pt x="399" y="59"/>
                    </a:lnTo>
                    <a:lnTo>
                      <a:pt x="401" y="57"/>
                    </a:lnTo>
                    <a:lnTo>
                      <a:pt x="401" y="54"/>
                    </a:lnTo>
                    <a:lnTo>
                      <a:pt x="402" y="50"/>
                    </a:lnTo>
                    <a:lnTo>
                      <a:pt x="403" y="49"/>
                    </a:lnTo>
                    <a:lnTo>
                      <a:pt x="404" y="46"/>
                    </a:lnTo>
                    <a:lnTo>
                      <a:pt x="406" y="42"/>
                    </a:lnTo>
                    <a:lnTo>
                      <a:pt x="406" y="40"/>
                    </a:lnTo>
                    <a:lnTo>
                      <a:pt x="409" y="38"/>
                    </a:lnTo>
                    <a:lnTo>
                      <a:pt x="410" y="36"/>
                    </a:lnTo>
                    <a:lnTo>
                      <a:pt x="410" y="32"/>
                    </a:lnTo>
                    <a:lnTo>
                      <a:pt x="411" y="31"/>
                    </a:lnTo>
                    <a:lnTo>
                      <a:pt x="410" y="29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81" name="Group 110">
              <a:extLst>
                <a:ext uri="{FF2B5EF4-FFF2-40B4-BE49-F238E27FC236}">
                  <a16:creationId xmlns:a16="http://schemas.microsoft.com/office/drawing/2014/main" id="{A66DCD3A-11F2-4171-AE70-BF766533195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92" y="3139"/>
              <a:ext cx="454" cy="457"/>
              <a:chOff x="1792" y="3139"/>
              <a:chExt cx="454" cy="457"/>
            </a:xfrm>
          </p:grpSpPr>
          <p:sp>
            <p:nvSpPr>
              <p:cNvPr id="497" name="Freeform 108">
                <a:extLst>
                  <a:ext uri="{FF2B5EF4-FFF2-40B4-BE49-F238E27FC236}">
                    <a16:creationId xmlns:a16="http://schemas.microsoft.com/office/drawing/2014/main" id="{6CB2D9BB-163F-493C-BC22-DF804D3E2A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" y="3139"/>
                <a:ext cx="454" cy="457"/>
              </a:xfrm>
              <a:custGeom>
                <a:avLst/>
                <a:gdLst>
                  <a:gd name="T0" fmla="*/ 446 w 454"/>
                  <a:gd name="T1" fmla="*/ 367 h 457"/>
                  <a:gd name="T2" fmla="*/ 440 w 454"/>
                  <a:gd name="T3" fmla="*/ 332 h 457"/>
                  <a:gd name="T4" fmla="*/ 417 w 454"/>
                  <a:gd name="T5" fmla="*/ 323 h 457"/>
                  <a:gd name="T6" fmla="*/ 399 w 454"/>
                  <a:gd name="T7" fmla="*/ 311 h 457"/>
                  <a:gd name="T8" fmla="*/ 392 w 454"/>
                  <a:gd name="T9" fmla="*/ 283 h 457"/>
                  <a:gd name="T10" fmla="*/ 384 w 454"/>
                  <a:gd name="T11" fmla="*/ 256 h 457"/>
                  <a:gd name="T12" fmla="*/ 388 w 454"/>
                  <a:gd name="T13" fmla="*/ 238 h 457"/>
                  <a:gd name="T14" fmla="*/ 389 w 454"/>
                  <a:gd name="T15" fmla="*/ 217 h 457"/>
                  <a:gd name="T16" fmla="*/ 373 w 454"/>
                  <a:gd name="T17" fmla="*/ 221 h 457"/>
                  <a:gd name="T18" fmla="*/ 352 w 454"/>
                  <a:gd name="T19" fmla="*/ 207 h 457"/>
                  <a:gd name="T20" fmla="*/ 325 w 454"/>
                  <a:gd name="T21" fmla="*/ 202 h 457"/>
                  <a:gd name="T22" fmla="*/ 312 w 454"/>
                  <a:gd name="T23" fmla="*/ 202 h 457"/>
                  <a:gd name="T24" fmla="*/ 287 w 454"/>
                  <a:gd name="T25" fmla="*/ 167 h 457"/>
                  <a:gd name="T26" fmla="*/ 267 w 454"/>
                  <a:gd name="T27" fmla="*/ 167 h 457"/>
                  <a:gd name="T28" fmla="*/ 256 w 454"/>
                  <a:gd name="T29" fmla="*/ 139 h 457"/>
                  <a:gd name="T30" fmla="*/ 242 w 454"/>
                  <a:gd name="T31" fmla="*/ 148 h 457"/>
                  <a:gd name="T32" fmla="*/ 249 w 454"/>
                  <a:gd name="T33" fmla="*/ 158 h 457"/>
                  <a:gd name="T34" fmla="*/ 214 w 454"/>
                  <a:gd name="T35" fmla="*/ 170 h 457"/>
                  <a:gd name="T36" fmla="*/ 191 w 454"/>
                  <a:gd name="T37" fmla="*/ 161 h 457"/>
                  <a:gd name="T38" fmla="*/ 175 w 454"/>
                  <a:gd name="T39" fmla="*/ 143 h 457"/>
                  <a:gd name="T40" fmla="*/ 173 w 454"/>
                  <a:gd name="T41" fmla="*/ 125 h 457"/>
                  <a:gd name="T42" fmla="*/ 159 w 454"/>
                  <a:gd name="T43" fmla="*/ 98 h 457"/>
                  <a:gd name="T44" fmla="*/ 136 w 454"/>
                  <a:gd name="T45" fmla="*/ 70 h 457"/>
                  <a:gd name="T46" fmla="*/ 165 w 454"/>
                  <a:gd name="T47" fmla="*/ 64 h 457"/>
                  <a:gd name="T48" fmla="*/ 176 w 454"/>
                  <a:gd name="T49" fmla="*/ 38 h 457"/>
                  <a:gd name="T50" fmla="*/ 173 w 454"/>
                  <a:gd name="T51" fmla="*/ 4 h 457"/>
                  <a:gd name="T52" fmla="*/ 140 w 454"/>
                  <a:gd name="T53" fmla="*/ 25 h 457"/>
                  <a:gd name="T54" fmla="*/ 120 w 454"/>
                  <a:gd name="T55" fmla="*/ 20 h 457"/>
                  <a:gd name="T56" fmla="*/ 95 w 454"/>
                  <a:gd name="T57" fmla="*/ 28 h 457"/>
                  <a:gd name="T58" fmla="*/ 77 w 454"/>
                  <a:gd name="T59" fmla="*/ 40 h 457"/>
                  <a:gd name="T60" fmla="*/ 48 w 454"/>
                  <a:gd name="T61" fmla="*/ 64 h 457"/>
                  <a:gd name="T62" fmla="*/ 31 w 454"/>
                  <a:gd name="T63" fmla="*/ 110 h 457"/>
                  <a:gd name="T64" fmla="*/ 8 w 454"/>
                  <a:gd name="T65" fmla="*/ 147 h 457"/>
                  <a:gd name="T66" fmla="*/ 9 w 454"/>
                  <a:gd name="T67" fmla="*/ 172 h 457"/>
                  <a:gd name="T68" fmla="*/ 3 w 454"/>
                  <a:gd name="T69" fmla="*/ 189 h 457"/>
                  <a:gd name="T70" fmla="*/ 9 w 454"/>
                  <a:gd name="T71" fmla="*/ 209 h 457"/>
                  <a:gd name="T72" fmla="*/ 16 w 454"/>
                  <a:gd name="T73" fmla="*/ 221 h 457"/>
                  <a:gd name="T74" fmla="*/ 25 w 454"/>
                  <a:gd name="T75" fmla="*/ 222 h 457"/>
                  <a:gd name="T76" fmla="*/ 39 w 454"/>
                  <a:gd name="T77" fmla="*/ 232 h 457"/>
                  <a:gd name="T78" fmla="*/ 63 w 454"/>
                  <a:gd name="T79" fmla="*/ 243 h 457"/>
                  <a:gd name="T80" fmla="*/ 72 w 454"/>
                  <a:gd name="T81" fmla="*/ 260 h 457"/>
                  <a:gd name="T82" fmla="*/ 100 w 454"/>
                  <a:gd name="T83" fmla="*/ 260 h 457"/>
                  <a:gd name="T84" fmla="*/ 130 w 454"/>
                  <a:gd name="T85" fmla="*/ 270 h 457"/>
                  <a:gd name="T86" fmla="*/ 143 w 454"/>
                  <a:gd name="T87" fmla="*/ 281 h 457"/>
                  <a:gd name="T88" fmla="*/ 149 w 454"/>
                  <a:gd name="T89" fmla="*/ 310 h 457"/>
                  <a:gd name="T90" fmla="*/ 163 w 454"/>
                  <a:gd name="T91" fmla="*/ 326 h 457"/>
                  <a:gd name="T92" fmla="*/ 179 w 454"/>
                  <a:gd name="T93" fmla="*/ 348 h 457"/>
                  <a:gd name="T94" fmla="*/ 177 w 454"/>
                  <a:gd name="T95" fmla="*/ 361 h 457"/>
                  <a:gd name="T96" fmla="*/ 193 w 454"/>
                  <a:gd name="T97" fmla="*/ 362 h 457"/>
                  <a:gd name="T98" fmla="*/ 209 w 454"/>
                  <a:gd name="T99" fmla="*/ 379 h 457"/>
                  <a:gd name="T100" fmla="*/ 239 w 454"/>
                  <a:gd name="T101" fmla="*/ 391 h 457"/>
                  <a:gd name="T102" fmla="*/ 272 w 454"/>
                  <a:gd name="T103" fmla="*/ 406 h 457"/>
                  <a:gd name="T104" fmla="*/ 304 w 454"/>
                  <a:gd name="T105" fmla="*/ 427 h 457"/>
                  <a:gd name="T106" fmla="*/ 320 w 454"/>
                  <a:gd name="T107" fmla="*/ 454 h 457"/>
                  <a:gd name="T108" fmla="*/ 350 w 454"/>
                  <a:gd name="T109" fmla="*/ 442 h 457"/>
                  <a:gd name="T110" fmla="*/ 364 w 454"/>
                  <a:gd name="T111" fmla="*/ 420 h 457"/>
                  <a:gd name="T112" fmla="*/ 381 w 454"/>
                  <a:gd name="T113" fmla="*/ 407 h 457"/>
                  <a:gd name="T114" fmla="*/ 404 w 454"/>
                  <a:gd name="T115" fmla="*/ 413 h 457"/>
                  <a:gd name="T116" fmla="*/ 438 w 454"/>
                  <a:gd name="T117" fmla="*/ 409 h 457"/>
                  <a:gd name="T118" fmla="*/ 454 w 454"/>
                  <a:gd name="T119" fmla="*/ 394 h 45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454"/>
                  <a:gd name="T181" fmla="*/ 0 h 457"/>
                  <a:gd name="T182" fmla="*/ 454 w 454"/>
                  <a:gd name="T183" fmla="*/ 457 h 45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454" h="457">
                    <a:moveTo>
                      <a:pt x="451" y="392"/>
                    </a:moveTo>
                    <a:lnTo>
                      <a:pt x="450" y="388"/>
                    </a:lnTo>
                    <a:lnTo>
                      <a:pt x="448" y="388"/>
                    </a:lnTo>
                    <a:lnTo>
                      <a:pt x="448" y="384"/>
                    </a:lnTo>
                    <a:lnTo>
                      <a:pt x="447" y="383"/>
                    </a:lnTo>
                    <a:lnTo>
                      <a:pt x="448" y="381"/>
                    </a:lnTo>
                    <a:lnTo>
                      <a:pt x="447" y="377"/>
                    </a:lnTo>
                    <a:lnTo>
                      <a:pt x="448" y="377"/>
                    </a:lnTo>
                    <a:lnTo>
                      <a:pt x="449" y="372"/>
                    </a:lnTo>
                    <a:lnTo>
                      <a:pt x="447" y="372"/>
                    </a:lnTo>
                    <a:lnTo>
                      <a:pt x="446" y="371"/>
                    </a:lnTo>
                    <a:lnTo>
                      <a:pt x="446" y="367"/>
                    </a:lnTo>
                    <a:lnTo>
                      <a:pt x="446" y="364"/>
                    </a:lnTo>
                    <a:lnTo>
                      <a:pt x="445" y="361"/>
                    </a:lnTo>
                    <a:lnTo>
                      <a:pt x="446" y="359"/>
                    </a:lnTo>
                    <a:lnTo>
                      <a:pt x="445" y="354"/>
                    </a:lnTo>
                    <a:lnTo>
                      <a:pt x="444" y="354"/>
                    </a:lnTo>
                    <a:lnTo>
                      <a:pt x="444" y="351"/>
                    </a:lnTo>
                    <a:lnTo>
                      <a:pt x="443" y="346"/>
                    </a:lnTo>
                    <a:lnTo>
                      <a:pt x="443" y="343"/>
                    </a:lnTo>
                    <a:lnTo>
                      <a:pt x="443" y="339"/>
                    </a:lnTo>
                    <a:lnTo>
                      <a:pt x="444" y="336"/>
                    </a:lnTo>
                    <a:lnTo>
                      <a:pt x="443" y="333"/>
                    </a:lnTo>
                    <a:lnTo>
                      <a:pt x="443" y="332"/>
                    </a:lnTo>
                    <a:lnTo>
                      <a:pt x="440" y="332"/>
                    </a:lnTo>
                    <a:lnTo>
                      <a:pt x="437" y="329"/>
                    </a:lnTo>
                    <a:lnTo>
                      <a:pt x="433" y="330"/>
                    </a:lnTo>
                    <a:lnTo>
                      <a:pt x="432" y="329"/>
                    </a:lnTo>
                    <a:lnTo>
                      <a:pt x="428" y="332"/>
                    </a:lnTo>
                    <a:lnTo>
                      <a:pt x="425" y="332"/>
                    </a:lnTo>
                    <a:lnTo>
                      <a:pt x="425" y="329"/>
                    </a:lnTo>
                    <a:lnTo>
                      <a:pt x="423" y="328"/>
                    </a:lnTo>
                    <a:lnTo>
                      <a:pt x="421" y="328"/>
                    </a:lnTo>
                    <a:lnTo>
                      <a:pt x="419" y="328"/>
                    </a:lnTo>
                    <a:lnTo>
                      <a:pt x="420" y="326"/>
                    </a:lnTo>
                    <a:lnTo>
                      <a:pt x="418" y="324"/>
                    </a:lnTo>
                    <a:lnTo>
                      <a:pt x="419" y="323"/>
                    </a:lnTo>
                    <a:lnTo>
                      <a:pt x="417" y="323"/>
                    </a:lnTo>
                    <a:lnTo>
                      <a:pt x="418" y="321"/>
                    </a:lnTo>
                    <a:lnTo>
                      <a:pt x="418" y="318"/>
                    </a:lnTo>
                    <a:lnTo>
                      <a:pt x="413" y="317"/>
                    </a:lnTo>
                    <a:lnTo>
                      <a:pt x="410" y="317"/>
                    </a:lnTo>
                    <a:lnTo>
                      <a:pt x="408" y="317"/>
                    </a:lnTo>
                    <a:lnTo>
                      <a:pt x="407" y="318"/>
                    </a:lnTo>
                    <a:lnTo>
                      <a:pt x="407" y="315"/>
                    </a:lnTo>
                    <a:lnTo>
                      <a:pt x="405" y="314"/>
                    </a:lnTo>
                    <a:lnTo>
                      <a:pt x="404" y="314"/>
                    </a:lnTo>
                    <a:lnTo>
                      <a:pt x="403" y="315"/>
                    </a:lnTo>
                    <a:lnTo>
                      <a:pt x="403" y="313"/>
                    </a:lnTo>
                    <a:lnTo>
                      <a:pt x="400" y="313"/>
                    </a:lnTo>
                    <a:lnTo>
                      <a:pt x="399" y="311"/>
                    </a:lnTo>
                    <a:lnTo>
                      <a:pt x="399" y="310"/>
                    </a:lnTo>
                    <a:lnTo>
                      <a:pt x="398" y="309"/>
                    </a:lnTo>
                    <a:lnTo>
                      <a:pt x="397" y="307"/>
                    </a:lnTo>
                    <a:lnTo>
                      <a:pt x="396" y="307"/>
                    </a:lnTo>
                    <a:lnTo>
                      <a:pt x="397" y="306"/>
                    </a:lnTo>
                    <a:lnTo>
                      <a:pt x="396" y="304"/>
                    </a:lnTo>
                    <a:lnTo>
                      <a:pt x="398" y="296"/>
                    </a:lnTo>
                    <a:lnTo>
                      <a:pt x="397" y="294"/>
                    </a:lnTo>
                    <a:lnTo>
                      <a:pt x="395" y="294"/>
                    </a:lnTo>
                    <a:lnTo>
                      <a:pt x="394" y="293"/>
                    </a:lnTo>
                    <a:lnTo>
                      <a:pt x="394" y="290"/>
                    </a:lnTo>
                    <a:lnTo>
                      <a:pt x="394" y="285"/>
                    </a:lnTo>
                    <a:lnTo>
                      <a:pt x="392" y="283"/>
                    </a:lnTo>
                    <a:lnTo>
                      <a:pt x="392" y="280"/>
                    </a:lnTo>
                    <a:lnTo>
                      <a:pt x="391" y="278"/>
                    </a:lnTo>
                    <a:lnTo>
                      <a:pt x="391" y="276"/>
                    </a:lnTo>
                    <a:lnTo>
                      <a:pt x="391" y="273"/>
                    </a:lnTo>
                    <a:lnTo>
                      <a:pt x="390" y="272"/>
                    </a:lnTo>
                    <a:lnTo>
                      <a:pt x="390" y="270"/>
                    </a:lnTo>
                    <a:lnTo>
                      <a:pt x="388" y="268"/>
                    </a:lnTo>
                    <a:lnTo>
                      <a:pt x="387" y="264"/>
                    </a:lnTo>
                    <a:lnTo>
                      <a:pt x="388" y="262"/>
                    </a:lnTo>
                    <a:lnTo>
                      <a:pt x="386" y="261"/>
                    </a:lnTo>
                    <a:lnTo>
                      <a:pt x="386" y="259"/>
                    </a:lnTo>
                    <a:lnTo>
                      <a:pt x="385" y="258"/>
                    </a:lnTo>
                    <a:lnTo>
                      <a:pt x="384" y="256"/>
                    </a:lnTo>
                    <a:lnTo>
                      <a:pt x="384" y="254"/>
                    </a:lnTo>
                    <a:lnTo>
                      <a:pt x="389" y="251"/>
                    </a:lnTo>
                    <a:lnTo>
                      <a:pt x="391" y="249"/>
                    </a:lnTo>
                    <a:lnTo>
                      <a:pt x="390" y="248"/>
                    </a:lnTo>
                    <a:lnTo>
                      <a:pt x="389" y="246"/>
                    </a:lnTo>
                    <a:lnTo>
                      <a:pt x="391" y="246"/>
                    </a:lnTo>
                    <a:lnTo>
                      <a:pt x="391" y="244"/>
                    </a:lnTo>
                    <a:lnTo>
                      <a:pt x="395" y="244"/>
                    </a:lnTo>
                    <a:lnTo>
                      <a:pt x="396" y="242"/>
                    </a:lnTo>
                    <a:lnTo>
                      <a:pt x="394" y="240"/>
                    </a:lnTo>
                    <a:lnTo>
                      <a:pt x="391" y="239"/>
                    </a:lnTo>
                    <a:lnTo>
                      <a:pt x="388" y="239"/>
                    </a:lnTo>
                    <a:lnTo>
                      <a:pt x="388" y="238"/>
                    </a:lnTo>
                    <a:lnTo>
                      <a:pt x="386" y="236"/>
                    </a:lnTo>
                    <a:lnTo>
                      <a:pt x="386" y="234"/>
                    </a:lnTo>
                    <a:lnTo>
                      <a:pt x="385" y="232"/>
                    </a:lnTo>
                    <a:lnTo>
                      <a:pt x="385" y="231"/>
                    </a:lnTo>
                    <a:lnTo>
                      <a:pt x="387" y="230"/>
                    </a:lnTo>
                    <a:lnTo>
                      <a:pt x="388" y="228"/>
                    </a:lnTo>
                    <a:lnTo>
                      <a:pt x="387" y="226"/>
                    </a:lnTo>
                    <a:lnTo>
                      <a:pt x="388" y="225"/>
                    </a:lnTo>
                    <a:lnTo>
                      <a:pt x="390" y="221"/>
                    </a:lnTo>
                    <a:lnTo>
                      <a:pt x="388" y="219"/>
                    </a:lnTo>
                    <a:lnTo>
                      <a:pt x="389" y="218"/>
                    </a:lnTo>
                    <a:lnTo>
                      <a:pt x="388" y="217"/>
                    </a:lnTo>
                    <a:lnTo>
                      <a:pt x="389" y="217"/>
                    </a:lnTo>
                    <a:lnTo>
                      <a:pt x="388" y="213"/>
                    </a:lnTo>
                    <a:lnTo>
                      <a:pt x="384" y="214"/>
                    </a:lnTo>
                    <a:lnTo>
                      <a:pt x="381" y="210"/>
                    </a:lnTo>
                    <a:lnTo>
                      <a:pt x="379" y="210"/>
                    </a:lnTo>
                    <a:lnTo>
                      <a:pt x="380" y="212"/>
                    </a:lnTo>
                    <a:lnTo>
                      <a:pt x="379" y="217"/>
                    </a:lnTo>
                    <a:lnTo>
                      <a:pt x="381" y="218"/>
                    </a:lnTo>
                    <a:lnTo>
                      <a:pt x="378" y="221"/>
                    </a:lnTo>
                    <a:lnTo>
                      <a:pt x="376" y="222"/>
                    </a:lnTo>
                    <a:lnTo>
                      <a:pt x="375" y="222"/>
                    </a:lnTo>
                    <a:lnTo>
                      <a:pt x="374" y="222"/>
                    </a:lnTo>
                    <a:lnTo>
                      <a:pt x="373" y="221"/>
                    </a:lnTo>
                    <a:lnTo>
                      <a:pt x="371" y="222"/>
                    </a:lnTo>
                    <a:lnTo>
                      <a:pt x="372" y="221"/>
                    </a:lnTo>
                    <a:lnTo>
                      <a:pt x="371" y="220"/>
                    </a:lnTo>
                    <a:lnTo>
                      <a:pt x="369" y="221"/>
                    </a:lnTo>
                    <a:lnTo>
                      <a:pt x="366" y="218"/>
                    </a:lnTo>
                    <a:lnTo>
                      <a:pt x="365" y="220"/>
                    </a:lnTo>
                    <a:lnTo>
                      <a:pt x="364" y="218"/>
                    </a:lnTo>
                    <a:lnTo>
                      <a:pt x="363" y="216"/>
                    </a:lnTo>
                    <a:lnTo>
                      <a:pt x="362" y="215"/>
                    </a:lnTo>
                    <a:lnTo>
                      <a:pt x="359" y="213"/>
                    </a:lnTo>
                    <a:lnTo>
                      <a:pt x="359" y="209"/>
                    </a:lnTo>
                    <a:lnTo>
                      <a:pt x="354" y="209"/>
                    </a:lnTo>
                    <a:lnTo>
                      <a:pt x="352" y="207"/>
                    </a:lnTo>
                    <a:lnTo>
                      <a:pt x="351" y="206"/>
                    </a:lnTo>
                    <a:lnTo>
                      <a:pt x="351" y="202"/>
                    </a:lnTo>
                    <a:lnTo>
                      <a:pt x="343" y="202"/>
                    </a:lnTo>
                    <a:lnTo>
                      <a:pt x="342" y="202"/>
                    </a:lnTo>
                    <a:lnTo>
                      <a:pt x="338" y="202"/>
                    </a:lnTo>
                    <a:lnTo>
                      <a:pt x="334" y="201"/>
                    </a:lnTo>
                    <a:lnTo>
                      <a:pt x="332" y="199"/>
                    </a:lnTo>
                    <a:lnTo>
                      <a:pt x="325" y="195"/>
                    </a:lnTo>
                    <a:lnTo>
                      <a:pt x="324" y="198"/>
                    </a:lnTo>
                    <a:lnTo>
                      <a:pt x="325" y="199"/>
                    </a:lnTo>
                    <a:lnTo>
                      <a:pt x="328" y="200"/>
                    </a:lnTo>
                    <a:lnTo>
                      <a:pt x="329" y="201"/>
                    </a:lnTo>
                    <a:lnTo>
                      <a:pt x="325" y="202"/>
                    </a:lnTo>
                    <a:lnTo>
                      <a:pt x="326" y="203"/>
                    </a:lnTo>
                    <a:lnTo>
                      <a:pt x="327" y="204"/>
                    </a:lnTo>
                    <a:lnTo>
                      <a:pt x="325" y="205"/>
                    </a:lnTo>
                    <a:lnTo>
                      <a:pt x="323" y="204"/>
                    </a:lnTo>
                    <a:lnTo>
                      <a:pt x="323" y="202"/>
                    </a:lnTo>
                    <a:lnTo>
                      <a:pt x="322" y="202"/>
                    </a:lnTo>
                    <a:lnTo>
                      <a:pt x="322" y="205"/>
                    </a:lnTo>
                    <a:lnTo>
                      <a:pt x="320" y="209"/>
                    </a:lnTo>
                    <a:lnTo>
                      <a:pt x="318" y="209"/>
                    </a:lnTo>
                    <a:lnTo>
                      <a:pt x="318" y="208"/>
                    </a:lnTo>
                    <a:lnTo>
                      <a:pt x="315" y="205"/>
                    </a:lnTo>
                    <a:lnTo>
                      <a:pt x="314" y="202"/>
                    </a:lnTo>
                    <a:lnTo>
                      <a:pt x="312" y="202"/>
                    </a:lnTo>
                    <a:lnTo>
                      <a:pt x="309" y="196"/>
                    </a:lnTo>
                    <a:lnTo>
                      <a:pt x="311" y="191"/>
                    </a:lnTo>
                    <a:lnTo>
                      <a:pt x="310" y="187"/>
                    </a:lnTo>
                    <a:lnTo>
                      <a:pt x="309" y="185"/>
                    </a:lnTo>
                    <a:lnTo>
                      <a:pt x="299" y="181"/>
                    </a:lnTo>
                    <a:lnTo>
                      <a:pt x="296" y="182"/>
                    </a:lnTo>
                    <a:lnTo>
                      <a:pt x="295" y="182"/>
                    </a:lnTo>
                    <a:lnTo>
                      <a:pt x="293" y="180"/>
                    </a:lnTo>
                    <a:lnTo>
                      <a:pt x="294" y="178"/>
                    </a:lnTo>
                    <a:lnTo>
                      <a:pt x="293" y="174"/>
                    </a:lnTo>
                    <a:lnTo>
                      <a:pt x="292" y="168"/>
                    </a:lnTo>
                    <a:lnTo>
                      <a:pt x="288" y="169"/>
                    </a:lnTo>
                    <a:lnTo>
                      <a:pt x="287" y="167"/>
                    </a:lnTo>
                    <a:lnTo>
                      <a:pt x="286" y="167"/>
                    </a:lnTo>
                    <a:lnTo>
                      <a:pt x="285" y="166"/>
                    </a:lnTo>
                    <a:lnTo>
                      <a:pt x="283" y="166"/>
                    </a:lnTo>
                    <a:lnTo>
                      <a:pt x="283" y="167"/>
                    </a:lnTo>
                    <a:lnTo>
                      <a:pt x="282" y="167"/>
                    </a:lnTo>
                    <a:lnTo>
                      <a:pt x="282" y="168"/>
                    </a:lnTo>
                    <a:lnTo>
                      <a:pt x="282" y="170"/>
                    </a:lnTo>
                    <a:lnTo>
                      <a:pt x="281" y="172"/>
                    </a:lnTo>
                    <a:lnTo>
                      <a:pt x="277" y="174"/>
                    </a:lnTo>
                    <a:lnTo>
                      <a:pt x="275" y="170"/>
                    </a:lnTo>
                    <a:lnTo>
                      <a:pt x="273" y="168"/>
                    </a:lnTo>
                    <a:lnTo>
                      <a:pt x="272" y="166"/>
                    </a:lnTo>
                    <a:lnTo>
                      <a:pt x="267" y="167"/>
                    </a:lnTo>
                    <a:lnTo>
                      <a:pt x="265" y="164"/>
                    </a:lnTo>
                    <a:lnTo>
                      <a:pt x="263" y="161"/>
                    </a:lnTo>
                    <a:lnTo>
                      <a:pt x="262" y="157"/>
                    </a:lnTo>
                    <a:lnTo>
                      <a:pt x="263" y="157"/>
                    </a:lnTo>
                    <a:lnTo>
                      <a:pt x="265" y="154"/>
                    </a:lnTo>
                    <a:lnTo>
                      <a:pt x="262" y="151"/>
                    </a:lnTo>
                    <a:lnTo>
                      <a:pt x="262" y="149"/>
                    </a:lnTo>
                    <a:lnTo>
                      <a:pt x="260" y="149"/>
                    </a:lnTo>
                    <a:lnTo>
                      <a:pt x="262" y="144"/>
                    </a:lnTo>
                    <a:lnTo>
                      <a:pt x="261" y="143"/>
                    </a:lnTo>
                    <a:lnTo>
                      <a:pt x="259" y="143"/>
                    </a:lnTo>
                    <a:lnTo>
                      <a:pt x="256" y="141"/>
                    </a:lnTo>
                    <a:lnTo>
                      <a:pt x="256" y="139"/>
                    </a:lnTo>
                    <a:lnTo>
                      <a:pt x="255" y="138"/>
                    </a:lnTo>
                    <a:lnTo>
                      <a:pt x="255" y="135"/>
                    </a:lnTo>
                    <a:lnTo>
                      <a:pt x="252" y="135"/>
                    </a:lnTo>
                    <a:lnTo>
                      <a:pt x="251" y="134"/>
                    </a:lnTo>
                    <a:lnTo>
                      <a:pt x="249" y="133"/>
                    </a:lnTo>
                    <a:lnTo>
                      <a:pt x="249" y="132"/>
                    </a:lnTo>
                    <a:lnTo>
                      <a:pt x="247" y="132"/>
                    </a:lnTo>
                    <a:lnTo>
                      <a:pt x="241" y="136"/>
                    </a:lnTo>
                    <a:lnTo>
                      <a:pt x="239" y="137"/>
                    </a:lnTo>
                    <a:lnTo>
                      <a:pt x="239" y="140"/>
                    </a:lnTo>
                    <a:lnTo>
                      <a:pt x="239" y="144"/>
                    </a:lnTo>
                    <a:lnTo>
                      <a:pt x="240" y="148"/>
                    </a:lnTo>
                    <a:lnTo>
                      <a:pt x="242" y="148"/>
                    </a:lnTo>
                    <a:lnTo>
                      <a:pt x="244" y="144"/>
                    </a:lnTo>
                    <a:lnTo>
                      <a:pt x="246" y="145"/>
                    </a:lnTo>
                    <a:lnTo>
                      <a:pt x="247" y="146"/>
                    </a:lnTo>
                    <a:lnTo>
                      <a:pt x="249" y="146"/>
                    </a:lnTo>
                    <a:lnTo>
                      <a:pt x="250" y="150"/>
                    </a:lnTo>
                    <a:lnTo>
                      <a:pt x="250" y="151"/>
                    </a:lnTo>
                    <a:lnTo>
                      <a:pt x="248" y="152"/>
                    </a:lnTo>
                    <a:lnTo>
                      <a:pt x="249" y="154"/>
                    </a:lnTo>
                    <a:lnTo>
                      <a:pt x="249" y="156"/>
                    </a:lnTo>
                    <a:lnTo>
                      <a:pt x="248" y="156"/>
                    </a:lnTo>
                    <a:lnTo>
                      <a:pt x="247" y="157"/>
                    </a:lnTo>
                    <a:lnTo>
                      <a:pt x="249" y="158"/>
                    </a:lnTo>
                    <a:lnTo>
                      <a:pt x="248" y="161"/>
                    </a:lnTo>
                    <a:lnTo>
                      <a:pt x="247" y="159"/>
                    </a:lnTo>
                    <a:lnTo>
                      <a:pt x="247" y="158"/>
                    </a:lnTo>
                    <a:lnTo>
                      <a:pt x="246" y="157"/>
                    </a:lnTo>
                    <a:lnTo>
                      <a:pt x="238" y="157"/>
                    </a:lnTo>
                    <a:lnTo>
                      <a:pt x="238" y="153"/>
                    </a:lnTo>
                    <a:lnTo>
                      <a:pt x="234" y="155"/>
                    </a:lnTo>
                    <a:lnTo>
                      <a:pt x="231" y="158"/>
                    </a:lnTo>
                    <a:lnTo>
                      <a:pt x="228" y="157"/>
                    </a:lnTo>
                    <a:lnTo>
                      <a:pt x="225" y="158"/>
                    </a:lnTo>
                    <a:lnTo>
                      <a:pt x="224" y="158"/>
                    </a:lnTo>
                    <a:lnTo>
                      <a:pt x="215" y="168"/>
                    </a:lnTo>
                    <a:lnTo>
                      <a:pt x="214" y="170"/>
                    </a:lnTo>
                    <a:lnTo>
                      <a:pt x="211" y="170"/>
                    </a:lnTo>
                    <a:lnTo>
                      <a:pt x="206" y="168"/>
                    </a:lnTo>
                    <a:lnTo>
                      <a:pt x="203" y="168"/>
                    </a:lnTo>
                    <a:lnTo>
                      <a:pt x="200" y="170"/>
                    </a:lnTo>
                    <a:lnTo>
                      <a:pt x="198" y="167"/>
                    </a:lnTo>
                    <a:lnTo>
                      <a:pt x="197" y="167"/>
                    </a:lnTo>
                    <a:lnTo>
                      <a:pt x="197" y="165"/>
                    </a:lnTo>
                    <a:lnTo>
                      <a:pt x="195" y="165"/>
                    </a:lnTo>
                    <a:lnTo>
                      <a:pt x="195" y="164"/>
                    </a:lnTo>
                    <a:lnTo>
                      <a:pt x="193" y="163"/>
                    </a:lnTo>
                    <a:lnTo>
                      <a:pt x="192" y="161"/>
                    </a:lnTo>
                    <a:lnTo>
                      <a:pt x="191" y="161"/>
                    </a:lnTo>
                    <a:lnTo>
                      <a:pt x="190" y="159"/>
                    </a:lnTo>
                    <a:lnTo>
                      <a:pt x="192" y="156"/>
                    </a:lnTo>
                    <a:lnTo>
                      <a:pt x="190" y="152"/>
                    </a:lnTo>
                    <a:lnTo>
                      <a:pt x="189" y="151"/>
                    </a:lnTo>
                    <a:lnTo>
                      <a:pt x="183" y="151"/>
                    </a:lnTo>
                    <a:lnTo>
                      <a:pt x="183" y="149"/>
                    </a:lnTo>
                    <a:lnTo>
                      <a:pt x="181" y="149"/>
                    </a:lnTo>
                    <a:lnTo>
                      <a:pt x="181" y="148"/>
                    </a:lnTo>
                    <a:lnTo>
                      <a:pt x="180" y="146"/>
                    </a:lnTo>
                    <a:lnTo>
                      <a:pt x="179" y="147"/>
                    </a:lnTo>
                    <a:lnTo>
                      <a:pt x="179" y="146"/>
                    </a:lnTo>
                    <a:lnTo>
                      <a:pt x="177" y="145"/>
                    </a:lnTo>
                    <a:lnTo>
                      <a:pt x="175" y="143"/>
                    </a:lnTo>
                    <a:lnTo>
                      <a:pt x="177" y="142"/>
                    </a:lnTo>
                    <a:lnTo>
                      <a:pt x="177" y="140"/>
                    </a:lnTo>
                    <a:lnTo>
                      <a:pt x="177" y="138"/>
                    </a:lnTo>
                    <a:lnTo>
                      <a:pt x="175" y="138"/>
                    </a:lnTo>
                    <a:lnTo>
                      <a:pt x="177" y="135"/>
                    </a:lnTo>
                    <a:lnTo>
                      <a:pt x="175" y="134"/>
                    </a:lnTo>
                    <a:lnTo>
                      <a:pt x="176" y="134"/>
                    </a:lnTo>
                    <a:lnTo>
                      <a:pt x="176" y="131"/>
                    </a:lnTo>
                    <a:lnTo>
                      <a:pt x="173" y="130"/>
                    </a:lnTo>
                    <a:lnTo>
                      <a:pt x="174" y="128"/>
                    </a:lnTo>
                    <a:lnTo>
                      <a:pt x="173" y="126"/>
                    </a:lnTo>
                    <a:lnTo>
                      <a:pt x="172" y="126"/>
                    </a:lnTo>
                    <a:lnTo>
                      <a:pt x="173" y="125"/>
                    </a:lnTo>
                    <a:lnTo>
                      <a:pt x="173" y="124"/>
                    </a:lnTo>
                    <a:lnTo>
                      <a:pt x="173" y="123"/>
                    </a:lnTo>
                    <a:lnTo>
                      <a:pt x="172" y="122"/>
                    </a:lnTo>
                    <a:lnTo>
                      <a:pt x="172" y="120"/>
                    </a:lnTo>
                    <a:lnTo>
                      <a:pt x="172" y="118"/>
                    </a:lnTo>
                    <a:lnTo>
                      <a:pt x="170" y="116"/>
                    </a:lnTo>
                    <a:lnTo>
                      <a:pt x="168" y="116"/>
                    </a:lnTo>
                    <a:lnTo>
                      <a:pt x="168" y="115"/>
                    </a:lnTo>
                    <a:lnTo>
                      <a:pt x="166" y="113"/>
                    </a:lnTo>
                    <a:lnTo>
                      <a:pt x="167" y="109"/>
                    </a:lnTo>
                    <a:lnTo>
                      <a:pt x="160" y="100"/>
                    </a:lnTo>
                    <a:lnTo>
                      <a:pt x="159" y="98"/>
                    </a:lnTo>
                    <a:lnTo>
                      <a:pt x="155" y="98"/>
                    </a:lnTo>
                    <a:lnTo>
                      <a:pt x="152" y="104"/>
                    </a:lnTo>
                    <a:lnTo>
                      <a:pt x="149" y="101"/>
                    </a:lnTo>
                    <a:lnTo>
                      <a:pt x="146" y="100"/>
                    </a:lnTo>
                    <a:lnTo>
                      <a:pt x="144" y="91"/>
                    </a:lnTo>
                    <a:lnTo>
                      <a:pt x="141" y="88"/>
                    </a:lnTo>
                    <a:lnTo>
                      <a:pt x="138" y="86"/>
                    </a:lnTo>
                    <a:lnTo>
                      <a:pt x="138" y="85"/>
                    </a:lnTo>
                    <a:lnTo>
                      <a:pt x="136" y="85"/>
                    </a:lnTo>
                    <a:lnTo>
                      <a:pt x="135" y="80"/>
                    </a:lnTo>
                    <a:lnTo>
                      <a:pt x="133" y="75"/>
                    </a:lnTo>
                    <a:lnTo>
                      <a:pt x="135" y="71"/>
                    </a:lnTo>
                    <a:lnTo>
                      <a:pt x="136" y="70"/>
                    </a:lnTo>
                    <a:lnTo>
                      <a:pt x="140" y="71"/>
                    </a:lnTo>
                    <a:lnTo>
                      <a:pt x="141" y="72"/>
                    </a:lnTo>
                    <a:lnTo>
                      <a:pt x="143" y="70"/>
                    </a:lnTo>
                    <a:lnTo>
                      <a:pt x="145" y="70"/>
                    </a:lnTo>
                    <a:lnTo>
                      <a:pt x="148" y="69"/>
                    </a:lnTo>
                    <a:lnTo>
                      <a:pt x="152" y="69"/>
                    </a:lnTo>
                    <a:lnTo>
                      <a:pt x="156" y="67"/>
                    </a:lnTo>
                    <a:lnTo>
                      <a:pt x="157" y="68"/>
                    </a:lnTo>
                    <a:lnTo>
                      <a:pt x="159" y="67"/>
                    </a:lnTo>
                    <a:lnTo>
                      <a:pt x="160" y="68"/>
                    </a:lnTo>
                    <a:lnTo>
                      <a:pt x="164" y="67"/>
                    </a:lnTo>
                    <a:lnTo>
                      <a:pt x="164" y="64"/>
                    </a:lnTo>
                    <a:lnTo>
                      <a:pt x="165" y="64"/>
                    </a:lnTo>
                    <a:lnTo>
                      <a:pt x="165" y="60"/>
                    </a:lnTo>
                    <a:lnTo>
                      <a:pt x="167" y="59"/>
                    </a:lnTo>
                    <a:lnTo>
                      <a:pt x="168" y="58"/>
                    </a:lnTo>
                    <a:lnTo>
                      <a:pt x="169" y="57"/>
                    </a:lnTo>
                    <a:lnTo>
                      <a:pt x="170" y="58"/>
                    </a:lnTo>
                    <a:lnTo>
                      <a:pt x="173" y="60"/>
                    </a:lnTo>
                    <a:lnTo>
                      <a:pt x="176" y="58"/>
                    </a:lnTo>
                    <a:lnTo>
                      <a:pt x="179" y="58"/>
                    </a:lnTo>
                    <a:lnTo>
                      <a:pt x="179" y="56"/>
                    </a:lnTo>
                    <a:lnTo>
                      <a:pt x="179" y="53"/>
                    </a:lnTo>
                    <a:lnTo>
                      <a:pt x="179" y="51"/>
                    </a:lnTo>
                    <a:lnTo>
                      <a:pt x="181" y="45"/>
                    </a:lnTo>
                    <a:lnTo>
                      <a:pt x="176" y="38"/>
                    </a:lnTo>
                    <a:lnTo>
                      <a:pt x="172" y="34"/>
                    </a:lnTo>
                    <a:lnTo>
                      <a:pt x="172" y="31"/>
                    </a:lnTo>
                    <a:lnTo>
                      <a:pt x="173" y="26"/>
                    </a:lnTo>
                    <a:lnTo>
                      <a:pt x="175" y="24"/>
                    </a:lnTo>
                    <a:lnTo>
                      <a:pt x="178" y="18"/>
                    </a:lnTo>
                    <a:lnTo>
                      <a:pt x="180" y="17"/>
                    </a:lnTo>
                    <a:lnTo>
                      <a:pt x="180" y="15"/>
                    </a:lnTo>
                    <a:lnTo>
                      <a:pt x="181" y="15"/>
                    </a:lnTo>
                    <a:lnTo>
                      <a:pt x="180" y="13"/>
                    </a:lnTo>
                    <a:lnTo>
                      <a:pt x="177" y="13"/>
                    </a:lnTo>
                    <a:lnTo>
                      <a:pt x="176" y="12"/>
                    </a:lnTo>
                    <a:lnTo>
                      <a:pt x="174" y="11"/>
                    </a:lnTo>
                    <a:lnTo>
                      <a:pt x="173" y="4"/>
                    </a:lnTo>
                    <a:lnTo>
                      <a:pt x="167" y="0"/>
                    </a:lnTo>
                    <a:lnTo>
                      <a:pt x="164" y="0"/>
                    </a:lnTo>
                    <a:lnTo>
                      <a:pt x="164" y="6"/>
                    </a:lnTo>
                    <a:lnTo>
                      <a:pt x="163" y="10"/>
                    </a:lnTo>
                    <a:lnTo>
                      <a:pt x="164" y="11"/>
                    </a:lnTo>
                    <a:lnTo>
                      <a:pt x="164" y="12"/>
                    </a:lnTo>
                    <a:lnTo>
                      <a:pt x="163" y="13"/>
                    </a:lnTo>
                    <a:lnTo>
                      <a:pt x="155" y="19"/>
                    </a:lnTo>
                    <a:lnTo>
                      <a:pt x="152" y="22"/>
                    </a:lnTo>
                    <a:lnTo>
                      <a:pt x="148" y="24"/>
                    </a:lnTo>
                    <a:lnTo>
                      <a:pt x="143" y="25"/>
                    </a:lnTo>
                    <a:lnTo>
                      <a:pt x="142" y="26"/>
                    </a:lnTo>
                    <a:lnTo>
                      <a:pt x="140" y="25"/>
                    </a:lnTo>
                    <a:lnTo>
                      <a:pt x="140" y="24"/>
                    </a:lnTo>
                    <a:lnTo>
                      <a:pt x="138" y="23"/>
                    </a:lnTo>
                    <a:lnTo>
                      <a:pt x="138" y="20"/>
                    </a:lnTo>
                    <a:lnTo>
                      <a:pt x="137" y="19"/>
                    </a:lnTo>
                    <a:lnTo>
                      <a:pt x="134" y="19"/>
                    </a:lnTo>
                    <a:lnTo>
                      <a:pt x="133" y="20"/>
                    </a:lnTo>
                    <a:lnTo>
                      <a:pt x="131" y="20"/>
                    </a:lnTo>
                    <a:lnTo>
                      <a:pt x="129" y="23"/>
                    </a:lnTo>
                    <a:lnTo>
                      <a:pt x="128" y="22"/>
                    </a:lnTo>
                    <a:lnTo>
                      <a:pt x="125" y="23"/>
                    </a:lnTo>
                    <a:lnTo>
                      <a:pt x="123" y="22"/>
                    </a:lnTo>
                    <a:lnTo>
                      <a:pt x="121" y="20"/>
                    </a:lnTo>
                    <a:lnTo>
                      <a:pt x="120" y="20"/>
                    </a:lnTo>
                    <a:lnTo>
                      <a:pt x="119" y="19"/>
                    </a:lnTo>
                    <a:lnTo>
                      <a:pt x="117" y="19"/>
                    </a:lnTo>
                    <a:lnTo>
                      <a:pt x="111" y="18"/>
                    </a:lnTo>
                    <a:lnTo>
                      <a:pt x="105" y="20"/>
                    </a:lnTo>
                    <a:lnTo>
                      <a:pt x="104" y="20"/>
                    </a:lnTo>
                    <a:lnTo>
                      <a:pt x="102" y="21"/>
                    </a:lnTo>
                    <a:lnTo>
                      <a:pt x="100" y="20"/>
                    </a:lnTo>
                    <a:lnTo>
                      <a:pt x="100" y="24"/>
                    </a:lnTo>
                    <a:lnTo>
                      <a:pt x="99" y="26"/>
                    </a:lnTo>
                    <a:lnTo>
                      <a:pt x="97" y="26"/>
                    </a:lnTo>
                    <a:lnTo>
                      <a:pt x="95" y="28"/>
                    </a:lnTo>
                    <a:lnTo>
                      <a:pt x="92" y="26"/>
                    </a:lnTo>
                    <a:lnTo>
                      <a:pt x="91" y="31"/>
                    </a:lnTo>
                    <a:lnTo>
                      <a:pt x="90" y="34"/>
                    </a:lnTo>
                    <a:lnTo>
                      <a:pt x="91" y="37"/>
                    </a:lnTo>
                    <a:lnTo>
                      <a:pt x="90" y="40"/>
                    </a:lnTo>
                    <a:lnTo>
                      <a:pt x="90" y="43"/>
                    </a:lnTo>
                    <a:lnTo>
                      <a:pt x="88" y="44"/>
                    </a:lnTo>
                    <a:lnTo>
                      <a:pt x="88" y="46"/>
                    </a:lnTo>
                    <a:lnTo>
                      <a:pt x="86" y="47"/>
                    </a:lnTo>
                    <a:lnTo>
                      <a:pt x="83" y="46"/>
                    </a:lnTo>
                    <a:lnTo>
                      <a:pt x="82" y="47"/>
                    </a:lnTo>
                    <a:lnTo>
                      <a:pt x="80" y="45"/>
                    </a:lnTo>
                    <a:lnTo>
                      <a:pt x="77" y="40"/>
                    </a:lnTo>
                    <a:lnTo>
                      <a:pt x="75" y="44"/>
                    </a:lnTo>
                    <a:lnTo>
                      <a:pt x="71" y="47"/>
                    </a:lnTo>
                    <a:lnTo>
                      <a:pt x="67" y="54"/>
                    </a:lnTo>
                    <a:lnTo>
                      <a:pt x="64" y="57"/>
                    </a:lnTo>
                    <a:lnTo>
                      <a:pt x="59" y="53"/>
                    </a:lnTo>
                    <a:lnTo>
                      <a:pt x="57" y="54"/>
                    </a:lnTo>
                    <a:lnTo>
                      <a:pt x="55" y="57"/>
                    </a:lnTo>
                    <a:lnTo>
                      <a:pt x="55" y="60"/>
                    </a:lnTo>
                    <a:lnTo>
                      <a:pt x="53" y="61"/>
                    </a:lnTo>
                    <a:lnTo>
                      <a:pt x="52" y="62"/>
                    </a:lnTo>
                    <a:lnTo>
                      <a:pt x="50" y="60"/>
                    </a:lnTo>
                    <a:lnTo>
                      <a:pt x="48" y="64"/>
                    </a:lnTo>
                    <a:lnTo>
                      <a:pt x="46" y="66"/>
                    </a:lnTo>
                    <a:lnTo>
                      <a:pt x="42" y="70"/>
                    </a:lnTo>
                    <a:lnTo>
                      <a:pt x="41" y="70"/>
                    </a:lnTo>
                    <a:lnTo>
                      <a:pt x="37" y="73"/>
                    </a:lnTo>
                    <a:lnTo>
                      <a:pt x="37" y="76"/>
                    </a:lnTo>
                    <a:lnTo>
                      <a:pt x="37" y="81"/>
                    </a:lnTo>
                    <a:lnTo>
                      <a:pt x="39" y="83"/>
                    </a:lnTo>
                    <a:lnTo>
                      <a:pt x="37" y="86"/>
                    </a:lnTo>
                    <a:lnTo>
                      <a:pt x="30" y="91"/>
                    </a:lnTo>
                    <a:lnTo>
                      <a:pt x="31" y="100"/>
                    </a:lnTo>
                    <a:lnTo>
                      <a:pt x="31" y="104"/>
                    </a:lnTo>
                    <a:lnTo>
                      <a:pt x="31" y="107"/>
                    </a:lnTo>
                    <a:lnTo>
                      <a:pt x="31" y="110"/>
                    </a:lnTo>
                    <a:lnTo>
                      <a:pt x="28" y="117"/>
                    </a:lnTo>
                    <a:lnTo>
                      <a:pt x="25" y="118"/>
                    </a:lnTo>
                    <a:lnTo>
                      <a:pt x="23" y="120"/>
                    </a:lnTo>
                    <a:lnTo>
                      <a:pt x="21" y="122"/>
                    </a:lnTo>
                    <a:lnTo>
                      <a:pt x="18" y="123"/>
                    </a:lnTo>
                    <a:lnTo>
                      <a:pt x="15" y="129"/>
                    </a:lnTo>
                    <a:lnTo>
                      <a:pt x="12" y="132"/>
                    </a:lnTo>
                    <a:lnTo>
                      <a:pt x="12" y="138"/>
                    </a:lnTo>
                    <a:lnTo>
                      <a:pt x="12" y="140"/>
                    </a:lnTo>
                    <a:lnTo>
                      <a:pt x="12" y="143"/>
                    </a:lnTo>
                    <a:lnTo>
                      <a:pt x="8" y="145"/>
                    </a:lnTo>
                    <a:lnTo>
                      <a:pt x="7" y="145"/>
                    </a:lnTo>
                    <a:lnTo>
                      <a:pt x="8" y="147"/>
                    </a:lnTo>
                    <a:lnTo>
                      <a:pt x="11" y="149"/>
                    </a:lnTo>
                    <a:lnTo>
                      <a:pt x="16" y="156"/>
                    </a:lnTo>
                    <a:lnTo>
                      <a:pt x="17" y="159"/>
                    </a:lnTo>
                    <a:lnTo>
                      <a:pt x="17" y="160"/>
                    </a:lnTo>
                    <a:lnTo>
                      <a:pt x="18" y="162"/>
                    </a:lnTo>
                    <a:lnTo>
                      <a:pt x="17" y="164"/>
                    </a:lnTo>
                    <a:lnTo>
                      <a:pt x="17" y="165"/>
                    </a:lnTo>
                    <a:lnTo>
                      <a:pt x="16" y="167"/>
                    </a:lnTo>
                    <a:lnTo>
                      <a:pt x="15" y="166"/>
                    </a:lnTo>
                    <a:lnTo>
                      <a:pt x="14" y="170"/>
                    </a:lnTo>
                    <a:lnTo>
                      <a:pt x="12" y="170"/>
                    </a:lnTo>
                    <a:lnTo>
                      <a:pt x="11" y="172"/>
                    </a:lnTo>
                    <a:lnTo>
                      <a:pt x="9" y="172"/>
                    </a:lnTo>
                    <a:lnTo>
                      <a:pt x="9" y="174"/>
                    </a:lnTo>
                    <a:lnTo>
                      <a:pt x="6" y="174"/>
                    </a:lnTo>
                    <a:lnTo>
                      <a:pt x="7" y="177"/>
                    </a:lnTo>
                    <a:lnTo>
                      <a:pt x="6" y="178"/>
                    </a:lnTo>
                    <a:lnTo>
                      <a:pt x="9" y="179"/>
                    </a:lnTo>
                    <a:lnTo>
                      <a:pt x="8" y="182"/>
                    </a:lnTo>
                    <a:lnTo>
                      <a:pt x="8" y="183"/>
                    </a:lnTo>
                    <a:lnTo>
                      <a:pt x="7" y="184"/>
                    </a:lnTo>
                    <a:lnTo>
                      <a:pt x="7" y="183"/>
                    </a:lnTo>
                    <a:lnTo>
                      <a:pt x="6" y="185"/>
                    </a:lnTo>
                    <a:lnTo>
                      <a:pt x="6" y="186"/>
                    </a:lnTo>
                    <a:lnTo>
                      <a:pt x="4" y="188"/>
                    </a:lnTo>
                    <a:lnTo>
                      <a:pt x="3" y="189"/>
                    </a:lnTo>
                    <a:lnTo>
                      <a:pt x="1" y="189"/>
                    </a:lnTo>
                    <a:lnTo>
                      <a:pt x="2" y="192"/>
                    </a:lnTo>
                    <a:lnTo>
                      <a:pt x="1" y="192"/>
                    </a:lnTo>
                    <a:lnTo>
                      <a:pt x="0" y="194"/>
                    </a:lnTo>
                    <a:lnTo>
                      <a:pt x="3" y="196"/>
                    </a:lnTo>
                    <a:lnTo>
                      <a:pt x="4" y="198"/>
                    </a:lnTo>
                    <a:lnTo>
                      <a:pt x="3" y="202"/>
                    </a:lnTo>
                    <a:lnTo>
                      <a:pt x="4" y="200"/>
                    </a:lnTo>
                    <a:lnTo>
                      <a:pt x="6" y="200"/>
                    </a:lnTo>
                    <a:lnTo>
                      <a:pt x="6" y="202"/>
                    </a:lnTo>
                    <a:lnTo>
                      <a:pt x="6" y="204"/>
                    </a:lnTo>
                    <a:lnTo>
                      <a:pt x="7" y="209"/>
                    </a:lnTo>
                    <a:lnTo>
                      <a:pt x="9" y="209"/>
                    </a:lnTo>
                    <a:lnTo>
                      <a:pt x="9" y="212"/>
                    </a:lnTo>
                    <a:lnTo>
                      <a:pt x="12" y="209"/>
                    </a:lnTo>
                    <a:lnTo>
                      <a:pt x="14" y="209"/>
                    </a:lnTo>
                    <a:lnTo>
                      <a:pt x="15" y="209"/>
                    </a:lnTo>
                    <a:lnTo>
                      <a:pt x="15" y="208"/>
                    </a:lnTo>
                    <a:lnTo>
                      <a:pt x="16" y="207"/>
                    </a:lnTo>
                    <a:lnTo>
                      <a:pt x="18" y="208"/>
                    </a:lnTo>
                    <a:lnTo>
                      <a:pt x="20" y="205"/>
                    </a:lnTo>
                    <a:lnTo>
                      <a:pt x="21" y="205"/>
                    </a:lnTo>
                    <a:lnTo>
                      <a:pt x="19" y="212"/>
                    </a:lnTo>
                    <a:lnTo>
                      <a:pt x="16" y="218"/>
                    </a:lnTo>
                    <a:lnTo>
                      <a:pt x="15" y="221"/>
                    </a:lnTo>
                    <a:lnTo>
                      <a:pt x="16" y="221"/>
                    </a:lnTo>
                    <a:lnTo>
                      <a:pt x="16" y="222"/>
                    </a:lnTo>
                    <a:lnTo>
                      <a:pt x="17" y="222"/>
                    </a:lnTo>
                    <a:lnTo>
                      <a:pt x="17" y="224"/>
                    </a:lnTo>
                    <a:lnTo>
                      <a:pt x="17" y="223"/>
                    </a:lnTo>
                    <a:lnTo>
                      <a:pt x="18" y="222"/>
                    </a:lnTo>
                    <a:lnTo>
                      <a:pt x="19" y="223"/>
                    </a:lnTo>
                    <a:lnTo>
                      <a:pt x="20" y="223"/>
                    </a:lnTo>
                    <a:lnTo>
                      <a:pt x="20" y="222"/>
                    </a:lnTo>
                    <a:lnTo>
                      <a:pt x="21" y="222"/>
                    </a:lnTo>
                    <a:lnTo>
                      <a:pt x="22" y="221"/>
                    </a:lnTo>
                    <a:lnTo>
                      <a:pt x="22" y="222"/>
                    </a:lnTo>
                    <a:lnTo>
                      <a:pt x="24" y="221"/>
                    </a:lnTo>
                    <a:lnTo>
                      <a:pt x="25" y="222"/>
                    </a:lnTo>
                    <a:lnTo>
                      <a:pt x="26" y="222"/>
                    </a:lnTo>
                    <a:lnTo>
                      <a:pt x="27" y="225"/>
                    </a:lnTo>
                    <a:lnTo>
                      <a:pt x="30" y="225"/>
                    </a:lnTo>
                    <a:lnTo>
                      <a:pt x="31" y="226"/>
                    </a:lnTo>
                    <a:lnTo>
                      <a:pt x="33" y="226"/>
                    </a:lnTo>
                    <a:lnTo>
                      <a:pt x="33" y="227"/>
                    </a:lnTo>
                    <a:lnTo>
                      <a:pt x="33" y="229"/>
                    </a:lnTo>
                    <a:lnTo>
                      <a:pt x="34" y="228"/>
                    </a:lnTo>
                    <a:lnTo>
                      <a:pt x="37" y="230"/>
                    </a:lnTo>
                    <a:lnTo>
                      <a:pt x="37" y="231"/>
                    </a:lnTo>
                    <a:lnTo>
                      <a:pt x="39" y="232"/>
                    </a:lnTo>
                    <a:lnTo>
                      <a:pt x="41" y="231"/>
                    </a:lnTo>
                    <a:lnTo>
                      <a:pt x="45" y="233"/>
                    </a:lnTo>
                    <a:lnTo>
                      <a:pt x="45" y="235"/>
                    </a:lnTo>
                    <a:lnTo>
                      <a:pt x="45" y="236"/>
                    </a:lnTo>
                    <a:lnTo>
                      <a:pt x="47" y="234"/>
                    </a:lnTo>
                    <a:lnTo>
                      <a:pt x="48" y="233"/>
                    </a:lnTo>
                    <a:lnTo>
                      <a:pt x="51" y="233"/>
                    </a:lnTo>
                    <a:lnTo>
                      <a:pt x="55" y="231"/>
                    </a:lnTo>
                    <a:lnTo>
                      <a:pt x="57" y="235"/>
                    </a:lnTo>
                    <a:lnTo>
                      <a:pt x="58" y="234"/>
                    </a:lnTo>
                    <a:lnTo>
                      <a:pt x="58" y="236"/>
                    </a:lnTo>
                    <a:lnTo>
                      <a:pt x="62" y="242"/>
                    </a:lnTo>
                    <a:lnTo>
                      <a:pt x="63" y="243"/>
                    </a:lnTo>
                    <a:lnTo>
                      <a:pt x="64" y="243"/>
                    </a:lnTo>
                    <a:lnTo>
                      <a:pt x="64" y="246"/>
                    </a:lnTo>
                    <a:lnTo>
                      <a:pt x="67" y="247"/>
                    </a:lnTo>
                    <a:lnTo>
                      <a:pt x="67" y="250"/>
                    </a:lnTo>
                    <a:lnTo>
                      <a:pt x="66" y="251"/>
                    </a:lnTo>
                    <a:lnTo>
                      <a:pt x="66" y="252"/>
                    </a:lnTo>
                    <a:lnTo>
                      <a:pt x="69" y="255"/>
                    </a:lnTo>
                    <a:lnTo>
                      <a:pt x="69" y="256"/>
                    </a:lnTo>
                    <a:lnTo>
                      <a:pt x="67" y="256"/>
                    </a:lnTo>
                    <a:lnTo>
                      <a:pt x="69" y="259"/>
                    </a:lnTo>
                    <a:lnTo>
                      <a:pt x="70" y="261"/>
                    </a:lnTo>
                    <a:lnTo>
                      <a:pt x="70" y="260"/>
                    </a:lnTo>
                    <a:lnTo>
                      <a:pt x="72" y="260"/>
                    </a:lnTo>
                    <a:lnTo>
                      <a:pt x="74" y="259"/>
                    </a:lnTo>
                    <a:lnTo>
                      <a:pt x="77" y="257"/>
                    </a:lnTo>
                    <a:lnTo>
                      <a:pt x="82" y="260"/>
                    </a:lnTo>
                    <a:lnTo>
                      <a:pt x="84" y="261"/>
                    </a:lnTo>
                    <a:lnTo>
                      <a:pt x="86" y="260"/>
                    </a:lnTo>
                    <a:lnTo>
                      <a:pt x="87" y="260"/>
                    </a:lnTo>
                    <a:lnTo>
                      <a:pt x="89" y="267"/>
                    </a:lnTo>
                    <a:lnTo>
                      <a:pt x="91" y="268"/>
                    </a:lnTo>
                    <a:lnTo>
                      <a:pt x="96" y="270"/>
                    </a:lnTo>
                    <a:lnTo>
                      <a:pt x="99" y="264"/>
                    </a:lnTo>
                    <a:lnTo>
                      <a:pt x="99" y="262"/>
                    </a:lnTo>
                    <a:lnTo>
                      <a:pt x="100" y="260"/>
                    </a:lnTo>
                    <a:lnTo>
                      <a:pt x="102" y="261"/>
                    </a:lnTo>
                    <a:lnTo>
                      <a:pt x="102" y="262"/>
                    </a:lnTo>
                    <a:lnTo>
                      <a:pt x="105" y="264"/>
                    </a:lnTo>
                    <a:lnTo>
                      <a:pt x="108" y="266"/>
                    </a:lnTo>
                    <a:lnTo>
                      <a:pt x="112" y="273"/>
                    </a:lnTo>
                    <a:lnTo>
                      <a:pt x="115" y="275"/>
                    </a:lnTo>
                    <a:lnTo>
                      <a:pt x="120" y="275"/>
                    </a:lnTo>
                    <a:lnTo>
                      <a:pt x="120" y="272"/>
                    </a:lnTo>
                    <a:lnTo>
                      <a:pt x="123" y="272"/>
                    </a:lnTo>
                    <a:lnTo>
                      <a:pt x="124" y="270"/>
                    </a:lnTo>
                    <a:lnTo>
                      <a:pt x="126" y="270"/>
                    </a:lnTo>
                    <a:lnTo>
                      <a:pt x="127" y="268"/>
                    </a:lnTo>
                    <a:lnTo>
                      <a:pt x="130" y="270"/>
                    </a:lnTo>
                    <a:lnTo>
                      <a:pt x="132" y="270"/>
                    </a:lnTo>
                    <a:lnTo>
                      <a:pt x="134" y="274"/>
                    </a:lnTo>
                    <a:lnTo>
                      <a:pt x="136" y="273"/>
                    </a:lnTo>
                    <a:lnTo>
                      <a:pt x="137" y="274"/>
                    </a:lnTo>
                    <a:lnTo>
                      <a:pt x="139" y="276"/>
                    </a:lnTo>
                    <a:lnTo>
                      <a:pt x="137" y="277"/>
                    </a:lnTo>
                    <a:lnTo>
                      <a:pt x="139" y="278"/>
                    </a:lnTo>
                    <a:lnTo>
                      <a:pt x="140" y="279"/>
                    </a:lnTo>
                    <a:lnTo>
                      <a:pt x="141" y="280"/>
                    </a:lnTo>
                    <a:lnTo>
                      <a:pt x="142" y="280"/>
                    </a:lnTo>
                    <a:lnTo>
                      <a:pt x="143" y="277"/>
                    </a:lnTo>
                    <a:lnTo>
                      <a:pt x="144" y="277"/>
                    </a:lnTo>
                    <a:lnTo>
                      <a:pt x="143" y="281"/>
                    </a:lnTo>
                    <a:lnTo>
                      <a:pt x="144" y="282"/>
                    </a:lnTo>
                    <a:lnTo>
                      <a:pt x="143" y="282"/>
                    </a:lnTo>
                    <a:lnTo>
                      <a:pt x="143" y="284"/>
                    </a:lnTo>
                    <a:lnTo>
                      <a:pt x="142" y="284"/>
                    </a:lnTo>
                    <a:lnTo>
                      <a:pt x="139" y="289"/>
                    </a:lnTo>
                    <a:lnTo>
                      <a:pt x="138" y="291"/>
                    </a:lnTo>
                    <a:lnTo>
                      <a:pt x="139" y="296"/>
                    </a:lnTo>
                    <a:lnTo>
                      <a:pt x="139" y="302"/>
                    </a:lnTo>
                    <a:lnTo>
                      <a:pt x="140" y="304"/>
                    </a:lnTo>
                    <a:lnTo>
                      <a:pt x="147" y="310"/>
                    </a:lnTo>
                    <a:lnTo>
                      <a:pt x="147" y="311"/>
                    </a:lnTo>
                    <a:lnTo>
                      <a:pt x="148" y="312"/>
                    </a:lnTo>
                    <a:lnTo>
                      <a:pt x="149" y="310"/>
                    </a:lnTo>
                    <a:lnTo>
                      <a:pt x="149" y="311"/>
                    </a:lnTo>
                    <a:lnTo>
                      <a:pt x="150" y="310"/>
                    </a:lnTo>
                    <a:lnTo>
                      <a:pt x="151" y="310"/>
                    </a:lnTo>
                    <a:lnTo>
                      <a:pt x="151" y="306"/>
                    </a:lnTo>
                    <a:lnTo>
                      <a:pt x="152" y="304"/>
                    </a:lnTo>
                    <a:lnTo>
                      <a:pt x="155" y="307"/>
                    </a:lnTo>
                    <a:lnTo>
                      <a:pt x="157" y="314"/>
                    </a:lnTo>
                    <a:lnTo>
                      <a:pt x="161" y="318"/>
                    </a:lnTo>
                    <a:lnTo>
                      <a:pt x="159" y="321"/>
                    </a:lnTo>
                    <a:lnTo>
                      <a:pt x="161" y="323"/>
                    </a:lnTo>
                    <a:lnTo>
                      <a:pt x="161" y="327"/>
                    </a:lnTo>
                    <a:lnTo>
                      <a:pt x="162" y="328"/>
                    </a:lnTo>
                    <a:lnTo>
                      <a:pt x="163" y="326"/>
                    </a:lnTo>
                    <a:lnTo>
                      <a:pt x="164" y="326"/>
                    </a:lnTo>
                    <a:lnTo>
                      <a:pt x="166" y="330"/>
                    </a:lnTo>
                    <a:lnTo>
                      <a:pt x="169" y="332"/>
                    </a:lnTo>
                    <a:lnTo>
                      <a:pt x="172" y="333"/>
                    </a:lnTo>
                    <a:lnTo>
                      <a:pt x="173" y="337"/>
                    </a:lnTo>
                    <a:lnTo>
                      <a:pt x="175" y="340"/>
                    </a:lnTo>
                    <a:lnTo>
                      <a:pt x="176" y="341"/>
                    </a:lnTo>
                    <a:lnTo>
                      <a:pt x="177" y="343"/>
                    </a:lnTo>
                    <a:lnTo>
                      <a:pt x="177" y="346"/>
                    </a:lnTo>
                    <a:lnTo>
                      <a:pt x="179" y="346"/>
                    </a:lnTo>
                    <a:lnTo>
                      <a:pt x="179" y="347"/>
                    </a:lnTo>
                    <a:lnTo>
                      <a:pt x="179" y="348"/>
                    </a:lnTo>
                    <a:lnTo>
                      <a:pt x="179" y="350"/>
                    </a:lnTo>
                    <a:lnTo>
                      <a:pt x="180" y="349"/>
                    </a:lnTo>
                    <a:lnTo>
                      <a:pt x="181" y="350"/>
                    </a:lnTo>
                    <a:lnTo>
                      <a:pt x="180" y="353"/>
                    </a:lnTo>
                    <a:lnTo>
                      <a:pt x="182" y="354"/>
                    </a:lnTo>
                    <a:lnTo>
                      <a:pt x="183" y="354"/>
                    </a:lnTo>
                    <a:lnTo>
                      <a:pt x="182" y="354"/>
                    </a:lnTo>
                    <a:lnTo>
                      <a:pt x="183" y="354"/>
                    </a:lnTo>
                    <a:lnTo>
                      <a:pt x="182" y="356"/>
                    </a:lnTo>
                    <a:lnTo>
                      <a:pt x="183" y="357"/>
                    </a:lnTo>
                    <a:lnTo>
                      <a:pt x="181" y="359"/>
                    </a:lnTo>
                    <a:lnTo>
                      <a:pt x="180" y="358"/>
                    </a:lnTo>
                    <a:lnTo>
                      <a:pt x="177" y="361"/>
                    </a:lnTo>
                    <a:lnTo>
                      <a:pt x="177" y="363"/>
                    </a:lnTo>
                    <a:lnTo>
                      <a:pt x="178" y="363"/>
                    </a:lnTo>
                    <a:lnTo>
                      <a:pt x="179" y="365"/>
                    </a:lnTo>
                    <a:lnTo>
                      <a:pt x="179" y="368"/>
                    </a:lnTo>
                    <a:lnTo>
                      <a:pt x="181" y="370"/>
                    </a:lnTo>
                    <a:lnTo>
                      <a:pt x="184" y="365"/>
                    </a:lnTo>
                    <a:lnTo>
                      <a:pt x="185" y="364"/>
                    </a:lnTo>
                    <a:lnTo>
                      <a:pt x="187" y="364"/>
                    </a:lnTo>
                    <a:lnTo>
                      <a:pt x="187" y="363"/>
                    </a:lnTo>
                    <a:lnTo>
                      <a:pt x="188" y="361"/>
                    </a:lnTo>
                    <a:lnTo>
                      <a:pt x="192" y="364"/>
                    </a:lnTo>
                    <a:lnTo>
                      <a:pt x="192" y="362"/>
                    </a:lnTo>
                    <a:lnTo>
                      <a:pt x="193" y="362"/>
                    </a:lnTo>
                    <a:lnTo>
                      <a:pt x="193" y="363"/>
                    </a:lnTo>
                    <a:lnTo>
                      <a:pt x="192" y="364"/>
                    </a:lnTo>
                    <a:lnTo>
                      <a:pt x="195" y="367"/>
                    </a:lnTo>
                    <a:lnTo>
                      <a:pt x="193" y="370"/>
                    </a:lnTo>
                    <a:lnTo>
                      <a:pt x="194" y="370"/>
                    </a:lnTo>
                    <a:lnTo>
                      <a:pt x="194" y="371"/>
                    </a:lnTo>
                    <a:lnTo>
                      <a:pt x="195" y="371"/>
                    </a:lnTo>
                    <a:lnTo>
                      <a:pt x="194" y="374"/>
                    </a:lnTo>
                    <a:lnTo>
                      <a:pt x="196" y="374"/>
                    </a:lnTo>
                    <a:lnTo>
                      <a:pt x="196" y="376"/>
                    </a:lnTo>
                    <a:lnTo>
                      <a:pt x="205" y="376"/>
                    </a:lnTo>
                    <a:lnTo>
                      <a:pt x="207" y="376"/>
                    </a:lnTo>
                    <a:lnTo>
                      <a:pt x="209" y="379"/>
                    </a:lnTo>
                    <a:lnTo>
                      <a:pt x="210" y="377"/>
                    </a:lnTo>
                    <a:lnTo>
                      <a:pt x="211" y="377"/>
                    </a:lnTo>
                    <a:lnTo>
                      <a:pt x="213" y="381"/>
                    </a:lnTo>
                    <a:lnTo>
                      <a:pt x="216" y="384"/>
                    </a:lnTo>
                    <a:lnTo>
                      <a:pt x="216" y="389"/>
                    </a:lnTo>
                    <a:lnTo>
                      <a:pt x="215" y="393"/>
                    </a:lnTo>
                    <a:lnTo>
                      <a:pt x="217" y="394"/>
                    </a:lnTo>
                    <a:lnTo>
                      <a:pt x="218" y="394"/>
                    </a:lnTo>
                    <a:lnTo>
                      <a:pt x="221" y="394"/>
                    </a:lnTo>
                    <a:lnTo>
                      <a:pt x="227" y="391"/>
                    </a:lnTo>
                    <a:lnTo>
                      <a:pt x="233" y="391"/>
                    </a:lnTo>
                    <a:lnTo>
                      <a:pt x="236" y="390"/>
                    </a:lnTo>
                    <a:lnTo>
                      <a:pt x="239" y="391"/>
                    </a:lnTo>
                    <a:lnTo>
                      <a:pt x="241" y="389"/>
                    </a:lnTo>
                    <a:lnTo>
                      <a:pt x="244" y="391"/>
                    </a:lnTo>
                    <a:lnTo>
                      <a:pt x="246" y="390"/>
                    </a:lnTo>
                    <a:lnTo>
                      <a:pt x="248" y="391"/>
                    </a:lnTo>
                    <a:lnTo>
                      <a:pt x="252" y="389"/>
                    </a:lnTo>
                    <a:lnTo>
                      <a:pt x="255" y="394"/>
                    </a:lnTo>
                    <a:lnTo>
                      <a:pt x="261" y="394"/>
                    </a:lnTo>
                    <a:lnTo>
                      <a:pt x="263" y="393"/>
                    </a:lnTo>
                    <a:lnTo>
                      <a:pt x="264" y="394"/>
                    </a:lnTo>
                    <a:lnTo>
                      <a:pt x="265" y="398"/>
                    </a:lnTo>
                    <a:lnTo>
                      <a:pt x="269" y="404"/>
                    </a:lnTo>
                    <a:lnTo>
                      <a:pt x="272" y="406"/>
                    </a:lnTo>
                    <a:lnTo>
                      <a:pt x="276" y="405"/>
                    </a:lnTo>
                    <a:lnTo>
                      <a:pt x="277" y="405"/>
                    </a:lnTo>
                    <a:lnTo>
                      <a:pt x="278" y="407"/>
                    </a:lnTo>
                    <a:lnTo>
                      <a:pt x="286" y="411"/>
                    </a:lnTo>
                    <a:lnTo>
                      <a:pt x="288" y="410"/>
                    </a:lnTo>
                    <a:lnTo>
                      <a:pt x="290" y="406"/>
                    </a:lnTo>
                    <a:lnTo>
                      <a:pt x="292" y="406"/>
                    </a:lnTo>
                    <a:lnTo>
                      <a:pt x="296" y="407"/>
                    </a:lnTo>
                    <a:lnTo>
                      <a:pt x="299" y="409"/>
                    </a:lnTo>
                    <a:lnTo>
                      <a:pt x="300" y="411"/>
                    </a:lnTo>
                    <a:lnTo>
                      <a:pt x="300" y="420"/>
                    </a:lnTo>
                    <a:lnTo>
                      <a:pt x="302" y="423"/>
                    </a:lnTo>
                    <a:lnTo>
                      <a:pt x="304" y="427"/>
                    </a:lnTo>
                    <a:lnTo>
                      <a:pt x="306" y="428"/>
                    </a:lnTo>
                    <a:lnTo>
                      <a:pt x="309" y="430"/>
                    </a:lnTo>
                    <a:lnTo>
                      <a:pt x="311" y="430"/>
                    </a:lnTo>
                    <a:lnTo>
                      <a:pt x="312" y="434"/>
                    </a:lnTo>
                    <a:lnTo>
                      <a:pt x="313" y="435"/>
                    </a:lnTo>
                    <a:lnTo>
                      <a:pt x="312" y="435"/>
                    </a:lnTo>
                    <a:lnTo>
                      <a:pt x="313" y="437"/>
                    </a:lnTo>
                    <a:lnTo>
                      <a:pt x="315" y="437"/>
                    </a:lnTo>
                    <a:lnTo>
                      <a:pt x="316" y="442"/>
                    </a:lnTo>
                    <a:lnTo>
                      <a:pt x="313" y="451"/>
                    </a:lnTo>
                    <a:lnTo>
                      <a:pt x="316" y="451"/>
                    </a:lnTo>
                    <a:lnTo>
                      <a:pt x="318" y="451"/>
                    </a:lnTo>
                    <a:lnTo>
                      <a:pt x="320" y="454"/>
                    </a:lnTo>
                    <a:lnTo>
                      <a:pt x="322" y="454"/>
                    </a:lnTo>
                    <a:lnTo>
                      <a:pt x="324" y="455"/>
                    </a:lnTo>
                    <a:lnTo>
                      <a:pt x="326" y="454"/>
                    </a:lnTo>
                    <a:lnTo>
                      <a:pt x="332" y="457"/>
                    </a:lnTo>
                    <a:lnTo>
                      <a:pt x="336" y="457"/>
                    </a:lnTo>
                    <a:lnTo>
                      <a:pt x="337" y="455"/>
                    </a:lnTo>
                    <a:lnTo>
                      <a:pt x="338" y="454"/>
                    </a:lnTo>
                    <a:lnTo>
                      <a:pt x="344" y="451"/>
                    </a:lnTo>
                    <a:lnTo>
                      <a:pt x="345" y="449"/>
                    </a:lnTo>
                    <a:lnTo>
                      <a:pt x="345" y="447"/>
                    </a:lnTo>
                    <a:lnTo>
                      <a:pt x="346" y="445"/>
                    </a:lnTo>
                    <a:lnTo>
                      <a:pt x="347" y="444"/>
                    </a:lnTo>
                    <a:lnTo>
                      <a:pt x="350" y="442"/>
                    </a:lnTo>
                    <a:lnTo>
                      <a:pt x="348" y="440"/>
                    </a:lnTo>
                    <a:lnTo>
                      <a:pt x="350" y="439"/>
                    </a:lnTo>
                    <a:lnTo>
                      <a:pt x="352" y="439"/>
                    </a:lnTo>
                    <a:lnTo>
                      <a:pt x="353" y="436"/>
                    </a:lnTo>
                    <a:lnTo>
                      <a:pt x="358" y="434"/>
                    </a:lnTo>
                    <a:lnTo>
                      <a:pt x="359" y="430"/>
                    </a:lnTo>
                    <a:lnTo>
                      <a:pt x="361" y="429"/>
                    </a:lnTo>
                    <a:lnTo>
                      <a:pt x="362" y="427"/>
                    </a:lnTo>
                    <a:lnTo>
                      <a:pt x="364" y="427"/>
                    </a:lnTo>
                    <a:lnTo>
                      <a:pt x="365" y="426"/>
                    </a:lnTo>
                    <a:lnTo>
                      <a:pt x="366" y="425"/>
                    </a:lnTo>
                    <a:lnTo>
                      <a:pt x="364" y="423"/>
                    </a:lnTo>
                    <a:lnTo>
                      <a:pt x="364" y="420"/>
                    </a:lnTo>
                    <a:lnTo>
                      <a:pt x="363" y="418"/>
                    </a:lnTo>
                    <a:lnTo>
                      <a:pt x="363" y="416"/>
                    </a:lnTo>
                    <a:lnTo>
                      <a:pt x="363" y="414"/>
                    </a:lnTo>
                    <a:lnTo>
                      <a:pt x="365" y="414"/>
                    </a:lnTo>
                    <a:lnTo>
                      <a:pt x="365" y="413"/>
                    </a:lnTo>
                    <a:lnTo>
                      <a:pt x="366" y="410"/>
                    </a:lnTo>
                    <a:lnTo>
                      <a:pt x="368" y="410"/>
                    </a:lnTo>
                    <a:lnTo>
                      <a:pt x="368" y="409"/>
                    </a:lnTo>
                    <a:lnTo>
                      <a:pt x="373" y="407"/>
                    </a:lnTo>
                    <a:lnTo>
                      <a:pt x="376" y="408"/>
                    </a:lnTo>
                    <a:lnTo>
                      <a:pt x="380" y="407"/>
                    </a:lnTo>
                    <a:lnTo>
                      <a:pt x="381" y="406"/>
                    </a:lnTo>
                    <a:lnTo>
                      <a:pt x="381" y="407"/>
                    </a:lnTo>
                    <a:lnTo>
                      <a:pt x="382" y="409"/>
                    </a:lnTo>
                    <a:lnTo>
                      <a:pt x="382" y="413"/>
                    </a:lnTo>
                    <a:lnTo>
                      <a:pt x="386" y="414"/>
                    </a:lnTo>
                    <a:lnTo>
                      <a:pt x="389" y="413"/>
                    </a:lnTo>
                    <a:lnTo>
                      <a:pt x="392" y="414"/>
                    </a:lnTo>
                    <a:lnTo>
                      <a:pt x="392" y="412"/>
                    </a:lnTo>
                    <a:lnTo>
                      <a:pt x="396" y="412"/>
                    </a:lnTo>
                    <a:lnTo>
                      <a:pt x="397" y="411"/>
                    </a:lnTo>
                    <a:lnTo>
                      <a:pt x="399" y="411"/>
                    </a:lnTo>
                    <a:lnTo>
                      <a:pt x="400" y="410"/>
                    </a:lnTo>
                    <a:lnTo>
                      <a:pt x="401" y="410"/>
                    </a:lnTo>
                    <a:lnTo>
                      <a:pt x="404" y="411"/>
                    </a:lnTo>
                    <a:lnTo>
                      <a:pt x="404" y="413"/>
                    </a:lnTo>
                    <a:lnTo>
                      <a:pt x="405" y="414"/>
                    </a:lnTo>
                    <a:lnTo>
                      <a:pt x="407" y="414"/>
                    </a:lnTo>
                    <a:lnTo>
                      <a:pt x="411" y="413"/>
                    </a:lnTo>
                    <a:lnTo>
                      <a:pt x="413" y="415"/>
                    </a:lnTo>
                    <a:lnTo>
                      <a:pt x="417" y="419"/>
                    </a:lnTo>
                    <a:lnTo>
                      <a:pt x="420" y="421"/>
                    </a:lnTo>
                    <a:lnTo>
                      <a:pt x="422" y="419"/>
                    </a:lnTo>
                    <a:lnTo>
                      <a:pt x="423" y="420"/>
                    </a:lnTo>
                    <a:lnTo>
                      <a:pt x="430" y="414"/>
                    </a:lnTo>
                    <a:lnTo>
                      <a:pt x="433" y="412"/>
                    </a:lnTo>
                    <a:lnTo>
                      <a:pt x="433" y="413"/>
                    </a:lnTo>
                    <a:lnTo>
                      <a:pt x="436" y="412"/>
                    </a:lnTo>
                    <a:lnTo>
                      <a:pt x="438" y="409"/>
                    </a:lnTo>
                    <a:lnTo>
                      <a:pt x="441" y="410"/>
                    </a:lnTo>
                    <a:lnTo>
                      <a:pt x="446" y="410"/>
                    </a:lnTo>
                    <a:lnTo>
                      <a:pt x="450" y="410"/>
                    </a:lnTo>
                    <a:lnTo>
                      <a:pt x="450" y="409"/>
                    </a:lnTo>
                    <a:lnTo>
                      <a:pt x="448" y="409"/>
                    </a:lnTo>
                    <a:lnTo>
                      <a:pt x="446" y="406"/>
                    </a:lnTo>
                    <a:lnTo>
                      <a:pt x="448" y="404"/>
                    </a:lnTo>
                    <a:lnTo>
                      <a:pt x="448" y="402"/>
                    </a:lnTo>
                    <a:lnTo>
                      <a:pt x="448" y="401"/>
                    </a:lnTo>
                    <a:lnTo>
                      <a:pt x="449" y="401"/>
                    </a:lnTo>
                    <a:lnTo>
                      <a:pt x="450" y="401"/>
                    </a:lnTo>
                    <a:lnTo>
                      <a:pt x="453" y="400"/>
                    </a:lnTo>
                    <a:lnTo>
                      <a:pt x="454" y="394"/>
                    </a:lnTo>
                    <a:lnTo>
                      <a:pt x="451" y="39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8" name="Freeform 109">
                <a:extLst>
                  <a:ext uri="{FF2B5EF4-FFF2-40B4-BE49-F238E27FC236}">
                    <a16:creationId xmlns:a16="http://schemas.microsoft.com/office/drawing/2014/main" id="{78FF60D3-EEE5-4344-976A-684381AA78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2" y="3139"/>
                <a:ext cx="454" cy="457"/>
              </a:xfrm>
              <a:custGeom>
                <a:avLst/>
                <a:gdLst>
                  <a:gd name="T0" fmla="*/ 446 w 454"/>
                  <a:gd name="T1" fmla="*/ 367 h 457"/>
                  <a:gd name="T2" fmla="*/ 440 w 454"/>
                  <a:gd name="T3" fmla="*/ 332 h 457"/>
                  <a:gd name="T4" fmla="*/ 417 w 454"/>
                  <a:gd name="T5" fmla="*/ 323 h 457"/>
                  <a:gd name="T6" fmla="*/ 399 w 454"/>
                  <a:gd name="T7" fmla="*/ 311 h 457"/>
                  <a:gd name="T8" fmla="*/ 392 w 454"/>
                  <a:gd name="T9" fmla="*/ 283 h 457"/>
                  <a:gd name="T10" fmla="*/ 384 w 454"/>
                  <a:gd name="T11" fmla="*/ 256 h 457"/>
                  <a:gd name="T12" fmla="*/ 388 w 454"/>
                  <a:gd name="T13" fmla="*/ 238 h 457"/>
                  <a:gd name="T14" fmla="*/ 389 w 454"/>
                  <a:gd name="T15" fmla="*/ 217 h 457"/>
                  <a:gd name="T16" fmla="*/ 373 w 454"/>
                  <a:gd name="T17" fmla="*/ 221 h 457"/>
                  <a:gd name="T18" fmla="*/ 352 w 454"/>
                  <a:gd name="T19" fmla="*/ 207 h 457"/>
                  <a:gd name="T20" fmla="*/ 325 w 454"/>
                  <a:gd name="T21" fmla="*/ 202 h 457"/>
                  <a:gd name="T22" fmla="*/ 312 w 454"/>
                  <a:gd name="T23" fmla="*/ 202 h 457"/>
                  <a:gd name="T24" fmla="*/ 287 w 454"/>
                  <a:gd name="T25" fmla="*/ 167 h 457"/>
                  <a:gd name="T26" fmla="*/ 267 w 454"/>
                  <a:gd name="T27" fmla="*/ 167 h 457"/>
                  <a:gd name="T28" fmla="*/ 256 w 454"/>
                  <a:gd name="T29" fmla="*/ 139 h 457"/>
                  <a:gd name="T30" fmla="*/ 242 w 454"/>
                  <a:gd name="T31" fmla="*/ 148 h 457"/>
                  <a:gd name="T32" fmla="*/ 249 w 454"/>
                  <a:gd name="T33" fmla="*/ 158 h 457"/>
                  <a:gd name="T34" fmla="*/ 214 w 454"/>
                  <a:gd name="T35" fmla="*/ 170 h 457"/>
                  <a:gd name="T36" fmla="*/ 191 w 454"/>
                  <a:gd name="T37" fmla="*/ 161 h 457"/>
                  <a:gd name="T38" fmla="*/ 175 w 454"/>
                  <a:gd name="T39" fmla="*/ 143 h 457"/>
                  <a:gd name="T40" fmla="*/ 173 w 454"/>
                  <a:gd name="T41" fmla="*/ 125 h 457"/>
                  <a:gd name="T42" fmla="*/ 159 w 454"/>
                  <a:gd name="T43" fmla="*/ 98 h 457"/>
                  <a:gd name="T44" fmla="*/ 136 w 454"/>
                  <a:gd name="T45" fmla="*/ 70 h 457"/>
                  <a:gd name="T46" fmla="*/ 165 w 454"/>
                  <a:gd name="T47" fmla="*/ 64 h 457"/>
                  <a:gd name="T48" fmla="*/ 176 w 454"/>
                  <a:gd name="T49" fmla="*/ 38 h 457"/>
                  <a:gd name="T50" fmla="*/ 173 w 454"/>
                  <a:gd name="T51" fmla="*/ 4 h 457"/>
                  <a:gd name="T52" fmla="*/ 140 w 454"/>
                  <a:gd name="T53" fmla="*/ 25 h 457"/>
                  <a:gd name="T54" fmla="*/ 120 w 454"/>
                  <a:gd name="T55" fmla="*/ 20 h 457"/>
                  <a:gd name="T56" fmla="*/ 95 w 454"/>
                  <a:gd name="T57" fmla="*/ 28 h 457"/>
                  <a:gd name="T58" fmla="*/ 77 w 454"/>
                  <a:gd name="T59" fmla="*/ 40 h 457"/>
                  <a:gd name="T60" fmla="*/ 48 w 454"/>
                  <a:gd name="T61" fmla="*/ 64 h 457"/>
                  <a:gd name="T62" fmla="*/ 31 w 454"/>
                  <a:gd name="T63" fmla="*/ 110 h 457"/>
                  <a:gd name="T64" fmla="*/ 8 w 454"/>
                  <a:gd name="T65" fmla="*/ 147 h 457"/>
                  <a:gd name="T66" fmla="*/ 9 w 454"/>
                  <a:gd name="T67" fmla="*/ 172 h 457"/>
                  <a:gd name="T68" fmla="*/ 3 w 454"/>
                  <a:gd name="T69" fmla="*/ 189 h 457"/>
                  <a:gd name="T70" fmla="*/ 9 w 454"/>
                  <a:gd name="T71" fmla="*/ 209 h 457"/>
                  <a:gd name="T72" fmla="*/ 16 w 454"/>
                  <a:gd name="T73" fmla="*/ 221 h 457"/>
                  <a:gd name="T74" fmla="*/ 25 w 454"/>
                  <a:gd name="T75" fmla="*/ 222 h 457"/>
                  <a:gd name="T76" fmla="*/ 39 w 454"/>
                  <a:gd name="T77" fmla="*/ 232 h 457"/>
                  <a:gd name="T78" fmla="*/ 63 w 454"/>
                  <a:gd name="T79" fmla="*/ 243 h 457"/>
                  <a:gd name="T80" fmla="*/ 72 w 454"/>
                  <a:gd name="T81" fmla="*/ 260 h 457"/>
                  <a:gd name="T82" fmla="*/ 100 w 454"/>
                  <a:gd name="T83" fmla="*/ 260 h 457"/>
                  <a:gd name="T84" fmla="*/ 130 w 454"/>
                  <a:gd name="T85" fmla="*/ 270 h 457"/>
                  <a:gd name="T86" fmla="*/ 143 w 454"/>
                  <a:gd name="T87" fmla="*/ 281 h 457"/>
                  <a:gd name="T88" fmla="*/ 149 w 454"/>
                  <a:gd name="T89" fmla="*/ 310 h 457"/>
                  <a:gd name="T90" fmla="*/ 163 w 454"/>
                  <a:gd name="T91" fmla="*/ 326 h 457"/>
                  <a:gd name="T92" fmla="*/ 179 w 454"/>
                  <a:gd name="T93" fmla="*/ 348 h 457"/>
                  <a:gd name="T94" fmla="*/ 177 w 454"/>
                  <a:gd name="T95" fmla="*/ 361 h 457"/>
                  <a:gd name="T96" fmla="*/ 193 w 454"/>
                  <a:gd name="T97" fmla="*/ 362 h 457"/>
                  <a:gd name="T98" fmla="*/ 209 w 454"/>
                  <a:gd name="T99" fmla="*/ 379 h 457"/>
                  <a:gd name="T100" fmla="*/ 239 w 454"/>
                  <a:gd name="T101" fmla="*/ 391 h 457"/>
                  <a:gd name="T102" fmla="*/ 272 w 454"/>
                  <a:gd name="T103" fmla="*/ 406 h 457"/>
                  <a:gd name="T104" fmla="*/ 304 w 454"/>
                  <a:gd name="T105" fmla="*/ 427 h 457"/>
                  <a:gd name="T106" fmla="*/ 320 w 454"/>
                  <a:gd name="T107" fmla="*/ 454 h 457"/>
                  <a:gd name="T108" fmla="*/ 350 w 454"/>
                  <a:gd name="T109" fmla="*/ 442 h 457"/>
                  <a:gd name="T110" fmla="*/ 364 w 454"/>
                  <a:gd name="T111" fmla="*/ 420 h 457"/>
                  <a:gd name="T112" fmla="*/ 381 w 454"/>
                  <a:gd name="T113" fmla="*/ 407 h 457"/>
                  <a:gd name="T114" fmla="*/ 404 w 454"/>
                  <a:gd name="T115" fmla="*/ 413 h 457"/>
                  <a:gd name="T116" fmla="*/ 438 w 454"/>
                  <a:gd name="T117" fmla="*/ 409 h 457"/>
                  <a:gd name="T118" fmla="*/ 454 w 454"/>
                  <a:gd name="T119" fmla="*/ 394 h 45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454"/>
                  <a:gd name="T181" fmla="*/ 0 h 457"/>
                  <a:gd name="T182" fmla="*/ 454 w 454"/>
                  <a:gd name="T183" fmla="*/ 457 h 45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454" h="457">
                    <a:moveTo>
                      <a:pt x="451" y="392"/>
                    </a:moveTo>
                    <a:lnTo>
                      <a:pt x="450" y="388"/>
                    </a:lnTo>
                    <a:lnTo>
                      <a:pt x="448" y="388"/>
                    </a:lnTo>
                    <a:lnTo>
                      <a:pt x="448" y="384"/>
                    </a:lnTo>
                    <a:lnTo>
                      <a:pt x="447" y="383"/>
                    </a:lnTo>
                    <a:lnTo>
                      <a:pt x="448" y="381"/>
                    </a:lnTo>
                    <a:lnTo>
                      <a:pt x="447" y="377"/>
                    </a:lnTo>
                    <a:lnTo>
                      <a:pt x="448" y="377"/>
                    </a:lnTo>
                    <a:lnTo>
                      <a:pt x="449" y="372"/>
                    </a:lnTo>
                    <a:lnTo>
                      <a:pt x="447" y="372"/>
                    </a:lnTo>
                    <a:lnTo>
                      <a:pt x="446" y="371"/>
                    </a:lnTo>
                    <a:lnTo>
                      <a:pt x="446" y="367"/>
                    </a:lnTo>
                    <a:lnTo>
                      <a:pt x="446" y="364"/>
                    </a:lnTo>
                    <a:lnTo>
                      <a:pt x="445" y="361"/>
                    </a:lnTo>
                    <a:lnTo>
                      <a:pt x="446" y="359"/>
                    </a:lnTo>
                    <a:lnTo>
                      <a:pt x="445" y="354"/>
                    </a:lnTo>
                    <a:lnTo>
                      <a:pt x="444" y="354"/>
                    </a:lnTo>
                    <a:lnTo>
                      <a:pt x="444" y="351"/>
                    </a:lnTo>
                    <a:lnTo>
                      <a:pt x="443" y="346"/>
                    </a:lnTo>
                    <a:lnTo>
                      <a:pt x="443" y="343"/>
                    </a:lnTo>
                    <a:lnTo>
                      <a:pt x="443" y="339"/>
                    </a:lnTo>
                    <a:lnTo>
                      <a:pt x="444" y="336"/>
                    </a:lnTo>
                    <a:lnTo>
                      <a:pt x="443" y="333"/>
                    </a:lnTo>
                    <a:lnTo>
                      <a:pt x="443" y="332"/>
                    </a:lnTo>
                    <a:lnTo>
                      <a:pt x="440" y="332"/>
                    </a:lnTo>
                    <a:lnTo>
                      <a:pt x="437" y="329"/>
                    </a:lnTo>
                    <a:lnTo>
                      <a:pt x="433" y="330"/>
                    </a:lnTo>
                    <a:lnTo>
                      <a:pt x="432" y="329"/>
                    </a:lnTo>
                    <a:lnTo>
                      <a:pt x="428" y="332"/>
                    </a:lnTo>
                    <a:lnTo>
                      <a:pt x="425" y="332"/>
                    </a:lnTo>
                    <a:lnTo>
                      <a:pt x="425" y="329"/>
                    </a:lnTo>
                    <a:lnTo>
                      <a:pt x="423" y="328"/>
                    </a:lnTo>
                    <a:lnTo>
                      <a:pt x="421" y="328"/>
                    </a:lnTo>
                    <a:lnTo>
                      <a:pt x="419" y="328"/>
                    </a:lnTo>
                    <a:lnTo>
                      <a:pt x="420" y="326"/>
                    </a:lnTo>
                    <a:lnTo>
                      <a:pt x="418" y="324"/>
                    </a:lnTo>
                    <a:lnTo>
                      <a:pt x="419" y="323"/>
                    </a:lnTo>
                    <a:lnTo>
                      <a:pt x="417" y="323"/>
                    </a:lnTo>
                    <a:lnTo>
                      <a:pt x="418" y="321"/>
                    </a:lnTo>
                    <a:lnTo>
                      <a:pt x="418" y="318"/>
                    </a:lnTo>
                    <a:lnTo>
                      <a:pt x="413" y="317"/>
                    </a:lnTo>
                    <a:lnTo>
                      <a:pt x="410" y="317"/>
                    </a:lnTo>
                    <a:lnTo>
                      <a:pt x="408" y="317"/>
                    </a:lnTo>
                    <a:lnTo>
                      <a:pt x="407" y="318"/>
                    </a:lnTo>
                    <a:lnTo>
                      <a:pt x="407" y="315"/>
                    </a:lnTo>
                    <a:lnTo>
                      <a:pt x="405" y="314"/>
                    </a:lnTo>
                    <a:lnTo>
                      <a:pt x="404" y="314"/>
                    </a:lnTo>
                    <a:lnTo>
                      <a:pt x="403" y="315"/>
                    </a:lnTo>
                    <a:lnTo>
                      <a:pt x="403" y="313"/>
                    </a:lnTo>
                    <a:lnTo>
                      <a:pt x="400" y="313"/>
                    </a:lnTo>
                    <a:lnTo>
                      <a:pt x="399" y="311"/>
                    </a:lnTo>
                    <a:lnTo>
                      <a:pt x="399" y="310"/>
                    </a:lnTo>
                    <a:lnTo>
                      <a:pt x="398" y="309"/>
                    </a:lnTo>
                    <a:lnTo>
                      <a:pt x="397" y="307"/>
                    </a:lnTo>
                    <a:lnTo>
                      <a:pt x="396" y="307"/>
                    </a:lnTo>
                    <a:lnTo>
                      <a:pt x="397" y="306"/>
                    </a:lnTo>
                    <a:lnTo>
                      <a:pt x="396" y="304"/>
                    </a:lnTo>
                    <a:lnTo>
                      <a:pt x="398" y="296"/>
                    </a:lnTo>
                    <a:lnTo>
                      <a:pt x="397" y="294"/>
                    </a:lnTo>
                    <a:lnTo>
                      <a:pt x="395" y="294"/>
                    </a:lnTo>
                    <a:lnTo>
                      <a:pt x="394" y="293"/>
                    </a:lnTo>
                    <a:lnTo>
                      <a:pt x="394" y="290"/>
                    </a:lnTo>
                    <a:lnTo>
                      <a:pt x="394" y="285"/>
                    </a:lnTo>
                    <a:lnTo>
                      <a:pt x="392" y="283"/>
                    </a:lnTo>
                    <a:lnTo>
                      <a:pt x="392" y="280"/>
                    </a:lnTo>
                    <a:lnTo>
                      <a:pt x="391" y="278"/>
                    </a:lnTo>
                    <a:lnTo>
                      <a:pt x="391" y="276"/>
                    </a:lnTo>
                    <a:lnTo>
                      <a:pt x="391" y="273"/>
                    </a:lnTo>
                    <a:lnTo>
                      <a:pt x="390" y="272"/>
                    </a:lnTo>
                    <a:lnTo>
                      <a:pt x="390" y="270"/>
                    </a:lnTo>
                    <a:lnTo>
                      <a:pt x="388" y="268"/>
                    </a:lnTo>
                    <a:lnTo>
                      <a:pt x="387" y="264"/>
                    </a:lnTo>
                    <a:lnTo>
                      <a:pt x="388" y="262"/>
                    </a:lnTo>
                    <a:lnTo>
                      <a:pt x="386" y="261"/>
                    </a:lnTo>
                    <a:lnTo>
                      <a:pt x="386" y="259"/>
                    </a:lnTo>
                    <a:lnTo>
                      <a:pt x="385" y="258"/>
                    </a:lnTo>
                    <a:lnTo>
                      <a:pt x="384" y="256"/>
                    </a:lnTo>
                    <a:lnTo>
                      <a:pt x="384" y="254"/>
                    </a:lnTo>
                    <a:lnTo>
                      <a:pt x="389" y="251"/>
                    </a:lnTo>
                    <a:lnTo>
                      <a:pt x="391" y="249"/>
                    </a:lnTo>
                    <a:lnTo>
                      <a:pt x="390" y="248"/>
                    </a:lnTo>
                    <a:lnTo>
                      <a:pt x="389" y="246"/>
                    </a:lnTo>
                    <a:lnTo>
                      <a:pt x="391" y="246"/>
                    </a:lnTo>
                    <a:lnTo>
                      <a:pt x="391" y="244"/>
                    </a:lnTo>
                    <a:lnTo>
                      <a:pt x="395" y="244"/>
                    </a:lnTo>
                    <a:lnTo>
                      <a:pt x="396" y="242"/>
                    </a:lnTo>
                    <a:lnTo>
                      <a:pt x="394" y="240"/>
                    </a:lnTo>
                    <a:lnTo>
                      <a:pt x="391" y="239"/>
                    </a:lnTo>
                    <a:lnTo>
                      <a:pt x="388" y="239"/>
                    </a:lnTo>
                    <a:lnTo>
                      <a:pt x="388" y="238"/>
                    </a:lnTo>
                    <a:lnTo>
                      <a:pt x="386" y="236"/>
                    </a:lnTo>
                    <a:lnTo>
                      <a:pt x="386" y="234"/>
                    </a:lnTo>
                    <a:lnTo>
                      <a:pt x="385" y="232"/>
                    </a:lnTo>
                    <a:lnTo>
                      <a:pt x="385" y="231"/>
                    </a:lnTo>
                    <a:lnTo>
                      <a:pt x="387" y="230"/>
                    </a:lnTo>
                    <a:lnTo>
                      <a:pt x="388" y="228"/>
                    </a:lnTo>
                    <a:lnTo>
                      <a:pt x="387" y="226"/>
                    </a:lnTo>
                    <a:lnTo>
                      <a:pt x="388" y="225"/>
                    </a:lnTo>
                    <a:lnTo>
                      <a:pt x="390" y="221"/>
                    </a:lnTo>
                    <a:lnTo>
                      <a:pt x="388" y="219"/>
                    </a:lnTo>
                    <a:lnTo>
                      <a:pt x="389" y="218"/>
                    </a:lnTo>
                    <a:lnTo>
                      <a:pt x="388" y="217"/>
                    </a:lnTo>
                    <a:lnTo>
                      <a:pt x="389" y="217"/>
                    </a:lnTo>
                    <a:lnTo>
                      <a:pt x="388" y="213"/>
                    </a:lnTo>
                    <a:lnTo>
                      <a:pt x="384" y="214"/>
                    </a:lnTo>
                    <a:lnTo>
                      <a:pt x="381" y="210"/>
                    </a:lnTo>
                    <a:lnTo>
                      <a:pt x="379" y="210"/>
                    </a:lnTo>
                    <a:lnTo>
                      <a:pt x="380" y="212"/>
                    </a:lnTo>
                    <a:lnTo>
                      <a:pt x="379" y="217"/>
                    </a:lnTo>
                    <a:lnTo>
                      <a:pt x="381" y="218"/>
                    </a:lnTo>
                    <a:lnTo>
                      <a:pt x="378" y="221"/>
                    </a:lnTo>
                    <a:lnTo>
                      <a:pt x="376" y="222"/>
                    </a:lnTo>
                    <a:lnTo>
                      <a:pt x="375" y="222"/>
                    </a:lnTo>
                    <a:lnTo>
                      <a:pt x="374" y="222"/>
                    </a:lnTo>
                    <a:lnTo>
                      <a:pt x="373" y="221"/>
                    </a:lnTo>
                    <a:lnTo>
                      <a:pt x="371" y="222"/>
                    </a:lnTo>
                    <a:lnTo>
                      <a:pt x="372" y="221"/>
                    </a:lnTo>
                    <a:lnTo>
                      <a:pt x="371" y="220"/>
                    </a:lnTo>
                    <a:lnTo>
                      <a:pt x="369" y="221"/>
                    </a:lnTo>
                    <a:lnTo>
                      <a:pt x="366" y="218"/>
                    </a:lnTo>
                    <a:lnTo>
                      <a:pt x="365" y="220"/>
                    </a:lnTo>
                    <a:lnTo>
                      <a:pt x="364" y="218"/>
                    </a:lnTo>
                    <a:lnTo>
                      <a:pt x="363" y="216"/>
                    </a:lnTo>
                    <a:lnTo>
                      <a:pt x="362" y="215"/>
                    </a:lnTo>
                    <a:lnTo>
                      <a:pt x="359" y="213"/>
                    </a:lnTo>
                    <a:lnTo>
                      <a:pt x="359" y="209"/>
                    </a:lnTo>
                    <a:lnTo>
                      <a:pt x="354" y="209"/>
                    </a:lnTo>
                    <a:lnTo>
                      <a:pt x="352" y="207"/>
                    </a:lnTo>
                    <a:lnTo>
                      <a:pt x="351" y="206"/>
                    </a:lnTo>
                    <a:lnTo>
                      <a:pt x="351" y="202"/>
                    </a:lnTo>
                    <a:lnTo>
                      <a:pt x="343" y="202"/>
                    </a:lnTo>
                    <a:lnTo>
                      <a:pt x="342" y="202"/>
                    </a:lnTo>
                    <a:lnTo>
                      <a:pt x="338" y="202"/>
                    </a:lnTo>
                    <a:lnTo>
                      <a:pt x="334" y="201"/>
                    </a:lnTo>
                    <a:lnTo>
                      <a:pt x="332" y="199"/>
                    </a:lnTo>
                    <a:lnTo>
                      <a:pt x="325" y="195"/>
                    </a:lnTo>
                    <a:lnTo>
                      <a:pt x="324" y="198"/>
                    </a:lnTo>
                    <a:lnTo>
                      <a:pt x="325" y="199"/>
                    </a:lnTo>
                    <a:lnTo>
                      <a:pt x="328" y="200"/>
                    </a:lnTo>
                    <a:lnTo>
                      <a:pt x="329" y="201"/>
                    </a:lnTo>
                    <a:lnTo>
                      <a:pt x="325" y="202"/>
                    </a:lnTo>
                    <a:lnTo>
                      <a:pt x="326" y="203"/>
                    </a:lnTo>
                    <a:lnTo>
                      <a:pt x="327" y="204"/>
                    </a:lnTo>
                    <a:lnTo>
                      <a:pt x="325" y="205"/>
                    </a:lnTo>
                    <a:lnTo>
                      <a:pt x="323" y="204"/>
                    </a:lnTo>
                    <a:lnTo>
                      <a:pt x="323" y="202"/>
                    </a:lnTo>
                    <a:lnTo>
                      <a:pt x="322" y="202"/>
                    </a:lnTo>
                    <a:lnTo>
                      <a:pt x="322" y="205"/>
                    </a:lnTo>
                    <a:lnTo>
                      <a:pt x="320" y="209"/>
                    </a:lnTo>
                    <a:lnTo>
                      <a:pt x="318" y="209"/>
                    </a:lnTo>
                    <a:lnTo>
                      <a:pt x="318" y="208"/>
                    </a:lnTo>
                    <a:lnTo>
                      <a:pt x="315" y="205"/>
                    </a:lnTo>
                    <a:lnTo>
                      <a:pt x="314" y="202"/>
                    </a:lnTo>
                    <a:lnTo>
                      <a:pt x="312" y="202"/>
                    </a:lnTo>
                    <a:lnTo>
                      <a:pt x="309" y="196"/>
                    </a:lnTo>
                    <a:lnTo>
                      <a:pt x="311" y="191"/>
                    </a:lnTo>
                    <a:lnTo>
                      <a:pt x="310" y="187"/>
                    </a:lnTo>
                    <a:lnTo>
                      <a:pt x="309" y="185"/>
                    </a:lnTo>
                    <a:lnTo>
                      <a:pt x="299" y="181"/>
                    </a:lnTo>
                    <a:lnTo>
                      <a:pt x="296" y="182"/>
                    </a:lnTo>
                    <a:lnTo>
                      <a:pt x="295" y="182"/>
                    </a:lnTo>
                    <a:lnTo>
                      <a:pt x="293" y="180"/>
                    </a:lnTo>
                    <a:lnTo>
                      <a:pt x="294" y="178"/>
                    </a:lnTo>
                    <a:lnTo>
                      <a:pt x="293" y="174"/>
                    </a:lnTo>
                    <a:lnTo>
                      <a:pt x="292" y="168"/>
                    </a:lnTo>
                    <a:lnTo>
                      <a:pt x="288" y="169"/>
                    </a:lnTo>
                    <a:lnTo>
                      <a:pt x="287" y="167"/>
                    </a:lnTo>
                    <a:lnTo>
                      <a:pt x="286" y="167"/>
                    </a:lnTo>
                    <a:lnTo>
                      <a:pt x="285" y="166"/>
                    </a:lnTo>
                    <a:lnTo>
                      <a:pt x="283" y="166"/>
                    </a:lnTo>
                    <a:lnTo>
                      <a:pt x="283" y="167"/>
                    </a:lnTo>
                    <a:lnTo>
                      <a:pt x="282" y="167"/>
                    </a:lnTo>
                    <a:lnTo>
                      <a:pt x="282" y="168"/>
                    </a:lnTo>
                    <a:lnTo>
                      <a:pt x="282" y="170"/>
                    </a:lnTo>
                    <a:lnTo>
                      <a:pt x="281" y="172"/>
                    </a:lnTo>
                    <a:lnTo>
                      <a:pt x="277" y="174"/>
                    </a:lnTo>
                    <a:lnTo>
                      <a:pt x="275" y="170"/>
                    </a:lnTo>
                    <a:lnTo>
                      <a:pt x="273" y="168"/>
                    </a:lnTo>
                    <a:lnTo>
                      <a:pt x="272" y="166"/>
                    </a:lnTo>
                    <a:lnTo>
                      <a:pt x="267" y="167"/>
                    </a:lnTo>
                    <a:lnTo>
                      <a:pt x="265" y="164"/>
                    </a:lnTo>
                    <a:lnTo>
                      <a:pt x="263" y="161"/>
                    </a:lnTo>
                    <a:lnTo>
                      <a:pt x="262" y="157"/>
                    </a:lnTo>
                    <a:lnTo>
                      <a:pt x="263" y="157"/>
                    </a:lnTo>
                    <a:lnTo>
                      <a:pt x="265" y="154"/>
                    </a:lnTo>
                    <a:lnTo>
                      <a:pt x="262" y="151"/>
                    </a:lnTo>
                    <a:lnTo>
                      <a:pt x="262" y="149"/>
                    </a:lnTo>
                    <a:lnTo>
                      <a:pt x="260" y="149"/>
                    </a:lnTo>
                    <a:lnTo>
                      <a:pt x="262" y="144"/>
                    </a:lnTo>
                    <a:lnTo>
                      <a:pt x="261" y="143"/>
                    </a:lnTo>
                    <a:lnTo>
                      <a:pt x="259" y="143"/>
                    </a:lnTo>
                    <a:lnTo>
                      <a:pt x="256" y="141"/>
                    </a:lnTo>
                    <a:lnTo>
                      <a:pt x="256" y="139"/>
                    </a:lnTo>
                    <a:lnTo>
                      <a:pt x="255" y="138"/>
                    </a:lnTo>
                    <a:lnTo>
                      <a:pt x="255" y="135"/>
                    </a:lnTo>
                    <a:lnTo>
                      <a:pt x="252" y="135"/>
                    </a:lnTo>
                    <a:lnTo>
                      <a:pt x="251" y="134"/>
                    </a:lnTo>
                    <a:lnTo>
                      <a:pt x="249" y="133"/>
                    </a:lnTo>
                    <a:lnTo>
                      <a:pt x="249" y="132"/>
                    </a:lnTo>
                    <a:lnTo>
                      <a:pt x="247" y="132"/>
                    </a:lnTo>
                    <a:lnTo>
                      <a:pt x="241" y="136"/>
                    </a:lnTo>
                    <a:lnTo>
                      <a:pt x="239" y="137"/>
                    </a:lnTo>
                    <a:lnTo>
                      <a:pt x="239" y="140"/>
                    </a:lnTo>
                    <a:lnTo>
                      <a:pt x="239" y="144"/>
                    </a:lnTo>
                    <a:lnTo>
                      <a:pt x="240" y="148"/>
                    </a:lnTo>
                    <a:lnTo>
                      <a:pt x="242" y="148"/>
                    </a:lnTo>
                    <a:lnTo>
                      <a:pt x="244" y="144"/>
                    </a:lnTo>
                    <a:lnTo>
                      <a:pt x="246" y="145"/>
                    </a:lnTo>
                    <a:lnTo>
                      <a:pt x="247" y="146"/>
                    </a:lnTo>
                    <a:lnTo>
                      <a:pt x="249" y="146"/>
                    </a:lnTo>
                    <a:lnTo>
                      <a:pt x="250" y="150"/>
                    </a:lnTo>
                    <a:lnTo>
                      <a:pt x="250" y="151"/>
                    </a:lnTo>
                    <a:lnTo>
                      <a:pt x="248" y="152"/>
                    </a:lnTo>
                    <a:lnTo>
                      <a:pt x="249" y="154"/>
                    </a:lnTo>
                    <a:lnTo>
                      <a:pt x="249" y="156"/>
                    </a:lnTo>
                    <a:lnTo>
                      <a:pt x="248" y="156"/>
                    </a:lnTo>
                    <a:lnTo>
                      <a:pt x="247" y="157"/>
                    </a:lnTo>
                    <a:lnTo>
                      <a:pt x="249" y="158"/>
                    </a:lnTo>
                    <a:lnTo>
                      <a:pt x="248" y="161"/>
                    </a:lnTo>
                    <a:lnTo>
                      <a:pt x="247" y="159"/>
                    </a:lnTo>
                    <a:lnTo>
                      <a:pt x="247" y="158"/>
                    </a:lnTo>
                    <a:lnTo>
                      <a:pt x="246" y="157"/>
                    </a:lnTo>
                    <a:lnTo>
                      <a:pt x="238" y="157"/>
                    </a:lnTo>
                    <a:lnTo>
                      <a:pt x="238" y="153"/>
                    </a:lnTo>
                    <a:lnTo>
                      <a:pt x="234" y="155"/>
                    </a:lnTo>
                    <a:lnTo>
                      <a:pt x="231" y="158"/>
                    </a:lnTo>
                    <a:lnTo>
                      <a:pt x="228" y="157"/>
                    </a:lnTo>
                    <a:lnTo>
                      <a:pt x="225" y="158"/>
                    </a:lnTo>
                    <a:lnTo>
                      <a:pt x="224" y="158"/>
                    </a:lnTo>
                    <a:lnTo>
                      <a:pt x="215" y="168"/>
                    </a:lnTo>
                    <a:lnTo>
                      <a:pt x="214" y="170"/>
                    </a:lnTo>
                    <a:lnTo>
                      <a:pt x="211" y="170"/>
                    </a:lnTo>
                    <a:lnTo>
                      <a:pt x="206" y="168"/>
                    </a:lnTo>
                    <a:lnTo>
                      <a:pt x="203" y="168"/>
                    </a:lnTo>
                    <a:lnTo>
                      <a:pt x="200" y="170"/>
                    </a:lnTo>
                    <a:lnTo>
                      <a:pt x="198" y="167"/>
                    </a:lnTo>
                    <a:lnTo>
                      <a:pt x="197" y="167"/>
                    </a:lnTo>
                    <a:lnTo>
                      <a:pt x="197" y="165"/>
                    </a:lnTo>
                    <a:lnTo>
                      <a:pt x="195" y="165"/>
                    </a:lnTo>
                    <a:lnTo>
                      <a:pt x="195" y="164"/>
                    </a:lnTo>
                    <a:lnTo>
                      <a:pt x="193" y="163"/>
                    </a:lnTo>
                    <a:lnTo>
                      <a:pt x="192" y="161"/>
                    </a:lnTo>
                    <a:lnTo>
                      <a:pt x="191" y="161"/>
                    </a:lnTo>
                    <a:lnTo>
                      <a:pt x="190" y="159"/>
                    </a:lnTo>
                    <a:lnTo>
                      <a:pt x="192" y="156"/>
                    </a:lnTo>
                    <a:lnTo>
                      <a:pt x="190" y="152"/>
                    </a:lnTo>
                    <a:lnTo>
                      <a:pt x="189" y="151"/>
                    </a:lnTo>
                    <a:lnTo>
                      <a:pt x="183" y="151"/>
                    </a:lnTo>
                    <a:lnTo>
                      <a:pt x="183" y="149"/>
                    </a:lnTo>
                    <a:lnTo>
                      <a:pt x="181" y="149"/>
                    </a:lnTo>
                    <a:lnTo>
                      <a:pt x="181" y="148"/>
                    </a:lnTo>
                    <a:lnTo>
                      <a:pt x="180" y="146"/>
                    </a:lnTo>
                    <a:lnTo>
                      <a:pt x="179" y="147"/>
                    </a:lnTo>
                    <a:lnTo>
                      <a:pt x="179" y="146"/>
                    </a:lnTo>
                    <a:lnTo>
                      <a:pt x="177" y="145"/>
                    </a:lnTo>
                    <a:lnTo>
                      <a:pt x="175" y="143"/>
                    </a:lnTo>
                    <a:lnTo>
                      <a:pt x="177" y="142"/>
                    </a:lnTo>
                    <a:lnTo>
                      <a:pt x="177" y="140"/>
                    </a:lnTo>
                    <a:lnTo>
                      <a:pt x="177" y="138"/>
                    </a:lnTo>
                    <a:lnTo>
                      <a:pt x="175" y="138"/>
                    </a:lnTo>
                    <a:lnTo>
                      <a:pt x="177" y="135"/>
                    </a:lnTo>
                    <a:lnTo>
                      <a:pt x="175" y="134"/>
                    </a:lnTo>
                    <a:lnTo>
                      <a:pt x="176" y="134"/>
                    </a:lnTo>
                    <a:lnTo>
                      <a:pt x="176" y="131"/>
                    </a:lnTo>
                    <a:lnTo>
                      <a:pt x="173" y="130"/>
                    </a:lnTo>
                    <a:lnTo>
                      <a:pt x="174" y="128"/>
                    </a:lnTo>
                    <a:lnTo>
                      <a:pt x="173" y="126"/>
                    </a:lnTo>
                    <a:lnTo>
                      <a:pt x="172" y="126"/>
                    </a:lnTo>
                    <a:lnTo>
                      <a:pt x="173" y="125"/>
                    </a:lnTo>
                    <a:lnTo>
                      <a:pt x="173" y="124"/>
                    </a:lnTo>
                    <a:lnTo>
                      <a:pt x="173" y="123"/>
                    </a:lnTo>
                    <a:lnTo>
                      <a:pt x="172" y="122"/>
                    </a:lnTo>
                    <a:lnTo>
                      <a:pt x="172" y="120"/>
                    </a:lnTo>
                    <a:lnTo>
                      <a:pt x="172" y="118"/>
                    </a:lnTo>
                    <a:lnTo>
                      <a:pt x="170" y="116"/>
                    </a:lnTo>
                    <a:lnTo>
                      <a:pt x="168" y="116"/>
                    </a:lnTo>
                    <a:lnTo>
                      <a:pt x="168" y="115"/>
                    </a:lnTo>
                    <a:lnTo>
                      <a:pt x="166" y="113"/>
                    </a:lnTo>
                    <a:lnTo>
                      <a:pt x="167" y="109"/>
                    </a:lnTo>
                    <a:lnTo>
                      <a:pt x="160" y="100"/>
                    </a:lnTo>
                    <a:lnTo>
                      <a:pt x="159" y="98"/>
                    </a:lnTo>
                    <a:lnTo>
                      <a:pt x="155" y="98"/>
                    </a:lnTo>
                    <a:lnTo>
                      <a:pt x="152" y="104"/>
                    </a:lnTo>
                    <a:lnTo>
                      <a:pt x="149" y="101"/>
                    </a:lnTo>
                    <a:lnTo>
                      <a:pt x="146" y="100"/>
                    </a:lnTo>
                    <a:lnTo>
                      <a:pt x="144" y="91"/>
                    </a:lnTo>
                    <a:lnTo>
                      <a:pt x="141" y="88"/>
                    </a:lnTo>
                    <a:lnTo>
                      <a:pt x="138" y="86"/>
                    </a:lnTo>
                    <a:lnTo>
                      <a:pt x="138" y="85"/>
                    </a:lnTo>
                    <a:lnTo>
                      <a:pt x="136" y="85"/>
                    </a:lnTo>
                    <a:lnTo>
                      <a:pt x="135" y="80"/>
                    </a:lnTo>
                    <a:lnTo>
                      <a:pt x="133" y="75"/>
                    </a:lnTo>
                    <a:lnTo>
                      <a:pt x="135" y="71"/>
                    </a:lnTo>
                    <a:lnTo>
                      <a:pt x="136" y="70"/>
                    </a:lnTo>
                    <a:lnTo>
                      <a:pt x="140" y="71"/>
                    </a:lnTo>
                    <a:lnTo>
                      <a:pt x="141" y="72"/>
                    </a:lnTo>
                    <a:lnTo>
                      <a:pt x="143" y="70"/>
                    </a:lnTo>
                    <a:lnTo>
                      <a:pt x="145" y="70"/>
                    </a:lnTo>
                    <a:lnTo>
                      <a:pt x="148" y="69"/>
                    </a:lnTo>
                    <a:lnTo>
                      <a:pt x="152" y="69"/>
                    </a:lnTo>
                    <a:lnTo>
                      <a:pt x="156" y="67"/>
                    </a:lnTo>
                    <a:lnTo>
                      <a:pt x="157" y="68"/>
                    </a:lnTo>
                    <a:lnTo>
                      <a:pt x="159" y="67"/>
                    </a:lnTo>
                    <a:lnTo>
                      <a:pt x="160" y="68"/>
                    </a:lnTo>
                    <a:lnTo>
                      <a:pt x="164" y="67"/>
                    </a:lnTo>
                    <a:lnTo>
                      <a:pt x="164" y="64"/>
                    </a:lnTo>
                    <a:lnTo>
                      <a:pt x="165" y="64"/>
                    </a:lnTo>
                    <a:lnTo>
                      <a:pt x="165" y="60"/>
                    </a:lnTo>
                    <a:lnTo>
                      <a:pt x="167" y="59"/>
                    </a:lnTo>
                    <a:lnTo>
                      <a:pt x="168" y="58"/>
                    </a:lnTo>
                    <a:lnTo>
                      <a:pt x="169" y="57"/>
                    </a:lnTo>
                    <a:lnTo>
                      <a:pt x="170" y="58"/>
                    </a:lnTo>
                    <a:lnTo>
                      <a:pt x="173" y="60"/>
                    </a:lnTo>
                    <a:lnTo>
                      <a:pt x="176" y="58"/>
                    </a:lnTo>
                    <a:lnTo>
                      <a:pt x="179" y="58"/>
                    </a:lnTo>
                    <a:lnTo>
                      <a:pt x="179" y="56"/>
                    </a:lnTo>
                    <a:lnTo>
                      <a:pt x="179" y="53"/>
                    </a:lnTo>
                    <a:lnTo>
                      <a:pt x="179" y="51"/>
                    </a:lnTo>
                    <a:lnTo>
                      <a:pt x="181" y="45"/>
                    </a:lnTo>
                    <a:lnTo>
                      <a:pt x="176" y="38"/>
                    </a:lnTo>
                    <a:lnTo>
                      <a:pt x="172" y="34"/>
                    </a:lnTo>
                    <a:lnTo>
                      <a:pt x="172" y="31"/>
                    </a:lnTo>
                    <a:lnTo>
                      <a:pt x="173" y="26"/>
                    </a:lnTo>
                    <a:lnTo>
                      <a:pt x="175" y="24"/>
                    </a:lnTo>
                    <a:lnTo>
                      <a:pt x="178" y="18"/>
                    </a:lnTo>
                    <a:lnTo>
                      <a:pt x="180" y="17"/>
                    </a:lnTo>
                    <a:lnTo>
                      <a:pt x="180" y="15"/>
                    </a:lnTo>
                    <a:lnTo>
                      <a:pt x="181" y="15"/>
                    </a:lnTo>
                    <a:lnTo>
                      <a:pt x="180" y="13"/>
                    </a:lnTo>
                    <a:lnTo>
                      <a:pt x="177" y="13"/>
                    </a:lnTo>
                    <a:lnTo>
                      <a:pt x="176" y="12"/>
                    </a:lnTo>
                    <a:lnTo>
                      <a:pt x="174" y="11"/>
                    </a:lnTo>
                    <a:lnTo>
                      <a:pt x="173" y="4"/>
                    </a:lnTo>
                    <a:lnTo>
                      <a:pt x="167" y="0"/>
                    </a:lnTo>
                    <a:lnTo>
                      <a:pt x="164" y="0"/>
                    </a:lnTo>
                    <a:lnTo>
                      <a:pt x="164" y="6"/>
                    </a:lnTo>
                    <a:lnTo>
                      <a:pt x="163" y="10"/>
                    </a:lnTo>
                    <a:lnTo>
                      <a:pt x="164" y="11"/>
                    </a:lnTo>
                    <a:lnTo>
                      <a:pt x="164" y="12"/>
                    </a:lnTo>
                    <a:lnTo>
                      <a:pt x="163" y="13"/>
                    </a:lnTo>
                    <a:lnTo>
                      <a:pt x="155" y="19"/>
                    </a:lnTo>
                    <a:lnTo>
                      <a:pt x="152" y="22"/>
                    </a:lnTo>
                    <a:lnTo>
                      <a:pt x="148" y="24"/>
                    </a:lnTo>
                    <a:lnTo>
                      <a:pt x="143" y="25"/>
                    </a:lnTo>
                    <a:lnTo>
                      <a:pt x="142" y="26"/>
                    </a:lnTo>
                    <a:lnTo>
                      <a:pt x="140" y="25"/>
                    </a:lnTo>
                    <a:lnTo>
                      <a:pt x="140" y="24"/>
                    </a:lnTo>
                    <a:lnTo>
                      <a:pt x="138" y="23"/>
                    </a:lnTo>
                    <a:lnTo>
                      <a:pt x="138" y="20"/>
                    </a:lnTo>
                    <a:lnTo>
                      <a:pt x="137" y="19"/>
                    </a:lnTo>
                    <a:lnTo>
                      <a:pt x="134" y="19"/>
                    </a:lnTo>
                    <a:lnTo>
                      <a:pt x="133" y="20"/>
                    </a:lnTo>
                    <a:lnTo>
                      <a:pt x="131" y="20"/>
                    </a:lnTo>
                    <a:lnTo>
                      <a:pt x="129" y="23"/>
                    </a:lnTo>
                    <a:lnTo>
                      <a:pt x="128" y="22"/>
                    </a:lnTo>
                    <a:lnTo>
                      <a:pt x="125" y="23"/>
                    </a:lnTo>
                    <a:lnTo>
                      <a:pt x="123" y="22"/>
                    </a:lnTo>
                    <a:lnTo>
                      <a:pt x="121" y="20"/>
                    </a:lnTo>
                    <a:lnTo>
                      <a:pt x="120" y="20"/>
                    </a:lnTo>
                    <a:lnTo>
                      <a:pt x="119" y="19"/>
                    </a:lnTo>
                    <a:lnTo>
                      <a:pt x="117" y="19"/>
                    </a:lnTo>
                    <a:lnTo>
                      <a:pt x="111" y="18"/>
                    </a:lnTo>
                    <a:lnTo>
                      <a:pt x="105" y="20"/>
                    </a:lnTo>
                    <a:lnTo>
                      <a:pt x="104" y="20"/>
                    </a:lnTo>
                    <a:lnTo>
                      <a:pt x="102" y="21"/>
                    </a:lnTo>
                    <a:lnTo>
                      <a:pt x="100" y="20"/>
                    </a:lnTo>
                    <a:lnTo>
                      <a:pt x="100" y="24"/>
                    </a:lnTo>
                    <a:lnTo>
                      <a:pt x="99" y="26"/>
                    </a:lnTo>
                    <a:lnTo>
                      <a:pt x="97" y="26"/>
                    </a:lnTo>
                    <a:lnTo>
                      <a:pt x="95" y="28"/>
                    </a:lnTo>
                    <a:lnTo>
                      <a:pt x="92" y="26"/>
                    </a:lnTo>
                    <a:lnTo>
                      <a:pt x="91" y="31"/>
                    </a:lnTo>
                    <a:lnTo>
                      <a:pt x="90" y="34"/>
                    </a:lnTo>
                    <a:lnTo>
                      <a:pt x="91" y="37"/>
                    </a:lnTo>
                    <a:lnTo>
                      <a:pt x="90" y="40"/>
                    </a:lnTo>
                    <a:lnTo>
                      <a:pt x="90" y="43"/>
                    </a:lnTo>
                    <a:lnTo>
                      <a:pt x="88" y="44"/>
                    </a:lnTo>
                    <a:lnTo>
                      <a:pt x="88" y="46"/>
                    </a:lnTo>
                    <a:lnTo>
                      <a:pt x="86" y="47"/>
                    </a:lnTo>
                    <a:lnTo>
                      <a:pt x="83" y="46"/>
                    </a:lnTo>
                    <a:lnTo>
                      <a:pt x="82" y="47"/>
                    </a:lnTo>
                    <a:lnTo>
                      <a:pt x="80" y="45"/>
                    </a:lnTo>
                    <a:lnTo>
                      <a:pt x="77" y="40"/>
                    </a:lnTo>
                    <a:lnTo>
                      <a:pt x="75" y="44"/>
                    </a:lnTo>
                    <a:lnTo>
                      <a:pt x="71" y="47"/>
                    </a:lnTo>
                    <a:lnTo>
                      <a:pt x="67" y="54"/>
                    </a:lnTo>
                    <a:lnTo>
                      <a:pt x="64" y="57"/>
                    </a:lnTo>
                    <a:lnTo>
                      <a:pt x="59" y="53"/>
                    </a:lnTo>
                    <a:lnTo>
                      <a:pt x="57" y="54"/>
                    </a:lnTo>
                    <a:lnTo>
                      <a:pt x="55" y="57"/>
                    </a:lnTo>
                    <a:lnTo>
                      <a:pt x="55" y="60"/>
                    </a:lnTo>
                    <a:lnTo>
                      <a:pt x="53" y="61"/>
                    </a:lnTo>
                    <a:lnTo>
                      <a:pt x="52" y="62"/>
                    </a:lnTo>
                    <a:lnTo>
                      <a:pt x="50" y="60"/>
                    </a:lnTo>
                    <a:lnTo>
                      <a:pt x="48" y="64"/>
                    </a:lnTo>
                    <a:lnTo>
                      <a:pt x="46" y="66"/>
                    </a:lnTo>
                    <a:lnTo>
                      <a:pt x="42" y="70"/>
                    </a:lnTo>
                    <a:lnTo>
                      <a:pt x="41" y="70"/>
                    </a:lnTo>
                    <a:lnTo>
                      <a:pt x="37" y="73"/>
                    </a:lnTo>
                    <a:lnTo>
                      <a:pt x="37" y="76"/>
                    </a:lnTo>
                    <a:lnTo>
                      <a:pt x="37" y="81"/>
                    </a:lnTo>
                    <a:lnTo>
                      <a:pt x="39" y="83"/>
                    </a:lnTo>
                    <a:lnTo>
                      <a:pt x="37" y="86"/>
                    </a:lnTo>
                    <a:lnTo>
                      <a:pt x="30" y="91"/>
                    </a:lnTo>
                    <a:lnTo>
                      <a:pt x="31" y="100"/>
                    </a:lnTo>
                    <a:lnTo>
                      <a:pt x="31" y="104"/>
                    </a:lnTo>
                    <a:lnTo>
                      <a:pt x="31" y="107"/>
                    </a:lnTo>
                    <a:lnTo>
                      <a:pt x="31" y="110"/>
                    </a:lnTo>
                    <a:lnTo>
                      <a:pt x="28" y="117"/>
                    </a:lnTo>
                    <a:lnTo>
                      <a:pt x="25" y="118"/>
                    </a:lnTo>
                    <a:lnTo>
                      <a:pt x="23" y="120"/>
                    </a:lnTo>
                    <a:lnTo>
                      <a:pt x="21" y="122"/>
                    </a:lnTo>
                    <a:lnTo>
                      <a:pt x="18" y="123"/>
                    </a:lnTo>
                    <a:lnTo>
                      <a:pt x="15" y="129"/>
                    </a:lnTo>
                    <a:lnTo>
                      <a:pt x="12" y="132"/>
                    </a:lnTo>
                    <a:lnTo>
                      <a:pt x="12" y="138"/>
                    </a:lnTo>
                    <a:lnTo>
                      <a:pt x="12" y="140"/>
                    </a:lnTo>
                    <a:lnTo>
                      <a:pt x="12" y="143"/>
                    </a:lnTo>
                    <a:lnTo>
                      <a:pt x="8" y="145"/>
                    </a:lnTo>
                    <a:lnTo>
                      <a:pt x="7" y="145"/>
                    </a:lnTo>
                    <a:lnTo>
                      <a:pt x="8" y="147"/>
                    </a:lnTo>
                    <a:lnTo>
                      <a:pt x="11" y="149"/>
                    </a:lnTo>
                    <a:lnTo>
                      <a:pt x="16" y="156"/>
                    </a:lnTo>
                    <a:lnTo>
                      <a:pt x="17" y="159"/>
                    </a:lnTo>
                    <a:lnTo>
                      <a:pt x="17" y="160"/>
                    </a:lnTo>
                    <a:lnTo>
                      <a:pt x="18" y="162"/>
                    </a:lnTo>
                    <a:lnTo>
                      <a:pt x="17" y="164"/>
                    </a:lnTo>
                    <a:lnTo>
                      <a:pt x="17" y="165"/>
                    </a:lnTo>
                    <a:lnTo>
                      <a:pt x="16" y="167"/>
                    </a:lnTo>
                    <a:lnTo>
                      <a:pt x="15" y="166"/>
                    </a:lnTo>
                    <a:lnTo>
                      <a:pt x="14" y="170"/>
                    </a:lnTo>
                    <a:lnTo>
                      <a:pt x="12" y="170"/>
                    </a:lnTo>
                    <a:lnTo>
                      <a:pt x="11" y="172"/>
                    </a:lnTo>
                    <a:lnTo>
                      <a:pt x="9" y="172"/>
                    </a:lnTo>
                    <a:lnTo>
                      <a:pt x="9" y="174"/>
                    </a:lnTo>
                    <a:lnTo>
                      <a:pt x="6" y="174"/>
                    </a:lnTo>
                    <a:lnTo>
                      <a:pt x="7" y="177"/>
                    </a:lnTo>
                    <a:lnTo>
                      <a:pt x="6" y="178"/>
                    </a:lnTo>
                    <a:lnTo>
                      <a:pt x="9" y="179"/>
                    </a:lnTo>
                    <a:lnTo>
                      <a:pt x="8" y="182"/>
                    </a:lnTo>
                    <a:lnTo>
                      <a:pt x="8" y="183"/>
                    </a:lnTo>
                    <a:lnTo>
                      <a:pt x="7" y="184"/>
                    </a:lnTo>
                    <a:lnTo>
                      <a:pt x="7" y="183"/>
                    </a:lnTo>
                    <a:lnTo>
                      <a:pt x="6" y="185"/>
                    </a:lnTo>
                    <a:lnTo>
                      <a:pt x="6" y="186"/>
                    </a:lnTo>
                    <a:lnTo>
                      <a:pt x="4" y="188"/>
                    </a:lnTo>
                    <a:lnTo>
                      <a:pt x="3" y="189"/>
                    </a:lnTo>
                    <a:lnTo>
                      <a:pt x="1" y="189"/>
                    </a:lnTo>
                    <a:lnTo>
                      <a:pt x="2" y="192"/>
                    </a:lnTo>
                    <a:lnTo>
                      <a:pt x="1" y="192"/>
                    </a:lnTo>
                    <a:lnTo>
                      <a:pt x="0" y="194"/>
                    </a:lnTo>
                    <a:lnTo>
                      <a:pt x="3" y="196"/>
                    </a:lnTo>
                    <a:lnTo>
                      <a:pt x="4" y="198"/>
                    </a:lnTo>
                    <a:lnTo>
                      <a:pt x="3" y="202"/>
                    </a:lnTo>
                    <a:lnTo>
                      <a:pt x="4" y="200"/>
                    </a:lnTo>
                    <a:lnTo>
                      <a:pt x="6" y="200"/>
                    </a:lnTo>
                    <a:lnTo>
                      <a:pt x="6" y="202"/>
                    </a:lnTo>
                    <a:lnTo>
                      <a:pt x="6" y="204"/>
                    </a:lnTo>
                    <a:lnTo>
                      <a:pt x="7" y="209"/>
                    </a:lnTo>
                    <a:lnTo>
                      <a:pt x="9" y="209"/>
                    </a:lnTo>
                    <a:lnTo>
                      <a:pt x="9" y="212"/>
                    </a:lnTo>
                    <a:lnTo>
                      <a:pt x="12" y="209"/>
                    </a:lnTo>
                    <a:lnTo>
                      <a:pt x="14" y="209"/>
                    </a:lnTo>
                    <a:lnTo>
                      <a:pt x="15" y="209"/>
                    </a:lnTo>
                    <a:lnTo>
                      <a:pt x="15" y="208"/>
                    </a:lnTo>
                    <a:lnTo>
                      <a:pt x="16" y="207"/>
                    </a:lnTo>
                    <a:lnTo>
                      <a:pt x="18" y="208"/>
                    </a:lnTo>
                    <a:lnTo>
                      <a:pt x="20" y="205"/>
                    </a:lnTo>
                    <a:lnTo>
                      <a:pt x="21" y="205"/>
                    </a:lnTo>
                    <a:lnTo>
                      <a:pt x="19" y="212"/>
                    </a:lnTo>
                    <a:lnTo>
                      <a:pt x="16" y="218"/>
                    </a:lnTo>
                    <a:lnTo>
                      <a:pt x="15" y="221"/>
                    </a:lnTo>
                    <a:lnTo>
                      <a:pt x="16" y="221"/>
                    </a:lnTo>
                    <a:lnTo>
                      <a:pt x="16" y="222"/>
                    </a:lnTo>
                    <a:lnTo>
                      <a:pt x="17" y="222"/>
                    </a:lnTo>
                    <a:lnTo>
                      <a:pt x="17" y="224"/>
                    </a:lnTo>
                    <a:lnTo>
                      <a:pt x="17" y="223"/>
                    </a:lnTo>
                    <a:lnTo>
                      <a:pt x="18" y="222"/>
                    </a:lnTo>
                    <a:lnTo>
                      <a:pt x="19" y="223"/>
                    </a:lnTo>
                    <a:lnTo>
                      <a:pt x="20" y="223"/>
                    </a:lnTo>
                    <a:lnTo>
                      <a:pt x="20" y="222"/>
                    </a:lnTo>
                    <a:lnTo>
                      <a:pt x="21" y="222"/>
                    </a:lnTo>
                    <a:lnTo>
                      <a:pt x="22" y="221"/>
                    </a:lnTo>
                    <a:lnTo>
                      <a:pt x="22" y="222"/>
                    </a:lnTo>
                    <a:lnTo>
                      <a:pt x="24" y="221"/>
                    </a:lnTo>
                    <a:lnTo>
                      <a:pt x="25" y="222"/>
                    </a:lnTo>
                    <a:lnTo>
                      <a:pt x="26" y="222"/>
                    </a:lnTo>
                    <a:lnTo>
                      <a:pt x="27" y="225"/>
                    </a:lnTo>
                    <a:lnTo>
                      <a:pt x="30" y="225"/>
                    </a:lnTo>
                    <a:lnTo>
                      <a:pt x="31" y="226"/>
                    </a:lnTo>
                    <a:lnTo>
                      <a:pt x="33" y="226"/>
                    </a:lnTo>
                    <a:lnTo>
                      <a:pt x="33" y="227"/>
                    </a:lnTo>
                    <a:lnTo>
                      <a:pt x="33" y="229"/>
                    </a:lnTo>
                    <a:lnTo>
                      <a:pt x="34" y="228"/>
                    </a:lnTo>
                    <a:lnTo>
                      <a:pt x="37" y="230"/>
                    </a:lnTo>
                    <a:lnTo>
                      <a:pt x="37" y="231"/>
                    </a:lnTo>
                    <a:lnTo>
                      <a:pt x="39" y="232"/>
                    </a:lnTo>
                    <a:lnTo>
                      <a:pt x="41" y="231"/>
                    </a:lnTo>
                    <a:lnTo>
                      <a:pt x="45" y="233"/>
                    </a:lnTo>
                    <a:lnTo>
                      <a:pt x="45" y="235"/>
                    </a:lnTo>
                    <a:lnTo>
                      <a:pt x="45" y="236"/>
                    </a:lnTo>
                    <a:lnTo>
                      <a:pt x="47" y="234"/>
                    </a:lnTo>
                    <a:lnTo>
                      <a:pt x="48" y="233"/>
                    </a:lnTo>
                    <a:lnTo>
                      <a:pt x="51" y="233"/>
                    </a:lnTo>
                    <a:lnTo>
                      <a:pt x="55" y="231"/>
                    </a:lnTo>
                    <a:lnTo>
                      <a:pt x="57" y="235"/>
                    </a:lnTo>
                    <a:lnTo>
                      <a:pt x="58" y="234"/>
                    </a:lnTo>
                    <a:lnTo>
                      <a:pt x="58" y="236"/>
                    </a:lnTo>
                    <a:lnTo>
                      <a:pt x="62" y="242"/>
                    </a:lnTo>
                    <a:lnTo>
                      <a:pt x="63" y="243"/>
                    </a:lnTo>
                    <a:lnTo>
                      <a:pt x="64" y="243"/>
                    </a:lnTo>
                    <a:lnTo>
                      <a:pt x="64" y="246"/>
                    </a:lnTo>
                    <a:lnTo>
                      <a:pt x="67" y="247"/>
                    </a:lnTo>
                    <a:lnTo>
                      <a:pt x="67" y="250"/>
                    </a:lnTo>
                    <a:lnTo>
                      <a:pt x="66" y="251"/>
                    </a:lnTo>
                    <a:lnTo>
                      <a:pt x="66" y="252"/>
                    </a:lnTo>
                    <a:lnTo>
                      <a:pt x="69" y="255"/>
                    </a:lnTo>
                    <a:lnTo>
                      <a:pt x="69" y="256"/>
                    </a:lnTo>
                    <a:lnTo>
                      <a:pt x="67" y="256"/>
                    </a:lnTo>
                    <a:lnTo>
                      <a:pt x="69" y="259"/>
                    </a:lnTo>
                    <a:lnTo>
                      <a:pt x="70" y="261"/>
                    </a:lnTo>
                    <a:lnTo>
                      <a:pt x="70" y="260"/>
                    </a:lnTo>
                    <a:lnTo>
                      <a:pt x="72" y="260"/>
                    </a:lnTo>
                    <a:lnTo>
                      <a:pt x="74" y="259"/>
                    </a:lnTo>
                    <a:lnTo>
                      <a:pt x="77" y="257"/>
                    </a:lnTo>
                    <a:lnTo>
                      <a:pt x="82" y="260"/>
                    </a:lnTo>
                    <a:lnTo>
                      <a:pt x="84" y="261"/>
                    </a:lnTo>
                    <a:lnTo>
                      <a:pt x="86" y="260"/>
                    </a:lnTo>
                    <a:lnTo>
                      <a:pt x="87" y="260"/>
                    </a:lnTo>
                    <a:lnTo>
                      <a:pt x="89" y="267"/>
                    </a:lnTo>
                    <a:lnTo>
                      <a:pt x="91" y="268"/>
                    </a:lnTo>
                    <a:lnTo>
                      <a:pt x="96" y="270"/>
                    </a:lnTo>
                    <a:lnTo>
                      <a:pt x="99" y="264"/>
                    </a:lnTo>
                    <a:lnTo>
                      <a:pt x="99" y="262"/>
                    </a:lnTo>
                    <a:lnTo>
                      <a:pt x="100" y="260"/>
                    </a:lnTo>
                    <a:lnTo>
                      <a:pt x="102" y="261"/>
                    </a:lnTo>
                    <a:lnTo>
                      <a:pt x="102" y="262"/>
                    </a:lnTo>
                    <a:lnTo>
                      <a:pt x="105" y="264"/>
                    </a:lnTo>
                    <a:lnTo>
                      <a:pt x="108" y="266"/>
                    </a:lnTo>
                    <a:lnTo>
                      <a:pt x="112" y="273"/>
                    </a:lnTo>
                    <a:lnTo>
                      <a:pt x="115" y="275"/>
                    </a:lnTo>
                    <a:lnTo>
                      <a:pt x="120" y="275"/>
                    </a:lnTo>
                    <a:lnTo>
                      <a:pt x="120" y="272"/>
                    </a:lnTo>
                    <a:lnTo>
                      <a:pt x="123" y="272"/>
                    </a:lnTo>
                    <a:lnTo>
                      <a:pt x="124" y="270"/>
                    </a:lnTo>
                    <a:lnTo>
                      <a:pt x="126" y="270"/>
                    </a:lnTo>
                    <a:lnTo>
                      <a:pt x="127" y="268"/>
                    </a:lnTo>
                    <a:lnTo>
                      <a:pt x="130" y="270"/>
                    </a:lnTo>
                    <a:lnTo>
                      <a:pt x="132" y="270"/>
                    </a:lnTo>
                    <a:lnTo>
                      <a:pt x="134" y="274"/>
                    </a:lnTo>
                    <a:lnTo>
                      <a:pt x="136" y="273"/>
                    </a:lnTo>
                    <a:lnTo>
                      <a:pt x="137" y="274"/>
                    </a:lnTo>
                    <a:lnTo>
                      <a:pt x="139" y="276"/>
                    </a:lnTo>
                    <a:lnTo>
                      <a:pt x="137" y="277"/>
                    </a:lnTo>
                    <a:lnTo>
                      <a:pt x="139" y="278"/>
                    </a:lnTo>
                    <a:lnTo>
                      <a:pt x="140" y="279"/>
                    </a:lnTo>
                    <a:lnTo>
                      <a:pt x="141" y="280"/>
                    </a:lnTo>
                    <a:lnTo>
                      <a:pt x="142" y="280"/>
                    </a:lnTo>
                    <a:lnTo>
                      <a:pt x="143" y="277"/>
                    </a:lnTo>
                    <a:lnTo>
                      <a:pt x="144" y="277"/>
                    </a:lnTo>
                    <a:lnTo>
                      <a:pt x="143" y="281"/>
                    </a:lnTo>
                    <a:lnTo>
                      <a:pt x="144" y="282"/>
                    </a:lnTo>
                    <a:lnTo>
                      <a:pt x="143" y="282"/>
                    </a:lnTo>
                    <a:lnTo>
                      <a:pt x="143" y="284"/>
                    </a:lnTo>
                    <a:lnTo>
                      <a:pt x="142" y="284"/>
                    </a:lnTo>
                    <a:lnTo>
                      <a:pt x="139" y="289"/>
                    </a:lnTo>
                    <a:lnTo>
                      <a:pt x="138" y="291"/>
                    </a:lnTo>
                    <a:lnTo>
                      <a:pt x="139" y="296"/>
                    </a:lnTo>
                    <a:lnTo>
                      <a:pt x="139" y="302"/>
                    </a:lnTo>
                    <a:lnTo>
                      <a:pt x="140" y="304"/>
                    </a:lnTo>
                    <a:lnTo>
                      <a:pt x="147" y="310"/>
                    </a:lnTo>
                    <a:lnTo>
                      <a:pt x="147" y="311"/>
                    </a:lnTo>
                    <a:lnTo>
                      <a:pt x="148" y="312"/>
                    </a:lnTo>
                    <a:lnTo>
                      <a:pt x="149" y="310"/>
                    </a:lnTo>
                    <a:lnTo>
                      <a:pt x="149" y="311"/>
                    </a:lnTo>
                    <a:lnTo>
                      <a:pt x="150" y="310"/>
                    </a:lnTo>
                    <a:lnTo>
                      <a:pt x="151" y="310"/>
                    </a:lnTo>
                    <a:lnTo>
                      <a:pt x="151" y="306"/>
                    </a:lnTo>
                    <a:lnTo>
                      <a:pt x="152" y="304"/>
                    </a:lnTo>
                    <a:lnTo>
                      <a:pt x="155" y="307"/>
                    </a:lnTo>
                    <a:lnTo>
                      <a:pt x="157" y="314"/>
                    </a:lnTo>
                    <a:lnTo>
                      <a:pt x="161" y="318"/>
                    </a:lnTo>
                    <a:lnTo>
                      <a:pt x="159" y="321"/>
                    </a:lnTo>
                    <a:lnTo>
                      <a:pt x="161" y="323"/>
                    </a:lnTo>
                    <a:lnTo>
                      <a:pt x="161" y="327"/>
                    </a:lnTo>
                    <a:lnTo>
                      <a:pt x="162" y="328"/>
                    </a:lnTo>
                    <a:lnTo>
                      <a:pt x="163" y="326"/>
                    </a:lnTo>
                    <a:lnTo>
                      <a:pt x="164" y="326"/>
                    </a:lnTo>
                    <a:lnTo>
                      <a:pt x="166" y="330"/>
                    </a:lnTo>
                    <a:lnTo>
                      <a:pt x="169" y="332"/>
                    </a:lnTo>
                    <a:lnTo>
                      <a:pt x="172" y="333"/>
                    </a:lnTo>
                    <a:lnTo>
                      <a:pt x="173" y="337"/>
                    </a:lnTo>
                    <a:lnTo>
                      <a:pt x="175" y="340"/>
                    </a:lnTo>
                    <a:lnTo>
                      <a:pt x="176" y="341"/>
                    </a:lnTo>
                    <a:lnTo>
                      <a:pt x="177" y="343"/>
                    </a:lnTo>
                    <a:lnTo>
                      <a:pt x="177" y="346"/>
                    </a:lnTo>
                    <a:lnTo>
                      <a:pt x="179" y="346"/>
                    </a:lnTo>
                    <a:lnTo>
                      <a:pt x="179" y="347"/>
                    </a:lnTo>
                    <a:lnTo>
                      <a:pt x="179" y="348"/>
                    </a:lnTo>
                    <a:lnTo>
                      <a:pt x="179" y="350"/>
                    </a:lnTo>
                    <a:lnTo>
                      <a:pt x="180" y="349"/>
                    </a:lnTo>
                    <a:lnTo>
                      <a:pt x="181" y="350"/>
                    </a:lnTo>
                    <a:lnTo>
                      <a:pt x="180" y="353"/>
                    </a:lnTo>
                    <a:lnTo>
                      <a:pt x="182" y="354"/>
                    </a:lnTo>
                    <a:lnTo>
                      <a:pt x="183" y="354"/>
                    </a:lnTo>
                    <a:lnTo>
                      <a:pt x="182" y="354"/>
                    </a:lnTo>
                    <a:lnTo>
                      <a:pt x="183" y="354"/>
                    </a:lnTo>
                    <a:lnTo>
                      <a:pt x="182" y="356"/>
                    </a:lnTo>
                    <a:lnTo>
                      <a:pt x="183" y="357"/>
                    </a:lnTo>
                    <a:lnTo>
                      <a:pt x="181" y="359"/>
                    </a:lnTo>
                    <a:lnTo>
                      <a:pt x="180" y="358"/>
                    </a:lnTo>
                    <a:lnTo>
                      <a:pt x="177" y="361"/>
                    </a:lnTo>
                    <a:lnTo>
                      <a:pt x="177" y="363"/>
                    </a:lnTo>
                    <a:lnTo>
                      <a:pt x="178" y="363"/>
                    </a:lnTo>
                    <a:lnTo>
                      <a:pt x="179" y="365"/>
                    </a:lnTo>
                    <a:lnTo>
                      <a:pt x="179" y="368"/>
                    </a:lnTo>
                    <a:lnTo>
                      <a:pt x="181" y="370"/>
                    </a:lnTo>
                    <a:lnTo>
                      <a:pt x="184" y="365"/>
                    </a:lnTo>
                    <a:lnTo>
                      <a:pt x="185" y="364"/>
                    </a:lnTo>
                    <a:lnTo>
                      <a:pt x="187" y="364"/>
                    </a:lnTo>
                    <a:lnTo>
                      <a:pt x="187" y="363"/>
                    </a:lnTo>
                    <a:lnTo>
                      <a:pt x="188" y="361"/>
                    </a:lnTo>
                    <a:lnTo>
                      <a:pt x="192" y="364"/>
                    </a:lnTo>
                    <a:lnTo>
                      <a:pt x="192" y="362"/>
                    </a:lnTo>
                    <a:lnTo>
                      <a:pt x="193" y="362"/>
                    </a:lnTo>
                    <a:lnTo>
                      <a:pt x="193" y="363"/>
                    </a:lnTo>
                    <a:lnTo>
                      <a:pt x="192" y="364"/>
                    </a:lnTo>
                    <a:lnTo>
                      <a:pt x="195" y="367"/>
                    </a:lnTo>
                    <a:lnTo>
                      <a:pt x="193" y="370"/>
                    </a:lnTo>
                    <a:lnTo>
                      <a:pt x="194" y="370"/>
                    </a:lnTo>
                    <a:lnTo>
                      <a:pt x="194" y="371"/>
                    </a:lnTo>
                    <a:lnTo>
                      <a:pt x="195" y="371"/>
                    </a:lnTo>
                    <a:lnTo>
                      <a:pt x="194" y="374"/>
                    </a:lnTo>
                    <a:lnTo>
                      <a:pt x="196" y="374"/>
                    </a:lnTo>
                    <a:lnTo>
                      <a:pt x="196" y="376"/>
                    </a:lnTo>
                    <a:lnTo>
                      <a:pt x="205" y="376"/>
                    </a:lnTo>
                    <a:lnTo>
                      <a:pt x="207" y="376"/>
                    </a:lnTo>
                    <a:lnTo>
                      <a:pt x="209" y="379"/>
                    </a:lnTo>
                    <a:lnTo>
                      <a:pt x="210" y="377"/>
                    </a:lnTo>
                    <a:lnTo>
                      <a:pt x="211" y="377"/>
                    </a:lnTo>
                    <a:lnTo>
                      <a:pt x="213" y="381"/>
                    </a:lnTo>
                    <a:lnTo>
                      <a:pt x="216" y="384"/>
                    </a:lnTo>
                    <a:lnTo>
                      <a:pt x="216" y="389"/>
                    </a:lnTo>
                    <a:lnTo>
                      <a:pt x="215" y="393"/>
                    </a:lnTo>
                    <a:lnTo>
                      <a:pt x="217" y="394"/>
                    </a:lnTo>
                    <a:lnTo>
                      <a:pt x="218" y="394"/>
                    </a:lnTo>
                    <a:lnTo>
                      <a:pt x="221" y="394"/>
                    </a:lnTo>
                    <a:lnTo>
                      <a:pt x="227" y="391"/>
                    </a:lnTo>
                    <a:lnTo>
                      <a:pt x="233" y="391"/>
                    </a:lnTo>
                    <a:lnTo>
                      <a:pt x="236" y="390"/>
                    </a:lnTo>
                    <a:lnTo>
                      <a:pt x="239" y="391"/>
                    </a:lnTo>
                    <a:lnTo>
                      <a:pt x="241" y="389"/>
                    </a:lnTo>
                    <a:lnTo>
                      <a:pt x="244" y="391"/>
                    </a:lnTo>
                    <a:lnTo>
                      <a:pt x="246" y="390"/>
                    </a:lnTo>
                    <a:lnTo>
                      <a:pt x="248" y="391"/>
                    </a:lnTo>
                    <a:lnTo>
                      <a:pt x="252" y="389"/>
                    </a:lnTo>
                    <a:lnTo>
                      <a:pt x="255" y="394"/>
                    </a:lnTo>
                    <a:lnTo>
                      <a:pt x="261" y="394"/>
                    </a:lnTo>
                    <a:lnTo>
                      <a:pt x="263" y="393"/>
                    </a:lnTo>
                    <a:lnTo>
                      <a:pt x="264" y="394"/>
                    </a:lnTo>
                    <a:lnTo>
                      <a:pt x="265" y="398"/>
                    </a:lnTo>
                    <a:lnTo>
                      <a:pt x="269" y="404"/>
                    </a:lnTo>
                    <a:lnTo>
                      <a:pt x="272" y="406"/>
                    </a:lnTo>
                    <a:lnTo>
                      <a:pt x="276" y="405"/>
                    </a:lnTo>
                    <a:lnTo>
                      <a:pt x="277" y="405"/>
                    </a:lnTo>
                    <a:lnTo>
                      <a:pt x="278" y="407"/>
                    </a:lnTo>
                    <a:lnTo>
                      <a:pt x="286" y="411"/>
                    </a:lnTo>
                    <a:lnTo>
                      <a:pt x="288" y="410"/>
                    </a:lnTo>
                    <a:lnTo>
                      <a:pt x="290" y="406"/>
                    </a:lnTo>
                    <a:lnTo>
                      <a:pt x="292" y="406"/>
                    </a:lnTo>
                    <a:lnTo>
                      <a:pt x="296" y="407"/>
                    </a:lnTo>
                    <a:lnTo>
                      <a:pt x="299" y="409"/>
                    </a:lnTo>
                    <a:lnTo>
                      <a:pt x="300" y="411"/>
                    </a:lnTo>
                    <a:lnTo>
                      <a:pt x="300" y="420"/>
                    </a:lnTo>
                    <a:lnTo>
                      <a:pt x="302" y="423"/>
                    </a:lnTo>
                    <a:lnTo>
                      <a:pt x="304" y="427"/>
                    </a:lnTo>
                    <a:lnTo>
                      <a:pt x="306" y="428"/>
                    </a:lnTo>
                    <a:lnTo>
                      <a:pt x="309" y="430"/>
                    </a:lnTo>
                    <a:lnTo>
                      <a:pt x="311" y="430"/>
                    </a:lnTo>
                    <a:lnTo>
                      <a:pt x="312" y="434"/>
                    </a:lnTo>
                    <a:lnTo>
                      <a:pt x="313" y="435"/>
                    </a:lnTo>
                    <a:lnTo>
                      <a:pt x="312" y="435"/>
                    </a:lnTo>
                    <a:lnTo>
                      <a:pt x="313" y="437"/>
                    </a:lnTo>
                    <a:lnTo>
                      <a:pt x="315" y="437"/>
                    </a:lnTo>
                    <a:lnTo>
                      <a:pt x="316" y="442"/>
                    </a:lnTo>
                    <a:lnTo>
                      <a:pt x="313" y="451"/>
                    </a:lnTo>
                    <a:lnTo>
                      <a:pt x="316" y="451"/>
                    </a:lnTo>
                    <a:lnTo>
                      <a:pt x="318" y="451"/>
                    </a:lnTo>
                    <a:lnTo>
                      <a:pt x="320" y="454"/>
                    </a:lnTo>
                    <a:lnTo>
                      <a:pt x="322" y="454"/>
                    </a:lnTo>
                    <a:lnTo>
                      <a:pt x="324" y="455"/>
                    </a:lnTo>
                    <a:lnTo>
                      <a:pt x="326" y="454"/>
                    </a:lnTo>
                    <a:lnTo>
                      <a:pt x="332" y="457"/>
                    </a:lnTo>
                    <a:lnTo>
                      <a:pt x="336" y="457"/>
                    </a:lnTo>
                    <a:lnTo>
                      <a:pt x="337" y="455"/>
                    </a:lnTo>
                    <a:lnTo>
                      <a:pt x="338" y="454"/>
                    </a:lnTo>
                    <a:lnTo>
                      <a:pt x="344" y="451"/>
                    </a:lnTo>
                    <a:lnTo>
                      <a:pt x="345" y="449"/>
                    </a:lnTo>
                    <a:lnTo>
                      <a:pt x="345" y="447"/>
                    </a:lnTo>
                    <a:lnTo>
                      <a:pt x="346" y="445"/>
                    </a:lnTo>
                    <a:lnTo>
                      <a:pt x="347" y="444"/>
                    </a:lnTo>
                    <a:lnTo>
                      <a:pt x="350" y="442"/>
                    </a:lnTo>
                    <a:lnTo>
                      <a:pt x="348" y="440"/>
                    </a:lnTo>
                    <a:lnTo>
                      <a:pt x="350" y="439"/>
                    </a:lnTo>
                    <a:lnTo>
                      <a:pt x="352" y="439"/>
                    </a:lnTo>
                    <a:lnTo>
                      <a:pt x="353" y="436"/>
                    </a:lnTo>
                    <a:lnTo>
                      <a:pt x="358" y="434"/>
                    </a:lnTo>
                    <a:lnTo>
                      <a:pt x="359" y="430"/>
                    </a:lnTo>
                    <a:lnTo>
                      <a:pt x="361" y="429"/>
                    </a:lnTo>
                    <a:lnTo>
                      <a:pt x="362" y="427"/>
                    </a:lnTo>
                    <a:lnTo>
                      <a:pt x="364" y="427"/>
                    </a:lnTo>
                    <a:lnTo>
                      <a:pt x="365" y="426"/>
                    </a:lnTo>
                    <a:lnTo>
                      <a:pt x="366" y="425"/>
                    </a:lnTo>
                    <a:lnTo>
                      <a:pt x="364" y="423"/>
                    </a:lnTo>
                    <a:lnTo>
                      <a:pt x="364" y="420"/>
                    </a:lnTo>
                    <a:lnTo>
                      <a:pt x="363" y="418"/>
                    </a:lnTo>
                    <a:lnTo>
                      <a:pt x="363" y="416"/>
                    </a:lnTo>
                    <a:lnTo>
                      <a:pt x="363" y="414"/>
                    </a:lnTo>
                    <a:lnTo>
                      <a:pt x="365" y="414"/>
                    </a:lnTo>
                    <a:lnTo>
                      <a:pt x="365" y="413"/>
                    </a:lnTo>
                    <a:lnTo>
                      <a:pt x="366" y="410"/>
                    </a:lnTo>
                    <a:lnTo>
                      <a:pt x="368" y="410"/>
                    </a:lnTo>
                    <a:lnTo>
                      <a:pt x="368" y="409"/>
                    </a:lnTo>
                    <a:lnTo>
                      <a:pt x="373" y="407"/>
                    </a:lnTo>
                    <a:lnTo>
                      <a:pt x="376" y="408"/>
                    </a:lnTo>
                    <a:lnTo>
                      <a:pt x="380" y="407"/>
                    </a:lnTo>
                    <a:lnTo>
                      <a:pt x="381" y="406"/>
                    </a:lnTo>
                    <a:lnTo>
                      <a:pt x="381" y="407"/>
                    </a:lnTo>
                    <a:lnTo>
                      <a:pt x="382" y="409"/>
                    </a:lnTo>
                    <a:lnTo>
                      <a:pt x="382" y="413"/>
                    </a:lnTo>
                    <a:lnTo>
                      <a:pt x="386" y="414"/>
                    </a:lnTo>
                    <a:lnTo>
                      <a:pt x="389" y="413"/>
                    </a:lnTo>
                    <a:lnTo>
                      <a:pt x="392" y="414"/>
                    </a:lnTo>
                    <a:lnTo>
                      <a:pt x="392" y="412"/>
                    </a:lnTo>
                    <a:lnTo>
                      <a:pt x="396" y="412"/>
                    </a:lnTo>
                    <a:lnTo>
                      <a:pt x="397" y="411"/>
                    </a:lnTo>
                    <a:lnTo>
                      <a:pt x="399" y="411"/>
                    </a:lnTo>
                    <a:lnTo>
                      <a:pt x="400" y="410"/>
                    </a:lnTo>
                    <a:lnTo>
                      <a:pt x="401" y="410"/>
                    </a:lnTo>
                    <a:lnTo>
                      <a:pt x="404" y="411"/>
                    </a:lnTo>
                    <a:lnTo>
                      <a:pt x="404" y="413"/>
                    </a:lnTo>
                    <a:lnTo>
                      <a:pt x="405" y="414"/>
                    </a:lnTo>
                    <a:lnTo>
                      <a:pt x="407" y="414"/>
                    </a:lnTo>
                    <a:lnTo>
                      <a:pt x="411" y="413"/>
                    </a:lnTo>
                    <a:lnTo>
                      <a:pt x="413" y="415"/>
                    </a:lnTo>
                    <a:lnTo>
                      <a:pt x="417" y="419"/>
                    </a:lnTo>
                    <a:lnTo>
                      <a:pt x="420" y="421"/>
                    </a:lnTo>
                    <a:lnTo>
                      <a:pt x="422" y="419"/>
                    </a:lnTo>
                    <a:lnTo>
                      <a:pt x="423" y="420"/>
                    </a:lnTo>
                    <a:lnTo>
                      <a:pt x="430" y="414"/>
                    </a:lnTo>
                    <a:lnTo>
                      <a:pt x="433" y="412"/>
                    </a:lnTo>
                    <a:lnTo>
                      <a:pt x="433" y="413"/>
                    </a:lnTo>
                    <a:lnTo>
                      <a:pt x="436" y="412"/>
                    </a:lnTo>
                    <a:lnTo>
                      <a:pt x="438" y="409"/>
                    </a:lnTo>
                    <a:lnTo>
                      <a:pt x="441" y="410"/>
                    </a:lnTo>
                    <a:lnTo>
                      <a:pt x="446" y="410"/>
                    </a:lnTo>
                    <a:lnTo>
                      <a:pt x="450" y="410"/>
                    </a:lnTo>
                    <a:lnTo>
                      <a:pt x="450" y="409"/>
                    </a:lnTo>
                    <a:lnTo>
                      <a:pt x="448" y="409"/>
                    </a:lnTo>
                    <a:lnTo>
                      <a:pt x="446" y="406"/>
                    </a:lnTo>
                    <a:lnTo>
                      <a:pt x="448" y="404"/>
                    </a:lnTo>
                    <a:lnTo>
                      <a:pt x="448" y="402"/>
                    </a:lnTo>
                    <a:lnTo>
                      <a:pt x="448" y="401"/>
                    </a:lnTo>
                    <a:lnTo>
                      <a:pt x="449" y="401"/>
                    </a:lnTo>
                    <a:lnTo>
                      <a:pt x="450" y="401"/>
                    </a:lnTo>
                    <a:lnTo>
                      <a:pt x="453" y="400"/>
                    </a:lnTo>
                    <a:lnTo>
                      <a:pt x="454" y="394"/>
                    </a:lnTo>
                    <a:lnTo>
                      <a:pt x="451" y="392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82" name="Group 113">
              <a:extLst>
                <a:ext uri="{FF2B5EF4-FFF2-40B4-BE49-F238E27FC236}">
                  <a16:creationId xmlns:a16="http://schemas.microsoft.com/office/drawing/2014/main" id="{203AD0A8-470D-4BE4-95E0-7D9D5876BD4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56" y="3285"/>
              <a:ext cx="422" cy="438"/>
              <a:chOff x="1156" y="3285"/>
              <a:chExt cx="422" cy="438"/>
            </a:xfrm>
          </p:grpSpPr>
          <p:sp>
            <p:nvSpPr>
              <p:cNvPr id="495" name="Freeform 111">
                <a:extLst>
                  <a:ext uri="{FF2B5EF4-FFF2-40B4-BE49-F238E27FC236}">
                    <a16:creationId xmlns:a16="http://schemas.microsoft.com/office/drawing/2014/main" id="{97C29AEA-FFC1-4120-A865-5108197FF7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6" y="3285"/>
                <a:ext cx="422" cy="438"/>
              </a:xfrm>
              <a:custGeom>
                <a:avLst/>
                <a:gdLst>
                  <a:gd name="T0" fmla="*/ 418 w 422"/>
                  <a:gd name="T1" fmla="*/ 168 h 438"/>
                  <a:gd name="T2" fmla="*/ 390 w 422"/>
                  <a:gd name="T3" fmla="*/ 138 h 438"/>
                  <a:gd name="T4" fmla="*/ 364 w 422"/>
                  <a:gd name="T5" fmla="*/ 110 h 438"/>
                  <a:gd name="T6" fmla="*/ 338 w 422"/>
                  <a:gd name="T7" fmla="*/ 91 h 438"/>
                  <a:gd name="T8" fmla="*/ 320 w 422"/>
                  <a:gd name="T9" fmla="*/ 76 h 438"/>
                  <a:gd name="T10" fmla="*/ 291 w 422"/>
                  <a:gd name="T11" fmla="*/ 93 h 438"/>
                  <a:gd name="T12" fmla="*/ 269 w 422"/>
                  <a:gd name="T13" fmla="*/ 61 h 438"/>
                  <a:gd name="T14" fmla="*/ 255 w 422"/>
                  <a:gd name="T15" fmla="*/ 47 h 438"/>
                  <a:gd name="T16" fmla="*/ 244 w 422"/>
                  <a:gd name="T17" fmla="*/ 35 h 438"/>
                  <a:gd name="T18" fmla="*/ 226 w 422"/>
                  <a:gd name="T19" fmla="*/ 32 h 438"/>
                  <a:gd name="T20" fmla="*/ 213 w 422"/>
                  <a:gd name="T21" fmla="*/ 24 h 438"/>
                  <a:gd name="T22" fmla="*/ 190 w 422"/>
                  <a:gd name="T23" fmla="*/ 0 h 438"/>
                  <a:gd name="T24" fmla="*/ 171 w 422"/>
                  <a:gd name="T25" fmla="*/ 11 h 438"/>
                  <a:gd name="T26" fmla="*/ 165 w 422"/>
                  <a:gd name="T27" fmla="*/ 29 h 438"/>
                  <a:gd name="T28" fmla="*/ 150 w 422"/>
                  <a:gd name="T29" fmla="*/ 34 h 438"/>
                  <a:gd name="T30" fmla="*/ 126 w 422"/>
                  <a:gd name="T31" fmla="*/ 41 h 438"/>
                  <a:gd name="T32" fmla="*/ 109 w 422"/>
                  <a:gd name="T33" fmla="*/ 41 h 438"/>
                  <a:gd name="T34" fmla="*/ 96 w 422"/>
                  <a:gd name="T35" fmla="*/ 62 h 438"/>
                  <a:gd name="T36" fmla="*/ 112 w 422"/>
                  <a:gd name="T37" fmla="*/ 94 h 438"/>
                  <a:gd name="T38" fmla="*/ 97 w 422"/>
                  <a:gd name="T39" fmla="*/ 104 h 438"/>
                  <a:gd name="T40" fmla="*/ 86 w 422"/>
                  <a:gd name="T41" fmla="*/ 114 h 438"/>
                  <a:gd name="T42" fmla="*/ 72 w 422"/>
                  <a:gd name="T43" fmla="*/ 104 h 438"/>
                  <a:gd name="T44" fmla="*/ 49 w 422"/>
                  <a:gd name="T45" fmla="*/ 105 h 438"/>
                  <a:gd name="T46" fmla="*/ 37 w 422"/>
                  <a:gd name="T47" fmla="*/ 112 h 438"/>
                  <a:gd name="T48" fmla="*/ 21 w 422"/>
                  <a:gd name="T49" fmla="*/ 130 h 438"/>
                  <a:gd name="T50" fmla="*/ 16 w 422"/>
                  <a:gd name="T51" fmla="*/ 149 h 438"/>
                  <a:gd name="T52" fmla="*/ 5 w 422"/>
                  <a:gd name="T53" fmla="*/ 183 h 438"/>
                  <a:gd name="T54" fmla="*/ 1 w 422"/>
                  <a:gd name="T55" fmla="*/ 201 h 438"/>
                  <a:gd name="T56" fmla="*/ 1 w 422"/>
                  <a:gd name="T57" fmla="*/ 223 h 438"/>
                  <a:gd name="T58" fmla="*/ 19 w 422"/>
                  <a:gd name="T59" fmla="*/ 253 h 438"/>
                  <a:gd name="T60" fmla="*/ 43 w 422"/>
                  <a:gd name="T61" fmla="*/ 258 h 438"/>
                  <a:gd name="T62" fmla="*/ 58 w 422"/>
                  <a:gd name="T63" fmla="*/ 275 h 438"/>
                  <a:gd name="T64" fmla="*/ 85 w 422"/>
                  <a:gd name="T65" fmla="*/ 288 h 438"/>
                  <a:gd name="T66" fmla="*/ 109 w 422"/>
                  <a:gd name="T67" fmla="*/ 293 h 438"/>
                  <a:gd name="T68" fmla="*/ 113 w 422"/>
                  <a:gd name="T69" fmla="*/ 321 h 438"/>
                  <a:gd name="T70" fmla="*/ 131 w 422"/>
                  <a:gd name="T71" fmla="*/ 341 h 438"/>
                  <a:gd name="T72" fmla="*/ 153 w 422"/>
                  <a:gd name="T73" fmla="*/ 347 h 438"/>
                  <a:gd name="T74" fmla="*/ 172 w 422"/>
                  <a:gd name="T75" fmla="*/ 351 h 438"/>
                  <a:gd name="T76" fmla="*/ 173 w 422"/>
                  <a:gd name="T77" fmla="*/ 371 h 438"/>
                  <a:gd name="T78" fmla="*/ 156 w 422"/>
                  <a:gd name="T79" fmla="*/ 388 h 438"/>
                  <a:gd name="T80" fmla="*/ 144 w 422"/>
                  <a:gd name="T81" fmla="*/ 407 h 438"/>
                  <a:gd name="T82" fmla="*/ 166 w 422"/>
                  <a:gd name="T83" fmla="*/ 424 h 438"/>
                  <a:gd name="T84" fmla="*/ 179 w 422"/>
                  <a:gd name="T85" fmla="*/ 435 h 438"/>
                  <a:gd name="T86" fmla="*/ 195 w 422"/>
                  <a:gd name="T87" fmla="*/ 427 h 438"/>
                  <a:gd name="T88" fmla="*/ 216 w 422"/>
                  <a:gd name="T89" fmla="*/ 427 h 438"/>
                  <a:gd name="T90" fmla="*/ 239 w 422"/>
                  <a:gd name="T91" fmla="*/ 409 h 438"/>
                  <a:gd name="T92" fmla="*/ 253 w 422"/>
                  <a:gd name="T93" fmla="*/ 398 h 438"/>
                  <a:gd name="T94" fmla="*/ 277 w 422"/>
                  <a:gd name="T95" fmla="*/ 396 h 438"/>
                  <a:gd name="T96" fmla="*/ 288 w 422"/>
                  <a:gd name="T97" fmla="*/ 409 h 438"/>
                  <a:gd name="T98" fmla="*/ 307 w 422"/>
                  <a:gd name="T99" fmla="*/ 406 h 438"/>
                  <a:gd name="T100" fmla="*/ 326 w 422"/>
                  <a:gd name="T101" fmla="*/ 404 h 438"/>
                  <a:gd name="T102" fmla="*/ 346 w 422"/>
                  <a:gd name="T103" fmla="*/ 392 h 438"/>
                  <a:gd name="T104" fmla="*/ 363 w 422"/>
                  <a:gd name="T105" fmla="*/ 370 h 438"/>
                  <a:gd name="T106" fmla="*/ 354 w 422"/>
                  <a:gd name="T107" fmla="*/ 355 h 438"/>
                  <a:gd name="T108" fmla="*/ 363 w 422"/>
                  <a:gd name="T109" fmla="*/ 332 h 438"/>
                  <a:gd name="T110" fmla="*/ 375 w 422"/>
                  <a:gd name="T111" fmla="*/ 311 h 438"/>
                  <a:gd name="T112" fmla="*/ 377 w 422"/>
                  <a:gd name="T113" fmla="*/ 289 h 438"/>
                  <a:gd name="T114" fmla="*/ 396 w 422"/>
                  <a:gd name="T115" fmla="*/ 275 h 438"/>
                  <a:gd name="T116" fmla="*/ 405 w 422"/>
                  <a:gd name="T117" fmla="*/ 253 h 438"/>
                  <a:gd name="T118" fmla="*/ 410 w 422"/>
                  <a:gd name="T119" fmla="*/ 221 h 438"/>
                  <a:gd name="T120" fmla="*/ 408 w 422"/>
                  <a:gd name="T121" fmla="*/ 201 h 43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22"/>
                  <a:gd name="T184" fmla="*/ 0 h 438"/>
                  <a:gd name="T185" fmla="*/ 422 w 422"/>
                  <a:gd name="T186" fmla="*/ 438 h 43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22" h="438">
                    <a:moveTo>
                      <a:pt x="422" y="187"/>
                    </a:moveTo>
                    <a:lnTo>
                      <a:pt x="421" y="184"/>
                    </a:lnTo>
                    <a:lnTo>
                      <a:pt x="417" y="183"/>
                    </a:lnTo>
                    <a:lnTo>
                      <a:pt x="417" y="182"/>
                    </a:lnTo>
                    <a:lnTo>
                      <a:pt x="415" y="182"/>
                    </a:lnTo>
                    <a:lnTo>
                      <a:pt x="414" y="181"/>
                    </a:lnTo>
                    <a:lnTo>
                      <a:pt x="414" y="180"/>
                    </a:lnTo>
                    <a:lnTo>
                      <a:pt x="413" y="179"/>
                    </a:lnTo>
                    <a:lnTo>
                      <a:pt x="413" y="178"/>
                    </a:lnTo>
                    <a:lnTo>
                      <a:pt x="411" y="177"/>
                    </a:lnTo>
                    <a:lnTo>
                      <a:pt x="412" y="175"/>
                    </a:lnTo>
                    <a:lnTo>
                      <a:pt x="414" y="175"/>
                    </a:lnTo>
                    <a:lnTo>
                      <a:pt x="415" y="174"/>
                    </a:lnTo>
                    <a:lnTo>
                      <a:pt x="417" y="172"/>
                    </a:lnTo>
                    <a:lnTo>
                      <a:pt x="417" y="169"/>
                    </a:lnTo>
                    <a:lnTo>
                      <a:pt x="418" y="169"/>
                    </a:lnTo>
                    <a:lnTo>
                      <a:pt x="418" y="168"/>
                    </a:lnTo>
                    <a:lnTo>
                      <a:pt x="418" y="164"/>
                    </a:lnTo>
                    <a:lnTo>
                      <a:pt x="418" y="163"/>
                    </a:lnTo>
                    <a:lnTo>
                      <a:pt x="414" y="157"/>
                    </a:lnTo>
                    <a:lnTo>
                      <a:pt x="414" y="155"/>
                    </a:lnTo>
                    <a:lnTo>
                      <a:pt x="413" y="152"/>
                    </a:lnTo>
                    <a:lnTo>
                      <a:pt x="410" y="152"/>
                    </a:lnTo>
                    <a:lnTo>
                      <a:pt x="408" y="149"/>
                    </a:lnTo>
                    <a:lnTo>
                      <a:pt x="408" y="147"/>
                    </a:lnTo>
                    <a:lnTo>
                      <a:pt x="405" y="145"/>
                    </a:lnTo>
                    <a:lnTo>
                      <a:pt x="403" y="145"/>
                    </a:lnTo>
                    <a:lnTo>
                      <a:pt x="400" y="142"/>
                    </a:lnTo>
                    <a:lnTo>
                      <a:pt x="398" y="143"/>
                    </a:lnTo>
                    <a:lnTo>
                      <a:pt x="396" y="140"/>
                    </a:lnTo>
                    <a:lnTo>
                      <a:pt x="395" y="142"/>
                    </a:lnTo>
                    <a:lnTo>
                      <a:pt x="394" y="142"/>
                    </a:lnTo>
                    <a:lnTo>
                      <a:pt x="392" y="142"/>
                    </a:lnTo>
                    <a:lnTo>
                      <a:pt x="391" y="139"/>
                    </a:lnTo>
                    <a:lnTo>
                      <a:pt x="390" y="138"/>
                    </a:lnTo>
                    <a:lnTo>
                      <a:pt x="387" y="136"/>
                    </a:lnTo>
                    <a:lnTo>
                      <a:pt x="389" y="132"/>
                    </a:lnTo>
                    <a:lnTo>
                      <a:pt x="387" y="131"/>
                    </a:lnTo>
                    <a:lnTo>
                      <a:pt x="385" y="128"/>
                    </a:lnTo>
                    <a:lnTo>
                      <a:pt x="382" y="122"/>
                    </a:lnTo>
                    <a:lnTo>
                      <a:pt x="380" y="120"/>
                    </a:lnTo>
                    <a:lnTo>
                      <a:pt x="377" y="119"/>
                    </a:lnTo>
                    <a:lnTo>
                      <a:pt x="375" y="117"/>
                    </a:lnTo>
                    <a:lnTo>
                      <a:pt x="374" y="117"/>
                    </a:lnTo>
                    <a:lnTo>
                      <a:pt x="372" y="117"/>
                    </a:lnTo>
                    <a:lnTo>
                      <a:pt x="372" y="115"/>
                    </a:lnTo>
                    <a:lnTo>
                      <a:pt x="370" y="114"/>
                    </a:lnTo>
                    <a:lnTo>
                      <a:pt x="369" y="111"/>
                    </a:lnTo>
                    <a:lnTo>
                      <a:pt x="368" y="111"/>
                    </a:lnTo>
                    <a:lnTo>
                      <a:pt x="367" y="113"/>
                    </a:lnTo>
                    <a:lnTo>
                      <a:pt x="366" y="113"/>
                    </a:lnTo>
                    <a:lnTo>
                      <a:pt x="364" y="110"/>
                    </a:lnTo>
                    <a:lnTo>
                      <a:pt x="362" y="108"/>
                    </a:lnTo>
                    <a:lnTo>
                      <a:pt x="360" y="108"/>
                    </a:lnTo>
                    <a:lnTo>
                      <a:pt x="358" y="110"/>
                    </a:lnTo>
                    <a:lnTo>
                      <a:pt x="357" y="109"/>
                    </a:lnTo>
                    <a:lnTo>
                      <a:pt x="358" y="108"/>
                    </a:lnTo>
                    <a:lnTo>
                      <a:pt x="356" y="105"/>
                    </a:lnTo>
                    <a:lnTo>
                      <a:pt x="355" y="103"/>
                    </a:lnTo>
                    <a:lnTo>
                      <a:pt x="351" y="105"/>
                    </a:lnTo>
                    <a:lnTo>
                      <a:pt x="348" y="104"/>
                    </a:lnTo>
                    <a:lnTo>
                      <a:pt x="346" y="104"/>
                    </a:lnTo>
                    <a:lnTo>
                      <a:pt x="345" y="105"/>
                    </a:lnTo>
                    <a:lnTo>
                      <a:pt x="343" y="103"/>
                    </a:lnTo>
                    <a:lnTo>
                      <a:pt x="342" y="97"/>
                    </a:lnTo>
                    <a:lnTo>
                      <a:pt x="340" y="94"/>
                    </a:lnTo>
                    <a:lnTo>
                      <a:pt x="339" y="93"/>
                    </a:lnTo>
                    <a:lnTo>
                      <a:pt x="338" y="91"/>
                    </a:lnTo>
                    <a:lnTo>
                      <a:pt x="337" y="91"/>
                    </a:lnTo>
                    <a:lnTo>
                      <a:pt x="335" y="89"/>
                    </a:lnTo>
                    <a:lnTo>
                      <a:pt x="334" y="89"/>
                    </a:lnTo>
                    <a:lnTo>
                      <a:pt x="333" y="88"/>
                    </a:lnTo>
                    <a:lnTo>
                      <a:pt x="332" y="91"/>
                    </a:lnTo>
                    <a:lnTo>
                      <a:pt x="331" y="90"/>
                    </a:lnTo>
                    <a:lnTo>
                      <a:pt x="329" y="88"/>
                    </a:lnTo>
                    <a:lnTo>
                      <a:pt x="328" y="87"/>
                    </a:lnTo>
                    <a:lnTo>
                      <a:pt x="326" y="87"/>
                    </a:lnTo>
                    <a:lnTo>
                      <a:pt x="324" y="87"/>
                    </a:lnTo>
                    <a:lnTo>
                      <a:pt x="321" y="83"/>
                    </a:lnTo>
                    <a:lnTo>
                      <a:pt x="321" y="81"/>
                    </a:lnTo>
                    <a:lnTo>
                      <a:pt x="321" y="79"/>
                    </a:lnTo>
                    <a:lnTo>
                      <a:pt x="321" y="78"/>
                    </a:lnTo>
                    <a:lnTo>
                      <a:pt x="322" y="77"/>
                    </a:lnTo>
                    <a:lnTo>
                      <a:pt x="321" y="78"/>
                    </a:lnTo>
                    <a:lnTo>
                      <a:pt x="320" y="76"/>
                    </a:lnTo>
                    <a:lnTo>
                      <a:pt x="318" y="76"/>
                    </a:lnTo>
                    <a:lnTo>
                      <a:pt x="318" y="79"/>
                    </a:lnTo>
                    <a:lnTo>
                      <a:pt x="311" y="84"/>
                    </a:lnTo>
                    <a:lnTo>
                      <a:pt x="310" y="88"/>
                    </a:lnTo>
                    <a:lnTo>
                      <a:pt x="310" y="92"/>
                    </a:lnTo>
                    <a:lnTo>
                      <a:pt x="309" y="93"/>
                    </a:lnTo>
                    <a:lnTo>
                      <a:pt x="305" y="91"/>
                    </a:lnTo>
                    <a:lnTo>
                      <a:pt x="306" y="97"/>
                    </a:lnTo>
                    <a:lnTo>
                      <a:pt x="303" y="98"/>
                    </a:lnTo>
                    <a:lnTo>
                      <a:pt x="301" y="98"/>
                    </a:lnTo>
                    <a:lnTo>
                      <a:pt x="299" y="97"/>
                    </a:lnTo>
                    <a:lnTo>
                      <a:pt x="297" y="97"/>
                    </a:lnTo>
                    <a:lnTo>
                      <a:pt x="296" y="98"/>
                    </a:lnTo>
                    <a:lnTo>
                      <a:pt x="295" y="98"/>
                    </a:lnTo>
                    <a:lnTo>
                      <a:pt x="292" y="93"/>
                    </a:lnTo>
                    <a:lnTo>
                      <a:pt x="291" y="93"/>
                    </a:lnTo>
                    <a:lnTo>
                      <a:pt x="291" y="92"/>
                    </a:lnTo>
                    <a:lnTo>
                      <a:pt x="289" y="91"/>
                    </a:lnTo>
                    <a:lnTo>
                      <a:pt x="286" y="88"/>
                    </a:lnTo>
                    <a:lnTo>
                      <a:pt x="283" y="88"/>
                    </a:lnTo>
                    <a:lnTo>
                      <a:pt x="279" y="84"/>
                    </a:lnTo>
                    <a:lnTo>
                      <a:pt x="280" y="83"/>
                    </a:lnTo>
                    <a:lnTo>
                      <a:pt x="278" y="80"/>
                    </a:lnTo>
                    <a:lnTo>
                      <a:pt x="281" y="75"/>
                    </a:lnTo>
                    <a:lnTo>
                      <a:pt x="283" y="74"/>
                    </a:lnTo>
                    <a:lnTo>
                      <a:pt x="283" y="69"/>
                    </a:lnTo>
                    <a:lnTo>
                      <a:pt x="281" y="70"/>
                    </a:lnTo>
                    <a:lnTo>
                      <a:pt x="279" y="71"/>
                    </a:lnTo>
                    <a:lnTo>
                      <a:pt x="278" y="70"/>
                    </a:lnTo>
                    <a:lnTo>
                      <a:pt x="274" y="68"/>
                    </a:lnTo>
                    <a:lnTo>
                      <a:pt x="272" y="63"/>
                    </a:lnTo>
                    <a:lnTo>
                      <a:pt x="271" y="63"/>
                    </a:lnTo>
                    <a:lnTo>
                      <a:pt x="269" y="61"/>
                    </a:lnTo>
                    <a:lnTo>
                      <a:pt x="268" y="60"/>
                    </a:lnTo>
                    <a:lnTo>
                      <a:pt x="266" y="61"/>
                    </a:lnTo>
                    <a:lnTo>
                      <a:pt x="265" y="58"/>
                    </a:lnTo>
                    <a:lnTo>
                      <a:pt x="264" y="59"/>
                    </a:lnTo>
                    <a:lnTo>
                      <a:pt x="264" y="60"/>
                    </a:lnTo>
                    <a:lnTo>
                      <a:pt x="263" y="59"/>
                    </a:lnTo>
                    <a:lnTo>
                      <a:pt x="261" y="61"/>
                    </a:lnTo>
                    <a:lnTo>
                      <a:pt x="260" y="61"/>
                    </a:lnTo>
                    <a:lnTo>
                      <a:pt x="260" y="59"/>
                    </a:lnTo>
                    <a:lnTo>
                      <a:pt x="260" y="56"/>
                    </a:lnTo>
                    <a:lnTo>
                      <a:pt x="261" y="51"/>
                    </a:lnTo>
                    <a:lnTo>
                      <a:pt x="263" y="49"/>
                    </a:lnTo>
                    <a:lnTo>
                      <a:pt x="261" y="49"/>
                    </a:lnTo>
                    <a:lnTo>
                      <a:pt x="261" y="50"/>
                    </a:lnTo>
                    <a:lnTo>
                      <a:pt x="259" y="49"/>
                    </a:lnTo>
                    <a:lnTo>
                      <a:pt x="257" y="49"/>
                    </a:lnTo>
                    <a:lnTo>
                      <a:pt x="255" y="47"/>
                    </a:lnTo>
                    <a:lnTo>
                      <a:pt x="252" y="47"/>
                    </a:lnTo>
                    <a:lnTo>
                      <a:pt x="248" y="45"/>
                    </a:lnTo>
                    <a:lnTo>
                      <a:pt x="249" y="45"/>
                    </a:lnTo>
                    <a:lnTo>
                      <a:pt x="248" y="43"/>
                    </a:lnTo>
                    <a:lnTo>
                      <a:pt x="248" y="42"/>
                    </a:lnTo>
                    <a:lnTo>
                      <a:pt x="247" y="43"/>
                    </a:lnTo>
                    <a:lnTo>
                      <a:pt x="247" y="42"/>
                    </a:lnTo>
                    <a:lnTo>
                      <a:pt x="246" y="42"/>
                    </a:lnTo>
                    <a:lnTo>
                      <a:pt x="245" y="41"/>
                    </a:lnTo>
                    <a:lnTo>
                      <a:pt x="246" y="41"/>
                    </a:lnTo>
                    <a:lnTo>
                      <a:pt x="247" y="40"/>
                    </a:lnTo>
                    <a:lnTo>
                      <a:pt x="246" y="40"/>
                    </a:lnTo>
                    <a:lnTo>
                      <a:pt x="245" y="40"/>
                    </a:lnTo>
                    <a:lnTo>
                      <a:pt x="245" y="37"/>
                    </a:lnTo>
                    <a:lnTo>
                      <a:pt x="244" y="36"/>
                    </a:lnTo>
                    <a:lnTo>
                      <a:pt x="244" y="35"/>
                    </a:lnTo>
                    <a:lnTo>
                      <a:pt x="242" y="37"/>
                    </a:lnTo>
                    <a:lnTo>
                      <a:pt x="240" y="36"/>
                    </a:lnTo>
                    <a:lnTo>
                      <a:pt x="240" y="34"/>
                    </a:lnTo>
                    <a:lnTo>
                      <a:pt x="239" y="36"/>
                    </a:lnTo>
                    <a:lnTo>
                      <a:pt x="237" y="34"/>
                    </a:lnTo>
                    <a:lnTo>
                      <a:pt x="237" y="33"/>
                    </a:lnTo>
                    <a:lnTo>
                      <a:pt x="239" y="33"/>
                    </a:lnTo>
                    <a:lnTo>
                      <a:pt x="238" y="31"/>
                    </a:lnTo>
                    <a:lnTo>
                      <a:pt x="235" y="31"/>
                    </a:lnTo>
                    <a:lnTo>
                      <a:pt x="235" y="30"/>
                    </a:lnTo>
                    <a:lnTo>
                      <a:pt x="234" y="30"/>
                    </a:lnTo>
                    <a:lnTo>
                      <a:pt x="233" y="30"/>
                    </a:lnTo>
                    <a:lnTo>
                      <a:pt x="232" y="27"/>
                    </a:lnTo>
                    <a:lnTo>
                      <a:pt x="231" y="28"/>
                    </a:lnTo>
                    <a:lnTo>
                      <a:pt x="230" y="32"/>
                    </a:lnTo>
                    <a:lnTo>
                      <a:pt x="228" y="32"/>
                    </a:lnTo>
                    <a:lnTo>
                      <a:pt x="227" y="31"/>
                    </a:lnTo>
                    <a:lnTo>
                      <a:pt x="226" y="32"/>
                    </a:lnTo>
                    <a:lnTo>
                      <a:pt x="225" y="28"/>
                    </a:lnTo>
                    <a:lnTo>
                      <a:pt x="226" y="27"/>
                    </a:lnTo>
                    <a:lnTo>
                      <a:pt x="223" y="27"/>
                    </a:lnTo>
                    <a:lnTo>
                      <a:pt x="223" y="28"/>
                    </a:lnTo>
                    <a:lnTo>
                      <a:pt x="221" y="28"/>
                    </a:lnTo>
                    <a:lnTo>
                      <a:pt x="221" y="29"/>
                    </a:lnTo>
                    <a:lnTo>
                      <a:pt x="220" y="29"/>
                    </a:lnTo>
                    <a:lnTo>
                      <a:pt x="220" y="28"/>
                    </a:lnTo>
                    <a:lnTo>
                      <a:pt x="218" y="28"/>
                    </a:lnTo>
                    <a:lnTo>
                      <a:pt x="216" y="28"/>
                    </a:lnTo>
                    <a:lnTo>
                      <a:pt x="215" y="28"/>
                    </a:lnTo>
                    <a:lnTo>
                      <a:pt x="215" y="27"/>
                    </a:lnTo>
                    <a:lnTo>
                      <a:pt x="213" y="28"/>
                    </a:lnTo>
                    <a:lnTo>
                      <a:pt x="213" y="27"/>
                    </a:lnTo>
                    <a:lnTo>
                      <a:pt x="213" y="29"/>
                    </a:lnTo>
                    <a:lnTo>
                      <a:pt x="212" y="28"/>
                    </a:lnTo>
                    <a:lnTo>
                      <a:pt x="213" y="27"/>
                    </a:lnTo>
                    <a:lnTo>
                      <a:pt x="213" y="24"/>
                    </a:lnTo>
                    <a:lnTo>
                      <a:pt x="212" y="24"/>
                    </a:lnTo>
                    <a:lnTo>
                      <a:pt x="212" y="23"/>
                    </a:lnTo>
                    <a:lnTo>
                      <a:pt x="210" y="23"/>
                    </a:lnTo>
                    <a:lnTo>
                      <a:pt x="209" y="21"/>
                    </a:lnTo>
                    <a:lnTo>
                      <a:pt x="209" y="19"/>
                    </a:lnTo>
                    <a:lnTo>
                      <a:pt x="207" y="19"/>
                    </a:lnTo>
                    <a:lnTo>
                      <a:pt x="206" y="17"/>
                    </a:lnTo>
                    <a:lnTo>
                      <a:pt x="206" y="16"/>
                    </a:lnTo>
                    <a:lnTo>
                      <a:pt x="204" y="16"/>
                    </a:lnTo>
                    <a:lnTo>
                      <a:pt x="201" y="11"/>
                    </a:lnTo>
                    <a:lnTo>
                      <a:pt x="199" y="11"/>
                    </a:lnTo>
                    <a:lnTo>
                      <a:pt x="198" y="10"/>
                    </a:lnTo>
                    <a:lnTo>
                      <a:pt x="196" y="7"/>
                    </a:lnTo>
                    <a:lnTo>
                      <a:pt x="195" y="6"/>
                    </a:lnTo>
                    <a:lnTo>
                      <a:pt x="193" y="4"/>
                    </a:lnTo>
                    <a:lnTo>
                      <a:pt x="190" y="0"/>
                    </a:lnTo>
                    <a:lnTo>
                      <a:pt x="189" y="1"/>
                    </a:lnTo>
                    <a:lnTo>
                      <a:pt x="189" y="4"/>
                    </a:lnTo>
                    <a:lnTo>
                      <a:pt x="187" y="6"/>
                    </a:lnTo>
                    <a:lnTo>
                      <a:pt x="186" y="4"/>
                    </a:lnTo>
                    <a:lnTo>
                      <a:pt x="183" y="4"/>
                    </a:lnTo>
                    <a:lnTo>
                      <a:pt x="183" y="5"/>
                    </a:lnTo>
                    <a:lnTo>
                      <a:pt x="183" y="6"/>
                    </a:lnTo>
                    <a:lnTo>
                      <a:pt x="183" y="7"/>
                    </a:lnTo>
                    <a:lnTo>
                      <a:pt x="181" y="8"/>
                    </a:lnTo>
                    <a:lnTo>
                      <a:pt x="180" y="8"/>
                    </a:lnTo>
                    <a:lnTo>
                      <a:pt x="180" y="10"/>
                    </a:lnTo>
                    <a:lnTo>
                      <a:pt x="179" y="10"/>
                    </a:lnTo>
                    <a:lnTo>
                      <a:pt x="178" y="7"/>
                    </a:lnTo>
                    <a:lnTo>
                      <a:pt x="176" y="6"/>
                    </a:lnTo>
                    <a:lnTo>
                      <a:pt x="175" y="6"/>
                    </a:lnTo>
                    <a:lnTo>
                      <a:pt x="171" y="10"/>
                    </a:lnTo>
                    <a:lnTo>
                      <a:pt x="171" y="11"/>
                    </a:lnTo>
                    <a:lnTo>
                      <a:pt x="169" y="11"/>
                    </a:lnTo>
                    <a:lnTo>
                      <a:pt x="167" y="13"/>
                    </a:lnTo>
                    <a:lnTo>
                      <a:pt x="166" y="16"/>
                    </a:lnTo>
                    <a:lnTo>
                      <a:pt x="166" y="17"/>
                    </a:lnTo>
                    <a:lnTo>
                      <a:pt x="166" y="19"/>
                    </a:lnTo>
                    <a:lnTo>
                      <a:pt x="168" y="19"/>
                    </a:lnTo>
                    <a:lnTo>
                      <a:pt x="169" y="19"/>
                    </a:lnTo>
                    <a:lnTo>
                      <a:pt x="169" y="21"/>
                    </a:lnTo>
                    <a:lnTo>
                      <a:pt x="170" y="22"/>
                    </a:lnTo>
                    <a:lnTo>
                      <a:pt x="169" y="24"/>
                    </a:lnTo>
                    <a:lnTo>
                      <a:pt x="171" y="25"/>
                    </a:lnTo>
                    <a:lnTo>
                      <a:pt x="170" y="26"/>
                    </a:lnTo>
                    <a:lnTo>
                      <a:pt x="170" y="27"/>
                    </a:lnTo>
                    <a:lnTo>
                      <a:pt x="169" y="28"/>
                    </a:lnTo>
                    <a:lnTo>
                      <a:pt x="167" y="28"/>
                    </a:lnTo>
                    <a:lnTo>
                      <a:pt x="166" y="30"/>
                    </a:lnTo>
                    <a:lnTo>
                      <a:pt x="165" y="29"/>
                    </a:lnTo>
                    <a:lnTo>
                      <a:pt x="164" y="29"/>
                    </a:lnTo>
                    <a:lnTo>
                      <a:pt x="164" y="28"/>
                    </a:lnTo>
                    <a:lnTo>
                      <a:pt x="162" y="29"/>
                    </a:lnTo>
                    <a:lnTo>
                      <a:pt x="159" y="27"/>
                    </a:lnTo>
                    <a:lnTo>
                      <a:pt x="159" y="28"/>
                    </a:lnTo>
                    <a:lnTo>
                      <a:pt x="158" y="28"/>
                    </a:lnTo>
                    <a:lnTo>
                      <a:pt x="157" y="27"/>
                    </a:lnTo>
                    <a:lnTo>
                      <a:pt x="157" y="24"/>
                    </a:lnTo>
                    <a:lnTo>
                      <a:pt x="156" y="25"/>
                    </a:lnTo>
                    <a:lnTo>
                      <a:pt x="156" y="24"/>
                    </a:lnTo>
                    <a:lnTo>
                      <a:pt x="155" y="27"/>
                    </a:lnTo>
                    <a:lnTo>
                      <a:pt x="152" y="29"/>
                    </a:lnTo>
                    <a:lnTo>
                      <a:pt x="151" y="32"/>
                    </a:lnTo>
                    <a:lnTo>
                      <a:pt x="152" y="33"/>
                    </a:lnTo>
                    <a:lnTo>
                      <a:pt x="151" y="34"/>
                    </a:lnTo>
                    <a:lnTo>
                      <a:pt x="151" y="36"/>
                    </a:lnTo>
                    <a:lnTo>
                      <a:pt x="150" y="36"/>
                    </a:lnTo>
                    <a:lnTo>
                      <a:pt x="150" y="34"/>
                    </a:lnTo>
                    <a:lnTo>
                      <a:pt x="148" y="34"/>
                    </a:lnTo>
                    <a:lnTo>
                      <a:pt x="145" y="37"/>
                    </a:lnTo>
                    <a:lnTo>
                      <a:pt x="142" y="34"/>
                    </a:lnTo>
                    <a:lnTo>
                      <a:pt x="139" y="36"/>
                    </a:lnTo>
                    <a:lnTo>
                      <a:pt x="136" y="38"/>
                    </a:lnTo>
                    <a:lnTo>
                      <a:pt x="135" y="38"/>
                    </a:lnTo>
                    <a:lnTo>
                      <a:pt x="134" y="38"/>
                    </a:lnTo>
                    <a:lnTo>
                      <a:pt x="133" y="38"/>
                    </a:lnTo>
                    <a:lnTo>
                      <a:pt x="131" y="38"/>
                    </a:lnTo>
                    <a:lnTo>
                      <a:pt x="131" y="36"/>
                    </a:lnTo>
                    <a:lnTo>
                      <a:pt x="131" y="38"/>
                    </a:lnTo>
                    <a:lnTo>
                      <a:pt x="130" y="38"/>
                    </a:lnTo>
                    <a:lnTo>
                      <a:pt x="128" y="38"/>
                    </a:lnTo>
                    <a:lnTo>
                      <a:pt x="127" y="40"/>
                    </a:lnTo>
                    <a:lnTo>
                      <a:pt x="126" y="39"/>
                    </a:lnTo>
                    <a:lnTo>
                      <a:pt x="125" y="40"/>
                    </a:lnTo>
                    <a:lnTo>
                      <a:pt x="126" y="41"/>
                    </a:lnTo>
                    <a:lnTo>
                      <a:pt x="123" y="42"/>
                    </a:lnTo>
                    <a:lnTo>
                      <a:pt x="123" y="41"/>
                    </a:lnTo>
                    <a:lnTo>
                      <a:pt x="122" y="43"/>
                    </a:lnTo>
                    <a:lnTo>
                      <a:pt x="121" y="41"/>
                    </a:lnTo>
                    <a:lnTo>
                      <a:pt x="120" y="42"/>
                    </a:lnTo>
                    <a:lnTo>
                      <a:pt x="120" y="41"/>
                    </a:lnTo>
                    <a:lnTo>
                      <a:pt x="117" y="41"/>
                    </a:lnTo>
                    <a:lnTo>
                      <a:pt x="120" y="38"/>
                    </a:lnTo>
                    <a:lnTo>
                      <a:pt x="119" y="37"/>
                    </a:lnTo>
                    <a:lnTo>
                      <a:pt x="118" y="37"/>
                    </a:lnTo>
                    <a:lnTo>
                      <a:pt x="117" y="38"/>
                    </a:lnTo>
                    <a:lnTo>
                      <a:pt x="115" y="38"/>
                    </a:lnTo>
                    <a:lnTo>
                      <a:pt x="114" y="40"/>
                    </a:lnTo>
                    <a:lnTo>
                      <a:pt x="112" y="40"/>
                    </a:lnTo>
                    <a:lnTo>
                      <a:pt x="112" y="39"/>
                    </a:lnTo>
                    <a:lnTo>
                      <a:pt x="110" y="41"/>
                    </a:lnTo>
                    <a:lnTo>
                      <a:pt x="109" y="41"/>
                    </a:lnTo>
                    <a:lnTo>
                      <a:pt x="109" y="43"/>
                    </a:lnTo>
                    <a:lnTo>
                      <a:pt x="110" y="44"/>
                    </a:lnTo>
                    <a:lnTo>
                      <a:pt x="110" y="45"/>
                    </a:lnTo>
                    <a:lnTo>
                      <a:pt x="107" y="47"/>
                    </a:lnTo>
                    <a:lnTo>
                      <a:pt x="107" y="51"/>
                    </a:lnTo>
                    <a:lnTo>
                      <a:pt x="107" y="53"/>
                    </a:lnTo>
                    <a:lnTo>
                      <a:pt x="102" y="55"/>
                    </a:lnTo>
                    <a:lnTo>
                      <a:pt x="102" y="56"/>
                    </a:lnTo>
                    <a:lnTo>
                      <a:pt x="100" y="59"/>
                    </a:lnTo>
                    <a:lnTo>
                      <a:pt x="99" y="59"/>
                    </a:lnTo>
                    <a:lnTo>
                      <a:pt x="99" y="58"/>
                    </a:lnTo>
                    <a:lnTo>
                      <a:pt x="98" y="58"/>
                    </a:lnTo>
                    <a:lnTo>
                      <a:pt x="98" y="59"/>
                    </a:lnTo>
                    <a:lnTo>
                      <a:pt x="97" y="59"/>
                    </a:lnTo>
                    <a:lnTo>
                      <a:pt x="98" y="61"/>
                    </a:lnTo>
                    <a:lnTo>
                      <a:pt x="96" y="62"/>
                    </a:lnTo>
                    <a:lnTo>
                      <a:pt x="96" y="64"/>
                    </a:lnTo>
                    <a:lnTo>
                      <a:pt x="95" y="65"/>
                    </a:lnTo>
                    <a:lnTo>
                      <a:pt x="96" y="67"/>
                    </a:lnTo>
                    <a:lnTo>
                      <a:pt x="94" y="71"/>
                    </a:lnTo>
                    <a:lnTo>
                      <a:pt x="95" y="73"/>
                    </a:lnTo>
                    <a:lnTo>
                      <a:pt x="94" y="75"/>
                    </a:lnTo>
                    <a:lnTo>
                      <a:pt x="96" y="76"/>
                    </a:lnTo>
                    <a:lnTo>
                      <a:pt x="95" y="76"/>
                    </a:lnTo>
                    <a:lnTo>
                      <a:pt x="96" y="80"/>
                    </a:lnTo>
                    <a:lnTo>
                      <a:pt x="97" y="80"/>
                    </a:lnTo>
                    <a:lnTo>
                      <a:pt x="99" y="77"/>
                    </a:lnTo>
                    <a:lnTo>
                      <a:pt x="101" y="82"/>
                    </a:lnTo>
                    <a:lnTo>
                      <a:pt x="104" y="81"/>
                    </a:lnTo>
                    <a:lnTo>
                      <a:pt x="109" y="82"/>
                    </a:lnTo>
                    <a:lnTo>
                      <a:pt x="108" y="84"/>
                    </a:lnTo>
                    <a:lnTo>
                      <a:pt x="109" y="88"/>
                    </a:lnTo>
                    <a:lnTo>
                      <a:pt x="112" y="93"/>
                    </a:lnTo>
                    <a:lnTo>
                      <a:pt x="112" y="94"/>
                    </a:lnTo>
                    <a:lnTo>
                      <a:pt x="110" y="95"/>
                    </a:lnTo>
                    <a:lnTo>
                      <a:pt x="110" y="97"/>
                    </a:lnTo>
                    <a:lnTo>
                      <a:pt x="111" y="98"/>
                    </a:lnTo>
                    <a:lnTo>
                      <a:pt x="109" y="102"/>
                    </a:lnTo>
                    <a:lnTo>
                      <a:pt x="108" y="100"/>
                    </a:lnTo>
                    <a:lnTo>
                      <a:pt x="108" y="102"/>
                    </a:lnTo>
                    <a:lnTo>
                      <a:pt x="107" y="102"/>
                    </a:lnTo>
                    <a:lnTo>
                      <a:pt x="105" y="104"/>
                    </a:lnTo>
                    <a:lnTo>
                      <a:pt x="105" y="105"/>
                    </a:lnTo>
                    <a:lnTo>
                      <a:pt x="102" y="106"/>
                    </a:lnTo>
                    <a:lnTo>
                      <a:pt x="102" y="105"/>
                    </a:lnTo>
                    <a:lnTo>
                      <a:pt x="101" y="105"/>
                    </a:lnTo>
                    <a:lnTo>
                      <a:pt x="99" y="106"/>
                    </a:lnTo>
                    <a:lnTo>
                      <a:pt x="99" y="105"/>
                    </a:lnTo>
                    <a:lnTo>
                      <a:pt x="98" y="106"/>
                    </a:lnTo>
                    <a:lnTo>
                      <a:pt x="97" y="104"/>
                    </a:lnTo>
                    <a:lnTo>
                      <a:pt x="94" y="102"/>
                    </a:lnTo>
                    <a:lnTo>
                      <a:pt x="94" y="103"/>
                    </a:lnTo>
                    <a:lnTo>
                      <a:pt x="92" y="102"/>
                    </a:lnTo>
                    <a:lnTo>
                      <a:pt x="92" y="105"/>
                    </a:lnTo>
                    <a:lnTo>
                      <a:pt x="90" y="106"/>
                    </a:lnTo>
                    <a:lnTo>
                      <a:pt x="89" y="105"/>
                    </a:lnTo>
                    <a:lnTo>
                      <a:pt x="90" y="104"/>
                    </a:lnTo>
                    <a:lnTo>
                      <a:pt x="88" y="104"/>
                    </a:lnTo>
                    <a:lnTo>
                      <a:pt x="88" y="105"/>
                    </a:lnTo>
                    <a:lnTo>
                      <a:pt x="89" y="106"/>
                    </a:lnTo>
                    <a:lnTo>
                      <a:pt x="89" y="108"/>
                    </a:lnTo>
                    <a:lnTo>
                      <a:pt x="87" y="108"/>
                    </a:lnTo>
                    <a:lnTo>
                      <a:pt x="87" y="110"/>
                    </a:lnTo>
                    <a:lnTo>
                      <a:pt x="86" y="110"/>
                    </a:lnTo>
                    <a:lnTo>
                      <a:pt x="86" y="111"/>
                    </a:lnTo>
                    <a:lnTo>
                      <a:pt x="86" y="113"/>
                    </a:lnTo>
                    <a:lnTo>
                      <a:pt x="86" y="114"/>
                    </a:lnTo>
                    <a:lnTo>
                      <a:pt x="82" y="114"/>
                    </a:lnTo>
                    <a:lnTo>
                      <a:pt x="82" y="111"/>
                    </a:lnTo>
                    <a:lnTo>
                      <a:pt x="82" y="109"/>
                    </a:lnTo>
                    <a:lnTo>
                      <a:pt x="79" y="107"/>
                    </a:lnTo>
                    <a:lnTo>
                      <a:pt x="79" y="108"/>
                    </a:lnTo>
                    <a:lnTo>
                      <a:pt x="77" y="108"/>
                    </a:lnTo>
                    <a:lnTo>
                      <a:pt x="76" y="108"/>
                    </a:lnTo>
                    <a:lnTo>
                      <a:pt x="75" y="108"/>
                    </a:lnTo>
                    <a:lnTo>
                      <a:pt x="74" y="106"/>
                    </a:lnTo>
                    <a:lnTo>
                      <a:pt x="74" y="105"/>
                    </a:lnTo>
                    <a:lnTo>
                      <a:pt x="73" y="105"/>
                    </a:lnTo>
                    <a:lnTo>
                      <a:pt x="73" y="104"/>
                    </a:lnTo>
                    <a:lnTo>
                      <a:pt x="74" y="104"/>
                    </a:lnTo>
                    <a:lnTo>
                      <a:pt x="74" y="103"/>
                    </a:lnTo>
                    <a:lnTo>
                      <a:pt x="73" y="103"/>
                    </a:lnTo>
                    <a:lnTo>
                      <a:pt x="72" y="104"/>
                    </a:lnTo>
                    <a:lnTo>
                      <a:pt x="71" y="104"/>
                    </a:lnTo>
                    <a:lnTo>
                      <a:pt x="70" y="104"/>
                    </a:lnTo>
                    <a:lnTo>
                      <a:pt x="70" y="107"/>
                    </a:lnTo>
                    <a:lnTo>
                      <a:pt x="68" y="105"/>
                    </a:lnTo>
                    <a:lnTo>
                      <a:pt x="65" y="106"/>
                    </a:lnTo>
                    <a:lnTo>
                      <a:pt x="65" y="108"/>
                    </a:lnTo>
                    <a:lnTo>
                      <a:pt x="63" y="108"/>
                    </a:lnTo>
                    <a:lnTo>
                      <a:pt x="62" y="106"/>
                    </a:lnTo>
                    <a:lnTo>
                      <a:pt x="61" y="108"/>
                    </a:lnTo>
                    <a:lnTo>
                      <a:pt x="60" y="108"/>
                    </a:lnTo>
                    <a:lnTo>
                      <a:pt x="59" y="107"/>
                    </a:lnTo>
                    <a:lnTo>
                      <a:pt x="57" y="108"/>
                    </a:lnTo>
                    <a:lnTo>
                      <a:pt x="54" y="105"/>
                    </a:lnTo>
                    <a:lnTo>
                      <a:pt x="52" y="105"/>
                    </a:lnTo>
                    <a:lnTo>
                      <a:pt x="52" y="104"/>
                    </a:lnTo>
                    <a:lnTo>
                      <a:pt x="49" y="104"/>
                    </a:lnTo>
                    <a:lnTo>
                      <a:pt x="49" y="105"/>
                    </a:lnTo>
                    <a:lnTo>
                      <a:pt x="48" y="105"/>
                    </a:lnTo>
                    <a:lnTo>
                      <a:pt x="47" y="105"/>
                    </a:lnTo>
                    <a:lnTo>
                      <a:pt x="47" y="104"/>
                    </a:lnTo>
                    <a:lnTo>
                      <a:pt x="46" y="104"/>
                    </a:lnTo>
                    <a:lnTo>
                      <a:pt x="44" y="103"/>
                    </a:lnTo>
                    <a:lnTo>
                      <a:pt x="45" y="102"/>
                    </a:lnTo>
                    <a:lnTo>
                      <a:pt x="43" y="100"/>
                    </a:lnTo>
                    <a:lnTo>
                      <a:pt x="38" y="100"/>
                    </a:lnTo>
                    <a:lnTo>
                      <a:pt x="36" y="100"/>
                    </a:lnTo>
                    <a:lnTo>
                      <a:pt x="33" y="104"/>
                    </a:lnTo>
                    <a:lnTo>
                      <a:pt x="34" y="105"/>
                    </a:lnTo>
                    <a:lnTo>
                      <a:pt x="36" y="106"/>
                    </a:lnTo>
                    <a:lnTo>
                      <a:pt x="37" y="109"/>
                    </a:lnTo>
                    <a:lnTo>
                      <a:pt x="37" y="110"/>
                    </a:lnTo>
                    <a:lnTo>
                      <a:pt x="37" y="111"/>
                    </a:lnTo>
                    <a:lnTo>
                      <a:pt x="37" y="112"/>
                    </a:lnTo>
                    <a:lnTo>
                      <a:pt x="34" y="113"/>
                    </a:lnTo>
                    <a:lnTo>
                      <a:pt x="30" y="111"/>
                    </a:lnTo>
                    <a:lnTo>
                      <a:pt x="29" y="114"/>
                    </a:lnTo>
                    <a:lnTo>
                      <a:pt x="26" y="111"/>
                    </a:lnTo>
                    <a:lnTo>
                      <a:pt x="24" y="111"/>
                    </a:lnTo>
                    <a:lnTo>
                      <a:pt x="23" y="112"/>
                    </a:lnTo>
                    <a:lnTo>
                      <a:pt x="23" y="115"/>
                    </a:lnTo>
                    <a:lnTo>
                      <a:pt x="22" y="115"/>
                    </a:lnTo>
                    <a:lnTo>
                      <a:pt x="22" y="116"/>
                    </a:lnTo>
                    <a:lnTo>
                      <a:pt x="23" y="117"/>
                    </a:lnTo>
                    <a:lnTo>
                      <a:pt x="24" y="121"/>
                    </a:lnTo>
                    <a:lnTo>
                      <a:pt x="23" y="121"/>
                    </a:lnTo>
                    <a:lnTo>
                      <a:pt x="21" y="121"/>
                    </a:lnTo>
                    <a:lnTo>
                      <a:pt x="21" y="124"/>
                    </a:lnTo>
                    <a:lnTo>
                      <a:pt x="19" y="127"/>
                    </a:lnTo>
                    <a:lnTo>
                      <a:pt x="21" y="130"/>
                    </a:lnTo>
                    <a:lnTo>
                      <a:pt x="21" y="134"/>
                    </a:lnTo>
                    <a:lnTo>
                      <a:pt x="22" y="135"/>
                    </a:lnTo>
                    <a:lnTo>
                      <a:pt x="22" y="136"/>
                    </a:lnTo>
                    <a:lnTo>
                      <a:pt x="20" y="138"/>
                    </a:lnTo>
                    <a:lnTo>
                      <a:pt x="17" y="136"/>
                    </a:lnTo>
                    <a:lnTo>
                      <a:pt x="16" y="136"/>
                    </a:lnTo>
                    <a:lnTo>
                      <a:pt x="14" y="135"/>
                    </a:lnTo>
                    <a:lnTo>
                      <a:pt x="14" y="136"/>
                    </a:lnTo>
                    <a:lnTo>
                      <a:pt x="13" y="135"/>
                    </a:lnTo>
                    <a:lnTo>
                      <a:pt x="11" y="138"/>
                    </a:lnTo>
                    <a:lnTo>
                      <a:pt x="11" y="140"/>
                    </a:lnTo>
                    <a:lnTo>
                      <a:pt x="13" y="141"/>
                    </a:lnTo>
                    <a:lnTo>
                      <a:pt x="14" y="142"/>
                    </a:lnTo>
                    <a:lnTo>
                      <a:pt x="14" y="143"/>
                    </a:lnTo>
                    <a:lnTo>
                      <a:pt x="14" y="144"/>
                    </a:lnTo>
                    <a:lnTo>
                      <a:pt x="17" y="148"/>
                    </a:lnTo>
                    <a:lnTo>
                      <a:pt x="16" y="148"/>
                    </a:lnTo>
                    <a:lnTo>
                      <a:pt x="16" y="149"/>
                    </a:lnTo>
                    <a:lnTo>
                      <a:pt x="17" y="149"/>
                    </a:lnTo>
                    <a:lnTo>
                      <a:pt x="16" y="152"/>
                    </a:lnTo>
                    <a:lnTo>
                      <a:pt x="17" y="155"/>
                    </a:lnTo>
                    <a:lnTo>
                      <a:pt x="16" y="155"/>
                    </a:lnTo>
                    <a:lnTo>
                      <a:pt x="14" y="158"/>
                    </a:lnTo>
                    <a:lnTo>
                      <a:pt x="13" y="158"/>
                    </a:lnTo>
                    <a:lnTo>
                      <a:pt x="13" y="161"/>
                    </a:lnTo>
                    <a:lnTo>
                      <a:pt x="14" y="161"/>
                    </a:lnTo>
                    <a:lnTo>
                      <a:pt x="14" y="162"/>
                    </a:lnTo>
                    <a:lnTo>
                      <a:pt x="13" y="171"/>
                    </a:lnTo>
                    <a:lnTo>
                      <a:pt x="11" y="171"/>
                    </a:lnTo>
                    <a:lnTo>
                      <a:pt x="9" y="173"/>
                    </a:lnTo>
                    <a:lnTo>
                      <a:pt x="9" y="178"/>
                    </a:lnTo>
                    <a:lnTo>
                      <a:pt x="7" y="180"/>
                    </a:lnTo>
                    <a:lnTo>
                      <a:pt x="6" y="180"/>
                    </a:lnTo>
                    <a:lnTo>
                      <a:pt x="5" y="181"/>
                    </a:lnTo>
                    <a:lnTo>
                      <a:pt x="5" y="183"/>
                    </a:lnTo>
                    <a:lnTo>
                      <a:pt x="7" y="182"/>
                    </a:lnTo>
                    <a:lnTo>
                      <a:pt x="8" y="181"/>
                    </a:lnTo>
                    <a:lnTo>
                      <a:pt x="9" y="181"/>
                    </a:lnTo>
                    <a:lnTo>
                      <a:pt x="8" y="184"/>
                    </a:lnTo>
                    <a:lnTo>
                      <a:pt x="6" y="185"/>
                    </a:lnTo>
                    <a:lnTo>
                      <a:pt x="6" y="187"/>
                    </a:lnTo>
                    <a:lnTo>
                      <a:pt x="5" y="187"/>
                    </a:lnTo>
                    <a:lnTo>
                      <a:pt x="5" y="191"/>
                    </a:lnTo>
                    <a:lnTo>
                      <a:pt x="4" y="192"/>
                    </a:lnTo>
                    <a:lnTo>
                      <a:pt x="4" y="193"/>
                    </a:lnTo>
                    <a:lnTo>
                      <a:pt x="4" y="195"/>
                    </a:lnTo>
                    <a:lnTo>
                      <a:pt x="3" y="196"/>
                    </a:lnTo>
                    <a:lnTo>
                      <a:pt x="1" y="195"/>
                    </a:lnTo>
                    <a:lnTo>
                      <a:pt x="1" y="197"/>
                    </a:lnTo>
                    <a:lnTo>
                      <a:pt x="2" y="198"/>
                    </a:lnTo>
                    <a:lnTo>
                      <a:pt x="1" y="198"/>
                    </a:lnTo>
                    <a:lnTo>
                      <a:pt x="0" y="200"/>
                    </a:lnTo>
                    <a:lnTo>
                      <a:pt x="1" y="201"/>
                    </a:lnTo>
                    <a:lnTo>
                      <a:pt x="1" y="202"/>
                    </a:lnTo>
                    <a:lnTo>
                      <a:pt x="0" y="204"/>
                    </a:lnTo>
                    <a:lnTo>
                      <a:pt x="0" y="205"/>
                    </a:lnTo>
                    <a:lnTo>
                      <a:pt x="1" y="205"/>
                    </a:lnTo>
                    <a:lnTo>
                      <a:pt x="4" y="208"/>
                    </a:lnTo>
                    <a:lnTo>
                      <a:pt x="7" y="208"/>
                    </a:lnTo>
                    <a:lnTo>
                      <a:pt x="8" y="211"/>
                    </a:lnTo>
                    <a:lnTo>
                      <a:pt x="8" y="215"/>
                    </a:lnTo>
                    <a:lnTo>
                      <a:pt x="10" y="215"/>
                    </a:lnTo>
                    <a:lnTo>
                      <a:pt x="9" y="217"/>
                    </a:lnTo>
                    <a:lnTo>
                      <a:pt x="8" y="216"/>
                    </a:lnTo>
                    <a:lnTo>
                      <a:pt x="7" y="217"/>
                    </a:lnTo>
                    <a:lnTo>
                      <a:pt x="5" y="219"/>
                    </a:lnTo>
                    <a:lnTo>
                      <a:pt x="4" y="219"/>
                    </a:lnTo>
                    <a:lnTo>
                      <a:pt x="4" y="221"/>
                    </a:lnTo>
                    <a:lnTo>
                      <a:pt x="3" y="221"/>
                    </a:lnTo>
                    <a:lnTo>
                      <a:pt x="3" y="223"/>
                    </a:lnTo>
                    <a:lnTo>
                      <a:pt x="1" y="223"/>
                    </a:lnTo>
                    <a:lnTo>
                      <a:pt x="1" y="225"/>
                    </a:lnTo>
                    <a:lnTo>
                      <a:pt x="2" y="226"/>
                    </a:lnTo>
                    <a:lnTo>
                      <a:pt x="4" y="230"/>
                    </a:lnTo>
                    <a:lnTo>
                      <a:pt x="7" y="231"/>
                    </a:lnTo>
                    <a:lnTo>
                      <a:pt x="7" y="232"/>
                    </a:lnTo>
                    <a:lnTo>
                      <a:pt x="5" y="236"/>
                    </a:lnTo>
                    <a:lnTo>
                      <a:pt x="8" y="237"/>
                    </a:lnTo>
                    <a:lnTo>
                      <a:pt x="11" y="238"/>
                    </a:lnTo>
                    <a:lnTo>
                      <a:pt x="11" y="239"/>
                    </a:lnTo>
                    <a:lnTo>
                      <a:pt x="12" y="240"/>
                    </a:lnTo>
                    <a:lnTo>
                      <a:pt x="11" y="242"/>
                    </a:lnTo>
                    <a:lnTo>
                      <a:pt x="13" y="245"/>
                    </a:lnTo>
                    <a:lnTo>
                      <a:pt x="13" y="246"/>
                    </a:lnTo>
                    <a:lnTo>
                      <a:pt x="14" y="245"/>
                    </a:lnTo>
                    <a:lnTo>
                      <a:pt x="17" y="248"/>
                    </a:lnTo>
                    <a:lnTo>
                      <a:pt x="18" y="251"/>
                    </a:lnTo>
                    <a:lnTo>
                      <a:pt x="18" y="253"/>
                    </a:lnTo>
                    <a:lnTo>
                      <a:pt x="19" y="253"/>
                    </a:lnTo>
                    <a:lnTo>
                      <a:pt x="22" y="255"/>
                    </a:lnTo>
                    <a:lnTo>
                      <a:pt x="25" y="250"/>
                    </a:lnTo>
                    <a:lnTo>
                      <a:pt x="27" y="249"/>
                    </a:lnTo>
                    <a:lnTo>
                      <a:pt x="29" y="248"/>
                    </a:lnTo>
                    <a:lnTo>
                      <a:pt x="30" y="248"/>
                    </a:lnTo>
                    <a:lnTo>
                      <a:pt x="31" y="247"/>
                    </a:lnTo>
                    <a:lnTo>
                      <a:pt x="33" y="246"/>
                    </a:lnTo>
                    <a:lnTo>
                      <a:pt x="34" y="247"/>
                    </a:lnTo>
                    <a:lnTo>
                      <a:pt x="35" y="247"/>
                    </a:lnTo>
                    <a:lnTo>
                      <a:pt x="34" y="249"/>
                    </a:lnTo>
                    <a:lnTo>
                      <a:pt x="36" y="249"/>
                    </a:lnTo>
                    <a:lnTo>
                      <a:pt x="37" y="253"/>
                    </a:lnTo>
                    <a:lnTo>
                      <a:pt x="38" y="255"/>
                    </a:lnTo>
                    <a:lnTo>
                      <a:pt x="41" y="258"/>
                    </a:lnTo>
                    <a:lnTo>
                      <a:pt x="41" y="259"/>
                    </a:lnTo>
                    <a:lnTo>
                      <a:pt x="42" y="259"/>
                    </a:lnTo>
                    <a:lnTo>
                      <a:pt x="43" y="258"/>
                    </a:lnTo>
                    <a:lnTo>
                      <a:pt x="44" y="259"/>
                    </a:lnTo>
                    <a:lnTo>
                      <a:pt x="47" y="260"/>
                    </a:lnTo>
                    <a:lnTo>
                      <a:pt x="52" y="262"/>
                    </a:lnTo>
                    <a:lnTo>
                      <a:pt x="52" y="265"/>
                    </a:lnTo>
                    <a:lnTo>
                      <a:pt x="50" y="266"/>
                    </a:lnTo>
                    <a:lnTo>
                      <a:pt x="51" y="269"/>
                    </a:lnTo>
                    <a:lnTo>
                      <a:pt x="50" y="271"/>
                    </a:lnTo>
                    <a:lnTo>
                      <a:pt x="45" y="270"/>
                    </a:lnTo>
                    <a:lnTo>
                      <a:pt x="44" y="269"/>
                    </a:lnTo>
                    <a:lnTo>
                      <a:pt x="45" y="272"/>
                    </a:lnTo>
                    <a:lnTo>
                      <a:pt x="47" y="272"/>
                    </a:lnTo>
                    <a:lnTo>
                      <a:pt x="49" y="275"/>
                    </a:lnTo>
                    <a:lnTo>
                      <a:pt x="52" y="272"/>
                    </a:lnTo>
                    <a:lnTo>
                      <a:pt x="55" y="272"/>
                    </a:lnTo>
                    <a:lnTo>
                      <a:pt x="57" y="273"/>
                    </a:lnTo>
                    <a:lnTo>
                      <a:pt x="57" y="275"/>
                    </a:lnTo>
                    <a:lnTo>
                      <a:pt x="58" y="275"/>
                    </a:lnTo>
                    <a:lnTo>
                      <a:pt x="59" y="278"/>
                    </a:lnTo>
                    <a:lnTo>
                      <a:pt x="60" y="279"/>
                    </a:lnTo>
                    <a:lnTo>
                      <a:pt x="59" y="280"/>
                    </a:lnTo>
                    <a:lnTo>
                      <a:pt x="60" y="284"/>
                    </a:lnTo>
                    <a:lnTo>
                      <a:pt x="59" y="285"/>
                    </a:lnTo>
                    <a:lnTo>
                      <a:pt x="62" y="287"/>
                    </a:lnTo>
                    <a:lnTo>
                      <a:pt x="65" y="288"/>
                    </a:lnTo>
                    <a:lnTo>
                      <a:pt x="66" y="289"/>
                    </a:lnTo>
                    <a:lnTo>
                      <a:pt x="69" y="287"/>
                    </a:lnTo>
                    <a:lnTo>
                      <a:pt x="74" y="283"/>
                    </a:lnTo>
                    <a:lnTo>
                      <a:pt x="74" y="281"/>
                    </a:lnTo>
                    <a:lnTo>
                      <a:pt x="76" y="281"/>
                    </a:lnTo>
                    <a:lnTo>
                      <a:pt x="77" y="287"/>
                    </a:lnTo>
                    <a:lnTo>
                      <a:pt x="78" y="285"/>
                    </a:lnTo>
                    <a:lnTo>
                      <a:pt x="81" y="285"/>
                    </a:lnTo>
                    <a:lnTo>
                      <a:pt x="84" y="288"/>
                    </a:lnTo>
                    <a:lnTo>
                      <a:pt x="85" y="288"/>
                    </a:lnTo>
                    <a:lnTo>
                      <a:pt x="87" y="289"/>
                    </a:lnTo>
                    <a:lnTo>
                      <a:pt x="91" y="293"/>
                    </a:lnTo>
                    <a:lnTo>
                      <a:pt x="90" y="294"/>
                    </a:lnTo>
                    <a:lnTo>
                      <a:pt x="89" y="297"/>
                    </a:lnTo>
                    <a:lnTo>
                      <a:pt x="91" y="296"/>
                    </a:lnTo>
                    <a:lnTo>
                      <a:pt x="91" y="295"/>
                    </a:lnTo>
                    <a:lnTo>
                      <a:pt x="93" y="294"/>
                    </a:lnTo>
                    <a:lnTo>
                      <a:pt x="94" y="294"/>
                    </a:lnTo>
                    <a:lnTo>
                      <a:pt x="95" y="296"/>
                    </a:lnTo>
                    <a:lnTo>
                      <a:pt x="97" y="295"/>
                    </a:lnTo>
                    <a:lnTo>
                      <a:pt x="99" y="293"/>
                    </a:lnTo>
                    <a:lnTo>
                      <a:pt x="101" y="293"/>
                    </a:lnTo>
                    <a:lnTo>
                      <a:pt x="104" y="296"/>
                    </a:lnTo>
                    <a:lnTo>
                      <a:pt x="107" y="295"/>
                    </a:lnTo>
                    <a:lnTo>
                      <a:pt x="107" y="293"/>
                    </a:lnTo>
                    <a:lnTo>
                      <a:pt x="109" y="293"/>
                    </a:lnTo>
                    <a:lnTo>
                      <a:pt x="109" y="294"/>
                    </a:lnTo>
                    <a:lnTo>
                      <a:pt x="110" y="294"/>
                    </a:lnTo>
                    <a:lnTo>
                      <a:pt x="112" y="294"/>
                    </a:lnTo>
                    <a:lnTo>
                      <a:pt x="114" y="295"/>
                    </a:lnTo>
                    <a:lnTo>
                      <a:pt x="115" y="296"/>
                    </a:lnTo>
                    <a:lnTo>
                      <a:pt x="115" y="300"/>
                    </a:lnTo>
                    <a:lnTo>
                      <a:pt x="115" y="303"/>
                    </a:lnTo>
                    <a:lnTo>
                      <a:pt x="115" y="306"/>
                    </a:lnTo>
                    <a:lnTo>
                      <a:pt x="116" y="307"/>
                    </a:lnTo>
                    <a:lnTo>
                      <a:pt x="114" y="310"/>
                    </a:lnTo>
                    <a:lnTo>
                      <a:pt x="114" y="311"/>
                    </a:lnTo>
                    <a:lnTo>
                      <a:pt x="112" y="313"/>
                    </a:lnTo>
                    <a:lnTo>
                      <a:pt x="112" y="316"/>
                    </a:lnTo>
                    <a:lnTo>
                      <a:pt x="110" y="319"/>
                    </a:lnTo>
                    <a:lnTo>
                      <a:pt x="112" y="319"/>
                    </a:lnTo>
                    <a:lnTo>
                      <a:pt x="113" y="319"/>
                    </a:lnTo>
                    <a:lnTo>
                      <a:pt x="113" y="321"/>
                    </a:lnTo>
                    <a:lnTo>
                      <a:pt x="114" y="324"/>
                    </a:lnTo>
                    <a:lnTo>
                      <a:pt x="114" y="326"/>
                    </a:lnTo>
                    <a:lnTo>
                      <a:pt x="115" y="326"/>
                    </a:lnTo>
                    <a:lnTo>
                      <a:pt x="115" y="324"/>
                    </a:lnTo>
                    <a:lnTo>
                      <a:pt x="116" y="324"/>
                    </a:lnTo>
                    <a:lnTo>
                      <a:pt x="117" y="324"/>
                    </a:lnTo>
                    <a:lnTo>
                      <a:pt x="116" y="326"/>
                    </a:lnTo>
                    <a:lnTo>
                      <a:pt x="118" y="328"/>
                    </a:lnTo>
                    <a:lnTo>
                      <a:pt x="119" y="327"/>
                    </a:lnTo>
                    <a:lnTo>
                      <a:pt x="120" y="329"/>
                    </a:lnTo>
                    <a:lnTo>
                      <a:pt x="121" y="332"/>
                    </a:lnTo>
                    <a:lnTo>
                      <a:pt x="120" y="334"/>
                    </a:lnTo>
                    <a:lnTo>
                      <a:pt x="123" y="336"/>
                    </a:lnTo>
                    <a:lnTo>
                      <a:pt x="124" y="336"/>
                    </a:lnTo>
                    <a:lnTo>
                      <a:pt x="125" y="336"/>
                    </a:lnTo>
                    <a:lnTo>
                      <a:pt x="127" y="337"/>
                    </a:lnTo>
                    <a:lnTo>
                      <a:pt x="128" y="340"/>
                    </a:lnTo>
                    <a:lnTo>
                      <a:pt x="131" y="341"/>
                    </a:lnTo>
                    <a:lnTo>
                      <a:pt x="131" y="344"/>
                    </a:lnTo>
                    <a:lnTo>
                      <a:pt x="131" y="345"/>
                    </a:lnTo>
                    <a:lnTo>
                      <a:pt x="133" y="343"/>
                    </a:lnTo>
                    <a:lnTo>
                      <a:pt x="134" y="340"/>
                    </a:lnTo>
                    <a:lnTo>
                      <a:pt x="135" y="339"/>
                    </a:lnTo>
                    <a:lnTo>
                      <a:pt x="136" y="338"/>
                    </a:lnTo>
                    <a:lnTo>
                      <a:pt x="138" y="338"/>
                    </a:lnTo>
                    <a:lnTo>
                      <a:pt x="139" y="340"/>
                    </a:lnTo>
                    <a:lnTo>
                      <a:pt x="141" y="344"/>
                    </a:lnTo>
                    <a:lnTo>
                      <a:pt x="142" y="344"/>
                    </a:lnTo>
                    <a:lnTo>
                      <a:pt x="142" y="346"/>
                    </a:lnTo>
                    <a:lnTo>
                      <a:pt x="143" y="345"/>
                    </a:lnTo>
                    <a:lnTo>
                      <a:pt x="144" y="346"/>
                    </a:lnTo>
                    <a:lnTo>
                      <a:pt x="144" y="344"/>
                    </a:lnTo>
                    <a:lnTo>
                      <a:pt x="149" y="346"/>
                    </a:lnTo>
                    <a:lnTo>
                      <a:pt x="151" y="346"/>
                    </a:lnTo>
                    <a:lnTo>
                      <a:pt x="153" y="347"/>
                    </a:lnTo>
                    <a:lnTo>
                      <a:pt x="156" y="343"/>
                    </a:lnTo>
                    <a:lnTo>
                      <a:pt x="157" y="342"/>
                    </a:lnTo>
                    <a:lnTo>
                      <a:pt x="160" y="343"/>
                    </a:lnTo>
                    <a:lnTo>
                      <a:pt x="161" y="345"/>
                    </a:lnTo>
                    <a:lnTo>
                      <a:pt x="161" y="346"/>
                    </a:lnTo>
                    <a:lnTo>
                      <a:pt x="163" y="346"/>
                    </a:lnTo>
                    <a:lnTo>
                      <a:pt x="164" y="345"/>
                    </a:lnTo>
                    <a:lnTo>
                      <a:pt x="163" y="343"/>
                    </a:lnTo>
                    <a:lnTo>
                      <a:pt x="164" y="341"/>
                    </a:lnTo>
                    <a:lnTo>
                      <a:pt x="165" y="341"/>
                    </a:lnTo>
                    <a:lnTo>
                      <a:pt x="166" y="341"/>
                    </a:lnTo>
                    <a:lnTo>
                      <a:pt x="169" y="343"/>
                    </a:lnTo>
                    <a:lnTo>
                      <a:pt x="168" y="346"/>
                    </a:lnTo>
                    <a:lnTo>
                      <a:pt x="169" y="343"/>
                    </a:lnTo>
                    <a:lnTo>
                      <a:pt x="172" y="345"/>
                    </a:lnTo>
                    <a:lnTo>
                      <a:pt x="172" y="349"/>
                    </a:lnTo>
                    <a:lnTo>
                      <a:pt x="172" y="351"/>
                    </a:lnTo>
                    <a:lnTo>
                      <a:pt x="169" y="351"/>
                    </a:lnTo>
                    <a:lnTo>
                      <a:pt x="168" y="351"/>
                    </a:lnTo>
                    <a:lnTo>
                      <a:pt x="169" y="353"/>
                    </a:lnTo>
                    <a:lnTo>
                      <a:pt x="172" y="357"/>
                    </a:lnTo>
                    <a:lnTo>
                      <a:pt x="173" y="357"/>
                    </a:lnTo>
                    <a:lnTo>
                      <a:pt x="172" y="356"/>
                    </a:lnTo>
                    <a:lnTo>
                      <a:pt x="174" y="355"/>
                    </a:lnTo>
                    <a:lnTo>
                      <a:pt x="177" y="357"/>
                    </a:lnTo>
                    <a:lnTo>
                      <a:pt x="177" y="358"/>
                    </a:lnTo>
                    <a:lnTo>
                      <a:pt x="175" y="358"/>
                    </a:lnTo>
                    <a:lnTo>
                      <a:pt x="174" y="359"/>
                    </a:lnTo>
                    <a:lnTo>
                      <a:pt x="179" y="366"/>
                    </a:lnTo>
                    <a:lnTo>
                      <a:pt x="176" y="366"/>
                    </a:lnTo>
                    <a:lnTo>
                      <a:pt x="177" y="369"/>
                    </a:lnTo>
                    <a:lnTo>
                      <a:pt x="177" y="371"/>
                    </a:lnTo>
                    <a:lnTo>
                      <a:pt x="176" y="372"/>
                    </a:lnTo>
                    <a:lnTo>
                      <a:pt x="174" y="372"/>
                    </a:lnTo>
                    <a:lnTo>
                      <a:pt x="173" y="371"/>
                    </a:lnTo>
                    <a:lnTo>
                      <a:pt x="172" y="372"/>
                    </a:lnTo>
                    <a:lnTo>
                      <a:pt x="172" y="371"/>
                    </a:lnTo>
                    <a:lnTo>
                      <a:pt x="169" y="371"/>
                    </a:lnTo>
                    <a:lnTo>
                      <a:pt x="165" y="369"/>
                    </a:lnTo>
                    <a:lnTo>
                      <a:pt x="164" y="371"/>
                    </a:lnTo>
                    <a:lnTo>
                      <a:pt x="166" y="374"/>
                    </a:lnTo>
                    <a:lnTo>
                      <a:pt x="165" y="377"/>
                    </a:lnTo>
                    <a:lnTo>
                      <a:pt x="164" y="376"/>
                    </a:lnTo>
                    <a:lnTo>
                      <a:pt x="161" y="376"/>
                    </a:lnTo>
                    <a:lnTo>
                      <a:pt x="161" y="377"/>
                    </a:lnTo>
                    <a:lnTo>
                      <a:pt x="162" y="377"/>
                    </a:lnTo>
                    <a:lnTo>
                      <a:pt x="161" y="380"/>
                    </a:lnTo>
                    <a:lnTo>
                      <a:pt x="163" y="381"/>
                    </a:lnTo>
                    <a:lnTo>
                      <a:pt x="162" y="384"/>
                    </a:lnTo>
                    <a:lnTo>
                      <a:pt x="159" y="385"/>
                    </a:lnTo>
                    <a:lnTo>
                      <a:pt x="156" y="385"/>
                    </a:lnTo>
                    <a:lnTo>
                      <a:pt x="156" y="387"/>
                    </a:lnTo>
                    <a:lnTo>
                      <a:pt x="156" y="388"/>
                    </a:lnTo>
                    <a:lnTo>
                      <a:pt x="157" y="389"/>
                    </a:lnTo>
                    <a:lnTo>
                      <a:pt x="156" y="391"/>
                    </a:lnTo>
                    <a:lnTo>
                      <a:pt x="156" y="392"/>
                    </a:lnTo>
                    <a:lnTo>
                      <a:pt x="155" y="393"/>
                    </a:lnTo>
                    <a:lnTo>
                      <a:pt x="155" y="394"/>
                    </a:lnTo>
                    <a:lnTo>
                      <a:pt x="152" y="393"/>
                    </a:lnTo>
                    <a:lnTo>
                      <a:pt x="152" y="397"/>
                    </a:lnTo>
                    <a:lnTo>
                      <a:pt x="152" y="396"/>
                    </a:lnTo>
                    <a:lnTo>
                      <a:pt x="151" y="395"/>
                    </a:lnTo>
                    <a:lnTo>
                      <a:pt x="150" y="395"/>
                    </a:lnTo>
                    <a:lnTo>
                      <a:pt x="150" y="397"/>
                    </a:lnTo>
                    <a:lnTo>
                      <a:pt x="148" y="399"/>
                    </a:lnTo>
                    <a:lnTo>
                      <a:pt x="146" y="399"/>
                    </a:lnTo>
                    <a:lnTo>
                      <a:pt x="144" y="400"/>
                    </a:lnTo>
                    <a:lnTo>
                      <a:pt x="144" y="402"/>
                    </a:lnTo>
                    <a:lnTo>
                      <a:pt x="142" y="404"/>
                    </a:lnTo>
                    <a:lnTo>
                      <a:pt x="144" y="407"/>
                    </a:lnTo>
                    <a:lnTo>
                      <a:pt x="145" y="406"/>
                    </a:lnTo>
                    <a:lnTo>
                      <a:pt x="147" y="406"/>
                    </a:lnTo>
                    <a:lnTo>
                      <a:pt x="149" y="404"/>
                    </a:lnTo>
                    <a:lnTo>
                      <a:pt x="151" y="405"/>
                    </a:lnTo>
                    <a:lnTo>
                      <a:pt x="152" y="406"/>
                    </a:lnTo>
                    <a:lnTo>
                      <a:pt x="153" y="408"/>
                    </a:lnTo>
                    <a:lnTo>
                      <a:pt x="152" y="409"/>
                    </a:lnTo>
                    <a:lnTo>
                      <a:pt x="152" y="411"/>
                    </a:lnTo>
                    <a:lnTo>
                      <a:pt x="151" y="413"/>
                    </a:lnTo>
                    <a:lnTo>
                      <a:pt x="152" y="415"/>
                    </a:lnTo>
                    <a:lnTo>
                      <a:pt x="153" y="416"/>
                    </a:lnTo>
                    <a:lnTo>
                      <a:pt x="158" y="417"/>
                    </a:lnTo>
                    <a:lnTo>
                      <a:pt x="159" y="417"/>
                    </a:lnTo>
                    <a:lnTo>
                      <a:pt x="163" y="419"/>
                    </a:lnTo>
                    <a:lnTo>
                      <a:pt x="167" y="422"/>
                    </a:lnTo>
                    <a:lnTo>
                      <a:pt x="166" y="423"/>
                    </a:lnTo>
                    <a:lnTo>
                      <a:pt x="166" y="424"/>
                    </a:lnTo>
                    <a:lnTo>
                      <a:pt x="165" y="425"/>
                    </a:lnTo>
                    <a:lnTo>
                      <a:pt x="164" y="427"/>
                    </a:lnTo>
                    <a:lnTo>
                      <a:pt x="167" y="430"/>
                    </a:lnTo>
                    <a:lnTo>
                      <a:pt x="170" y="428"/>
                    </a:lnTo>
                    <a:lnTo>
                      <a:pt x="169" y="428"/>
                    </a:lnTo>
                    <a:lnTo>
                      <a:pt x="169" y="427"/>
                    </a:lnTo>
                    <a:lnTo>
                      <a:pt x="167" y="427"/>
                    </a:lnTo>
                    <a:lnTo>
                      <a:pt x="166" y="427"/>
                    </a:lnTo>
                    <a:lnTo>
                      <a:pt x="169" y="427"/>
                    </a:lnTo>
                    <a:lnTo>
                      <a:pt x="173" y="430"/>
                    </a:lnTo>
                    <a:lnTo>
                      <a:pt x="172" y="427"/>
                    </a:lnTo>
                    <a:lnTo>
                      <a:pt x="175" y="426"/>
                    </a:lnTo>
                    <a:lnTo>
                      <a:pt x="176" y="427"/>
                    </a:lnTo>
                    <a:lnTo>
                      <a:pt x="177" y="429"/>
                    </a:lnTo>
                    <a:lnTo>
                      <a:pt x="178" y="430"/>
                    </a:lnTo>
                    <a:lnTo>
                      <a:pt x="177" y="432"/>
                    </a:lnTo>
                    <a:lnTo>
                      <a:pt x="177" y="434"/>
                    </a:lnTo>
                    <a:lnTo>
                      <a:pt x="179" y="435"/>
                    </a:lnTo>
                    <a:lnTo>
                      <a:pt x="180" y="435"/>
                    </a:lnTo>
                    <a:lnTo>
                      <a:pt x="182" y="434"/>
                    </a:lnTo>
                    <a:lnTo>
                      <a:pt x="182" y="437"/>
                    </a:lnTo>
                    <a:lnTo>
                      <a:pt x="183" y="438"/>
                    </a:lnTo>
                    <a:lnTo>
                      <a:pt x="185" y="435"/>
                    </a:lnTo>
                    <a:lnTo>
                      <a:pt x="185" y="434"/>
                    </a:lnTo>
                    <a:lnTo>
                      <a:pt x="185" y="433"/>
                    </a:lnTo>
                    <a:lnTo>
                      <a:pt x="187" y="433"/>
                    </a:lnTo>
                    <a:lnTo>
                      <a:pt x="187" y="431"/>
                    </a:lnTo>
                    <a:lnTo>
                      <a:pt x="189" y="430"/>
                    </a:lnTo>
                    <a:lnTo>
                      <a:pt x="190" y="430"/>
                    </a:lnTo>
                    <a:lnTo>
                      <a:pt x="188" y="426"/>
                    </a:lnTo>
                    <a:lnTo>
                      <a:pt x="190" y="425"/>
                    </a:lnTo>
                    <a:lnTo>
                      <a:pt x="191" y="425"/>
                    </a:lnTo>
                    <a:lnTo>
                      <a:pt x="192" y="427"/>
                    </a:lnTo>
                    <a:lnTo>
                      <a:pt x="194" y="427"/>
                    </a:lnTo>
                    <a:lnTo>
                      <a:pt x="194" y="428"/>
                    </a:lnTo>
                    <a:lnTo>
                      <a:pt x="195" y="427"/>
                    </a:lnTo>
                    <a:lnTo>
                      <a:pt x="198" y="425"/>
                    </a:lnTo>
                    <a:lnTo>
                      <a:pt x="201" y="425"/>
                    </a:lnTo>
                    <a:lnTo>
                      <a:pt x="201" y="427"/>
                    </a:lnTo>
                    <a:lnTo>
                      <a:pt x="204" y="429"/>
                    </a:lnTo>
                    <a:lnTo>
                      <a:pt x="204" y="432"/>
                    </a:lnTo>
                    <a:lnTo>
                      <a:pt x="206" y="434"/>
                    </a:lnTo>
                    <a:lnTo>
                      <a:pt x="207" y="435"/>
                    </a:lnTo>
                    <a:lnTo>
                      <a:pt x="208" y="434"/>
                    </a:lnTo>
                    <a:lnTo>
                      <a:pt x="209" y="434"/>
                    </a:lnTo>
                    <a:lnTo>
                      <a:pt x="209" y="432"/>
                    </a:lnTo>
                    <a:lnTo>
                      <a:pt x="211" y="430"/>
                    </a:lnTo>
                    <a:lnTo>
                      <a:pt x="210" y="430"/>
                    </a:lnTo>
                    <a:lnTo>
                      <a:pt x="210" y="429"/>
                    </a:lnTo>
                    <a:lnTo>
                      <a:pt x="209" y="428"/>
                    </a:lnTo>
                    <a:lnTo>
                      <a:pt x="211" y="429"/>
                    </a:lnTo>
                    <a:lnTo>
                      <a:pt x="213" y="426"/>
                    </a:lnTo>
                    <a:lnTo>
                      <a:pt x="215" y="428"/>
                    </a:lnTo>
                    <a:lnTo>
                      <a:pt x="216" y="427"/>
                    </a:lnTo>
                    <a:lnTo>
                      <a:pt x="216" y="426"/>
                    </a:lnTo>
                    <a:lnTo>
                      <a:pt x="216" y="422"/>
                    </a:lnTo>
                    <a:lnTo>
                      <a:pt x="216" y="421"/>
                    </a:lnTo>
                    <a:lnTo>
                      <a:pt x="218" y="422"/>
                    </a:lnTo>
                    <a:lnTo>
                      <a:pt x="223" y="423"/>
                    </a:lnTo>
                    <a:lnTo>
                      <a:pt x="226" y="421"/>
                    </a:lnTo>
                    <a:lnTo>
                      <a:pt x="227" y="418"/>
                    </a:lnTo>
                    <a:lnTo>
                      <a:pt x="229" y="418"/>
                    </a:lnTo>
                    <a:lnTo>
                      <a:pt x="229" y="417"/>
                    </a:lnTo>
                    <a:lnTo>
                      <a:pt x="230" y="417"/>
                    </a:lnTo>
                    <a:lnTo>
                      <a:pt x="230" y="416"/>
                    </a:lnTo>
                    <a:lnTo>
                      <a:pt x="228" y="415"/>
                    </a:lnTo>
                    <a:lnTo>
                      <a:pt x="229" y="413"/>
                    </a:lnTo>
                    <a:lnTo>
                      <a:pt x="230" y="413"/>
                    </a:lnTo>
                    <a:lnTo>
                      <a:pt x="233" y="411"/>
                    </a:lnTo>
                    <a:lnTo>
                      <a:pt x="234" y="410"/>
                    </a:lnTo>
                    <a:lnTo>
                      <a:pt x="237" y="411"/>
                    </a:lnTo>
                    <a:lnTo>
                      <a:pt x="239" y="409"/>
                    </a:lnTo>
                    <a:lnTo>
                      <a:pt x="242" y="411"/>
                    </a:lnTo>
                    <a:lnTo>
                      <a:pt x="243" y="409"/>
                    </a:lnTo>
                    <a:lnTo>
                      <a:pt x="246" y="411"/>
                    </a:lnTo>
                    <a:lnTo>
                      <a:pt x="247" y="411"/>
                    </a:lnTo>
                    <a:lnTo>
                      <a:pt x="247" y="413"/>
                    </a:lnTo>
                    <a:lnTo>
                      <a:pt x="250" y="413"/>
                    </a:lnTo>
                    <a:lnTo>
                      <a:pt x="248" y="411"/>
                    </a:lnTo>
                    <a:lnTo>
                      <a:pt x="250" y="410"/>
                    </a:lnTo>
                    <a:lnTo>
                      <a:pt x="251" y="410"/>
                    </a:lnTo>
                    <a:lnTo>
                      <a:pt x="252" y="410"/>
                    </a:lnTo>
                    <a:lnTo>
                      <a:pt x="251" y="408"/>
                    </a:lnTo>
                    <a:lnTo>
                      <a:pt x="252" y="408"/>
                    </a:lnTo>
                    <a:lnTo>
                      <a:pt x="252" y="407"/>
                    </a:lnTo>
                    <a:lnTo>
                      <a:pt x="251" y="407"/>
                    </a:lnTo>
                    <a:lnTo>
                      <a:pt x="253" y="404"/>
                    </a:lnTo>
                    <a:lnTo>
                      <a:pt x="253" y="402"/>
                    </a:lnTo>
                    <a:lnTo>
                      <a:pt x="254" y="401"/>
                    </a:lnTo>
                    <a:lnTo>
                      <a:pt x="253" y="398"/>
                    </a:lnTo>
                    <a:lnTo>
                      <a:pt x="255" y="399"/>
                    </a:lnTo>
                    <a:lnTo>
                      <a:pt x="256" y="399"/>
                    </a:lnTo>
                    <a:lnTo>
                      <a:pt x="260" y="402"/>
                    </a:lnTo>
                    <a:lnTo>
                      <a:pt x="260" y="403"/>
                    </a:lnTo>
                    <a:lnTo>
                      <a:pt x="258" y="403"/>
                    </a:lnTo>
                    <a:lnTo>
                      <a:pt x="258" y="404"/>
                    </a:lnTo>
                    <a:lnTo>
                      <a:pt x="260" y="404"/>
                    </a:lnTo>
                    <a:lnTo>
                      <a:pt x="261" y="404"/>
                    </a:lnTo>
                    <a:lnTo>
                      <a:pt x="261" y="405"/>
                    </a:lnTo>
                    <a:lnTo>
                      <a:pt x="264" y="402"/>
                    </a:lnTo>
                    <a:lnTo>
                      <a:pt x="268" y="400"/>
                    </a:lnTo>
                    <a:lnTo>
                      <a:pt x="266" y="400"/>
                    </a:lnTo>
                    <a:lnTo>
                      <a:pt x="267" y="394"/>
                    </a:lnTo>
                    <a:lnTo>
                      <a:pt x="271" y="398"/>
                    </a:lnTo>
                    <a:lnTo>
                      <a:pt x="273" y="395"/>
                    </a:lnTo>
                    <a:lnTo>
                      <a:pt x="276" y="393"/>
                    </a:lnTo>
                    <a:lnTo>
                      <a:pt x="277" y="394"/>
                    </a:lnTo>
                    <a:lnTo>
                      <a:pt x="277" y="396"/>
                    </a:lnTo>
                    <a:lnTo>
                      <a:pt x="277" y="398"/>
                    </a:lnTo>
                    <a:lnTo>
                      <a:pt x="278" y="398"/>
                    </a:lnTo>
                    <a:lnTo>
                      <a:pt x="278" y="400"/>
                    </a:lnTo>
                    <a:lnTo>
                      <a:pt x="277" y="400"/>
                    </a:lnTo>
                    <a:lnTo>
                      <a:pt x="278" y="401"/>
                    </a:lnTo>
                    <a:lnTo>
                      <a:pt x="277" y="401"/>
                    </a:lnTo>
                    <a:lnTo>
                      <a:pt x="277" y="402"/>
                    </a:lnTo>
                    <a:lnTo>
                      <a:pt x="278" y="402"/>
                    </a:lnTo>
                    <a:lnTo>
                      <a:pt x="279" y="404"/>
                    </a:lnTo>
                    <a:lnTo>
                      <a:pt x="280" y="403"/>
                    </a:lnTo>
                    <a:lnTo>
                      <a:pt x="280" y="401"/>
                    </a:lnTo>
                    <a:lnTo>
                      <a:pt x="280" y="402"/>
                    </a:lnTo>
                    <a:lnTo>
                      <a:pt x="281" y="404"/>
                    </a:lnTo>
                    <a:lnTo>
                      <a:pt x="280" y="404"/>
                    </a:lnTo>
                    <a:lnTo>
                      <a:pt x="280" y="405"/>
                    </a:lnTo>
                    <a:lnTo>
                      <a:pt x="283" y="407"/>
                    </a:lnTo>
                    <a:lnTo>
                      <a:pt x="285" y="408"/>
                    </a:lnTo>
                    <a:lnTo>
                      <a:pt x="288" y="409"/>
                    </a:lnTo>
                    <a:lnTo>
                      <a:pt x="289" y="408"/>
                    </a:lnTo>
                    <a:lnTo>
                      <a:pt x="291" y="408"/>
                    </a:lnTo>
                    <a:lnTo>
                      <a:pt x="293" y="406"/>
                    </a:lnTo>
                    <a:lnTo>
                      <a:pt x="294" y="406"/>
                    </a:lnTo>
                    <a:lnTo>
                      <a:pt x="295" y="403"/>
                    </a:lnTo>
                    <a:lnTo>
                      <a:pt x="294" y="401"/>
                    </a:lnTo>
                    <a:lnTo>
                      <a:pt x="294" y="400"/>
                    </a:lnTo>
                    <a:lnTo>
                      <a:pt x="296" y="400"/>
                    </a:lnTo>
                    <a:lnTo>
                      <a:pt x="296" y="401"/>
                    </a:lnTo>
                    <a:lnTo>
                      <a:pt x="296" y="403"/>
                    </a:lnTo>
                    <a:lnTo>
                      <a:pt x="298" y="403"/>
                    </a:lnTo>
                    <a:lnTo>
                      <a:pt x="298" y="404"/>
                    </a:lnTo>
                    <a:lnTo>
                      <a:pt x="300" y="404"/>
                    </a:lnTo>
                    <a:lnTo>
                      <a:pt x="301" y="404"/>
                    </a:lnTo>
                    <a:lnTo>
                      <a:pt x="303" y="406"/>
                    </a:lnTo>
                    <a:lnTo>
                      <a:pt x="304" y="407"/>
                    </a:lnTo>
                    <a:lnTo>
                      <a:pt x="305" y="406"/>
                    </a:lnTo>
                    <a:lnTo>
                      <a:pt x="307" y="406"/>
                    </a:lnTo>
                    <a:lnTo>
                      <a:pt x="308" y="409"/>
                    </a:lnTo>
                    <a:lnTo>
                      <a:pt x="309" y="410"/>
                    </a:lnTo>
                    <a:lnTo>
                      <a:pt x="309" y="407"/>
                    </a:lnTo>
                    <a:lnTo>
                      <a:pt x="309" y="406"/>
                    </a:lnTo>
                    <a:lnTo>
                      <a:pt x="311" y="406"/>
                    </a:lnTo>
                    <a:lnTo>
                      <a:pt x="313" y="407"/>
                    </a:lnTo>
                    <a:lnTo>
                      <a:pt x="313" y="406"/>
                    </a:lnTo>
                    <a:lnTo>
                      <a:pt x="314" y="406"/>
                    </a:lnTo>
                    <a:lnTo>
                      <a:pt x="318" y="408"/>
                    </a:lnTo>
                    <a:lnTo>
                      <a:pt x="318" y="407"/>
                    </a:lnTo>
                    <a:lnTo>
                      <a:pt x="320" y="407"/>
                    </a:lnTo>
                    <a:lnTo>
                      <a:pt x="318" y="406"/>
                    </a:lnTo>
                    <a:lnTo>
                      <a:pt x="320" y="406"/>
                    </a:lnTo>
                    <a:lnTo>
                      <a:pt x="320" y="404"/>
                    </a:lnTo>
                    <a:lnTo>
                      <a:pt x="321" y="404"/>
                    </a:lnTo>
                    <a:lnTo>
                      <a:pt x="322" y="406"/>
                    </a:lnTo>
                    <a:lnTo>
                      <a:pt x="326" y="404"/>
                    </a:lnTo>
                    <a:lnTo>
                      <a:pt x="326" y="403"/>
                    </a:lnTo>
                    <a:lnTo>
                      <a:pt x="325" y="402"/>
                    </a:lnTo>
                    <a:lnTo>
                      <a:pt x="325" y="400"/>
                    </a:lnTo>
                    <a:lnTo>
                      <a:pt x="321" y="398"/>
                    </a:lnTo>
                    <a:lnTo>
                      <a:pt x="324" y="396"/>
                    </a:lnTo>
                    <a:lnTo>
                      <a:pt x="323" y="395"/>
                    </a:lnTo>
                    <a:lnTo>
                      <a:pt x="324" y="396"/>
                    </a:lnTo>
                    <a:lnTo>
                      <a:pt x="329" y="394"/>
                    </a:lnTo>
                    <a:lnTo>
                      <a:pt x="330" y="394"/>
                    </a:lnTo>
                    <a:lnTo>
                      <a:pt x="332" y="393"/>
                    </a:lnTo>
                    <a:lnTo>
                      <a:pt x="333" y="393"/>
                    </a:lnTo>
                    <a:lnTo>
                      <a:pt x="336" y="394"/>
                    </a:lnTo>
                    <a:lnTo>
                      <a:pt x="337" y="393"/>
                    </a:lnTo>
                    <a:lnTo>
                      <a:pt x="339" y="394"/>
                    </a:lnTo>
                    <a:lnTo>
                      <a:pt x="342" y="393"/>
                    </a:lnTo>
                    <a:lnTo>
                      <a:pt x="345" y="395"/>
                    </a:lnTo>
                    <a:lnTo>
                      <a:pt x="346" y="393"/>
                    </a:lnTo>
                    <a:lnTo>
                      <a:pt x="346" y="392"/>
                    </a:lnTo>
                    <a:lnTo>
                      <a:pt x="348" y="390"/>
                    </a:lnTo>
                    <a:lnTo>
                      <a:pt x="350" y="390"/>
                    </a:lnTo>
                    <a:lnTo>
                      <a:pt x="350" y="388"/>
                    </a:lnTo>
                    <a:lnTo>
                      <a:pt x="348" y="384"/>
                    </a:lnTo>
                    <a:lnTo>
                      <a:pt x="349" y="383"/>
                    </a:lnTo>
                    <a:lnTo>
                      <a:pt x="351" y="383"/>
                    </a:lnTo>
                    <a:lnTo>
                      <a:pt x="353" y="383"/>
                    </a:lnTo>
                    <a:lnTo>
                      <a:pt x="355" y="383"/>
                    </a:lnTo>
                    <a:lnTo>
                      <a:pt x="356" y="383"/>
                    </a:lnTo>
                    <a:lnTo>
                      <a:pt x="357" y="381"/>
                    </a:lnTo>
                    <a:lnTo>
                      <a:pt x="359" y="381"/>
                    </a:lnTo>
                    <a:lnTo>
                      <a:pt x="359" y="380"/>
                    </a:lnTo>
                    <a:lnTo>
                      <a:pt x="361" y="378"/>
                    </a:lnTo>
                    <a:lnTo>
                      <a:pt x="362" y="376"/>
                    </a:lnTo>
                    <a:lnTo>
                      <a:pt x="362" y="377"/>
                    </a:lnTo>
                    <a:lnTo>
                      <a:pt x="362" y="376"/>
                    </a:lnTo>
                    <a:lnTo>
                      <a:pt x="364" y="370"/>
                    </a:lnTo>
                    <a:lnTo>
                      <a:pt x="363" y="370"/>
                    </a:lnTo>
                    <a:lnTo>
                      <a:pt x="363" y="367"/>
                    </a:lnTo>
                    <a:lnTo>
                      <a:pt x="360" y="367"/>
                    </a:lnTo>
                    <a:lnTo>
                      <a:pt x="362" y="364"/>
                    </a:lnTo>
                    <a:lnTo>
                      <a:pt x="362" y="362"/>
                    </a:lnTo>
                    <a:lnTo>
                      <a:pt x="361" y="361"/>
                    </a:lnTo>
                    <a:lnTo>
                      <a:pt x="361" y="363"/>
                    </a:lnTo>
                    <a:lnTo>
                      <a:pt x="358" y="365"/>
                    </a:lnTo>
                    <a:lnTo>
                      <a:pt x="356" y="364"/>
                    </a:lnTo>
                    <a:lnTo>
                      <a:pt x="355" y="366"/>
                    </a:lnTo>
                    <a:lnTo>
                      <a:pt x="354" y="366"/>
                    </a:lnTo>
                    <a:lnTo>
                      <a:pt x="356" y="364"/>
                    </a:lnTo>
                    <a:lnTo>
                      <a:pt x="356" y="362"/>
                    </a:lnTo>
                    <a:lnTo>
                      <a:pt x="357" y="363"/>
                    </a:lnTo>
                    <a:lnTo>
                      <a:pt x="358" y="361"/>
                    </a:lnTo>
                    <a:lnTo>
                      <a:pt x="356" y="358"/>
                    </a:lnTo>
                    <a:lnTo>
                      <a:pt x="356" y="357"/>
                    </a:lnTo>
                    <a:lnTo>
                      <a:pt x="356" y="354"/>
                    </a:lnTo>
                    <a:lnTo>
                      <a:pt x="354" y="355"/>
                    </a:lnTo>
                    <a:lnTo>
                      <a:pt x="355" y="353"/>
                    </a:lnTo>
                    <a:lnTo>
                      <a:pt x="353" y="353"/>
                    </a:lnTo>
                    <a:lnTo>
                      <a:pt x="354" y="351"/>
                    </a:lnTo>
                    <a:lnTo>
                      <a:pt x="356" y="347"/>
                    </a:lnTo>
                    <a:lnTo>
                      <a:pt x="359" y="347"/>
                    </a:lnTo>
                    <a:lnTo>
                      <a:pt x="362" y="349"/>
                    </a:lnTo>
                    <a:lnTo>
                      <a:pt x="364" y="347"/>
                    </a:lnTo>
                    <a:lnTo>
                      <a:pt x="364" y="346"/>
                    </a:lnTo>
                    <a:lnTo>
                      <a:pt x="366" y="348"/>
                    </a:lnTo>
                    <a:lnTo>
                      <a:pt x="368" y="345"/>
                    </a:lnTo>
                    <a:lnTo>
                      <a:pt x="366" y="344"/>
                    </a:lnTo>
                    <a:lnTo>
                      <a:pt x="366" y="340"/>
                    </a:lnTo>
                    <a:lnTo>
                      <a:pt x="367" y="338"/>
                    </a:lnTo>
                    <a:lnTo>
                      <a:pt x="367" y="339"/>
                    </a:lnTo>
                    <a:lnTo>
                      <a:pt x="368" y="337"/>
                    </a:lnTo>
                    <a:lnTo>
                      <a:pt x="366" y="334"/>
                    </a:lnTo>
                    <a:lnTo>
                      <a:pt x="365" y="332"/>
                    </a:lnTo>
                    <a:lnTo>
                      <a:pt x="363" y="332"/>
                    </a:lnTo>
                    <a:lnTo>
                      <a:pt x="361" y="331"/>
                    </a:lnTo>
                    <a:lnTo>
                      <a:pt x="359" y="331"/>
                    </a:lnTo>
                    <a:lnTo>
                      <a:pt x="358" y="330"/>
                    </a:lnTo>
                    <a:lnTo>
                      <a:pt x="359" y="326"/>
                    </a:lnTo>
                    <a:lnTo>
                      <a:pt x="359" y="324"/>
                    </a:lnTo>
                    <a:lnTo>
                      <a:pt x="360" y="322"/>
                    </a:lnTo>
                    <a:lnTo>
                      <a:pt x="362" y="317"/>
                    </a:lnTo>
                    <a:lnTo>
                      <a:pt x="364" y="315"/>
                    </a:lnTo>
                    <a:lnTo>
                      <a:pt x="364" y="313"/>
                    </a:lnTo>
                    <a:lnTo>
                      <a:pt x="366" y="311"/>
                    </a:lnTo>
                    <a:lnTo>
                      <a:pt x="369" y="311"/>
                    </a:lnTo>
                    <a:lnTo>
                      <a:pt x="369" y="313"/>
                    </a:lnTo>
                    <a:lnTo>
                      <a:pt x="370" y="313"/>
                    </a:lnTo>
                    <a:lnTo>
                      <a:pt x="371" y="312"/>
                    </a:lnTo>
                    <a:lnTo>
                      <a:pt x="373" y="311"/>
                    </a:lnTo>
                    <a:lnTo>
                      <a:pt x="374" y="311"/>
                    </a:lnTo>
                    <a:lnTo>
                      <a:pt x="375" y="311"/>
                    </a:lnTo>
                    <a:lnTo>
                      <a:pt x="375" y="307"/>
                    </a:lnTo>
                    <a:lnTo>
                      <a:pt x="372" y="306"/>
                    </a:lnTo>
                    <a:lnTo>
                      <a:pt x="373" y="303"/>
                    </a:lnTo>
                    <a:lnTo>
                      <a:pt x="372" y="303"/>
                    </a:lnTo>
                    <a:lnTo>
                      <a:pt x="372" y="302"/>
                    </a:lnTo>
                    <a:lnTo>
                      <a:pt x="368" y="302"/>
                    </a:lnTo>
                    <a:lnTo>
                      <a:pt x="367" y="300"/>
                    </a:lnTo>
                    <a:lnTo>
                      <a:pt x="367" y="297"/>
                    </a:lnTo>
                    <a:lnTo>
                      <a:pt x="369" y="294"/>
                    </a:lnTo>
                    <a:lnTo>
                      <a:pt x="369" y="293"/>
                    </a:lnTo>
                    <a:lnTo>
                      <a:pt x="370" y="294"/>
                    </a:lnTo>
                    <a:lnTo>
                      <a:pt x="373" y="293"/>
                    </a:lnTo>
                    <a:lnTo>
                      <a:pt x="373" y="292"/>
                    </a:lnTo>
                    <a:lnTo>
                      <a:pt x="375" y="293"/>
                    </a:lnTo>
                    <a:lnTo>
                      <a:pt x="375" y="292"/>
                    </a:lnTo>
                    <a:lnTo>
                      <a:pt x="374" y="290"/>
                    </a:lnTo>
                    <a:lnTo>
                      <a:pt x="375" y="289"/>
                    </a:lnTo>
                    <a:lnTo>
                      <a:pt x="377" y="289"/>
                    </a:lnTo>
                    <a:lnTo>
                      <a:pt x="378" y="288"/>
                    </a:lnTo>
                    <a:lnTo>
                      <a:pt x="378" y="286"/>
                    </a:lnTo>
                    <a:lnTo>
                      <a:pt x="379" y="285"/>
                    </a:lnTo>
                    <a:lnTo>
                      <a:pt x="378" y="283"/>
                    </a:lnTo>
                    <a:lnTo>
                      <a:pt x="378" y="282"/>
                    </a:lnTo>
                    <a:lnTo>
                      <a:pt x="378" y="281"/>
                    </a:lnTo>
                    <a:lnTo>
                      <a:pt x="378" y="279"/>
                    </a:lnTo>
                    <a:lnTo>
                      <a:pt x="379" y="279"/>
                    </a:lnTo>
                    <a:lnTo>
                      <a:pt x="382" y="279"/>
                    </a:lnTo>
                    <a:lnTo>
                      <a:pt x="384" y="278"/>
                    </a:lnTo>
                    <a:lnTo>
                      <a:pt x="386" y="279"/>
                    </a:lnTo>
                    <a:lnTo>
                      <a:pt x="390" y="276"/>
                    </a:lnTo>
                    <a:lnTo>
                      <a:pt x="392" y="274"/>
                    </a:lnTo>
                    <a:lnTo>
                      <a:pt x="392" y="272"/>
                    </a:lnTo>
                    <a:lnTo>
                      <a:pt x="395" y="272"/>
                    </a:lnTo>
                    <a:lnTo>
                      <a:pt x="395" y="274"/>
                    </a:lnTo>
                    <a:lnTo>
                      <a:pt x="396" y="275"/>
                    </a:lnTo>
                    <a:lnTo>
                      <a:pt x="396" y="274"/>
                    </a:lnTo>
                    <a:lnTo>
                      <a:pt x="398" y="272"/>
                    </a:lnTo>
                    <a:lnTo>
                      <a:pt x="400" y="272"/>
                    </a:lnTo>
                    <a:lnTo>
                      <a:pt x="403" y="270"/>
                    </a:lnTo>
                    <a:lnTo>
                      <a:pt x="403" y="268"/>
                    </a:lnTo>
                    <a:lnTo>
                      <a:pt x="406" y="268"/>
                    </a:lnTo>
                    <a:lnTo>
                      <a:pt x="406" y="266"/>
                    </a:lnTo>
                    <a:lnTo>
                      <a:pt x="405" y="266"/>
                    </a:lnTo>
                    <a:lnTo>
                      <a:pt x="406" y="266"/>
                    </a:lnTo>
                    <a:lnTo>
                      <a:pt x="405" y="264"/>
                    </a:lnTo>
                    <a:lnTo>
                      <a:pt x="403" y="260"/>
                    </a:lnTo>
                    <a:lnTo>
                      <a:pt x="406" y="258"/>
                    </a:lnTo>
                    <a:lnTo>
                      <a:pt x="405" y="258"/>
                    </a:lnTo>
                    <a:lnTo>
                      <a:pt x="404" y="253"/>
                    </a:lnTo>
                    <a:lnTo>
                      <a:pt x="405" y="253"/>
                    </a:lnTo>
                    <a:lnTo>
                      <a:pt x="405" y="251"/>
                    </a:lnTo>
                    <a:lnTo>
                      <a:pt x="406" y="248"/>
                    </a:lnTo>
                    <a:lnTo>
                      <a:pt x="406" y="246"/>
                    </a:lnTo>
                    <a:lnTo>
                      <a:pt x="407" y="244"/>
                    </a:lnTo>
                    <a:lnTo>
                      <a:pt x="408" y="243"/>
                    </a:lnTo>
                    <a:lnTo>
                      <a:pt x="408" y="240"/>
                    </a:lnTo>
                    <a:lnTo>
                      <a:pt x="406" y="242"/>
                    </a:lnTo>
                    <a:lnTo>
                      <a:pt x="405" y="241"/>
                    </a:lnTo>
                    <a:lnTo>
                      <a:pt x="404" y="239"/>
                    </a:lnTo>
                    <a:lnTo>
                      <a:pt x="406" y="238"/>
                    </a:lnTo>
                    <a:lnTo>
                      <a:pt x="405" y="236"/>
                    </a:lnTo>
                    <a:lnTo>
                      <a:pt x="405" y="235"/>
                    </a:lnTo>
                    <a:lnTo>
                      <a:pt x="406" y="234"/>
                    </a:lnTo>
                    <a:lnTo>
                      <a:pt x="404" y="229"/>
                    </a:lnTo>
                    <a:lnTo>
                      <a:pt x="405" y="226"/>
                    </a:lnTo>
                    <a:lnTo>
                      <a:pt x="406" y="225"/>
                    </a:lnTo>
                    <a:lnTo>
                      <a:pt x="408" y="223"/>
                    </a:lnTo>
                    <a:lnTo>
                      <a:pt x="410" y="221"/>
                    </a:lnTo>
                    <a:lnTo>
                      <a:pt x="408" y="217"/>
                    </a:lnTo>
                    <a:lnTo>
                      <a:pt x="412" y="215"/>
                    </a:lnTo>
                    <a:lnTo>
                      <a:pt x="413" y="213"/>
                    </a:lnTo>
                    <a:lnTo>
                      <a:pt x="410" y="212"/>
                    </a:lnTo>
                    <a:lnTo>
                      <a:pt x="410" y="211"/>
                    </a:lnTo>
                    <a:lnTo>
                      <a:pt x="410" y="209"/>
                    </a:lnTo>
                    <a:lnTo>
                      <a:pt x="411" y="208"/>
                    </a:lnTo>
                    <a:lnTo>
                      <a:pt x="410" y="208"/>
                    </a:lnTo>
                    <a:lnTo>
                      <a:pt x="409" y="209"/>
                    </a:lnTo>
                    <a:lnTo>
                      <a:pt x="408" y="208"/>
                    </a:lnTo>
                    <a:lnTo>
                      <a:pt x="406" y="206"/>
                    </a:lnTo>
                    <a:lnTo>
                      <a:pt x="405" y="204"/>
                    </a:lnTo>
                    <a:lnTo>
                      <a:pt x="406" y="203"/>
                    </a:lnTo>
                    <a:lnTo>
                      <a:pt x="406" y="202"/>
                    </a:lnTo>
                    <a:lnTo>
                      <a:pt x="404" y="200"/>
                    </a:lnTo>
                    <a:lnTo>
                      <a:pt x="405" y="200"/>
                    </a:lnTo>
                    <a:lnTo>
                      <a:pt x="407" y="200"/>
                    </a:lnTo>
                    <a:lnTo>
                      <a:pt x="408" y="201"/>
                    </a:lnTo>
                    <a:lnTo>
                      <a:pt x="409" y="205"/>
                    </a:lnTo>
                    <a:lnTo>
                      <a:pt x="412" y="204"/>
                    </a:lnTo>
                    <a:lnTo>
                      <a:pt x="413" y="203"/>
                    </a:lnTo>
                    <a:lnTo>
                      <a:pt x="413" y="202"/>
                    </a:lnTo>
                    <a:lnTo>
                      <a:pt x="416" y="200"/>
                    </a:lnTo>
                    <a:lnTo>
                      <a:pt x="418" y="197"/>
                    </a:lnTo>
                    <a:lnTo>
                      <a:pt x="419" y="197"/>
                    </a:lnTo>
                    <a:lnTo>
                      <a:pt x="422" y="191"/>
                    </a:lnTo>
                    <a:lnTo>
                      <a:pt x="422" y="18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6" name="Freeform 112">
                <a:extLst>
                  <a:ext uri="{FF2B5EF4-FFF2-40B4-BE49-F238E27FC236}">
                    <a16:creationId xmlns:a16="http://schemas.microsoft.com/office/drawing/2014/main" id="{FA735C1B-D285-416D-9CD9-9D94540486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6" y="3285"/>
                <a:ext cx="422" cy="438"/>
              </a:xfrm>
              <a:custGeom>
                <a:avLst/>
                <a:gdLst>
                  <a:gd name="T0" fmla="*/ 418 w 422"/>
                  <a:gd name="T1" fmla="*/ 168 h 438"/>
                  <a:gd name="T2" fmla="*/ 390 w 422"/>
                  <a:gd name="T3" fmla="*/ 138 h 438"/>
                  <a:gd name="T4" fmla="*/ 364 w 422"/>
                  <a:gd name="T5" fmla="*/ 110 h 438"/>
                  <a:gd name="T6" fmla="*/ 338 w 422"/>
                  <a:gd name="T7" fmla="*/ 91 h 438"/>
                  <a:gd name="T8" fmla="*/ 320 w 422"/>
                  <a:gd name="T9" fmla="*/ 76 h 438"/>
                  <a:gd name="T10" fmla="*/ 291 w 422"/>
                  <a:gd name="T11" fmla="*/ 93 h 438"/>
                  <a:gd name="T12" fmla="*/ 269 w 422"/>
                  <a:gd name="T13" fmla="*/ 61 h 438"/>
                  <a:gd name="T14" fmla="*/ 255 w 422"/>
                  <a:gd name="T15" fmla="*/ 47 h 438"/>
                  <a:gd name="T16" fmla="*/ 244 w 422"/>
                  <a:gd name="T17" fmla="*/ 35 h 438"/>
                  <a:gd name="T18" fmla="*/ 226 w 422"/>
                  <a:gd name="T19" fmla="*/ 32 h 438"/>
                  <a:gd name="T20" fmla="*/ 213 w 422"/>
                  <a:gd name="T21" fmla="*/ 24 h 438"/>
                  <a:gd name="T22" fmla="*/ 190 w 422"/>
                  <a:gd name="T23" fmla="*/ 0 h 438"/>
                  <a:gd name="T24" fmla="*/ 171 w 422"/>
                  <a:gd name="T25" fmla="*/ 11 h 438"/>
                  <a:gd name="T26" fmla="*/ 165 w 422"/>
                  <a:gd name="T27" fmla="*/ 29 h 438"/>
                  <a:gd name="T28" fmla="*/ 150 w 422"/>
                  <a:gd name="T29" fmla="*/ 34 h 438"/>
                  <a:gd name="T30" fmla="*/ 126 w 422"/>
                  <a:gd name="T31" fmla="*/ 41 h 438"/>
                  <a:gd name="T32" fmla="*/ 109 w 422"/>
                  <a:gd name="T33" fmla="*/ 41 h 438"/>
                  <a:gd name="T34" fmla="*/ 96 w 422"/>
                  <a:gd name="T35" fmla="*/ 62 h 438"/>
                  <a:gd name="T36" fmla="*/ 112 w 422"/>
                  <a:gd name="T37" fmla="*/ 94 h 438"/>
                  <a:gd name="T38" fmla="*/ 97 w 422"/>
                  <a:gd name="T39" fmla="*/ 104 h 438"/>
                  <a:gd name="T40" fmla="*/ 86 w 422"/>
                  <a:gd name="T41" fmla="*/ 114 h 438"/>
                  <a:gd name="T42" fmla="*/ 72 w 422"/>
                  <a:gd name="T43" fmla="*/ 104 h 438"/>
                  <a:gd name="T44" fmla="*/ 49 w 422"/>
                  <a:gd name="T45" fmla="*/ 105 h 438"/>
                  <a:gd name="T46" fmla="*/ 37 w 422"/>
                  <a:gd name="T47" fmla="*/ 112 h 438"/>
                  <a:gd name="T48" fmla="*/ 21 w 422"/>
                  <a:gd name="T49" fmla="*/ 130 h 438"/>
                  <a:gd name="T50" fmla="*/ 16 w 422"/>
                  <a:gd name="T51" fmla="*/ 149 h 438"/>
                  <a:gd name="T52" fmla="*/ 5 w 422"/>
                  <a:gd name="T53" fmla="*/ 183 h 438"/>
                  <a:gd name="T54" fmla="*/ 1 w 422"/>
                  <a:gd name="T55" fmla="*/ 201 h 438"/>
                  <a:gd name="T56" fmla="*/ 1 w 422"/>
                  <a:gd name="T57" fmla="*/ 223 h 438"/>
                  <a:gd name="T58" fmla="*/ 19 w 422"/>
                  <a:gd name="T59" fmla="*/ 253 h 438"/>
                  <a:gd name="T60" fmla="*/ 43 w 422"/>
                  <a:gd name="T61" fmla="*/ 258 h 438"/>
                  <a:gd name="T62" fmla="*/ 58 w 422"/>
                  <a:gd name="T63" fmla="*/ 275 h 438"/>
                  <a:gd name="T64" fmla="*/ 85 w 422"/>
                  <a:gd name="T65" fmla="*/ 288 h 438"/>
                  <a:gd name="T66" fmla="*/ 109 w 422"/>
                  <a:gd name="T67" fmla="*/ 293 h 438"/>
                  <a:gd name="T68" fmla="*/ 113 w 422"/>
                  <a:gd name="T69" fmla="*/ 321 h 438"/>
                  <a:gd name="T70" fmla="*/ 131 w 422"/>
                  <a:gd name="T71" fmla="*/ 341 h 438"/>
                  <a:gd name="T72" fmla="*/ 153 w 422"/>
                  <a:gd name="T73" fmla="*/ 347 h 438"/>
                  <a:gd name="T74" fmla="*/ 172 w 422"/>
                  <a:gd name="T75" fmla="*/ 351 h 438"/>
                  <a:gd name="T76" fmla="*/ 173 w 422"/>
                  <a:gd name="T77" fmla="*/ 371 h 438"/>
                  <a:gd name="T78" fmla="*/ 156 w 422"/>
                  <a:gd name="T79" fmla="*/ 388 h 438"/>
                  <a:gd name="T80" fmla="*/ 144 w 422"/>
                  <a:gd name="T81" fmla="*/ 407 h 438"/>
                  <a:gd name="T82" fmla="*/ 166 w 422"/>
                  <a:gd name="T83" fmla="*/ 424 h 438"/>
                  <a:gd name="T84" fmla="*/ 179 w 422"/>
                  <a:gd name="T85" fmla="*/ 435 h 438"/>
                  <a:gd name="T86" fmla="*/ 195 w 422"/>
                  <a:gd name="T87" fmla="*/ 427 h 438"/>
                  <a:gd name="T88" fmla="*/ 216 w 422"/>
                  <a:gd name="T89" fmla="*/ 427 h 438"/>
                  <a:gd name="T90" fmla="*/ 239 w 422"/>
                  <a:gd name="T91" fmla="*/ 409 h 438"/>
                  <a:gd name="T92" fmla="*/ 253 w 422"/>
                  <a:gd name="T93" fmla="*/ 398 h 438"/>
                  <a:gd name="T94" fmla="*/ 277 w 422"/>
                  <a:gd name="T95" fmla="*/ 396 h 438"/>
                  <a:gd name="T96" fmla="*/ 288 w 422"/>
                  <a:gd name="T97" fmla="*/ 409 h 438"/>
                  <a:gd name="T98" fmla="*/ 307 w 422"/>
                  <a:gd name="T99" fmla="*/ 406 h 438"/>
                  <a:gd name="T100" fmla="*/ 326 w 422"/>
                  <a:gd name="T101" fmla="*/ 404 h 438"/>
                  <a:gd name="T102" fmla="*/ 346 w 422"/>
                  <a:gd name="T103" fmla="*/ 392 h 438"/>
                  <a:gd name="T104" fmla="*/ 363 w 422"/>
                  <a:gd name="T105" fmla="*/ 370 h 438"/>
                  <a:gd name="T106" fmla="*/ 354 w 422"/>
                  <a:gd name="T107" fmla="*/ 355 h 438"/>
                  <a:gd name="T108" fmla="*/ 363 w 422"/>
                  <a:gd name="T109" fmla="*/ 332 h 438"/>
                  <a:gd name="T110" fmla="*/ 375 w 422"/>
                  <a:gd name="T111" fmla="*/ 311 h 438"/>
                  <a:gd name="T112" fmla="*/ 377 w 422"/>
                  <a:gd name="T113" fmla="*/ 289 h 438"/>
                  <a:gd name="T114" fmla="*/ 396 w 422"/>
                  <a:gd name="T115" fmla="*/ 275 h 438"/>
                  <a:gd name="T116" fmla="*/ 405 w 422"/>
                  <a:gd name="T117" fmla="*/ 253 h 438"/>
                  <a:gd name="T118" fmla="*/ 410 w 422"/>
                  <a:gd name="T119" fmla="*/ 221 h 438"/>
                  <a:gd name="T120" fmla="*/ 408 w 422"/>
                  <a:gd name="T121" fmla="*/ 201 h 43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22"/>
                  <a:gd name="T184" fmla="*/ 0 h 438"/>
                  <a:gd name="T185" fmla="*/ 422 w 422"/>
                  <a:gd name="T186" fmla="*/ 438 h 43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22" h="438">
                    <a:moveTo>
                      <a:pt x="422" y="187"/>
                    </a:moveTo>
                    <a:lnTo>
                      <a:pt x="421" y="184"/>
                    </a:lnTo>
                    <a:lnTo>
                      <a:pt x="417" y="183"/>
                    </a:lnTo>
                    <a:lnTo>
                      <a:pt x="417" y="182"/>
                    </a:lnTo>
                    <a:lnTo>
                      <a:pt x="415" y="182"/>
                    </a:lnTo>
                    <a:lnTo>
                      <a:pt x="414" y="181"/>
                    </a:lnTo>
                    <a:lnTo>
                      <a:pt x="414" y="180"/>
                    </a:lnTo>
                    <a:lnTo>
                      <a:pt x="413" y="179"/>
                    </a:lnTo>
                    <a:lnTo>
                      <a:pt x="413" y="178"/>
                    </a:lnTo>
                    <a:lnTo>
                      <a:pt x="411" y="177"/>
                    </a:lnTo>
                    <a:lnTo>
                      <a:pt x="412" y="175"/>
                    </a:lnTo>
                    <a:lnTo>
                      <a:pt x="414" y="175"/>
                    </a:lnTo>
                    <a:lnTo>
                      <a:pt x="415" y="174"/>
                    </a:lnTo>
                    <a:lnTo>
                      <a:pt x="417" y="172"/>
                    </a:lnTo>
                    <a:lnTo>
                      <a:pt x="417" y="169"/>
                    </a:lnTo>
                    <a:lnTo>
                      <a:pt x="418" y="169"/>
                    </a:lnTo>
                    <a:lnTo>
                      <a:pt x="418" y="168"/>
                    </a:lnTo>
                    <a:lnTo>
                      <a:pt x="418" y="164"/>
                    </a:lnTo>
                    <a:lnTo>
                      <a:pt x="418" y="163"/>
                    </a:lnTo>
                    <a:lnTo>
                      <a:pt x="414" y="157"/>
                    </a:lnTo>
                    <a:lnTo>
                      <a:pt x="414" y="155"/>
                    </a:lnTo>
                    <a:lnTo>
                      <a:pt x="413" y="152"/>
                    </a:lnTo>
                    <a:lnTo>
                      <a:pt x="410" y="152"/>
                    </a:lnTo>
                    <a:lnTo>
                      <a:pt x="408" y="149"/>
                    </a:lnTo>
                    <a:lnTo>
                      <a:pt x="408" y="147"/>
                    </a:lnTo>
                    <a:lnTo>
                      <a:pt x="405" y="145"/>
                    </a:lnTo>
                    <a:lnTo>
                      <a:pt x="403" y="145"/>
                    </a:lnTo>
                    <a:lnTo>
                      <a:pt x="400" y="142"/>
                    </a:lnTo>
                    <a:lnTo>
                      <a:pt x="398" y="143"/>
                    </a:lnTo>
                    <a:lnTo>
                      <a:pt x="396" y="140"/>
                    </a:lnTo>
                    <a:lnTo>
                      <a:pt x="395" y="142"/>
                    </a:lnTo>
                    <a:lnTo>
                      <a:pt x="394" y="142"/>
                    </a:lnTo>
                    <a:lnTo>
                      <a:pt x="392" y="142"/>
                    </a:lnTo>
                    <a:lnTo>
                      <a:pt x="391" y="139"/>
                    </a:lnTo>
                    <a:lnTo>
                      <a:pt x="390" y="138"/>
                    </a:lnTo>
                    <a:lnTo>
                      <a:pt x="387" y="136"/>
                    </a:lnTo>
                    <a:lnTo>
                      <a:pt x="389" y="132"/>
                    </a:lnTo>
                    <a:lnTo>
                      <a:pt x="387" y="131"/>
                    </a:lnTo>
                    <a:lnTo>
                      <a:pt x="385" y="128"/>
                    </a:lnTo>
                    <a:lnTo>
                      <a:pt x="382" y="122"/>
                    </a:lnTo>
                    <a:lnTo>
                      <a:pt x="380" y="120"/>
                    </a:lnTo>
                    <a:lnTo>
                      <a:pt x="377" y="119"/>
                    </a:lnTo>
                    <a:lnTo>
                      <a:pt x="375" y="117"/>
                    </a:lnTo>
                    <a:lnTo>
                      <a:pt x="374" y="117"/>
                    </a:lnTo>
                    <a:lnTo>
                      <a:pt x="372" y="117"/>
                    </a:lnTo>
                    <a:lnTo>
                      <a:pt x="372" y="115"/>
                    </a:lnTo>
                    <a:lnTo>
                      <a:pt x="370" y="114"/>
                    </a:lnTo>
                    <a:lnTo>
                      <a:pt x="369" y="111"/>
                    </a:lnTo>
                    <a:lnTo>
                      <a:pt x="368" y="111"/>
                    </a:lnTo>
                    <a:lnTo>
                      <a:pt x="367" y="113"/>
                    </a:lnTo>
                    <a:lnTo>
                      <a:pt x="366" y="113"/>
                    </a:lnTo>
                    <a:lnTo>
                      <a:pt x="364" y="110"/>
                    </a:lnTo>
                    <a:lnTo>
                      <a:pt x="362" y="108"/>
                    </a:lnTo>
                    <a:lnTo>
                      <a:pt x="360" y="108"/>
                    </a:lnTo>
                    <a:lnTo>
                      <a:pt x="358" y="110"/>
                    </a:lnTo>
                    <a:lnTo>
                      <a:pt x="357" y="109"/>
                    </a:lnTo>
                    <a:lnTo>
                      <a:pt x="358" y="108"/>
                    </a:lnTo>
                    <a:lnTo>
                      <a:pt x="356" y="105"/>
                    </a:lnTo>
                    <a:lnTo>
                      <a:pt x="355" y="103"/>
                    </a:lnTo>
                    <a:lnTo>
                      <a:pt x="351" y="105"/>
                    </a:lnTo>
                    <a:lnTo>
                      <a:pt x="348" y="104"/>
                    </a:lnTo>
                    <a:lnTo>
                      <a:pt x="346" y="104"/>
                    </a:lnTo>
                    <a:lnTo>
                      <a:pt x="345" y="105"/>
                    </a:lnTo>
                    <a:lnTo>
                      <a:pt x="343" y="103"/>
                    </a:lnTo>
                    <a:lnTo>
                      <a:pt x="342" y="97"/>
                    </a:lnTo>
                    <a:lnTo>
                      <a:pt x="340" y="94"/>
                    </a:lnTo>
                    <a:lnTo>
                      <a:pt x="339" y="93"/>
                    </a:lnTo>
                    <a:lnTo>
                      <a:pt x="338" y="91"/>
                    </a:lnTo>
                    <a:lnTo>
                      <a:pt x="337" y="91"/>
                    </a:lnTo>
                    <a:lnTo>
                      <a:pt x="335" y="89"/>
                    </a:lnTo>
                    <a:lnTo>
                      <a:pt x="334" y="89"/>
                    </a:lnTo>
                    <a:lnTo>
                      <a:pt x="333" y="88"/>
                    </a:lnTo>
                    <a:lnTo>
                      <a:pt x="332" y="91"/>
                    </a:lnTo>
                    <a:lnTo>
                      <a:pt x="331" y="90"/>
                    </a:lnTo>
                    <a:lnTo>
                      <a:pt x="329" y="88"/>
                    </a:lnTo>
                    <a:lnTo>
                      <a:pt x="328" y="87"/>
                    </a:lnTo>
                    <a:lnTo>
                      <a:pt x="326" y="87"/>
                    </a:lnTo>
                    <a:lnTo>
                      <a:pt x="324" y="87"/>
                    </a:lnTo>
                    <a:lnTo>
                      <a:pt x="321" y="83"/>
                    </a:lnTo>
                    <a:lnTo>
                      <a:pt x="321" y="81"/>
                    </a:lnTo>
                    <a:lnTo>
                      <a:pt x="321" y="79"/>
                    </a:lnTo>
                    <a:lnTo>
                      <a:pt x="321" y="78"/>
                    </a:lnTo>
                    <a:lnTo>
                      <a:pt x="322" y="77"/>
                    </a:lnTo>
                    <a:lnTo>
                      <a:pt x="321" y="78"/>
                    </a:lnTo>
                    <a:lnTo>
                      <a:pt x="320" y="76"/>
                    </a:lnTo>
                    <a:lnTo>
                      <a:pt x="318" y="76"/>
                    </a:lnTo>
                    <a:lnTo>
                      <a:pt x="318" y="79"/>
                    </a:lnTo>
                    <a:lnTo>
                      <a:pt x="311" y="84"/>
                    </a:lnTo>
                    <a:lnTo>
                      <a:pt x="310" y="88"/>
                    </a:lnTo>
                    <a:lnTo>
                      <a:pt x="310" y="92"/>
                    </a:lnTo>
                    <a:lnTo>
                      <a:pt x="309" y="93"/>
                    </a:lnTo>
                    <a:lnTo>
                      <a:pt x="305" y="91"/>
                    </a:lnTo>
                    <a:lnTo>
                      <a:pt x="306" y="97"/>
                    </a:lnTo>
                    <a:lnTo>
                      <a:pt x="303" y="98"/>
                    </a:lnTo>
                    <a:lnTo>
                      <a:pt x="301" y="98"/>
                    </a:lnTo>
                    <a:lnTo>
                      <a:pt x="299" y="97"/>
                    </a:lnTo>
                    <a:lnTo>
                      <a:pt x="297" y="97"/>
                    </a:lnTo>
                    <a:lnTo>
                      <a:pt x="296" y="98"/>
                    </a:lnTo>
                    <a:lnTo>
                      <a:pt x="295" y="98"/>
                    </a:lnTo>
                    <a:lnTo>
                      <a:pt x="292" y="93"/>
                    </a:lnTo>
                    <a:lnTo>
                      <a:pt x="291" y="93"/>
                    </a:lnTo>
                    <a:lnTo>
                      <a:pt x="291" y="92"/>
                    </a:lnTo>
                    <a:lnTo>
                      <a:pt x="289" y="91"/>
                    </a:lnTo>
                    <a:lnTo>
                      <a:pt x="286" y="88"/>
                    </a:lnTo>
                    <a:lnTo>
                      <a:pt x="283" y="88"/>
                    </a:lnTo>
                    <a:lnTo>
                      <a:pt x="279" y="84"/>
                    </a:lnTo>
                    <a:lnTo>
                      <a:pt x="280" y="83"/>
                    </a:lnTo>
                    <a:lnTo>
                      <a:pt x="278" y="80"/>
                    </a:lnTo>
                    <a:lnTo>
                      <a:pt x="281" y="75"/>
                    </a:lnTo>
                    <a:lnTo>
                      <a:pt x="283" y="74"/>
                    </a:lnTo>
                    <a:lnTo>
                      <a:pt x="283" y="69"/>
                    </a:lnTo>
                    <a:lnTo>
                      <a:pt x="281" y="70"/>
                    </a:lnTo>
                    <a:lnTo>
                      <a:pt x="279" y="71"/>
                    </a:lnTo>
                    <a:lnTo>
                      <a:pt x="278" y="70"/>
                    </a:lnTo>
                    <a:lnTo>
                      <a:pt x="274" y="68"/>
                    </a:lnTo>
                    <a:lnTo>
                      <a:pt x="272" y="63"/>
                    </a:lnTo>
                    <a:lnTo>
                      <a:pt x="271" y="63"/>
                    </a:lnTo>
                    <a:lnTo>
                      <a:pt x="269" y="61"/>
                    </a:lnTo>
                    <a:lnTo>
                      <a:pt x="268" y="60"/>
                    </a:lnTo>
                    <a:lnTo>
                      <a:pt x="266" y="61"/>
                    </a:lnTo>
                    <a:lnTo>
                      <a:pt x="265" y="58"/>
                    </a:lnTo>
                    <a:lnTo>
                      <a:pt x="264" y="59"/>
                    </a:lnTo>
                    <a:lnTo>
                      <a:pt x="264" y="60"/>
                    </a:lnTo>
                    <a:lnTo>
                      <a:pt x="263" y="59"/>
                    </a:lnTo>
                    <a:lnTo>
                      <a:pt x="261" y="61"/>
                    </a:lnTo>
                    <a:lnTo>
                      <a:pt x="260" y="61"/>
                    </a:lnTo>
                    <a:lnTo>
                      <a:pt x="260" y="59"/>
                    </a:lnTo>
                    <a:lnTo>
                      <a:pt x="260" y="56"/>
                    </a:lnTo>
                    <a:lnTo>
                      <a:pt x="261" y="51"/>
                    </a:lnTo>
                    <a:lnTo>
                      <a:pt x="263" y="49"/>
                    </a:lnTo>
                    <a:lnTo>
                      <a:pt x="261" y="49"/>
                    </a:lnTo>
                    <a:lnTo>
                      <a:pt x="261" y="50"/>
                    </a:lnTo>
                    <a:lnTo>
                      <a:pt x="259" y="49"/>
                    </a:lnTo>
                    <a:lnTo>
                      <a:pt x="257" y="49"/>
                    </a:lnTo>
                    <a:lnTo>
                      <a:pt x="255" y="47"/>
                    </a:lnTo>
                    <a:lnTo>
                      <a:pt x="252" y="47"/>
                    </a:lnTo>
                    <a:lnTo>
                      <a:pt x="248" y="45"/>
                    </a:lnTo>
                    <a:lnTo>
                      <a:pt x="249" y="45"/>
                    </a:lnTo>
                    <a:lnTo>
                      <a:pt x="248" y="43"/>
                    </a:lnTo>
                    <a:lnTo>
                      <a:pt x="248" y="42"/>
                    </a:lnTo>
                    <a:lnTo>
                      <a:pt x="247" y="43"/>
                    </a:lnTo>
                    <a:lnTo>
                      <a:pt x="247" y="42"/>
                    </a:lnTo>
                    <a:lnTo>
                      <a:pt x="246" y="42"/>
                    </a:lnTo>
                    <a:lnTo>
                      <a:pt x="245" y="41"/>
                    </a:lnTo>
                    <a:lnTo>
                      <a:pt x="246" y="41"/>
                    </a:lnTo>
                    <a:lnTo>
                      <a:pt x="247" y="40"/>
                    </a:lnTo>
                    <a:lnTo>
                      <a:pt x="246" y="40"/>
                    </a:lnTo>
                    <a:lnTo>
                      <a:pt x="245" y="40"/>
                    </a:lnTo>
                    <a:lnTo>
                      <a:pt x="245" y="37"/>
                    </a:lnTo>
                    <a:lnTo>
                      <a:pt x="244" y="36"/>
                    </a:lnTo>
                    <a:lnTo>
                      <a:pt x="244" y="35"/>
                    </a:lnTo>
                    <a:lnTo>
                      <a:pt x="242" y="37"/>
                    </a:lnTo>
                    <a:lnTo>
                      <a:pt x="240" y="36"/>
                    </a:lnTo>
                    <a:lnTo>
                      <a:pt x="240" y="34"/>
                    </a:lnTo>
                    <a:lnTo>
                      <a:pt x="239" y="36"/>
                    </a:lnTo>
                    <a:lnTo>
                      <a:pt x="237" y="34"/>
                    </a:lnTo>
                    <a:lnTo>
                      <a:pt x="237" y="33"/>
                    </a:lnTo>
                    <a:lnTo>
                      <a:pt x="239" y="33"/>
                    </a:lnTo>
                    <a:lnTo>
                      <a:pt x="238" y="31"/>
                    </a:lnTo>
                    <a:lnTo>
                      <a:pt x="235" y="31"/>
                    </a:lnTo>
                    <a:lnTo>
                      <a:pt x="235" y="30"/>
                    </a:lnTo>
                    <a:lnTo>
                      <a:pt x="234" y="30"/>
                    </a:lnTo>
                    <a:lnTo>
                      <a:pt x="233" y="30"/>
                    </a:lnTo>
                    <a:lnTo>
                      <a:pt x="232" y="27"/>
                    </a:lnTo>
                    <a:lnTo>
                      <a:pt x="231" y="28"/>
                    </a:lnTo>
                    <a:lnTo>
                      <a:pt x="230" y="32"/>
                    </a:lnTo>
                    <a:lnTo>
                      <a:pt x="228" y="32"/>
                    </a:lnTo>
                    <a:lnTo>
                      <a:pt x="227" y="31"/>
                    </a:lnTo>
                    <a:lnTo>
                      <a:pt x="226" y="32"/>
                    </a:lnTo>
                    <a:lnTo>
                      <a:pt x="225" y="28"/>
                    </a:lnTo>
                    <a:lnTo>
                      <a:pt x="226" y="27"/>
                    </a:lnTo>
                    <a:lnTo>
                      <a:pt x="223" y="27"/>
                    </a:lnTo>
                    <a:lnTo>
                      <a:pt x="223" y="28"/>
                    </a:lnTo>
                    <a:lnTo>
                      <a:pt x="221" y="28"/>
                    </a:lnTo>
                    <a:lnTo>
                      <a:pt x="221" y="29"/>
                    </a:lnTo>
                    <a:lnTo>
                      <a:pt x="220" y="29"/>
                    </a:lnTo>
                    <a:lnTo>
                      <a:pt x="220" y="28"/>
                    </a:lnTo>
                    <a:lnTo>
                      <a:pt x="218" y="28"/>
                    </a:lnTo>
                    <a:lnTo>
                      <a:pt x="216" y="28"/>
                    </a:lnTo>
                    <a:lnTo>
                      <a:pt x="215" y="28"/>
                    </a:lnTo>
                    <a:lnTo>
                      <a:pt x="215" y="27"/>
                    </a:lnTo>
                    <a:lnTo>
                      <a:pt x="213" y="28"/>
                    </a:lnTo>
                    <a:lnTo>
                      <a:pt x="213" y="27"/>
                    </a:lnTo>
                    <a:lnTo>
                      <a:pt x="213" y="29"/>
                    </a:lnTo>
                    <a:lnTo>
                      <a:pt x="212" y="28"/>
                    </a:lnTo>
                    <a:lnTo>
                      <a:pt x="213" y="27"/>
                    </a:lnTo>
                    <a:lnTo>
                      <a:pt x="213" y="24"/>
                    </a:lnTo>
                    <a:lnTo>
                      <a:pt x="212" y="24"/>
                    </a:lnTo>
                    <a:lnTo>
                      <a:pt x="212" y="23"/>
                    </a:lnTo>
                    <a:lnTo>
                      <a:pt x="210" y="23"/>
                    </a:lnTo>
                    <a:lnTo>
                      <a:pt x="209" y="21"/>
                    </a:lnTo>
                    <a:lnTo>
                      <a:pt x="209" y="19"/>
                    </a:lnTo>
                    <a:lnTo>
                      <a:pt x="207" y="19"/>
                    </a:lnTo>
                    <a:lnTo>
                      <a:pt x="206" y="17"/>
                    </a:lnTo>
                    <a:lnTo>
                      <a:pt x="206" y="16"/>
                    </a:lnTo>
                    <a:lnTo>
                      <a:pt x="204" y="16"/>
                    </a:lnTo>
                    <a:lnTo>
                      <a:pt x="201" y="11"/>
                    </a:lnTo>
                    <a:lnTo>
                      <a:pt x="199" y="11"/>
                    </a:lnTo>
                    <a:lnTo>
                      <a:pt x="198" y="10"/>
                    </a:lnTo>
                    <a:lnTo>
                      <a:pt x="196" y="7"/>
                    </a:lnTo>
                    <a:lnTo>
                      <a:pt x="195" y="6"/>
                    </a:lnTo>
                    <a:lnTo>
                      <a:pt x="193" y="4"/>
                    </a:lnTo>
                    <a:lnTo>
                      <a:pt x="190" y="0"/>
                    </a:lnTo>
                    <a:lnTo>
                      <a:pt x="189" y="1"/>
                    </a:lnTo>
                    <a:lnTo>
                      <a:pt x="189" y="4"/>
                    </a:lnTo>
                    <a:lnTo>
                      <a:pt x="187" y="6"/>
                    </a:lnTo>
                    <a:lnTo>
                      <a:pt x="186" y="4"/>
                    </a:lnTo>
                    <a:lnTo>
                      <a:pt x="183" y="4"/>
                    </a:lnTo>
                    <a:lnTo>
                      <a:pt x="183" y="5"/>
                    </a:lnTo>
                    <a:lnTo>
                      <a:pt x="183" y="6"/>
                    </a:lnTo>
                    <a:lnTo>
                      <a:pt x="183" y="7"/>
                    </a:lnTo>
                    <a:lnTo>
                      <a:pt x="181" y="8"/>
                    </a:lnTo>
                    <a:lnTo>
                      <a:pt x="180" y="8"/>
                    </a:lnTo>
                    <a:lnTo>
                      <a:pt x="180" y="10"/>
                    </a:lnTo>
                    <a:lnTo>
                      <a:pt x="179" y="10"/>
                    </a:lnTo>
                    <a:lnTo>
                      <a:pt x="178" y="7"/>
                    </a:lnTo>
                    <a:lnTo>
                      <a:pt x="176" y="6"/>
                    </a:lnTo>
                    <a:lnTo>
                      <a:pt x="175" y="6"/>
                    </a:lnTo>
                    <a:lnTo>
                      <a:pt x="171" y="10"/>
                    </a:lnTo>
                    <a:lnTo>
                      <a:pt x="171" y="11"/>
                    </a:lnTo>
                    <a:lnTo>
                      <a:pt x="169" y="11"/>
                    </a:lnTo>
                    <a:lnTo>
                      <a:pt x="167" y="13"/>
                    </a:lnTo>
                    <a:lnTo>
                      <a:pt x="166" y="16"/>
                    </a:lnTo>
                    <a:lnTo>
                      <a:pt x="166" y="17"/>
                    </a:lnTo>
                    <a:lnTo>
                      <a:pt x="166" y="19"/>
                    </a:lnTo>
                    <a:lnTo>
                      <a:pt x="168" y="19"/>
                    </a:lnTo>
                    <a:lnTo>
                      <a:pt x="169" y="19"/>
                    </a:lnTo>
                    <a:lnTo>
                      <a:pt x="169" y="21"/>
                    </a:lnTo>
                    <a:lnTo>
                      <a:pt x="170" y="22"/>
                    </a:lnTo>
                    <a:lnTo>
                      <a:pt x="169" y="24"/>
                    </a:lnTo>
                    <a:lnTo>
                      <a:pt x="171" y="25"/>
                    </a:lnTo>
                    <a:lnTo>
                      <a:pt x="170" y="26"/>
                    </a:lnTo>
                    <a:lnTo>
                      <a:pt x="170" y="27"/>
                    </a:lnTo>
                    <a:lnTo>
                      <a:pt x="169" y="28"/>
                    </a:lnTo>
                    <a:lnTo>
                      <a:pt x="167" y="28"/>
                    </a:lnTo>
                    <a:lnTo>
                      <a:pt x="166" y="30"/>
                    </a:lnTo>
                    <a:lnTo>
                      <a:pt x="165" y="29"/>
                    </a:lnTo>
                    <a:lnTo>
                      <a:pt x="164" y="29"/>
                    </a:lnTo>
                    <a:lnTo>
                      <a:pt x="164" y="28"/>
                    </a:lnTo>
                    <a:lnTo>
                      <a:pt x="162" y="29"/>
                    </a:lnTo>
                    <a:lnTo>
                      <a:pt x="159" y="27"/>
                    </a:lnTo>
                    <a:lnTo>
                      <a:pt x="159" y="28"/>
                    </a:lnTo>
                    <a:lnTo>
                      <a:pt x="158" y="28"/>
                    </a:lnTo>
                    <a:lnTo>
                      <a:pt x="157" y="27"/>
                    </a:lnTo>
                    <a:lnTo>
                      <a:pt x="157" y="24"/>
                    </a:lnTo>
                    <a:lnTo>
                      <a:pt x="156" y="25"/>
                    </a:lnTo>
                    <a:lnTo>
                      <a:pt x="156" y="24"/>
                    </a:lnTo>
                    <a:lnTo>
                      <a:pt x="155" y="27"/>
                    </a:lnTo>
                    <a:lnTo>
                      <a:pt x="152" y="29"/>
                    </a:lnTo>
                    <a:lnTo>
                      <a:pt x="151" y="32"/>
                    </a:lnTo>
                    <a:lnTo>
                      <a:pt x="152" y="33"/>
                    </a:lnTo>
                    <a:lnTo>
                      <a:pt x="151" y="34"/>
                    </a:lnTo>
                    <a:lnTo>
                      <a:pt x="151" y="36"/>
                    </a:lnTo>
                    <a:lnTo>
                      <a:pt x="150" y="36"/>
                    </a:lnTo>
                    <a:lnTo>
                      <a:pt x="150" y="34"/>
                    </a:lnTo>
                    <a:lnTo>
                      <a:pt x="148" y="34"/>
                    </a:lnTo>
                    <a:lnTo>
                      <a:pt x="145" y="37"/>
                    </a:lnTo>
                    <a:lnTo>
                      <a:pt x="142" y="34"/>
                    </a:lnTo>
                    <a:lnTo>
                      <a:pt x="139" y="36"/>
                    </a:lnTo>
                    <a:lnTo>
                      <a:pt x="136" y="38"/>
                    </a:lnTo>
                    <a:lnTo>
                      <a:pt x="135" y="38"/>
                    </a:lnTo>
                    <a:lnTo>
                      <a:pt x="134" y="38"/>
                    </a:lnTo>
                    <a:lnTo>
                      <a:pt x="133" y="38"/>
                    </a:lnTo>
                    <a:lnTo>
                      <a:pt x="131" y="38"/>
                    </a:lnTo>
                    <a:lnTo>
                      <a:pt x="131" y="36"/>
                    </a:lnTo>
                    <a:lnTo>
                      <a:pt x="131" y="38"/>
                    </a:lnTo>
                    <a:lnTo>
                      <a:pt x="130" y="38"/>
                    </a:lnTo>
                    <a:lnTo>
                      <a:pt x="128" y="38"/>
                    </a:lnTo>
                    <a:lnTo>
                      <a:pt x="127" y="40"/>
                    </a:lnTo>
                    <a:lnTo>
                      <a:pt x="126" y="39"/>
                    </a:lnTo>
                    <a:lnTo>
                      <a:pt x="125" y="40"/>
                    </a:lnTo>
                    <a:lnTo>
                      <a:pt x="126" y="41"/>
                    </a:lnTo>
                    <a:lnTo>
                      <a:pt x="123" y="42"/>
                    </a:lnTo>
                    <a:lnTo>
                      <a:pt x="123" y="41"/>
                    </a:lnTo>
                    <a:lnTo>
                      <a:pt x="122" y="43"/>
                    </a:lnTo>
                    <a:lnTo>
                      <a:pt x="121" y="41"/>
                    </a:lnTo>
                    <a:lnTo>
                      <a:pt x="120" y="42"/>
                    </a:lnTo>
                    <a:lnTo>
                      <a:pt x="120" y="41"/>
                    </a:lnTo>
                    <a:lnTo>
                      <a:pt x="117" y="41"/>
                    </a:lnTo>
                    <a:lnTo>
                      <a:pt x="120" y="38"/>
                    </a:lnTo>
                    <a:lnTo>
                      <a:pt x="119" y="37"/>
                    </a:lnTo>
                    <a:lnTo>
                      <a:pt x="118" y="37"/>
                    </a:lnTo>
                    <a:lnTo>
                      <a:pt x="117" y="38"/>
                    </a:lnTo>
                    <a:lnTo>
                      <a:pt x="115" y="38"/>
                    </a:lnTo>
                    <a:lnTo>
                      <a:pt x="114" y="40"/>
                    </a:lnTo>
                    <a:lnTo>
                      <a:pt x="112" y="40"/>
                    </a:lnTo>
                    <a:lnTo>
                      <a:pt x="112" y="39"/>
                    </a:lnTo>
                    <a:lnTo>
                      <a:pt x="110" y="41"/>
                    </a:lnTo>
                    <a:lnTo>
                      <a:pt x="109" y="41"/>
                    </a:lnTo>
                    <a:lnTo>
                      <a:pt x="109" y="43"/>
                    </a:lnTo>
                    <a:lnTo>
                      <a:pt x="110" y="44"/>
                    </a:lnTo>
                    <a:lnTo>
                      <a:pt x="110" y="45"/>
                    </a:lnTo>
                    <a:lnTo>
                      <a:pt x="107" y="47"/>
                    </a:lnTo>
                    <a:lnTo>
                      <a:pt x="107" y="51"/>
                    </a:lnTo>
                    <a:lnTo>
                      <a:pt x="107" y="53"/>
                    </a:lnTo>
                    <a:lnTo>
                      <a:pt x="102" y="55"/>
                    </a:lnTo>
                    <a:lnTo>
                      <a:pt x="102" y="56"/>
                    </a:lnTo>
                    <a:lnTo>
                      <a:pt x="100" y="59"/>
                    </a:lnTo>
                    <a:lnTo>
                      <a:pt x="99" y="59"/>
                    </a:lnTo>
                    <a:lnTo>
                      <a:pt x="99" y="58"/>
                    </a:lnTo>
                    <a:lnTo>
                      <a:pt x="98" y="58"/>
                    </a:lnTo>
                    <a:lnTo>
                      <a:pt x="98" y="59"/>
                    </a:lnTo>
                    <a:lnTo>
                      <a:pt x="97" y="59"/>
                    </a:lnTo>
                    <a:lnTo>
                      <a:pt x="98" y="61"/>
                    </a:lnTo>
                    <a:lnTo>
                      <a:pt x="96" y="62"/>
                    </a:lnTo>
                    <a:lnTo>
                      <a:pt x="96" y="64"/>
                    </a:lnTo>
                    <a:lnTo>
                      <a:pt x="95" y="65"/>
                    </a:lnTo>
                    <a:lnTo>
                      <a:pt x="96" y="67"/>
                    </a:lnTo>
                    <a:lnTo>
                      <a:pt x="94" y="71"/>
                    </a:lnTo>
                    <a:lnTo>
                      <a:pt x="95" y="73"/>
                    </a:lnTo>
                    <a:lnTo>
                      <a:pt x="94" y="75"/>
                    </a:lnTo>
                    <a:lnTo>
                      <a:pt x="96" y="76"/>
                    </a:lnTo>
                    <a:lnTo>
                      <a:pt x="95" y="76"/>
                    </a:lnTo>
                    <a:lnTo>
                      <a:pt x="96" y="80"/>
                    </a:lnTo>
                    <a:lnTo>
                      <a:pt x="97" y="80"/>
                    </a:lnTo>
                    <a:lnTo>
                      <a:pt x="99" y="77"/>
                    </a:lnTo>
                    <a:lnTo>
                      <a:pt x="101" y="82"/>
                    </a:lnTo>
                    <a:lnTo>
                      <a:pt x="104" y="81"/>
                    </a:lnTo>
                    <a:lnTo>
                      <a:pt x="109" y="82"/>
                    </a:lnTo>
                    <a:lnTo>
                      <a:pt x="108" y="84"/>
                    </a:lnTo>
                    <a:lnTo>
                      <a:pt x="109" y="88"/>
                    </a:lnTo>
                    <a:lnTo>
                      <a:pt x="112" y="93"/>
                    </a:lnTo>
                    <a:lnTo>
                      <a:pt x="112" y="94"/>
                    </a:lnTo>
                    <a:lnTo>
                      <a:pt x="110" y="95"/>
                    </a:lnTo>
                    <a:lnTo>
                      <a:pt x="110" y="97"/>
                    </a:lnTo>
                    <a:lnTo>
                      <a:pt x="111" y="98"/>
                    </a:lnTo>
                    <a:lnTo>
                      <a:pt x="109" y="102"/>
                    </a:lnTo>
                    <a:lnTo>
                      <a:pt x="108" y="100"/>
                    </a:lnTo>
                    <a:lnTo>
                      <a:pt x="108" y="102"/>
                    </a:lnTo>
                    <a:lnTo>
                      <a:pt x="107" y="102"/>
                    </a:lnTo>
                    <a:lnTo>
                      <a:pt x="105" y="104"/>
                    </a:lnTo>
                    <a:lnTo>
                      <a:pt x="105" y="105"/>
                    </a:lnTo>
                    <a:lnTo>
                      <a:pt x="102" y="106"/>
                    </a:lnTo>
                    <a:lnTo>
                      <a:pt x="102" y="105"/>
                    </a:lnTo>
                    <a:lnTo>
                      <a:pt x="101" y="105"/>
                    </a:lnTo>
                    <a:lnTo>
                      <a:pt x="99" y="106"/>
                    </a:lnTo>
                    <a:lnTo>
                      <a:pt x="99" y="105"/>
                    </a:lnTo>
                    <a:lnTo>
                      <a:pt x="98" y="106"/>
                    </a:lnTo>
                    <a:lnTo>
                      <a:pt x="97" y="104"/>
                    </a:lnTo>
                    <a:lnTo>
                      <a:pt x="94" y="102"/>
                    </a:lnTo>
                    <a:lnTo>
                      <a:pt x="94" y="103"/>
                    </a:lnTo>
                    <a:lnTo>
                      <a:pt x="92" y="102"/>
                    </a:lnTo>
                    <a:lnTo>
                      <a:pt x="92" y="105"/>
                    </a:lnTo>
                    <a:lnTo>
                      <a:pt x="90" y="106"/>
                    </a:lnTo>
                    <a:lnTo>
                      <a:pt x="89" y="105"/>
                    </a:lnTo>
                    <a:lnTo>
                      <a:pt x="90" y="104"/>
                    </a:lnTo>
                    <a:lnTo>
                      <a:pt x="88" y="104"/>
                    </a:lnTo>
                    <a:lnTo>
                      <a:pt x="88" y="105"/>
                    </a:lnTo>
                    <a:lnTo>
                      <a:pt x="89" y="106"/>
                    </a:lnTo>
                    <a:lnTo>
                      <a:pt x="89" y="108"/>
                    </a:lnTo>
                    <a:lnTo>
                      <a:pt x="87" y="108"/>
                    </a:lnTo>
                    <a:lnTo>
                      <a:pt x="87" y="110"/>
                    </a:lnTo>
                    <a:lnTo>
                      <a:pt x="86" y="110"/>
                    </a:lnTo>
                    <a:lnTo>
                      <a:pt x="86" y="111"/>
                    </a:lnTo>
                    <a:lnTo>
                      <a:pt x="86" y="113"/>
                    </a:lnTo>
                    <a:lnTo>
                      <a:pt x="86" y="114"/>
                    </a:lnTo>
                    <a:lnTo>
                      <a:pt x="82" y="114"/>
                    </a:lnTo>
                    <a:lnTo>
                      <a:pt x="82" y="111"/>
                    </a:lnTo>
                    <a:lnTo>
                      <a:pt x="82" y="109"/>
                    </a:lnTo>
                    <a:lnTo>
                      <a:pt x="79" y="107"/>
                    </a:lnTo>
                    <a:lnTo>
                      <a:pt x="79" y="108"/>
                    </a:lnTo>
                    <a:lnTo>
                      <a:pt x="77" y="108"/>
                    </a:lnTo>
                    <a:lnTo>
                      <a:pt x="76" y="108"/>
                    </a:lnTo>
                    <a:lnTo>
                      <a:pt x="75" y="108"/>
                    </a:lnTo>
                    <a:lnTo>
                      <a:pt x="74" y="106"/>
                    </a:lnTo>
                    <a:lnTo>
                      <a:pt x="74" y="105"/>
                    </a:lnTo>
                    <a:lnTo>
                      <a:pt x="73" y="105"/>
                    </a:lnTo>
                    <a:lnTo>
                      <a:pt x="73" y="104"/>
                    </a:lnTo>
                    <a:lnTo>
                      <a:pt x="74" y="104"/>
                    </a:lnTo>
                    <a:lnTo>
                      <a:pt x="74" y="103"/>
                    </a:lnTo>
                    <a:lnTo>
                      <a:pt x="73" y="103"/>
                    </a:lnTo>
                    <a:lnTo>
                      <a:pt x="72" y="104"/>
                    </a:lnTo>
                    <a:lnTo>
                      <a:pt x="71" y="104"/>
                    </a:lnTo>
                    <a:lnTo>
                      <a:pt x="70" y="104"/>
                    </a:lnTo>
                    <a:lnTo>
                      <a:pt x="70" y="107"/>
                    </a:lnTo>
                    <a:lnTo>
                      <a:pt x="68" y="105"/>
                    </a:lnTo>
                    <a:lnTo>
                      <a:pt x="65" y="106"/>
                    </a:lnTo>
                    <a:lnTo>
                      <a:pt x="65" y="108"/>
                    </a:lnTo>
                    <a:lnTo>
                      <a:pt x="63" y="108"/>
                    </a:lnTo>
                    <a:lnTo>
                      <a:pt x="62" y="106"/>
                    </a:lnTo>
                    <a:lnTo>
                      <a:pt x="61" y="108"/>
                    </a:lnTo>
                    <a:lnTo>
                      <a:pt x="60" y="108"/>
                    </a:lnTo>
                    <a:lnTo>
                      <a:pt x="59" y="107"/>
                    </a:lnTo>
                    <a:lnTo>
                      <a:pt x="57" y="108"/>
                    </a:lnTo>
                    <a:lnTo>
                      <a:pt x="54" y="105"/>
                    </a:lnTo>
                    <a:lnTo>
                      <a:pt x="52" y="105"/>
                    </a:lnTo>
                    <a:lnTo>
                      <a:pt x="52" y="104"/>
                    </a:lnTo>
                    <a:lnTo>
                      <a:pt x="49" y="104"/>
                    </a:lnTo>
                    <a:lnTo>
                      <a:pt x="49" y="105"/>
                    </a:lnTo>
                    <a:lnTo>
                      <a:pt x="48" y="105"/>
                    </a:lnTo>
                    <a:lnTo>
                      <a:pt x="47" y="105"/>
                    </a:lnTo>
                    <a:lnTo>
                      <a:pt x="47" y="104"/>
                    </a:lnTo>
                    <a:lnTo>
                      <a:pt x="46" y="104"/>
                    </a:lnTo>
                    <a:lnTo>
                      <a:pt x="44" y="103"/>
                    </a:lnTo>
                    <a:lnTo>
                      <a:pt x="45" y="102"/>
                    </a:lnTo>
                    <a:lnTo>
                      <a:pt x="43" y="100"/>
                    </a:lnTo>
                    <a:lnTo>
                      <a:pt x="38" y="100"/>
                    </a:lnTo>
                    <a:lnTo>
                      <a:pt x="36" y="100"/>
                    </a:lnTo>
                    <a:lnTo>
                      <a:pt x="33" y="104"/>
                    </a:lnTo>
                    <a:lnTo>
                      <a:pt x="34" y="105"/>
                    </a:lnTo>
                    <a:lnTo>
                      <a:pt x="36" y="106"/>
                    </a:lnTo>
                    <a:lnTo>
                      <a:pt x="37" y="109"/>
                    </a:lnTo>
                    <a:lnTo>
                      <a:pt x="37" y="110"/>
                    </a:lnTo>
                    <a:lnTo>
                      <a:pt x="37" y="111"/>
                    </a:lnTo>
                    <a:lnTo>
                      <a:pt x="37" y="112"/>
                    </a:lnTo>
                    <a:lnTo>
                      <a:pt x="34" y="113"/>
                    </a:lnTo>
                    <a:lnTo>
                      <a:pt x="30" y="111"/>
                    </a:lnTo>
                    <a:lnTo>
                      <a:pt x="29" y="114"/>
                    </a:lnTo>
                    <a:lnTo>
                      <a:pt x="26" y="111"/>
                    </a:lnTo>
                    <a:lnTo>
                      <a:pt x="24" y="111"/>
                    </a:lnTo>
                    <a:lnTo>
                      <a:pt x="23" y="112"/>
                    </a:lnTo>
                    <a:lnTo>
                      <a:pt x="23" y="115"/>
                    </a:lnTo>
                    <a:lnTo>
                      <a:pt x="22" y="115"/>
                    </a:lnTo>
                    <a:lnTo>
                      <a:pt x="22" y="116"/>
                    </a:lnTo>
                    <a:lnTo>
                      <a:pt x="23" y="117"/>
                    </a:lnTo>
                    <a:lnTo>
                      <a:pt x="24" y="121"/>
                    </a:lnTo>
                    <a:lnTo>
                      <a:pt x="23" y="121"/>
                    </a:lnTo>
                    <a:lnTo>
                      <a:pt x="21" y="121"/>
                    </a:lnTo>
                    <a:lnTo>
                      <a:pt x="21" y="124"/>
                    </a:lnTo>
                    <a:lnTo>
                      <a:pt x="19" y="127"/>
                    </a:lnTo>
                    <a:lnTo>
                      <a:pt x="21" y="130"/>
                    </a:lnTo>
                    <a:lnTo>
                      <a:pt x="21" y="134"/>
                    </a:lnTo>
                    <a:lnTo>
                      <a:pt x="22" y="135"/>
                    </a:lnTo>
                    <a:lnTo>
                      <a:pt x="22" y="136"/>
                    </a:lnTo>
                    <a:lnTo>
                      <a:pt x="20" y="138"/>
                    </a:lnTo>
                    <a:lnTo>
                      <a:pt x="17" y="136"/>
                    </a:lnTo>
                    <a:lnTo>
                      <a:pt x="16" y="136"/>
                    </a:lnTo>
                    <a:lnTo>
                      <a:pt x="14" y="135"/>
                    </a:lnTo>
                    <a:lnTo>
                      <a:pt x="14" y="136"/>
                    </a:lnTo>
                    <a:lnTo>
                      <a:pt x="13" y="135"/>
                    </a:lnTo>
                    <a:lnTo>
                      <a:pt x="11" y="138"/>
                    </a:lnTo>
                    <a:lnTo>
                      <a:pt x="11" y="140"/>
                    </a:lnTo>
                    <a:lnTo>
                      <a:pt x="13" y="141"/>
                    </a:lnTo>
                    <a:lnTo>
                      <a:pt x="14" y="142"/>
                    </a:lnTo>
                    <a:lnTo>
                      <a:pt x="14" y="143"/>
                    </a:lnTo>
                    <a:lnTo>
                      <a:pt x="14" y="144"/>
                    </a:lnTo>
                    <a:lnTo>
                      <a:pt x="17" y="148"/>
                    </a:lnTo>
                    <a:lnTo>
                      <a:pt x="16" y="148"/>
                    </a:lnTo>
                    <a:lnTo>
                      <a:pt x="16" y="149"/>
                    </a:lnTo>
                    <a:lnTo>
                      <a:pt x="17" y="149"/>
                    </a:lnTo>
                    <a:lnTo>
                      <a:pt x="16" y="152"/>
                    </a:lnTo>
                    <a:lnTo>
                      <a:pt x="17" y="155"/>
                    </a:lnTo>
                    <a:lnTo>
                      <a:pt x="16" y="155"/>
                    </a:lnTo>
                    <a:lnTo>
                      <a:pt x="14" y="158"/>
                    </a:lnTo>
                    <a:lnTo>
                      <a:pt x="13" y="158"/>
                    </a:lnTo>
                    <a:lnTo>
                      <a:pt x="13" y="161"/>
                    </a:lnTo>
                    <a:lnTo>
                      <a:pt x="14" y="161"/>
                    </a:lnTo>
                    <a:lnTo>
                      <a:pt x="14" y="162"/>
                    </a:lnTo>
                    <a:lnTo>
                      <a:pt x="13" y="171"/>
                    </a:lnTo>
                    <a:lnTo>
                      <a:pt x="11" y="171"/>
                    </a:lnTo>
                    <a:lnTo>
                      <a:pt x="9" y="173"/>
                    </a:lnTo>
                    <a:lnTo>
                      <a:pt x="9" y="178"/>
                    </a:lnTo>
                    <a:lnTo>
                      <a:pt x="7" y="180"/>
                    </a:lnTo>
                    <a:lnTo>
                      <a:pt x="6" y="180"/>
                    </a:lnTo>
                    <a:lnTo>
                      <a:pt x="5" y="181"/>
                    </a:lnTo>
                    <a:lnTo>
                      <a:pt x="5" y="183"/>
                    </a:lnTo>
                    <a:lnTo>
                      <a:pt x="7" y="182"/>
                    </a:lnTo>
                    <a:lnTo>
                      <a:pt x="8" y="181"/>
                    </a:lnTo>
                    <a:lnTo>
                      <a:pt x="9" y="181"/>
                    </a:lnTo>
                    <a:lnTo>
                      <a:pt x="8" y="184"/>
                    </a:lnTo>
                    <a:lnTo>
                      <a:pt x="6" y="185"/>
                    </a:lnTo>
                    <a:lnTo>
                      <a:pt x="6" y="187"/>
                    </a:lnTo>
                    <a:lnTo>
                      <a:pt x="5" y="187"/>
                    </a:lnTo>
                    <a:lnTo>
                      <a:pt x="5" y="191"/>
                    </a:lnTo>
                    <a:lnTo>
                      <a:pt x="4" y="192"/>
                    </a:lnTo>
                    <a:lnTo>
                      <a:pt x="4" y="193"/>
                    </a:lnTo>
                    <a:lnTo>
                      <a:pt x="4" y="195"/>
                    </a:lnTo>
                    <a:lnTo>
                      <a:pt x="3" y="196"/>
                    </a:lnTo>
                    <a:lnTo>
                      <a:pt x="1" y="195"/>
                    </a:lnTo>
                    <a:lnTo>
                      <a:pt x="1" y="197"/>
                    </a:lnTo>
                    <a:lnTo>
                      <a:pt x="2" y="198"/>
                    </a:lnTo>
                    <a:lnTo>
                      <a:pt x="1" y="198"/>
                    </a:lnTo>
                    <a:lnTo>
                      <a:pt x="0" y="200"/>
                    </a:lnTo>
                    <a:lnTo>
                      <a:pt x="1" y="201"/>
                    </a:lnTo>
                    <a:lnTo>
                      <a:pt x="1" y="202"/>
                    </a:lnTo>
                    <a:lnTo>
                      <a:pt x="0" y="204"/>
                    </a:lnTo>
                    <a:lnTo>
                      <a:pt x="0" y="205"/>
                    </a:lnTo>
                    <a:lnTo>
                      <a:pt x="1" y="205"/>
                    </a:lnTo>
                    <a:lnTo>
                      <a:pt x="4" y="208"/>
                    </a:lnTo>
                    <a:lnTo>
                      <a:pt x="7" y="208"/>
                    </a:lnTo>
                    <a:lnTo>
                      <a:pt x="8" y="211"/>
                    </a:lnTo>
                    <a:lnTo>
                      <a:pt x="8" y="215"/>
                    </a:lnTo>
                    <a:lnTo>
                      <a:pt x="10" y="215"/>
                    </a:lnTo>
                    <a:lnTo>
                      <a:pt x="9" y="217"/>
                    </a:lnTo>
                    <a:lnTo>
                      <a:pt x="8" y="216"/>
                    </a:lnTo>
                    <a:lnTo>
                      <a:pt x="7" y="217"/>
                    </a:lnTo>
                    <a:lnTo>
                      <a:pt x="5" y="219"/>
                    </a:lnTo>
                    <a:lnTo>
                      <a:pt x="4" y="219"/>
                    </a:lnTo>
                    <a:lnTo>
                      <a:pt x="4" y="221"/>
                    </a:lnTo>
                    <a:lnTo>
                      <a:pt x="3" y="221"/>
                    </a:lnTo>
                    <a:lnTo>
                      <a:pt x="3" y="223"/>
                    </a:lnTo>
                    <a:lnTo>
                      <a:pt x="1" y="223"/>
                    </a:lnTo>
                    <a:lnTo>
                      <a:pt x="1" y="225"/>
                    </a:lnTo>
                    <a:lnTo>
                      <a:pt x="2" y="226"/>
                    </a:lnTo>
                    <a:lnTo>
                      <a:pt x="4" y="230"/>
                    </a:lnTo>
                    <a:lnTo>
                      <a:pt x="7" y="231"/>
                    </a:lnTo>
                    <a:lnTo>
                      <a:pt x="7" y="232"/>
                    </a:lnTo>
                    <a:lnTo>
                      <a:pt x="5" y="236"/>
                    </a:lnTo>
                    <a:lnTo>
                      <a:pt x="8" y="237"/>
                    </a:lnTo>
                    <a:lnTo>
                      <a:pt x="11" y="238"/>
                    </a:lnTo>
                    <a:lnTo>
                      <a:pt x="11" y="239"/>
                    </a:lnTo>
                    <a:lnTo>
                      <a:pt x="12" y="240"/>
                    </a:lnTo>
                    <a:lnTo>
                      <a:pt x="11" y="242"/>
                    </a:lnTo>
                    <a:lnTo>
                      <a:pt x="13" y="245"/>
                    </a:lnTo>
                    <a:lnTo>
                      <a:pt x="13" y="246"/>
                    </a:lnTo>
                    <a:lnTo>
                      <a:pt x="14" y="245"/>
                    </a:lnTo>
                    <a:lnTo>
                      <a:pt x="17" y="248"/>
                    </a:lnTo>
                    <a:lnTo>
                      <a:pt x="18" y="251"/>
                    </a:lnTo>
                    <a:lnTo>
                      <a:pt x="18" y="253"/>
                    </a:lnTo>
                    <a:lnTo>
                      <a:pt x="19" y="253"/>
                    </a:lnTo>
                    <a:lnTo>
                      <a:pt x="22" y="255"/>
                    </a:lnTo>
                    <a:lnTo>
                      <a:pt x="25" y="250"/>
                    </a:lnTo>
                    <a:lnTo>
                      <a:pt x="27" y="249"/>
                    </a:lnTo>
                    <a:lnTo>
                      <a:pt x="29" y="248"/>
                    </a:lnTo>
                    <a:lnTo>
                      <a:pt x="30" y="248"/>
                    </a:lnTo>
                    <a:lnTo>
                      <a:pt x="31" y="247"/>
                    </a:lnTo>
                    <a:lnTo>
                      <a:pt x="33" y="246"/>
                    </a:lnTo>
                    <a:lnTo>
                      <a:pt x="34" y="247"/>
                    </a:lnTo>
                    <a:lnTo>
                      <a:pt x="35" y="247"/>
                    </a:lnTo>
                    <a:lnTo>
                      <a:pt x="34" y="249"/>
                    </a:lnTo>
                    <a:lnTo>
                      <a:pt x="36" y="249"/>
                    </a:lnTo>
                    <a:lnTo>
                      <a:pt x="37" y="253"/>
                    </a:lnTo>
                    <a:lnTo>
                      <a:pt x="38" y="255"/>
                    </a:lnTo>
                    <a:lnTo>
                      <a:pt x="41" y="258"/>
                    </a:lnTo>
                    <a:lnTo>
                      <a:pt x="41" y="259"/>
                    </a:lnTo>
                    <a:lnTo>
                      <a:pt x="42" y="259"/>
                    </a:lnTo>
                    <a:lnTo>
                      <a:pt x="43" y="258"/>
                    </a:lnTo>
                    <a:lnTo>
                      <a:pt x="44" y="259"/>
                    </a:lnTo>
                    <a:lnTo>
                      <a:pt x="47" y="260"/>
                    </a:lnTo>
                    <a:lnTo>
                      <a:pt x="52" y="262"/>
                    </a:lnTo>
                    <a:lnTo>
                      <a:pt x="52" y="265"/>
                    </a:lnTo>
                    <a:lnTo>
                      <a:pt x="50" y="266"/>
                    </a:lnTo>
                    <a:lnTo>
                      <a:pt x="51" y="269"/>
                    </a:lnTo>
                    <a:lnTo>
                      <a:pt x="50" y="271"/>
                    </a:lnTo>
                    <a:lnTo>
                      <a:pt x="45" y="270"/>
                    </a:lnTo>
                    <a:lnTo>
                      <a:pt x="44" y="269"/>
                    </a:lnTo>
                    <a:lnTo>
                      <a:pt x="45" y="272"/>
                    </a:lnTo>
                    <a:lnTo>
                      <a:pt x="47" y="272"/>
                    </a:lnTo>
                    <a:lnTo>
                      <a:pt x="49" y="275"/>
                    </a:lnTo>
                    <a:lnTo>
                      <a:pt x="52" y="272"/>
                    </a:lnTo>
                    <a:lnTo>
                      <a:pt x="55" y="272"/>
                    </a:lnTo>
                    <a:lnTo>
                      <a:pt x="57" y="273"/>
                    </a:lnTo>
                    <a:lnTo>
                      <a:pt x="57" y="275"/>
                    </a:lnTo>
                    <a:lnTo>
                      <a:pt x="58" y="275"/>
                    </a:lnTo>
                    <a:lnTo>
                      <a:pt x="59" y="278"/>
                    </a:lnTo>
                    <a:lnTo>
                      <a:pt x="60" y="279"/>
                    </a:lnTo>
                    <a:lnTo>
                      <a:pt x="59" y="280"/>
                    </a:lnTo>
                    <a:lnTo>
                      <a:pt x="60" y="284"/>
                    </a:lnTo>
                    <a:lnTo>
                      <a:pt x="59" y="285"/>
                    </a:lnTo>
                    <a:lnTo>
                      <a:pt x="62" y="287"/>
                    </a:lnTo>
                    <a:lnTo>
                      <a:pt x="65" y="288"/>
                    </a:lnTo>
                    <a:lnTo>
                      <a:pt x="66" y="289"/>
                    </a:lnTo>
                    <a:lnTo>
                      <a:pt x="69" y="287"/>
                    </a:lnTo>
                    <a:lnTo>
                      <a:pt x="74" y="283"/>
                    </a:lnTo>
                    <a:lnTo>
                      <a:pt x="74" y="281"/>
                    </a:lnTo>
                    <a:lnTo>
                      <a:pt x="76" y="281"/>
                    </a:lnTo>
                    <a:lnTo>
                      <a:pt x="77" y="287"/>
                    </a:lnTo>
                    <a:lnTo>
                      <a:pt x="78" y="285"/>
                    </a:lnTo>
                    <a:lnTo>
                      <a:pt x="81" y="285"/>
                    </a:lnTo>
                    <a:lnTo>
                      <a:pt x="84" y="288"/>
                    </a:lnTo>
                    <a:lnTo>
                      <a:pt x="85" y="288"/>
                    </a:lnTo>
                    <a:lnTo>
                      <a:pt x="87" y="289"/>
                    </a:lnTo>
                    <a:lnTo>
                      <a:pt x="91" y="293"/>
                    </a:lnTo>
                    <a:lnTo>
                      <a:pt x="90" y="294"/>
                    </a:lnTo>
                    <a:lnTo>
                      <a:pt x="89" y="297"/>
                    </a:lnTo>
                    <a:lnTo>
                      <a:pt x="91" y="296"/>
                    </a:lnTo>
                    <a:lnTo>
                      <a:pt x="91" y="295"/>
                    </a:lnTo>
                    <a:lnTo>
                      <a:pt x="93" y="294"/>
                    </a:lnTo>
                    <a:lnTo>
                      <a:pt x="94" y="294"/>
                    </a:lnTo>
                    <a:lnTo>
                      <a:pt x="95" y="296"/>
                    </a:lnTo>
                    <a:lnTo>
                      <a:pt x="97" y="295"/>
                    </a:lnTo>
                    <a:lnTo>
                      <a:pt x="99" y="293"/>
                    </a:lnTo>
                    <a:lnTo>
                      <a:pt x="101" y="293"/>
                    </a:lnTo>
                    <a:lnTo>
                      <a:pt x="104" y="296"/>
                    </a:lnTo>
                    <a:lnTo>
                      <a:pt x="107" y="295"/>
                    </a:lnTo>
                    <a:lnTo>
                      <a:pt x="107" y="293"/>
                    </a:lnTo>
                    <a:lnTo>
                      <a:pt x="109" y="293"/>
                    </a:lnTo>
                    <a:lnTo>
                      <a:pt x="109" y="294"/>
                    </a:lnTo>
                    <a:lnTo>
                      <a:pt x="110" y="294"/>
                    </a:lnTo>
                    <a:lnTo>
                      <a:pt x="112" y="294"/>
                    </a:lnTo>
                    <a:lnTo>
                      <a:pt x="114" y="295"/>
                    </a:lnTo>
                    <a:lnTo>
                      <a:pt x="115" y="296"/>
                    </a:lnTo>
                    <a:lnTo>
                      <a:pt x="115" y="300"/>
                    </a:lnTo>
                    <a:lnTo>
                      <a:pt x="115" y="303"/>
                    </a:lnTo>
                    <a:lnTo>
                      <a:pt x="115" y="306"/>
                    </a:lnTo>
                    <a:lnTo>
                      <a:pt x="116" y="307"/>
                    </a:lnTo>
                    <a:lnTo>
                      <a:pt x="114" y="310"/>
                    </a:lnTo>
                    <a:lnTo>
                      <a:pt x="114" y="311"/>
                    </a:lnTo>
                    <a:lnTo>
                      <a:pt x="112" y="313"/>
                    </a:lnTo>
                    <a:lnTo>
                      <a:pt x="112" y="316"/>
                    </a:lnTo>
                    <a:lnTo>
                      <a:pt x="110" y="319"/>
                    </a:lnTo>
                    <a:lnTo>
                      <a:pt x="112" y="319"/>
                    </a:lnTo>
                    <a:lnTo>
                      <a:pt x="113" y="319"/>
                    </a:lnTo>
                    <a:lnTo>
                      <a:pt x="113" y="321"/>
                    </a:lnTo>
                    <a:lnTo>
                      <a:pt x="114" y="324"/>
                    </a:lnTo>
                    <a:lnTo>
                      <a:pt x="114" y="326"/>
                    </a:lnTo>
                    <a:lnTo>
                      <a:pt x="115" y="326"/>
                    </a:lnTo>
                    <a:lnTo>
                      <a:pt x="115" y="324"/>
                    </a:lnTo>
                    <a:lnTo>
                      <a:pt x="116" y="324"/>
                    </a:lnTo>
                    <a:lnTo>
                      <a:pt x="117" y="324"/>
                    </a:lnTo>
                    <a:lnTo>
                      <a:pt x="116" y="326"/>
                    </a:lnTo>
                    <a:lnTo>
                      <a:pt x="118" y="328"/>
                    </a:lnTo>
                    <a:lnTo>
                      <a:pt x="119" y="327"/>
                    </a:lnTo>
                    <a:lnTo>
                      <a:pt x="120" y="329"/>
                    </a:lnTo>
                    <a:lnTo>
                      <a:pt x="121" y="332"/>
                    </a:lnTo>
                    <a:lnTo>
                      <a:pt x="120" y="334"/>
                    </a:lnTo>
                    <a:lnTo>
                      <a:pt x="123" y="336"/>
                    </a:lnTo>
                    <a:lnTo>
                      <a:pt x="124" y="336"/>
                    </a:lnTo>
                    <a:lnTo>
                      <a:pt x="125" y="336"/>
                    </a:lnTo>
                    <a:lnTo>
                      <a:pt x="127" y="337"/>
                    </a:lnTo>
                    <a:lnTo>
                      <a:pt x="128" y="340"/>
                    </a:lnTo>
                    <a:lnTo>
                      <a:pt x="131" y="341"/>
                    </a:lnTo>
                    <a:lnTo>
                      <a:pt x="131" y="344"/>
                    </a:lnTo>
                    <a:lnTo>
                      <a:pt x="131" y="345"/>
                    </a:lnTo>
                    <a:lnTo>
                      <a:pt x="133" y="343"/>
                    </a:lnTo>
                    <a:lnTo>
                      <a:pt x="134" y="340"/>
                    </a:lnTo>
                    <a:lnTo>
                      <a:pt x="135" y="339"/>
                    </a:lnTo>
                    <a:lnTo>
                      <a:pt x="136" y="338"/>
                    </a:lnTo>
                    <a:lnTo>
                      <a:pt x="138" y="338"/>
                    </a:lnTo>
                    <a:lnTo>
                      <a:pt x="139" y="340"/>
                    </a:lnTo>
                    <a:lnTo>
                      <a:pt x="141" y="344"/>
                    </a:lnTo>
                    <a:lnTo>
                      <a:pt x="142" y="344"/>
                    </a:lnTo>
                    <a:lnTo>
                      <a:pt x="142" y="346"/>
                    </a:lnTo>
                    <a:lnTo>
                      <a:pt x="143" y="345"/>
                    </a:lnTo>
                    <a:lnTo>
                      <a:pt x="144" y="346"/>
                    </a:lnTo>
                    <a:lnTo>
                      <a:pt x="144" y="344"/>
                    </a:lnTo>
                    <a:lnTo>
                      <a:pt x="149" y="346"/>
                    </a:lnTo>
                    <a:lnTo>
                      <a:pt x="151" y="346"/>
                    </a:lnTo>
                    <a:lnTo>
                      <a:pt x="153" y="347"/>
                    </a:lnTo>
                    <a:lnTo>
                      <a:pt x="156" y="343"/>
                    </a:lnTo>
                    <a:lnTo>
                      <a:pt x="157" y="342"/>
                    </a:lnTo>
                    <a:lnTo>
                      <a:pt x="160" y="343"/>
                    </a:lnTo>
                    <a:lnTo>
                      <a:pt x="161" y="345"/>
                    </a:lnTo>
                    <a:lnTo>
                      <a:pt x="161" y="346"/>
                    </a:lnTo>
                    <a:lnTo>
                      <a:pt x="163" y="346"/>
                    </a:lnTo>
                    <a:lnTo>
                      <a:pt x="164" y="345"/>
                    </a:lnTo>
                    <a:lnTo>
                      <a:pt x="163" y="343"/>
                    </a:lnTo>
                    <a:lnTo>
                      <a:pt x="164" y="341"/>
                    </a:lnTo>
                    <a:lnTo>
                      <a:pt x="165" y="341"/>
                    </a:lnTo>
                    <a:lnTo>
                      <a:pt x="166" y="341"/>
                    </a:lnTo>
                    <a:lnTo>
                      <a:pt x="169" y="343"/>
                    </a:lnTo>
                    <a:lnTo>
                      <a:pt x="168" y="346"/>
                    </a:lnTo>
                    <a:lnTo>
                      <a:pt x="169" y="343"/>
                    </a:lnTo>
                    <a:lnTo>
                      <a:pt x="172" y="345"/>
                    </a:lnTo>
                    <a:lnTo>
                      <a:pt x="172" y="349"/>
                    </a:lnTo>
                    <a:lnTo>
                      <a:pt x="172" y="351"/>
                    </a:lnTo>
                    <a:lnTo>
                      <a:pt x="169" y="351"/>
                    </a:lnTo>
                    <a:lnTo>
                      <a:pt x="168" y="351"/>
                    </a:lnTo>
                    <a:lnTo>
                      <a:pt x="169" y="353"/>
                    </a:lnTo>
                    <a:lnTo>
                      <a:pt x="172" y="357"/>
                    </a:lnTo>
                    <a:lnTo>
                      <a:pt x="173" y="357"/>
                    </a:lnTo>
                    <a:lnTo>
                      <a:pt x="172" y="356"/>
                    </a:lnTo>
                    <a:lnTo>
                      <a:pt x="174" y="355"/>
                    </a:lnTo>
                    <a:lnTo>
                      <a:pt x="177" y="357"/>
                    </a:lnTo>
                    <a:lnTo>
                      <a:pt x="177" y="358"/>
                    </a:lnTo>
                    <a:lnTo>
                      <a:pt x="175" y="358"/>
                    </a:lnTo>
                    <a:lnTo>
                      <a:pt x="174" y="359"/>
                    </a:lnTo>
                    <a:lnTo>
                      <a:pt x="179" y="366"/>
                    </a:lnTo>
                    <a:lnTo>
                      <a:pt x="176" y="366"/>
                    </a:lnTo>
                    <a:lnTo>
                      <a:pt x="177" y="369"/>
                    </a:lnTo>
                    <a:lnTo>
                      <a:pt x="177" y="371"/>
                    </a:lnTo>
                    <a:lnTo>
                      <a:pt x="176" y="372"/>
                    </a:lnTo>
                    <a:lnTo>
                      <a:pt x="174" y="372"/>
                    </a:lnTo>
                    <a:lnTo>
                      <a:pt x="173" y="371"/>
                    </a:lnTo>
                    <a:lnTo>
                      <a:pt x="172" y="372"/>
                    </a:lnTo>
                    <a:lnTo>
                      <a:pt x="172" y="371"/>
                    </a:lnTo>
                    <a:lnTo>
                      <a:pt x="169" y="371"/>
                    </a:lnTo>
                    <a:lnTo>
                      <a:pt x="165" y="369"/>
                    </a:lnTo>
                    <a:lnTo>
                      <a:pt x="164" y="371"/>
                    </a:lnTo>
                    <a:lnTo>
                      <a:pt x="166" y="374"/>
                    </a:lnTo>
                    <a:lnTo>
                      <a:pt x="165" y="377"/>
                    </a:lnTo>
                    <a:lnTo>
                      <a:pt x="164" y="376"/>
                    </a:lnTo>
                    <a:lnTo>
                      <a:pt x="161" y="376"/>
                    </a:lnTo>
                    <a:lnTo>
                      <a:pt x="161" y="377"/>
                    </a:lnTo>
                    <a:lnTo>
                      <a:pt x="162" y="377"/>
                    </a:lnTo>
                    <a:lnTo>
                      <a:pt x="161" y="380"/>
                    </a:lnTo>
                    <a:lnTo>
                      <a:pt x="163" y="381"/>
                    </a:lnTo>
                    <a:lnTo>
                      <a:pt x="162" y="384"/>
                    </a:lnTo>
                    <a:lnTo>
                      <a:pt x="159" y="385"/>
                    </a:lnTo>
                    <a:lnTo>
                      <a:pt x="156" y="385"/>
                    </a:lnTo>
                    <a:lnTo>
                      <a:pt x="156" y="387"/>
                    </a:lnTo>
                    <a:lnTo>
                      <a:pt x="156" y="388"/>
                    </a:lnTo>
                    <a:lnTo>
                      <a:pt x="157" y="389"/>
                    </a:lnTo>
                    <a:lnTo>
                      <a:pt x="156" y="391"/>
                    </a:lnTo>
                    <a:lnTo>
                      <a:pt x="156" y="392"/>
                    </a:lnTo>
                    <a:lnTo>
                      <a:pt x="155" y="393"/>
                    </a:lnTo>
                    <a:lnTo>
                      <a:pt x="155" y="394"/>
                    </a:lnTo>
                    <a:lnTo>
                      <a:pt x="152" y="393"/>
                    </a:lnTo>
                    <a:lnTo>
                      <a:pt x="152" y="397"/>
                    </a:lnTo>
                    <a:lnTo>
                      <a:pt x="152" y="396"/>
                    </a:lnTo>
                    <a:lnTo>
                      <a:pt x="151" y="395"/>
                    </a:lnTo>
                    <a:lnTo>
                      <a:pt x="150" y="395"/>
                    </a:lnTo>
                    <a:lnTo>
                      <a:pt x="150" y="397"/>
                    </a:lnTo>
                    <a:lnTo>
                      <a:pt x="148" y="399"/>
                    </a:lnTo>
                    <a:lnTo>
                      <a:pt x="146" y="399"/>
                    </a:lnTo>
                    <a:lnTo>
                      <a:pt x="144" y="400"/>
                    </a:lnTo>
                    <a:lnTo>
                      <a:pt x="144" y="402"/>
                    </a:lnTo>
                    <a:lnTo>
                      <a:pt x="142" y="404"/>
                    </a:lnTo>
                    <a:lnTo>
                      <a:pt x="144" y="407"/>
                    </a:lnTo>
                    <a:lnTo>
                      <a:pt x="145" y="406"/>
                    </a:lnTo>
                    <a:lnTo>
                      <a:pt x="147" y="406"/>
                    </a:lnTo>
                    <a:lnTo>
                      <a:pt x="149" y="404"/>
                    </a:lnTo>
                    <a:lnTo>
                      <a:pt x="151" y="405"/>
                    </a:lnTo>
                    <a:lnTo>
                      <a:pt x="152" y="406"/>
                    </a:lnTo>
                    <a:lnTo>
                      <a:pt x="153" y="408"/>
                    </a:lnTo>
                    <a:lnTo>
                      <a:pt x="152" y="409"/>
                    </a:lnTo>
                    <a:lnTo>
                      <a:pt x="152" y="411"/>
                    </a:lnTo>
                    <a:lnTo>
                      <a:pt x="151" y="413"/>
                    </a:lnTo>
                    <a:lnTo>
                      <a:pt x="152" y="415"/>
                    </a:lnTo>
                    <a:lnTo>
                      <a:pt x="153" y="416"/>
                    </a:lnTo>
                    <a:lnTo>
                      <a:pt x="158" y="417"/>
                    </a:lnTo>
                    <a:lnTo>
                      <a:pt x="159" y="417"/>
                    </a:lnTo>
                    <a:lnTo>
                      <a:pt x="163" y="419"/>
                    </a:lnTo>
                    <a:lnTo>
                      <a:pt x="167" y="422"/>
                    </a:lnTo>
                    <a:lnTo>
                      <a:pt x="166" y="423"/>
                    </a:lnTo>
                    <a:lnTo>
                      <a:pt x="166" y="424"/>
                    </a:lnTo>
                    <a:lnTo>
                      <a:pt x="165" y="425"/>
                    </a:lnTo>
                    <a:lnTo>
                      <a:pt x="164" y="427"/>
                    </a:lnTo>
                    <a:lnTo>
                      <a:pt x="167" y="430"/>
                    </a:lnTo>
                    <a:lnTo>
                      <a:pt x="170" y="428"/>
                    </a:lnTo>
                    <a:lnTo>
                      <a:pt x="169" y="428"/>
                    </a:lnTo>
                    <a:lnTo>
                      <a:pt x="169" y="427"/>
                    </a:lnTo>
                    <a:lnTo>
                      <a:pt x="167" y="427"/>
                    </a:lnTo>
                    <a:lnTo>
                      <a:pt x="166" y="427"/>
                    </a:lnTo>
                    <a:lnTo>
                      <a:pt x="169" y="427"/>
                    </a:lnTo>
                    <a:lnTo>
                      <a:pt x="173" y="430"/>
                    </a:lnTo>
                    <a:lnTo>
                      <a:pt x="172" y="427"/>
                    </a:lnTo>
                    <a:lnTo>
                      <a:pt x="175" y="426"/>
                    </a:lnTo>
                    <a:lnTo>
                      <a:pt x="176" y="427"/>
                    </a:lnTo>
                    <a:lnTo>
                      <a:pt x="177" y="429"/>
                    </a:lnTo>
                    <a:lnTo>
                      <a:pt x="178" y="430"/>
                    </a:lnTo>
                    <a:lnTo>
                      <a:pt x="177" y="432"/>
                    </a:lnTo>
                    <a:lnTo>
                      <a:pt x="177" y="434"/>
                    </a:lnTo>
                    <a:lnTo>
                      <a:pt x="179" y="435"/>
                    </a:lnTo>
                    <a:lnTo>
                      <a:pt x="180" y="435"/>
                    </a:lnTo>
                    <a:lnTo>
                      <a:pt x="182" y="434"/>
                    </a:lnTo>
                    <a:lnTo>
                      <a:pt x="182" y="437"/>
                    </a:lnTo>
                    <a:lnTo>
                      <a:pt x="183" y="438"/>
                    </a:lnTo>
                    <a:lnTo>
                      <a:pt x="185" y="435"/>
                    </a:lnTo>
                    <a:lnTo>
                      <a:pt x="185" y="434"/>
                    </a:lnTo>
                    <a:lnTo>
                      <a:pt x="185" y="433"/>
                    </a:lnTo>
                    <a:lnTo>
                      <a:pt x="187" y="433"/>
                    </a:lnTo>
                    <a:lnTo>
                      <a:pt x="187" y="431"/>
                    </a:lnTo>
                    <a:lnTo>
                      <a:pt x="189" y="430"/>
                    </a:lnTo>
                    <a:lnTo>
                      <a:pt x="190" y="430"/>
                    </a:lnTo>
                    <a:lnTo>
                      <a:pt x="188" y="426"/>
                    </a:lnTo>
                    <a:lnTo>
                      <a:pt x="190" y="425"/>
                    </a:lnTo>
                    <a:lnTo>
                      <a:pt x="191" y="425"/>
                    </a:lnTo>
                    <a:lnTo>
                      <a:pt x="192" y="427"/>
                    </a:lnTo>
                    <a:lnTo>
                      <a:pt x="194" y="427"/>
                    </a:lnTo>
                    <a:lnTo>
                      <a:pt x="194" y="428"/>
                    </a:lnTo>
                    <a:lnTo>
                      <a:pt x="195" y="427"/>
                    </a:lnTo>
                    <a:lnTo>
                      <a:pt x="198" y="425"/>
                    </a:lnTo>
                    <a:lnTo>
                      <a:pt x="201" y="425"/>
                    </a:lnTo>
                    <a:lnTo>
                      <a:pt x="201" y="427"/>
                    </a:lnTo>
                    <a:lnTo>
                      <a:pt x="204" y="429"/>
                    </a:lnTo>
                    <a:lnTo>
                      <a:pt x="204" y="432"/>
                    </a:lnTo>
                    <a:lnTo>
                      <a:pt x="206" y="434"/>
                    </a:lnTo>
                    <a:lnTo>
                      <a:pt x="207" y="435"/>
                    </a:lnTo>
                    <a:lnTo>
                      <a:pt x="208" y="434"/>
                    </a:lnTo>
                    <a:lnTo>
                      <a:pt x="209" y="434"/>
                    </a:lnTo>
                    <a:lnTo>
                      <a:pt x="209" y="432"/>
                    </a:lnTo>
                    <a:lnTo>
                      <a:pt x="211" y="430"/>
                    </a:lnTo>
                    <a:lnTo>
                      <a:pt x="210" y="430"/>
                    </a:lnTo>
                    <a:lnTo>
                      <a:pt x="210" y="429"/>
                    </a:lnTo>
                    <a:lnTo>
                      <a:pt x="209" y="428"/>
                    </a:lnTo>
                    <a:lnTo>
                      <a:pt x="211" y="429"/>
                    </a:lnTo>
                    <a:lnTo>
                      <a:pt x="213" y="426"/>
                    </a:lnTo>
                    <a:lnTo>
                      <a:pt x="215" y="428"/>
                    </a:lnTo>
                    <a:lnTo>
                      <a:pt x="216" y="427"/>
                    </a:lnTo>
                    <a:lnTo>
                      <a:pt x="216" y="426"/>
                    </a:lnTo>
                    <a:lnTo>
                      <a:pt x="216" y="422"/>
                    </a:lnTo>
                    <a:lnTo>
                      <a:pt x="216" y="421"/>
                    </a:lnTo>
                    <a:lnTo>
                      <a:pt x="218" y="422"/>
                    </a:lnTo>
                    <a:lnTo>
                      <a:pt x="223" y="423"/>
                    </a:lnTo>
                    <a:lnTo>
                      <a:pt x="226" y="421"/>
                    </a:lnTo>
                    <a:lnTo>
                      <a:pt x="227" y="418"/>
                    </a:lnTo>
                    <a:lnTo>
                      <a:pt x="229" y="418"/>
                    </a:lnTo>
                    <a:lnTo>
                      <a:pt x="229" y="417"/>
                    </a:lnTo>
                    <a:lnTo>
                      <a:pt x="230" y="417"/>
                    </a:lnTo>
                    <a:lnTo>
                      <a:pt x="230" y="416"/>
                    </a:lnTo>
                    <a:lnTo>
                      <a:pt x="228" y="415"/>
                    </a:lnTo>
                    <a:lnTo>
                      <a:pt x="229" y="413"/>
                    </a:lnTo>
                    <a:lnTo>
                      <a:pt x="230" y="413"/>
                    </a:lnTo>
                    <a:lnTo>
                      <a:pt x="233" y="411"/>
                    </a:lnTo>
                    <a:lnTo>
                      <a:pt x="234" y="410"/>
                    </a:lnTo>
                    <a:lnTo>
                      <a:pt x="237" y="411"/>
                    </a:lnTo>
                    <a:lnTo>
                      <a:pt x="239" y="409"/>
                    </a:lnTo>
                    <a:lnTo>
                      <a:pt x="242" y="411"/>
                    </a:lnTo>
                    <a:lnTo>
                      <a:pt x="243" y="409"/>
                    </a:lnTo>
                    <a:lnTo>
                      <a:pt x="246" y="411"/>
                    </a:lnTo>
                    <a:lnTo>
                      <a:pt x="247" y="411"/>
                    </a:lnTo>
                    <a:lnTo>
                      <a:pt x="247" y="413"/>
                    </a:lnTo>
                    <a:lnTo>
                      <a:pt x="250" y="413"/>
                    </a:lnTo>
                    <a:lnTo>
                      <a:pt x="248" y="411"/>
                    </a:lnTo>
                    <a:lnTo>
                      <a:pt x="250" y="410"/>
                    </a:lnTo>
                    <a:lnTo>
                      <a:pt x="251" y="410"/>
                    </a:lnTo>
                    <a:lnTo>
                      <a:pt x="252" y="410"/>
                    </a:lnTo>
                    <a:lnTo>
                      <a:pt x="251" y="408"/>
                    </a:lnTo>
                    <a:lnTo>
                      <a:pt x="252" y="408"/>
                    </a:lnTo>
                    <a:lnTo>
                      <a:pt x="252" y="407"/>
                    </a:lnTo>
                    <a:lnTo>
                      <a:pt x="251" y="407"/>
                    </a:lnTo>
                    <a:lnTo>
                      <a:pt x="253" y="404"/>
                    </a:lnTo>
                    <a:lnTo>
                      <a:pt x="253" y="402"/>
                    </a:lnTo>
                    <a:lnTo>
                      <a:pt x="254" y="401"/>
                    </a:lnTo>
                    <a:lnTo>
                      <a:pt x="253" y="398"/>
                    </a:lnTo>
                    <a:lnTo>
                      <a:pt x="255" y="399"/>
                    </a:lnTo>
                    <a:lnTo>
                      <a:pt x="256" y="399"/>
                    </a:lnTo>
                    <a:lnTo>
                      <a:pt x="260" y="402"/>
                    </a:lnTo>
                    <a:lnTo>
                      <a:pt x="260" y="403"/>
                    </a:lnTo>
                    <a:lnTo>
                      <a:pt x="258" y="403"/>
                    </a:lnTo>
                    <a:lnTo>
                      <a:pt x="258" y="404"/>
                    </a:lnTo>
                    <a:lnTo>
                      <a:pt x="260" y="404"/>
                    </a:lnTo>
                    <a:lnTo>
                      <a:pt x="261" y="404"/>
                    </a:lnTo>
                    <a:lnTo>
                      <a:pt x="261" y="405"/>
                    </a:lnTo>
                    <a:lnTo>
                      <a:pt x="264" y="402"/>
                    </a:lnTo>
                    <a:lnTo>
                      <a:pt x="268" y="400"/>
                    </a:lnTo>
                    <a:lnTo>
                      <a:pt x="266" y="400"/>
                    </a:lnTo>
                    <a:lnTo>
                      <a:pt x="267" y="394"/>
                    </a:lnTo>
                    <a:lnTo>
                      <a:pt x="271" y="398"/>
                    </a:lnTo>
                    <a:lnTo>
                      <a:pt x="273" y="395"/>
                    </a:lnTo>
                    <a:lnTo>
                      <a:pt x="276" y="393"/>
                    </a:lnTo>
                    <a:lnTo>
                      <a:pt x="277" y="394"/>
                    </a:lnTo>
                    <a:lnTo>
                      <a:pt x="277" y="396"/>
                    </a:lnTo>
                    <a:lnTo>
                      <a:pt x="277" y="398"/>
                    </a:lnTo>
                    <a:lnTo>
                      <a:pt x="278" y="398"/>
                    </a:lnTo>
                    <a:lnTo>
                      <a:pt x="278" y="400"/>
                    </a:lnTo>
                    <a:lnTo>
                      <a:pt x="277" y="400"/>
                    </a:lnTo>
                    <a:lnTo>
                      <a:pt x="278" y="401"/>
                    </a:lnTo>
                    <a:lnTo>
                      <a:pt x="277" y="401"/>
                    </a:lnTo>
                    <a:lnTo>
                      <a:pt x="277" y="402"/>
                    </a:lnTo>
                    <a:lnTo>
                      <a:pt x="278" y="402"/>
                    </a:lnTo>
                    <a:lnTo>
                      <a:pt x="279" y="404"/>
                    </a:lnTo>
                    <a:lnTo>
                      <a:pt x="280" y="403"/>
                    </a:lnTo>
                    <a:lnTo>
                      <a:pt x="280" y="401"/>
                    </a:lnTo>
                    <a:lnTo>
                      <a:pt x="280" y="402"/>
                    </a:lnTo>
                    <a:lnTo>
                      <a:pt x="281" y="404"/>
                    </a:lnTo>
                    <a:lnTo>
                      <a:pt x="280" y="404"/>
                    </a:lnTo>
                    <a:lnTo>
                      <a:pt x="280" y="405"/>
                    </a:lnTo>
                    <a:lnTo>
                      <a:pt x="283" y="407"/>
                    </a:lnTo>
                    <a:lnTo>
                      <a:pt x="285" y="408"/>
                    </a:lnTo>
                    <a:lnTo>
                      <a:pt x="288" y="409"/>
                    </a:lnTo>
                    <a:lnTo>
                      <a:pt x="289" y="408"/>
                    </a:lnTo>
                    <a:lnTo>
                      <a:pt x="291" y="408"/>
                    </a:lnTo>
                    <a:lnTo>
                      <a:pt x="293" y="406"/>
                    </a:lnTo>
                    <a:lnTo>
                      <a:pt x="294" y="406"/>
                    </a:lnTo>
                    <a:lnTo>
                      <a:pt x="295" y="403"/>
                    </a:lnTo>
                    <a:lnTo>
                      <a:pt x="294" y="401"/>
                    </a:lnTo>
                    <a:lnTo>
                      <a:pt x="294" y="400"/>
                    </a:lnTo>
                    <a:lnTo>
                      <a:pt x="296" y="400"/>
                    </a:lnTo>
                    <a:lnTo>
                      <a:pt x="296" y="401"/>
                    </a:lnTo>
                    <a:lnTo>
                      <a:pt x="296" y="403"/>
                    </a:lnTo>
                    <a:lnTo>
                      <a:pt x="298" y="403"/>
                    </a:lnTo>
                    <a:lnTo>
                      <a:pt x="298" y="404"/>
                    </a:lnTo>
                    <a:lnTo>
                      <a:pt x="300" y="404"/>
                    </a:lnTo>
                    <a:lnTo>
                      <a:pt x="301" y="404"/>
                    </a:lnTo>
                    <a:lnTo>
                      <a:pt x="303" y="406"/>
                    </a:lnTo>
                    <a:lnTo>
                      <a:pt x="304" y="407"/>
                    </a:lnTo>
                    <a:lnTo>
                      <a:pt x="305" y="406"/>
                    </a:lnTo>
                    <a:lnTo>
                      <a:pt x="307" y="406"/>
                    </a:lnTo>
                    <a:lnTo>
                      <a:pt x="308" y="409"/>
                    </a:lnTo>
                    <a:lnTo>
                      <a:pt x="309" y="410"/>
                    </a:lnTo>
                    <a:lnTo>
                      <a:pt x="309" y="407"/>
                    </a:lnTo>
                    <a:lnTo>
                      <a:pt x="309" y="406"/>
                    </a:lnTo>
                    <a:lnTo>
                      <a:pt x="311" y="406"/>
                    </a:lnTo>
                    <a:lnTo>
                      <a:pt x="313" y="407"/>
                    </a:lnTo>
                    <a:lnTo>
                      <a:pt x="313" y="406"/>
                    </a:lnTo>
                    <a:lnTo>
                      <a:pt x="314" y="406"/>
                    </a:lnTo>
                    <a:lnTo>
                      <a:pt x="318" y="408"/>
                    </a:lnTo>
                    <a:lnTo>
                      <a:pt x="318" y="407"/>
                    </a:lnTo>
                    <a:lnTo>
                      <a:pt x="320" y="407"/>
                    </a:lnTo>
                    <a:lnTo>
                      <a:pt x="318" y="406"/>
                    </a:lnTo>
                    <a:lnTo>
                      <a:pt x="320" y="406"/>
                    </a:lnTo>
                    <a:lnTo>
                      <a:pt x="320" y="404"/>
                    </a:lnTo>
                    <a:lnTo>
                      <a:pt x="321" y="404"/>
                    </a:lnTo>
                    <a:lnTo>
                      <a:pt x="322" y="406"/>
                    </a:lnTo>
                    <a:lnTo>
                      <a:pt x="326" y="404"/>
                    </a:lnTo>
                    <a:lnTo>
                      <a:pt x="326" y="403"/>
                    </a:lnTo>
                    <a:lnTo>
                      <a:pt x="325" y="402"/>
                    </a:lnTo>
                    <a:lnTo>
                      <a:pt x="325" y="400"/>
                    </a:lnTo>
                    <a:lnTo>
                      <a:pt x="321" y="398"/>
                    </a:lnTo>
                    <a:lnTo>
                      <a:pt x="324" y="396"/>
                    </a:lnTo>
                    <a:lnTo>
                      <a:pt x="323" y="395"/>
                    </a:lnTo>
                    <a:lnTo>
                      <a:pt x="324" y="396"/>
                    </a:lnTo>
                    <a:lnTo>
                      <a:pt x="329" y="394"/>
                    </a:lnTo>
                    <a:lnTo>
                      <a:pt x="330" y="394"/>
                    </a:lnTo>
                    <a:lnTo>
                      <a:pt x="332" y="393"/>
                    </a:lnTo>
                    <a:lnTo>
                      <a:pt x="333" y="393"/>
                    </a:lnTo>
                    <a:lnTo>
                      <a:pt x="336" y="394"/>
                    </a:lnTo>
                    <a:lnTo>
                      <a:pt x="337" y="393"/>
                    </a:lnTo>
                    <a:lnTo>
                      <a:pt x="339" y="394"/>
                    </a:lnTo>
                    <a:lnTo>
                      <a:pt x="342" y="393"/>
                    </a:lnTo>
                    <a:lnTo>
                      <a:pt x="345" y="395"/>
                    </a:lnTo>
                    <a:lnTo>
                      <a:pt x="346" y="393"/>
                    </a:lnTo>
                    <a:lnTo>
                      <a:pt x="346" y="392"/>
                    </a:lnTo>
                    <a:lnTo>
                      <a:pt x="348" y="390"/>
                    </a:lnTo>
                    <a:lnTo>
                      <a:pt x="350" y="390"/>
                    </a:lnTo>
                    <a:lnTo>
                      <a:pt x="350" y="388"/>
                    </a:lnTo>
                    <a:lnTo>
                      <a:pt x="348" y="384"/>
                    </a:lnTo>
                    <a:lnTo>
                      <a:pt x="349" y="383"/>
                    </a:lnTo>
                    <a:lnTo>
                      <a:pt x="351" y="383"/>
                    </a:lnTo>
                    <a:lnTo>
                      <a:pt x="353" y="383"/>
                    </a:lnTo>
                    <a:lnTo>
                      <a:pt x="355" y="383"/>
                    </a:lnTo>
                    <a:lnTo>
                      <a:pt x="356" y="383"/>
                    </a:lnTo>
                    <a:lnTo>
                      <a:pt x="357" y="381"/>
                    </a:lnTo>
                    <a:lnTo>
                      <a:pt x="359" y="381"/>
                    </a:lnTo>
                    <a:lnTo>
                      <a:pt x="359" y="380"/>
                    </a:lnTo>
                    <a:lnTo>
                      <a:pt x="361" y="378"/>
                    </a:lnTo>
                    <a:lnTo>
                      <a:pt x="362" y="376"/>
                    </a:lnTo>
                    <a:lnTo>
                      <a:pt x="362" y="377"/>
                    </a:lnTo>
                    <a:lnTo>
                      <a:pt x="362" y="376"/>
                    </a:lnTo>
                    <a:lnTo>
                      <a:pt x="364" y="370"/>
                    </a:lnTo>
                    <a:lnTo>
                      <a:pt x="363" y="370"/>
                    </a:lnTo>
                    <a:lnTo>
                      <a:pt x="363" y="367"/>
                    </a:lnTo>
                    <a:lnTo>
                      <a:pt x="360" y="367"/>
                    </a:lnTo>
                    <a:lnTo>
                      <a:pt x="362" y="364"/>
                    </a:lnTo>
                    <a:lnTo>
                      <a:pt x="362" y="362"/>
                    </a:lnTo>
                    <a:lnTo>
                      <a:pt x="361" y="361"/>
                    </a:lnTo>
                    <a:lnTo>
                      <a:pt x="361" y="363"/>
                    </a:lnTo>
                    <a:lnTo>
                      <a:pt x="358" y="365"/>
                    </a:lnTo>
                    <a:lnTo>
                      <a:pt x="356" y="364"/>
                    </a:lnTo>
                    <a:lnTo>
                      <a:pt x="355" y="366"/>
                    </a:lnTo>
                    <a:lnTo>
                      <a:pt x="354" y="366"/>
                    </a:lnTo>
                    <a:lnTo>
                      <a:pt x="356" y="364"/>
                    </a:lnTo>
                    <a:lnTo>
                      <a:pt x="356" y="362"/>
                    </a:lnTo>
                    <a:lnTo>
                      <a:pt x="357" y="363"/>
                    </a:lnTo>
                    <a:lnTo>
                      <a:pt x="358" y="361"/>
                    </a:lnTo>
                    <a:lnTo>
                      <a:pt x="356" y="358"/>
                    </a:lnTo>
                    <a:lnTo>
                      <a:pt x="356" y="357"/>
                    </a:lnTo>
                    <a:lnTo>
                      <a:pt x="356" y="354"/>
                    </a:lnTo>
                    <a:lnTo>
                      <a:pt x="354" y="355"/>
                    </a:lnTo>
                    <a:lnTo>
                      <a:pt x="355" y="353"/>
                    </a:lnTo>
                    <a:lnTo>
                      <a:pt x="353" y="353"/>
                    </a:lnTo>
                    <a:lnTo>
                      <a:pt x="354" y="351"/>
                    </a:lnTo>
                    <a:lnTo>
                      <a:pt x="356" y="347"/>
                    </a:lnTo>
                    <a:lnTo>
                      <a:pt x="359" y="347"/>
                    </a:lnTo>
                    <a:lnTo>
                      <a:pt x="362" y="349"/>
                    </a:lnTo>
                    <a:lnTo>
                      <a:pt x="364" y="347"/>
                    </a:lnTo>
                    <a:lnTo>
                      <a:pt x="364" y="346"/>
                    </a:lnTo>
                    <a:lnTo>
                      <a:pt x="366" y="348"/>
                    </a:lnTo>
                    <a:lnTo>
                      <a:pt x="368" y="345"/>
                    </a:lnTo>
                    <a:lnTo>
                      <a:pt x="366" y="344"/>
                    </a:lnTo>
                    <a:lnTo>
                      <a:pt x="366" y="340"/>
                    </a:lnTo>
                    <a:lnTo>
                      <a:pt x="367" y="338"/>
                    </a:lnTo>
                    <a:lnTo>
                      <a:pt x="367" y="339"/>
                    </a:lnTo>
                    <a:lnTo>
                      <a:pt x="368" y="337"/>
                    </a:lnTo>
                    <a:lnTo>
                      <a:pt x="366" y="334"/>
                    </a:lnTo>
                    <a:lnTo>
                      <a:pt x="365" y="332"/>
                    </a:lnTo>
                    <a:lnTo>
                      <a:pt x="363" y="332"/>
                    </a:lnTo>
                    <a:lnTo>
                      <a:pt x="361" y="331"/>
                    </a:lnTo>
                    <a:lnTo>
                      <a:pt x="359" y="331"/>
                    </a:lnTo>
                    <a:lnTo>
                      <a:pt x="358" y="330"/>
                    </a:lnTo>
                    <a:lnTo>
                      <a:pt x="359" y="326"/>
                    </a:lnTo>
                    <a:lnTo>
                      <a:pt x="359" y="324"/>
                    </a:lnTo>
                    <a:lnTo>
                      <a:pt x="360" y="322"/>
                    </a:lnTo>
                    <a:lnTo>
                      <a:pt x="362" y="317"/>
                    </a:lnTo>
                    <a:lnTo>
                      <a:pt x="364" y="315"/>
                    </a:lnTo>
                    <a:lnTo>
                      <a:pt x="364" y="313"/>
                    </a:lnTo>
                    <a:lnTo>
                      <a:pt x="366" y="311"/>
                    </a:lnTo>
                    <a:lnTo>
                      <a:pt x="369" y="311"/>
                    </a:lnTo>
                    <a:lnTo>
                      <a:pt x="369" y="313"/>
                    </a:lnTo>
                    <a:lnTo>
                      <a:pt x="370" y="313"/>
                    </a:lnTo>
                    <a:lnTo>
                      <a:pt x="371" y="312"/>
                    </a:lnTo>
                    <a:lnTo>
                      <a:pt x="373" y="311"/>
                    </a:lnTo>
                    <a:lnTo>
                      <a:pt x="374" y="311"/>
                    </a:lnTo>
                    <a:lnTo>
                      <a:pt x="375" y="311"/>
                    </a:lnTo>
                    <a:lnTo>
                      <a:pt x="375" y="307"/>
                    </a:lnTo>
                    <a:lnTo>
                      <a:pt x="372" y="306"/>
                    </a:lnTo>
                    <a:lnTo>
                      <a:pt x="373" y="303"/>
                    </a:lnTo>
                    <a:lnTo>
                      <a:pt x="372" y="303"/>
                    </a:lnTo>
                    <a:lnTo>
                      <a:pt x="372" y="302"/>
                    </a:lnTo>
                    <a:lnTo>
                      <a:pt x="368" y="302"/>
                    </a:lnTo>
                    <a:lnTo>
                      <a:pt x="367" y="300"/>
                    </a:lnTo>
                    <a:lnTo>
                      <a:pt x="367" y="297"/>
                    </a:lnTo>
                    <a:lnTo>
                      <a:pt x="369" y="294"/>
                    </a:lnTo>
                    <a:lnTo>
                      <a:pt x="369" y="293"/>
                    </a:lnTo>
                    <a:lnTo>
                      <a:pt x="370" y="294"/>
                    </a:lnTo>
                    <a:lnTo>
                      <a:pt x="373" y="293"/>
                    </a:lnTo>
                    <a:lnTo>
                      <a:pt x="373" y="292"/>
                    </a:lnTo>
                    <a:lnTo>
                      <a:pt x="375" y="293"/>
                    </a:lnTo>
                    <a:lnTo>
                      <a:pt x="375" y="292"/>
                    </a:lnTo>
                    <a:lnTo>
                      <a:pt x="374" y="290"/>
                    </a:lnTo>
                    <a:lnTo>
                      <a:pt x="375" y="289"/>
                    </a:lnTo>
                    <a:lnTo>
                      <a:pt x="377" y="289"/>
                    </a:lnTo>
                    <a:lnTo>
                      <a:pt x="378" y="288"/>
                    </a:lnTo>
                    <a:lnTo>
                      <a:pt x="378" y="286"/>
                    </a:lnTo>
                    <a:lnTo>
                      <a:pt x="379" y="285"/>
                    </a:lnTo>
                    <a:lnTo>
                      <a:pt x="378" y="283"/>
                    </a:lnTo>
                    <a:lnTo>
                      <a:pt x="378" y="282"/>
                    </a:lnTo>
                    <a:lnTo>
                      <a:pt x="378" y="281"/>
                    </a:lnTo>
                    <a:lnTo>
                      <a:pt x="378" y="279"/>
                    </a:lnTo>
                    <a:lnTo>
                      <a:pt x="379" y="279"/>
                    </a:lnTo>
                    <a:lnTo>
                      <a:pt x="382" y="279"/>
                    </a:lnTo>
                    <a:lnTo>
                      <a:pt x="384" y="278"/>
                    </a:lnTo>
                    <a:lnTo>
                      <a:pt x="386" y="279"/>
                    </a:lnTo>
                    <a:lnTo>
                      <a:pt x="390" y="276"/>
                    </a:lnTo>
                    <a:lnTo>
                      <a:pt x="392" y="274"/>
                    </a:lnTo>
                    <a:lnTo>
                      <a:pt x="392" y="272"/>
                    </a:lnTo>
                    <a:lnTo>
                      <a:pt x="395" y="272"/>
                    </a:lnTo>
                    <a:lnTo>
                      <a:pt x="395" y="274"/>
                    </a:lnTo>
                    <a:lnTo>
                      <a:pt x="396" y="275"/>
                    </a:lnTo>
                    <a:lnTo>
                      <a:pt x="396" y="274"/>
                    </a:lnTo>
                    <a:lnTo>
                      <a:pt x="398" y="272"/>
                    </a:lnTo>
                    <a:lnTo>
                      <a:pt x="400" y="272"/>
                    </a:lnTo>
                    <a:lnTo>
                      <a:pt x="403" y="270"/>
                    </a:lnTo>
                    <a:lnTo>
                      <a:pt x="403" y="268"/>
                    </a:lnTo>
                    <a:lnTo>
                      <a:pt x="406" y="268"/>
                    </a:lnTo>
                    <a:lnTo>
                      <a:pt x="406" y="266"/>
                    </a:lnTo>
                    <a:lnTo>
                      <a:pt x="405" y="266"/>
                    </a:lnTo>
                    <a:lnTo>
                      <a:pt x="406" y="266"/>
                    </a:lnTo>
                    <a:lnTo>
                      <a:pt x="405" y="264"/>
                    </a:lnTo>
                    <a:lnTo>
                      <a:pt x="403" y="260"/>
                    </a:lnTo>
                    <a:lnTo>
                      <a:pt x="406" y="258"/>
                    </a:lnTo>
                    <a:lnTo>
                      <a:pt x="405" y="258"/>
                    </a:lnTo>
                    <a:lnTo>
                      <a:pt x="404" y="253"/>
                    </a:lnTo>
                    <a:lnTo>
                      <a:pt x="405" y="253"/>
                    </a:lnTo>
                    <a:lnTo>
                      <a:pt x="405" y="251"/>
                    </a:lnTo>
                    <a:lnTo>
                      <a:pt x="406" y="248"/>
                    </a:lnTo>
                    <a:lnTo>
                      <a:pt x="406" y="246"/>
                    </a:lnTo>
                    <a:lnTo>
                      <a:pt x="407" y="244"/>
                    </a:lnTo>
                    <a:lnTo>
                      <a:pt x="408" y="243"/>
                    </a:lnTo>
                    <a:lnTo>
                      <a:pt x="408" y="240"/>
                    </a:lnTo>
                    <a:lnTo>
                      <a:pt x="406" y="242"/>
                    </a:lnTo>
                    <a:lnTo>
                      <a:pt x="405" y="241"/>
                    </a:lnTo>
                    <a:lnTo>
                      <a:pt x="404" y="239"/>
                    </a:lnTo>
                    <a:lnTo>
                      <a:pt x="406" y="238"/>
                    </a:lnTo>
                    <a:lnTo>
                      <a:pt x="405" y="236"/>
                    </a:lnTo>
                    <a:lnTo>
                      <a:pt x="405" y="235"/>
                    </a:lnTo>
                    <a:lnTo>
                      <a:pt x="406" y="234"/>
                    </a:lnTo>
                    <a:lnTo>
                      <a:pt x="404" y="229"/>
                    </a:lnTo>
                    <a:lnTo>
                      <a:pt x="405" y="226"/>
                    </a:lnTo>
                    <a:lnTo>
                      <a:pt x="406" y="225"/>
                    </a:lnTo>
                    <a:lnTo>
                      <a:pt x="408" y="223"/>
                    </a:lnTo>
                    <a:lnTo>
                      <a:pt x="410" y="221"/>
                    </a:lnTo>
                    <a:lnTo>
                      <a:pt x="408" y="217"/>
                    </a:lnTo>
                    <a:lnTo>
                      <a:pt x="412" y="215"/>
                    </a:lnTo>
                    <a:lnTo>
                      <a:pt x="413" y="213"/>
                    </a:lnTo>
                    <a:lnTo>
                      <a:pt x="410" y="212"/>
                    </a:lnTo>
                    <a:lnTo>
                      <a:pt x="410" y="211"/>
                    </a:lnTo>
                    <a:lnTo>
                      <a:pt x="410" y="209"/>
                    </a:lnTo>
                    <a:lnTo>
                      <a:pt x="411" y="208"/>
                    </a:lnTo>
                    <a:lnTo>
                      <a:pt x="410" y="208"/>
                    </a:lnTo>
                    <a:lnTo>
                      <a:pt x="409" y="209"/>
                    </a:lnTo>
                    <a:lnTo>
                      <a:pt x="408" y="208"/>
                    </a:lnTo>
                    <a:lnTo>
                      <a:pt x="406" y="206"/>
                    </a:lnTo>
                    <a:lnTo>
                      <a:pt x="405" y="204"/>
                    </a:lnTo>
                    <a:lnTo>
                      <a:pt x="406" y="203"/>
                    </a:lnTo>
                    <a:lnTo>
                      <a:pt x="406" y="202"/>
                    </a:lnTo>
                    <a:lnTo>
                      <a:pt x="404" y="200"/>
                    </a:lnTo>
                    <a:lnTo>
                      <a:pt x="405" y="200"/>
                    </a:lnTo>
                    <a:lnTo>
                      <a:pt x="407" y="200"/>
                    </a:lnTo>
                    <a:lnTo>
                      <a:pt x="408" y="201"/>
                    </a:lnTo>
                    <a:lnTo>
                      <a:pt x="409" y="205"/>
                    </a:lnTo>
                    <a:lnTo>
                      <a:pt x="412" y="204"/>
                    </a:lnTo>
                    <a:lnTo>
                      <a:pt x="413" y="203"/>
                    </a:lnTo>
                    <a:lnTo>
                      <a:pt x="413" y="202"/>
                    </a:lnTo>
                    <a:lnTo>
                      <a:pt x="416" y="200"/>
                    </a:lnTo>
                    <a:lnTo>
                      <a:pt x="418" y="197"/>
                    </a:lnTo>
                    <a:lnTo>
                      <a:pt x="419" y="197"/>
                    </a:lnTo>
                    <a:lnTo>
                      <a:pt x="422" y="191"/>
                    </a:lnTo>
                    <a:lnTo>
                      <a:pt x="422" y="187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83" name="Group 116">
              <a:extLst>
                <a:ext uri="{FF2B5EF4-FFF2-40B4-BE49-F238E27FC236}">
                  <a16:creationId xmlns:a16="http://schemas.microsoft.com/office/drawing/2014/main" id="{2881A53D-721F-4DCB-B5DF-3703FEA001F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49" y="3515"/>
              <a:ext cx="370" cy="313"/>
              <a:chOff x="1749" y="3515"/>
              <a:chExt cx="370" cy="313"/>
            </a:xfrm>
          </p:grpSpPr>
          <p:sp>
            <p:nvSpPr>
              <p:cNvPr id="493" name="Freeform 114">
                <a:extLst>
                  <a:ext uri="{FF2B5EF4-FFF2-40B4-BE49-F238E27FC236}">
                    <a16:creationId xmlns:a16="http://schemas.microsoft.com/office/drawing/2014/main" id="{3B1D1818-3DC0-4C9F-9269-289A7EF11A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9" y="3515"/>
                <a:ext cx="370" cy="313"/>
              </a:xfrm>
              <a:custGeom>
                <a:avLst/>
                <a:gdLst>
                  <a:gd name="T0" fmla="*/ 360 w 370"/>
                  <a:gd name="T1" fmla="*/ 67 h 313"/>
                  <a:gd name="T2" fmla="*/ 345 w 370"/>
                  <a:gd name="T3" fmla="*/ 47 h 313"/>
                  <a:gd name="T4" fmla="*/ 321 w 370"/>
                  <a:gd name="T5" fmla="*/ 29 h 313"/>
                  <a:gd name="T6" fmla="*/ 291 w 370"/>
                  <a:gd name="T7" fmla="*/ 15 h 313"/>
                  <a:gd name="T8" fmla="*/ 261 w 370"/>
                  <a:gd name="T9" fmla="*/ 18 h 313"/>
                  <a:gd name="T10" fmla="*/ 248 w 370"/>
                  <a:gd name="T11" fmla="*/ 0 h 313"/>
                  <a:gd name="T12" fmla="*/ 224 w 370"/>
                  <a:gd name="T13" fmla="*/ 10 h 313"/>
                  <a:gd name="T14" fmla="*/ 217 w 370"/>
                  <a:gd name="T15" fmla="*/ 11 h 313"/>
                  <a:gd name="T16" fmla="*/ 202 w 370"/>
                  <a:gd name="T17" fmla="*/ 21 h 313"/>
                  <a:gd name="T18" fmla="*/ 198 w 370"/>
                  <a:gd name="T19" fmla="*/ 39 h 313"/>
                  <a:gd name="T20" fmla="*/ 187 w 370"/>
                  <a:gd name="T21" fmla="*/ 43 h 313"/>
                  <a:gd name="T22" fmla="*/ 178 w 370"/>
                  <a:gd name="T23" fmla="*/ 34 h 313"/>
                  <a:gd name="T24" fmla="*/ 168 w 370"/>
                  <a:gd name="T25" fmla="*/ 38 h 313"/>
                  <a:gd name="T26" fmla="*/ 156 w 370"/>
                  <a:gd name="T27" fmla="*/ 36 h 313"/>
                  <a:gd name="T28" fmla="*/ 157 w 370"/>
                  <a:gd name="T29" fmla="*/ 53 h 313"/>
                  <a:gd name="T30" fmla="*/ 147 w 370"/>
                  <a:gd name="T31" fmla="*/ 56 h 313"/>
                  <a:gd name="T32" fmla="*/ 132 w 370"/>
                  <a:gd name="T33" fmla="*/ 51 h 313"/>
                  <a:gd name="T34" fmla="*/ 124 w 370"/>
                  <a:gd name="T35" fmla="*/ 54 h 313"/>
                  <a:gd name="T36" fmla="*/ 110 w 370"/>
                  <a:gd name="T37" fmla="*/ 73 h 313"/>
                  <a:gd name="T38" fmla="*/ 100 w 370"/>
                  <a:gd name="T39" fmla="*/ 62 h 313"/>
                  <a:gd name="T40" fmla="*/ 85 w 370"/>
                  <a:gd name="T41" fmla="*/ 58 h 313"/>
                  <a:gd name="T42" fmla="*/ 83 w 370"/>
                  <a:gd name="T43" fmla="*/ 45 h 313"/>
                  <a:gd name="T44" fmla="*/ 74 w 370"/>
                  <a:gd name="T45" fmla="*/ 53 h 313"/>
                  <a:gd name="T46" fmla="*/ 77 w 370"/>
                  <a:gd name="T47" fmla="*/ 73 h 313"/>
                  <a:gd name="T48" fmla="*/ 66 w 370"/>
                  <a:gd name="T49" fmla="*/ 79 h 313"/>
                  <a:gd name="T50" fmla="*/ 59 w 370"/>
                  <a:gd name="T51" fmla="*/ 93 h 313"/>
                  <a:gd name="T52" fmla="*/ 45 w 370"/>
                  <a:gd name="T53" fmla="*/ 95 h 313"/>
                  <a:gd name="T54" fmla="*/ 30 w 370"/>
                  <a:gd name="T55" fmla="*/ 93 h 313"/>
                  <a:gd name="T56" fmla="*/ 25 w 370"/>
                  <a:gd name="T57" fmla="*/ 104 h 313"/>
                  <a:gd name="T58" fmla="*/ 15 w 370"/>
                  <a:gd name="T59" fmla="*/ 111 h 313"/>
                  <a:gd name="T60" fmla="*/ 16 w 370"/>
                  <a:gd name="T61" fmla="*/ 138 h 313"/>
                  <a:gd name="T62" fmla="*/ 16 w 370"/>
                  <a:gd name="T63" fmla="*/ 148 h 313"/>
                  <a:gd name="T64" fmla="*/ 27 w 370"/>
                  <a:gd name="T65" fmla="*/ 154 h 313"/>
                  <a:gd name="T66" fmla="*/ 18 w 370"/>
                  <a:gd name="T67" fmla="*/ 168 h 313"/>
                  <a:gd name="T68" fmla="*/ 6 w 370"/>
                  <a:gd name="T69" fmla="*/ 181 h 313"/>
                  <a:gd name="T70" fmla="*/ 11 w 370"/>
                  <a:gd name="T71" fmla="*/ 192 h 313"/>
                  <a:gd name="T72" fmla="*/ 31 w 370"/>
                  <a:gd name="T73" fmla="*/ 197 h 313"/>
                  <a:gd name="T74" fmla="*/ 28 w 370"/>
                  <a:gd name="T75" fmla="*/ 216 h 313"/>
                  <a:gd name="T76" fmla="*/ 42 w 370"/>
                  <a:gd name="T77" fmla="*/ 227 h 313"/>
                  <a:gd name="T78" fmla="*/ 55 w 370"/>
                  <a:gd name="T79" fmla="*/ 229 h 313"/>
                  <a:gd name="T80" fmla="*/ 64 w 370"/>
                  <a:gd name="T81" fmla="*/ 240 h 313"/>
                  <a:gd name="T82" fmla="*/ 68 w 370"/>
                  <a:gd name="T83" fmla="*/ 247 h 313"/>
                  <a:gd name="T84" fmla="*/ 89 w 370"/>
                  <a:gd name="T85" fmla="*/ 259 h 313"/>
                  <a:gd name="T86" fmla="*/ 104 w 370"/>
                  <a:gd name="T87" fmla="*/ 262 h 313"/>
                  <a:gd name="T88" fmla="*/ 124 w 370"/>
                  <a:gd name="T89" fmla="*/ 285 h 313"/>
                  <a:gd name="T90" fmla="*/ 136 w 370"/>
                  <a:gd name="T91" fmla="*/ 305 h 313"/>
                  <a:gd name="T92" fmla="*/ 159 w 370"/>
                  <a:gd name="T93" fmla="*/ 306 h 313"/>
                  <a:gd name="T94" fmla="*/ 178 w 370"/>
                  <a:gd name="T95" fmla="*/ 283 h 313"/>
                  <a:gd name="T96" fmla="*/ 212 w 370"/>
                  <a:gd name="T97" fmla="*/ 271 h 313"/>
                  <a:gd name="T98" fmla="*/ 221 w 370"/>
                  <a:gd name="T99" fmla="*/ 244 h 313"/>
                  <a:gd name="T100" fmla="*/ 250 w 370"/>
                  <a:gd name="T101" fmla="*/ 245 h 313"/>
                  <a:gd name="T102" fmla="*/ 274 w 370"/>
                  <a:gd name="T103" fmla="*/ 219 h 313"/>
                  <a:gd name="T104" fmla="*/ 278 w 370"/>
                  <a:gd name="T105" fmla="*/ 191 h 313"/>
                  <a:gd name="T106" fmla="*/ 290 w 370"/>
                  <a:gd name="T107" fmla="*/ 157 h 313"/>
                  <a:gd name="T108" fmla="*/ 303 w 370"/>
                  <a:gd name="T109" fmla="*/ 128 h 313"/>
                  <a:gd name="T110" fmla="*/ 320 w 370"/>
                  <a:gd name="T111" fmla="*/ 123 h 313"/>
                  <a:gd name="T112" fmla="*/ 345 w 370"/>
                  <a:gd name="T113" fmla="*/ 114 h 31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70"/>
                  <a:gd name="T172" fmla="*/ 0 h 313"/>
                  <a:gd name="T173" fmla="*/ 370 w 370"/>
                  <a:gd name="T174" fmla="*/ 313 h 31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70" h="313">
                    <a:moveTo>
                      <a:pt x="370" y="93"/>
                    </a:moveTo>
                    <a:lnTo>
                      <a:pt x="368" y="84"/>
                    </a:lnTo>
                    <a:lnTo>
                      <a:pt x="368" y="82"/>
                    </a:lnTo>
                    <a:lnTo>
                      <a:pt x="368" y="80"/>
                    </a:lnTo>
                    <a:lnTo>
                      <a:pt x="366" y="78"/>
                    </a:lnTo>
                    <a:lnTo>
                      <a:pt x="364" y="78"/>
                    </a:lnTo>
                    <a:lnTo>
                      <a:pt x="362" y="76"/>
                    </a:lnTo>
                    <a:lnTo>
                      <a:pt x="360" y="75"/>
                    </a:lnTo>
                    <a:lnTo>
                      <a:pt x="357" y="75"/>
                    </a:lnTo>
                    <a:lnTo>
                      <a:pt x="360" y="67"/>
                    </a:lnTo>
                    <a:lnTo>
                      <a:pt x="358" y="61"/>
                    </a:lnTo>
                    <a:lnTo>
                      <a:pt x="357" y="61"/>
                    </a:lnTo>
                    <a:lnTo>
                      <a:pt x="356" y="60"/>
                    </a:lnTo>
                    <a:lnTo>
                      <a:pt x="357" y="60"/>
                    </a:lnTo>
                    <a:lnTo>
                      <a:pt x="356" y="59"/>
                    </a:lnTo>
                    <a:lnTo>
                      <a:pt x="354" y="55"/>
                    </a:lnTo>
                    <a:lnTo>
                      <a:pt x="352" y="55"/>
                    </a:lnTo>
                    <a:lnTo>
                      <a:pt x="349" y="52"/>
                    </a:lnTo>
                    <a:lnTo>
                      <a:pt x="347" y="51"/>
                    </a:lnTo>
                    <a:lnTo>
                      <a:pt x="345" y="47"/>
                    </a:lnTo>
                    <a:lnTo>
                      <a:pt x="343" y="44"/>
                    </a:lnTo>
                    <a:lnTo>
                      <a:pt x="343" y="35"/>
                    </a:lnTo>
                    <a:lnTo>
                      <a:pt x="342" y="33"/>
                    </a:lnTo>
                    <a:lnTo>
                      <a:pt x="340" y="32"/>
                    </a:lnTo>
                    <a:lnTo>
                      <a:pt x="335" y="31"/>
                    </a:lnTo>
                    <a:lnTo>
                      <a:pt x="334" y="31"/>
                    </a:lnTo>
                    <a:lnTo>
                      <a:pt x="331" y="34"/>
                    </a:lnTo>
                    <a:lnTo>
                      <a:pt x="329" y="35"/>
                    </a:lnTo>
                    <a:lnTo>
                      <a:pt x="322" y="32"/>
                    </a:lnTo>
                    <a:lnTo>
                      <a:pt x="321" y="29"/>
                    </a:lnTo>
                    <a:lnTo>
                      <a:pt x="319" y="29"/>
                    </a:lnTo>
                    <a:lnTo>
                      <a:pt x="315" y="31"/>
                    </a:lnTo>
                    <a:lnTo>
                      <a:pt x="312" y="29"/>
                    </a:lnTo>
                    <a:lnTo>
                      <a:pt x="309" y="23"/>
                    </a:lnTo>
                    <a:lnTo>
                      <a:pt x="307" y="18"/>
                    </a:lnTo>
                    <a:lnTo>
                      <a:pt x="306" y="17"/>
                    </a:lnTo>
                    <a:lnTo>
                      <a:pt x="304" y="18"/>
                    </a:lnTo>
                    <a:lnTo>
                      <a:pt x="298" y="19"/>
                    </a:lnTo>
                    <a:lnTo>
                      <a:pt x="296" y="14"/>
                    </a:lnTo>
                    <a:lnTo>
                      <a:pt x="291" y="15"/>
                    </a:lnTo>
                    <a:lnTo>
                      <a:pt x="289" y="14"/>
                    </a:lnTo>
                    <a:lnTo>
                      <a:pt x="288" y="15"/>
                    </a:lnTo>
                    <a:lnTo>
                      <a:pt x="285" y="14"/>
                    </a:lnTo>
                    <a:lnTo>
                      <a:pt x="283" y="15"/>
                    </a:lnTo>
                    <a:lnTo>
                      <a:pt x="282" y="15"/>
                    </a:lnTo>
                    <a:lnTo>
                      <a:pt x="279" y="14"/>
                    </a:lnTo>
                    <a:lnTo>
                      <a:pt x="276" y="15"/>
                    </a:lnTo>
                    <a:lnTo>
                      <a:pt x="270" y="16"/>
                    </a:lnTo>
                    <a:lnTo>
                      <a:pt x="264" y="18"/>
                    </a:lnTo>
                    <a:lnTo>
                      <a:pt x="261" y="18"/>
                    </a:lnTo>
                    <a:lnTo>
                      <a:pt x="261" y="19"/>
                    </a:lnTo>
                    <a:lnTo>
                      <a:pt x="258" y="17"/>
                    </a:lnTo>
                    <a:lnTo>
                      <a:pt x="259" y="14"/>
                    </a:lnTo>
                    <a:lnTo>
                      <a:pt x="259" y="9"/>
                    </a:lnTo>
                    <a:lnTo>
                      <a:pt x="257" y="6"/>
                    </a:lnTo>
                    <a:lnTo>
                      <a:pt x="255" y="2"/>
                    </a:lnTo>
                    <a:lnTo>
                      <a:pt x="253" y="2"/>
                    </a:lnTo>
                    <a:lnTo>
                      <a:pt x="253" y="3"/>
                    </a:lnTo>
                    <a:lnTo>
                      <a:pt x="250" y="0"/>
                    </a:lnTo>
                    <a:lnTo>
                      <a:pt x="248" y="0"/>
                    </a:lnTo>
                    <a:lnTo>
                      <a:pt x="239" y="0"/>
                    </a:lnTo>
                    <a:lnTo>
                      <a:pt x="237" y="6"/>
                    </a:lnTo>
                    <a:lnTo>
                      <a:pt x="233" y="10"/>
                    </a:lnTo>
                    <a:lnTo>
                      <a:pt x="233" y="11"/>
                    </a:lnTo>
                    <a:lnTo>
                      <a:pt x="233" y="13"/>
                    </a:lnTo>
                    <a:lnTo>
                      <a:pt x="230" y="13"/>
                    </a:lnTo>
                    <a:lnTo>
                      <a:pt x="228" y="10"/>
                    </a:lnTo>
                    <a:lnTo>
                      <a:pt x="226" y="11"/>
                    </a:lnTo>
                    <a:lnTo>
                      <a:pt x="225" y="10"/>
                    </a:lnTo>
                    <a:lnTo>
                      <a:pt x="224" y="10"/>
                    </a:lnTo>
                    <a:lnTo>
                      <a:pt x="224" y="8"/>
                    </a:lnTo>
                    <a:lnTo>
                      <a:pt x="220" y="8"/>
                    </a:lnTo>
                    <a:lnTo>
                      <a:pt x="220" y="6"/>
                    </a:lnTo>
                    <a:lnTo>
                      <a:pt x="219" y="5"/>
                    </a:lnTo>
                    <a:lnTo>
                      <a:pt x="217" y="5"/>
                    </a:lnTo>
                    <a:lnTo>
                      <a:pt x="218" y="6"/>
                    </a:lnTo>
                    <a:lnTo>
                      <a:pt x="218" y="8"/>
                    </a:lnTo>
                    <a:lnTo>
                      <a:pt x="217" y="10"/>
                    </a:lnTo>
                    <a:lnTo>
                      <a:pt x="217" y="11"/>
                    </a:lnTo>
                    <a:lnTo>
                      <a:pt x="217" y="14"/>
                    </a:lnTo>
                    <a:lnTo>
                      <a:pt x="211" y="15"/>
                    </a:lnTo>
                    <a:lnTo>
                      <a:pt x="210" y="14"/>
                    </a:lnTo>
                    <a:lnTo>
                      <a:pt x="209" y="16"/>
                    </a:lnTo>
                    <a:lnTo>
                      <a:pt x="209" y="17"/>
                    </a:lnTo>
                    <a:lnTo>
                      <a:pt x="208" y="19"/>
                    </a:lnTo>
                    <a:lnTo>
                      <a:pt x="204" y="20"/>
                    </a:lnTo>
                    <a:lnTo>
                      <a:pt x="203" y="21"/>
                    </a:lnTo>
                    <a:lnTo>
                      <a:pt x="202" y="20"/>
                    </a:lnTo>
                    <a:lnTo>
                      <a:pt x="202" y="21"/>
                    </a:lnTo>
                    <a:lnTo>
                      <a:pt x="204" y="25"/>
                    </a:lnTo>
                    <a:lnTo>
                      <a:pt x="204" y="28"/>
                    </a:lnTo>
                    <a:lnTo>
                      <a:pt x="203" y="29"/>
                    </a:lnTo>
                    <a:lnTo>
                      <a:pt x="203" y="30"/>
                    </a:lnTo>
                    <a:lnTo>
                      <a:pt x="202" y="31"/>
                    </a:lnTo>
                    <a:lnTo>
                      <a:pt x="201" y="32"/>
                    </a:lnTo>
                    <a:lnTo>
                      <a:pt x="198" y="33"/>
                    </a:lnTo>
                    <a:lnTo>
                      <a:pt x="198" y="34"/>
                    </a:lnTo>
                    <a:lnTo>
                      <a:pt x="199" y="36"/>
                    </a:lnTo>
                    <a:lnTo>
                      <a:pt x="198" y="39"/>
                    </a:lnTo>
                    <a:lnTo>
                      <a:pt x="198" y="40"/>
                    </a:lnTo>
                    <a:lnTo>
                      <a:pt x="198" y="42"/>
                    </a:lnTo>
                    <a:lnTo>
                      <a:pt x="197" y="42"/>
                    </a:lnTo>
                    <a:lnTo>
                      <a:pt x="197" y="43"/>
                    </a:lnTo>
                    <a:lnTo>
                      <a:pt x="196" y="43"/>
                    </a:lnTo>
                    <a:lnTo>
                      <a:pt x="195" y="43"/>
                    </a:lnTo>
                    <a:lnTo>
                      <a:pt x="194" y="43"/>
                    </a:lnTo>
                    <a:lnTo>
                      <a:pt x="194" y="42"/>
                    </a:lnTo>
                    <a:lnTo>
                      <a:pt x="192" y="42"/>
                    </a:lnTo>
                    <a:lnTo>
                      <a:pt x="187" y="43"/>
                    </a:lnTo>
                    <a:lnTo>
                      <a:pt x="186" y="44"/>
                    </a:lnTo>
                    <a:lnTo>
                      <a:pt x="185" y="44"/>
                    </a:lnTo>
                    <a:lnTo>
                      <a:pt x="183" y="41"/>
                    </a:lnTo>
                    <a:lnTo>
                      <a:pt x="181" y="41"/>
                    </a:lnTo>
                    <a:lnTo>
                      <a:pt x="181" y="40"/>
                    </a:lnTo>
                    <a:lnTo>
                      <a:pt x="179" y="39"/>
                    </a:lnTo>
                    <a:lnTo>
                      <a:pt x="179" y="38"/>
                    </a:lnTo>
                    <a:lnTo>
                      <a:pt x="180" y="36"/>
                    </a:lnTo>
                    <a:lnTo>
                      <a:pt x="179" y="36"/>
                    </a:lnTo>
                    <a:lnTo>
                      <a:pt x="178" y="34"/>
                    </a:lnTo>
                    <a:lnTo>
                      <a:pt x="176" y="32"/>
                    </a:lnTo>
                    <a:lnTo>
                      <a:pt x="175" y="29"/>
                    </a:lnTo>
                    <a:lnTo>
                      <a:pt x="173" y="31"/>
                    </a:lnTo>
                    <a:lnTo>
                      <a:pt x="171" y="29"/>
                    </a:lnTo>
                    <a:lnTo>
                      <a:pt x="170" y="29"/>
                    </a:lnTo>
                    <a:lnTo>
                      <a:pt x="170" y="31"/>
                    </a:lnTo>
                    <a:lnTo>
                      <a:pt x="168" y="32"/>
                    </a:lnTo>
                    <a:lnTo>
                      <a:pt x="168" y="34"/>
                    </a:lnTo>
                    <a:lnTo>
                      <a:pt x="168" y="38"/>
                    </a:lnTo>
                    <a:lnTo>
                      <a:pt x="167" y="39"/>
                    </a:lnTo>
                    <a:lnTo>
                      <a:pt x="165" y="39"/>
                    </a:lnTo>
                    <a:lnTo>
                      <a:pt x="163" y="33"/>
                    </a:lnTo>
                    <a:lnTo>
                      <a:pt x="159" y="34"/>
                    </a:lnTo>
                    <a:lnTo>
                      <a:pt x="158" y="34"/>
                    </a:lnTo>
                    <a:lnTo>
                      <a:pt x="157" y="35"/>
                    </a:lnTo>
                    <a:lnTo>
                      <a:pt x="156" y="33"/>
                    </a:lnTo>
                    <a:lnTo>
                      <a:pt x="155" y="34"/>
                    </a:lnTo>
                    <a:lnTo>
                      <a:pt x="156" y="36"/>
                    </a:lnTo>
                    <a:lnTo>
                      <a:pt x="155" y="37"/>
                    </a:lnTo>
                    <a:lnTo>
                      <a:pt x="158" y="40"/>
                    </a:lnTo>
                    <a:lnTo>
                      <a:pt x="158" y="43"/>
                    </a:lnTo>
                    <a:lnTo>
                      <a:pt x="159" y="45"/>
                    </a:lnTo>
                    <a:lnTo>
                      <a:pt x="162" y="47"/>
                    </a:lnTo>
                    <a:lnTo>
                      <a:pt x="160" y="47"/>
                    </a:lnTo>
                    <a:lnTo>
                      <a:pt x="162" y="50"/>
                    </a:lnTo>
                    <a:lnTo>
                      <a:pt x="158" y="53"/>
                    </a:lnTo>
                    <a:lnTo>
                      <a:pt x="157" y="53"/>
                    </a:lnTo>
                    <a:lnTo>
                      <a:pt x="156" y="56"/>
                    </a:lnTo>
                    <a:lnTo>
                      <a:pt x="153" y="57"/>
                    </a:lnTo>
                    <a:lnTo>
                      <a:pt x="151" y="57"/>
                    </a:lnTo>
                    <a:lnTo>
                      <a:pt x="150" y="57"/>
                    </a:lnTo>
                    <a:lnTo>
                      <a:pt x="150" y="56"/>
                    </a:lnTo>
                    <a:lnTo>
                      <a:pt x="150" y="57"/>
                    </a:lnTo>
                    <a:lnTo>
                      <a:pt x="148" y="57"/>
                    </a:lnTo>
                    <a:lnTo>
                      <a:pt x="147" y="57"/>
                    </a:lnTo>
                    <a:lnTo>
                      <a:pt x="147" y="56"/>
                    </a:lnTo>
                    <a:lnTo>
                      <a:pt x="145" y="57"/>
                    </a:lnTo>
                    <a:lnTo>
                      <a:pt x="145" y="56"/>
                    </a:lnTo>
                    <a:lnTo>
                      <a:pt x="145" y="54"/>
                    </a:lnTo>
                    <a:lnTo>
                      <a:pt x="143" y="52"/>
                    </a:lnTo>
                    <a:lnTo>
                      <a:pt x="142" y="51"/>
                    </a:lnTo>
                    <a:lnTo>
                      <a:pt x="141" y="52"/>
                    </a:lnTo>
                    <a:lnTo>
                      <a:pt x="139" y="52"/>
                    </a:lnTo>
                    <a:lnTo>
                      <a:pt x="139" y="51"/>
                    </a:lnTo>
                    <a:lnTo>
                      <a:pt x="133" y="53"/>
                    </a:lnTo>
                    <a:lnTo>
                      <a:pt x="132" y="51"/>
                    </a:lnTo>
                    <a:lnTo>
                      <a:pt x="130" y="53"/>
                    </a:lnTo>
                    <a:lnTo>
                      <a:pt x="129" y="53"/>
                    </a:lnTo>
                    <a:lnTo>
                      <a:pt x="127" y="56"/>
                    </a:lnTo>
                    <a:lnTo>
                      <a:pt x="126" y="55"/>
                    </a:lnTo>
                    <a:lnTo>
                      <a:pt x="126" y="54"/>
                    </a:lnTo>
                    <a:lnTo>
                      <a:pt x="126" y="52"/>
                    </a:lnTo>
                    <a:lnTo>
                      <a:pt x="124" y="53"/>
                    </a:lnTo>
                    <a:lnTo>
                      <a:pt x="121" y="52"/>
                    </a:lnTo>
                    <a:lnTo>
                      <a:pt x="124" y="54"/>
                    </a:lnTo>
                    <a:lnTo>
                      <a:pt x="122" y="56"/>
                    </a:lnTo>
                    <a:lnTo>
                      <a:pt x="123" y="56"/>
                    </a:lnTo>
                    <a:lnTo>
                      <a:pt x="124" y="57"/>
                    </a:lnTo>
                    <a:lnTo>
                      <a:pt x="123" y="62"/>
                    </a:lnTo>
                    <a:lnTo>
                      <a:pt x="122" y="63"/>
                    </a:lnTo>
                    <a:lnTo>
                      <a:pt x="121" y="63"/>
                    </a:lnTo>
                    <a:lnTo>
                      <a:pt x="120" y="63"/>
                    </a:lnTo>
                    <a:lnTo>
                      <a:pt x="117" y="67"/>
                    </a:lnTo>
                    <a:lnTo>
                      <a:pt x="110" y="73"/>
                    </a:lnTo>
                    <a:lnTo>
                      <a:pt x="110" y="68"/>
                    </a:lnTo>
                    <a:lnTo>
                      <a:pt x="109" y="66"/>
                    </a:lnTo>
                    <a:lnTo>
                      <a:pt x="107" y="63"/>
                    </a:lnTo>
                    <a:lnTo>
                      <a:pt x="104" y="62"/>
                    </a:lnTo>
                    <a:lnTo>
                      <a:pt x="105" y="61"/>
                    </a:lnTo>
                    <a:lnTo>
                      <a:pt x="102" y="61"/>
                    </a:lnTo>
                    <a:lnTo>
                      <a:pt x="101" y="60"/>
                    </a:lnTo>
                    <a:lnTo>
                      <a:pt x="101" y="61"/>
                    </a:lnTo>
                    <a:lnTo>
                      <a:pt x="99" y="60"/>
                    </a:lnTo>
                    <a:lnTo>
                      <a:pt x="100" y="62"/>
                    </a:lnTo>
                    <a:lnTo>
                      <a:pt x="99" y="63"/>
                    </a:lnTo>
                    <a:lnTo>
                      <a:pt x="99" y="61"/>
                    </a:lnTo>
                    <a:lnTo>
                      <a:pt x="95" y="61"/>
                    </a:lnTo>
                    <a:lnTo>
                      <a:pt x="96" y="59"/>
                    </a:lnTo>
                    <a:lnTo>
                      <a:pt x="94" y="57"/>
                    </a:lnTo>
                    <a:lnTo>
                      <a:pt x="93" y="57"/>
                    </a:lnTo>
                    <a:lnTo>
                      <a:pt x="89" y="55"/>
                    </a:lnTo>
                    <a:lnTo>
                      <a:pt x="89" y="59"/>
                    </a:lnTo>
                    <a:lnTo>
                      <a:pt x="88" y="58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5" y="54"/>
                    </a:lnTo>
                    <a:lnTo>
                      <a:pt x="86" y="50"/>
                    </a:lnTo>
                    <a:lnTo>
                      <a:pt x="88" y="47"/>
                    </a:lnTo>
                    <a:lnTo>
                      <a:pt x="87" y="47"/>
                    </a:lnTo>
                    <a:lnTo>
                      <a:pt x="85" y="43"/>
                    </a:lnTo>
                    <a:lnTo>
                      <a:pt x="85" y="44"/>
                    </a:lnTo>
                    <a:lnTo>
                      <a:pt x="83" y="44"/>
                    </a:lnTo>
                    <a:lnTo>
                      <a:pt x="83" y="45"/>
                    </a:lnTo>
                    <a:lnTo>
                      <a:pt x="80" y="45"/>
                    </a:lnTo>
                    <a:lnTo>
                      <a:pt x="80" y="48"/>
                    </a:lnTo>
                    <a:lnTo>
                      <a:pt x="78" y="49"/>
                    </a:lnTo>
                    <a:lnTo>
                      <a:pt x="79" y="49"/>
                    </a:lnTo>
                    <a:lnTo>
                      <a:pt x="78" y="50"/>
                    </a:lnTo>
                    <a:lnTo>
                      <a:pt x="77" y="50"/>
                    </a:lnTo>
                    <a:lnTo>
                      <a:pt x="76" y="51"/>
                    </a:lnTo>
                    <a:lnTo>
                      <a:pt x="76" y="53"/>
                    </a:lnTo>
                    <a:lnTo>
                      <a:pt x="74" y="53"/>
                    </a:lnTo>
                    <a:lnTo>
                      <a:pt x="74" y="56"/>
                    </a:lnTo>
                    <a:lnTo>
                      <a:pt x="73" y="56"/>
                    </a:lnTo>
                    <a:lnTo>
                      <a:pt x="73" y="57"/>
                    </a:lnTo>
                    <a:lnTo>
                      <a:pt x="73" y="60"/>
                    </a:lnTo>
                    <a:lnTo>
                      <a:pt x="74" y="63"/>
                    </a:lnTo>
                    <a:lnTo>
                      <a:pt x="75" y="65"/>
                    </a:lnTo>
                    <a:lnTo>
                      <a:pt x="74" y="67"/>
                    </a:lnTo>
                    <a:lnTo>
                      <a:pt x="77" y="68"/>
                    </a:lnTo>
                    <a:lnTo>
                      <a:pt x="77" y="69"/>
                    </a:lnTo>
                    <a:lnTo>
                      <a:pt x="77" y="73"/>
                    </a:lnTo>
                    <a:lnTo>
                      <a:pt x="77" y="76"/>
                    </a:lnTo>
                    <a:lnTo>
                      <a:pt x="75" y="76"/>
                    </a:lnTo>
                    <a:lnTo>
                      <a:pt x="74" y="76"/>
                    </a:lnTo>
                    <a:lnTo>
                      <a:pt x="73" y="76"/>
                    </a:lnTo>
                    <a:lnTo>
                      <a:pt x="71" y="79"/>
                    </a:lnTo>
                    <a:lnTo>
                      <a:pt x="69" y="78"/>
                    </a:lnTo>
                    <a:lnTo>
                      <a:pt x="69" y="80"/>
                    </a:lnTo>
                    <a:lnTo>
                      <a:pt x="67" y="80"/>
                    </a:lnTo>
                    <a:lnTo>
                      <a:pt x="66" y="79"/>
                    </a:lnTo>
                    <a:lnTo>
                      <a:pt x="65" y="86"/>
                    </a:lnTo>
                    <a:lnTo>
                      <a:pt x="64" y="86"/>
                    </a:lnTo>
                    <a:lnTo>
                      <a:pt x="63" y="87"/>
                    </a:lnTo>
                    <a:lnTo>
                      <a:pt x="62" y="87"/>
                    </a:lnTo>
                    <a:lnTo>
                      <a:pt x="63" y="88"/>
                    </a:lnTo>
                    <a:lnTo>
                      <a:pt x="61" y="88"/>
                    </a:lnTo>
                    <a:lnTo>
                      <a:pt x="61" y="90"/>
                    </a:lnTo>
                    <a:lnTo>
                      <a:pt x="59" y="91"/>
                    </a:lnTo>
                    <a:lnTo>
                      <a:pt x="58" y="92"/>
                    </a:lnTo>
                    <a:lnTo>
                      <a:pt x="59" y="93"/>
                    </a:lnTo>
                    <a:lnTo>
                      <a:pt x="58" y="93"/>
                    </a:lnTo>
                    <a:lnTo>
                      <a:pt x="55" y="95"/>
                    </a:lnTo>
                    <a:lnTo>
                      <a:pt x="53" y="95"/>
                    </a:lnTo>
                    <a:lnTo>
                      <a:pt x="53" y="96"/>
                    </a:lnTo>
                    <a:lnTo>
                      <a:pt x="50" y="93"/>
                    </a:lnTo>
                    <a:lnTo>
                      <a:pt x="49" y="93"/>
                    </a:lnTo>
                    <a:lnTo>
                      <a:pt x="49" y="91"/>
                    </a:lnTo>
                    <a:lnTo>
                      <a:pt x="48" y="93"/>
                    </a:lnTo>
                    <a:lnTo>
                      <a:pt x="46" y="94"/>
                    </a:lnTo>
                    <a:lnTo>
                      <a:pt x="45" y="95"/>
                    </a:lnTo>
                    <a:lnTo>
                      <a:pt x="42" y="93"/>
                    </a:lnTo>
                    <a:lnTo>
                      <a:pt x="41" y="93"/>
                    </a:lnTo>
                    <a:lnTo>
                      <a:pt x="39" y="94"/>
                    </a:lnTo>
                    <a:lnTo>
                      <a:pt x="37" y="94"/>
                    </a:lnTo>
                    <a:lnTo>
                      <a:pt x="37" y="96"/>
                    </a:lnTo>
                    <a:lnTo>
                      <a:pt x="36" y="97"/>
                    </a:lnTo>
                    <a:lnTo>
                      <a:pt x="33" y="95"/>
                    </a:lnTo>
                    <a:lnTo>
                      <a:pt x="33" y="92"/>
                    </a:lnTo>
                    <a:lnTo>
                      <a:pt x="32" y="92"/>
                    </a:lnTo>
                    <a:lnTo>
                      <a:pt x="30" y="93"/>
                    </a:lnTo>
                    <a:lnTo>
                      <a:pt x="32" y="95"/>
                    </a:lnTo>
                    <a:lnTo>
                      <a:pt x="30" y="96"/>
                    </a:lnTo>
                    <a:lnTo>
                      <a:pt x="29" y="96"/>
                    </a:lnTo>
                    <a:lnTo>
                      <a:pt x="27" y="97"/>
                    </a:lnTo>
                    <a:lnTo>
                      <a:pt x="27" y="100"/>
                    </a:lnTo>
                    <a:lnTo>
                      <a:pt x="27" y="103"/>
                    </a:lnTo>
                    <a:lnTo>
                      <a:pt x="25" y="105"/>
                    </a:lnTo>
                    <a:lnTo>
                      <a:pt x="25" y="104"/>
                    </a:lnTo>
                    <a:lnTo>
                      <a:pt x="25" y="105"/>
                    </a:lnTo>
                    <a:lnTo>
                      <a:pt x="24" y="104"/>
                    </a:lnTo>
                    <a:lnTo>
                      <a:pt x="23" y="103"/>
                    </a:lnTo>
                    <a:lnTo>
                      <a:pt x="22" y="102"/>
                    </a:lnTo>
                    <a:lnTo>
                      <a:pt x="21" y="101"/>
                    </a:lnTo>
                    <a:lnTo>
                      <a:pt x="19" y="104"/>
                    </a:lnTo>
                    <a:lnTo>
                      <a:pt x="18" y="108"/>
                    </a:lnTo>
                    <a:lnTo>
                      <a:pt x="16" y="109"/>
                    </a:lnTo>
                    <a:lnTo>
                      <a:pt x="15" y="111"/>
                    </a:lnTo>
                    <a:lnTo>
                      <a:pt x="12" y="112"/>
                    </a:lnTo>
                    <a:lnTo>
                      <a:pt x="12" y="115"/>
                    </a:lnTo>
                    <a:lnTo>
                      <a:pt x="14" y="116"/>
                    </a:lnTo>
                    <a:lnTo>
                      <a:pt x="14" y="118"/>
                    </a:lnTo>
                    <a:lnTo>
                      <a:pt x="16" y="120"/>
                    </a:lnTo>
                    <a:lnTo>
                      <a:pt x="16" y="124"/>
                    </a:lnTo>
                    <a:lnTo>
                      <a:pt x="12" y="128"/>
                    </a:lnTo>
                    <a:lnTo>
                      <a:pt x="14" y="131"/>
                    </a:lnTo>
                    <a:lnTo>
                      <a:pt x="16" y="134"/>
                    </a:lnTo>
                    <a:lnTo>
                      <a:pt x="16" y="138"/>
                    </a:lnTo>
                    <a:lnTo>
                      <a:pt x="17" y="139"/>
                    </a:lnTo>
                    <a:lnTo>
                      <a:pt x="18" y="140"/>
                    </a:lnTo>
                    <a:lnTo>
                      <a:pt x="19" y="140"/>
                    </a:lnTo>
                    <a:lnTo>
                      <a:pt x="19" y="142"/>
                    </a:lnTo>
                    <a:lnTo>
                      <a:pt x="17" y="144"/>
                    </a:lnTo>
                    <a:lnTo>
                      <a:pt x="16" y="143"/>
                    </a:lnTo>
                    <a:lnTo>
                      <a:pt x="16" y="146"/>
                    </a:lnTo>
                    <a:lnTo>
                      <a:pt x="14" y="148"/>
                    </a:lnTo>
                    <a:lnTo>
                      <a:pt x="16" y="150"/>
                    </a:lnTo>
                    <a:lnTo>
                      <a:pt x="16" y="148"/>
                    </a:lnTo>
                    <a:lnTo>
                      <a:pt x="20" y="148"/>
                    </a:lnTo>
                    <a:lnTo>
                      <a:pt x="22" y="148"/>
                    </a:lnTo>
                    <a:lnTo>
                      <a:pt x="23" y="150"/>
                    </a:lnTo>
                    <a:lnTo>
                      <a:pt x="25" y="149"/>
                    </a:lnTo>
                    <a:lnTo>
                      <a:pt x="27" y="145"/>
                    </a:lnTo>
                    <a:lnTo>
                      <a:pt x="28" y="145"/>
                    </a:lnTo>
                    <a:lnTo>
                      <a:pt x="29" y="148"/>
                    </a:lnTo>
                    <a:lnTo>
                      <a:pt x="27" y="152"/>
                    </a:lnTo>
                    <a:lnTo>
                      <a:pt x="27" y="154"/>
                    </a:lnTo>
                    <a:lnTo>
                      <a:pt x="27" y="155"/>
                    </a:lnTo>
                    <a:lnTo>
                      <a:pt x="27" y="156"/>
                    </a:lnTo>
                    <a:lnTo>
                      <a:pt x="25" y="157"/>
                    </a:lnTo>
                    <a:lnTo>
                      <a:pt x="23" y="166"/>
                    </a:lnTo>
                    <a:lnTo>
                      <a:pt x="21" y="165"/>
                    </a:lnTo>
                    <a:lnTo>
                      <a:pt x="20" y="166"/>
                    </a:lnTo>
                    <a:lnTo>
                      <a:pt x="19" y="165"/>
                    </a:lnTo>
                    <a:lnTo>
                      <a:pt x="19" y="167"/>
                    </a:lnTo>
                    <a:lnTo>
                      <a:pt x="18" y="168"/>
                    </a:lnTo>
                    <a:lnTo>
                      <a:pt x="17" y="168"/>
                    </a:lnTo>
                    <a:lnTo>
                      <a:pt x="16" y="167"/>
                    </a:lnTo>
                    <a:lnTo>
                      <a:pt x="14" y="167"/>
                    </a:lnTo>
                    <a:lnTo>
                      <a:pt x="12" y="167"/>
                    </a:lnTo>
                    <a:lnTo>
                      <a:pt x="11" y="171"/>
                    </a:lnTo>
                    <a:lnTo>
                      <a:pt x="9" y="177"/>
                    </a:lnTo>
                    <a:lnTo>
                      <a:pt x="9" y="180"/>
                    </a:lnTo>
                    <a:lnTo>
                      <a:pt x="7" y="181"/>
                    </a:lnTo>
                    <a:lnTo>
                      <a:pt x="6" y="181"/>
                    </a:lnTo>
                    <a:lnTo>
                      <a:pt x="1" y="180"/>
                    </a:lnTo>
                    <a:lnTo>
                      <a:pt x="1" y="187"/>
                    </a:lnTo>
                    <a:lnTo>
                      <a:pt x="2" y="186"/>
                    </a:lnTo>
                    <a:lnTo>
                      <a:pt x="3" y="188"/>
                    </a:lnTo>
                    <a:lnTo>
                      <a:pt x="2" y="191"/>
                    </a:lnTo>
                    <a:lnTo>
                      <a:pt x="0" y="192"/>
                    </a:lnTo>
                    <a:lnTo>
                      <a:pt x="6" y="194"/>
                    </a:lnTo>
                    <a:lnTo>
                      <a:pt x="8" y="193"/>
                    </a:lnTo>
                    <a:lnTo>
                      <a:pt x="9" y="195"/>
                    </a:lnTo>
                    <a:lnTo>
                      <a:pt x="11" y="192"/>
                    </a:lnTo>
                    <a:lnTo>
                      <a:pt x="12" y="192"/>
                    </a:lnTo>
                    <a:lnTo>
                      <a:pt x="13" y="191"/>
                    </a:lnTo>
                    <a:lnTo>
                      <a:pt x="14" y="192"/>
                    </a:lnTo>
                    <a:lnTo>
                      <a:pt x="16" y="191"/>
                    </a:lnTo>
                    <a:lnTo>
                      <a:pt x="20" y="191"/>
                    </a:lnTo>
                    <a:lnTo>
                      <a:pt x="25" y="188"/>
                    </a:lnTo>
                    <a:lnTo>
                      <a:pt x="28" y="189"/>
                    </a:lnTo>
                    <a:lnTo>
                      <a:pt x="29" y="189"/>
                    </a:lnTo>
                    <a:lnTo>
                      <a:pt x="29" y="196"/>
                    </a:lnTo>
                    <a:lnTo>
                      <a:pt x="31" y="197"/>
                    </a:lnTo>
                    <a:lnTo>
                      <a:pt x="32" y="198"/>
                    </a:lnTo>
                    <a:lnTo>
                      <a:pt x="32" y="200"/>
                    </a:lnTo>
                    <a:lnTo>
                      <a:pt x="32" y="202"/>
                    </a:lnTo>
                    <a:lnTo>
                      <a:pt x="32" y="206"/>
                    </a:lnTo>
                    <a:lnTo>
                      <a:pt x="31" y="208"/>
                    </a:lnTo>
                    <a:lnTo>
                      <a:pt x="29" y="210"/>
                    </a:lnTo>
                    <a:lnTo>
                      <a:pt x="29" y="211"/>
                    </a:lnTo>
                    <a:lnTo>
                      <a:pt x="28" y="214"/>
                    </a:lnTo>
                    <a:lnTo>
                      <a:pt x="27" y="215"/>
                    </a:lnTo>
                    <a:lnTo>
                      <a:pt x="28" y="216"/>
                    </a:lnTo>
                    <a:lnTo>
                      <a:pt x="29" y="215"/>
                    </a:lnTo>
                    <a:lnTo>
                      <a:pt x="30" y="213"/>
                    </a:lnTo>
                    <a:lnTo>
                      <a:pt x="37" y="214"/>
                    </a:lnTo>
                    <a:lnTo>
                      <a:pt x="37" y="218"/>
                    </a:lnTo>
                    <a:lnTo>
                      <a:pt x="39" y="217"/>
                    </a:lnTo>
                    <a:lnTo>
                      <a:pt x="41" y="218"/>
                    </a:lnTo>
                    <a:lnTo>
                      <a:pt x="42" y="220"/>
                    </a:lnTo>
                    <a:lnTo>
                      <a:pt x="43" y="221"/>
                    </a:lnTo>
                    <a:lnTo>
                      <a:pt x="42" y="227"/>
                    </a:lnTo>
                    <a:lnTo>
                      <a:pt x="44" y="227"/>
                    </a:lnTo>
                    <a:lnTo>
                      <a:pt x="45" y="225"/>
                    </a:lnTo>
                    <a:lnTo>
                      <a:pt x="47" y="227"/>
                    </a:lnTo>
                    <a:lnTo>
                      <a:pt x="47" y="226"/>
                    </a:lnTo>
                    <a:lnTo>
                      <a:pt x="49" y="227"/>
                    </a:lnTo>
                    <a:lnTo>
                      <a:pt x="50" y="226"/>
                    </a:lnTo>
                    <a:lnTo>
                      <a:pt x="52" y="227"/>
                    </a:lnTo>
                    <a:lnTo>
                      <a:pt x="52" y="229"/>
                    </a:lnTo>
                    <a:lnTo>
                      <a:pt x="55" y="229"/>
                    </a:lnTo>
                    <a:lnTo>
                      <a:pt x="56" y="229"/>
                    </a:lnTo>
                    <a:lnTo>
                      <a:pt x="59" y="228"/>
                    </a:lnTo>
                    <a:lnTo>
                      <a:pt x="61" y="230"/>
                    </a:lnTo>
                    <a:lnTo>
                      <a:pt x="60" y="231"/>
                    </a:lnTo>
                    <a:lnTo>
                      <a:pt x="63" y="233"/>
                    </a:lnTo>
                    <a:lnTo>
                      <a:pt x="63" y="232"/>
                    </a:lnTo>
                    <a:lnTo>
                      <a:pt x="65" y="234"/>
                    </a:lnTo>
                    <a:lnTo>
                      <a:pt x="64" y="237"/>
                    </a:lnTo>
                    <a:lnTo>
                      <a:pt x="65" y="238"/>
                    </a:lnTo>
                    <a:lnTo>
                      <a:pt x="64" y="240"/>
                    </a:lnTo>
                    <a:lnTo>
                      <a:pt x="64" y="241"/>
                    </a:lnTo>
                    <a:lnTo>
                      <a:pt x="62" y="243"/>
                    </a:lnTo>
                    <a:lnTo>
                      <a:pt x="63" y="244"/>
                    </a:lnTo>
                    <a:lnTo>
                      <a:pt x="62" y="245"/>
                    </a:lnTo>
                    <a:lnTo>
                      <a:pt x="62" y="246"/>
                    </a:lnTo>
                    <a:lnTo>
                      <a:pt x="63" y="246"/>
                    </a:lnTo>
                    <a:lnTo>
                      <a:pt x="65" y="248"/>
                    </a:lnTo>
                    <a:lnTo>
                      <a:pt x="66" y="247"/>
                    </a:lnTo>
                    <a:lnTo>
                      <a:pt x="67" y="248"/>
                    </a:lnTo>
                    <a:lnTo>
                      <a:pt x="68" y="247"/>
                    </a:lnTo>
                    <a:lnTo>
                      <a:pt x="68" y="249"/>
                    </a:lnTo>
                    <a:lnTo>
                      <a:pt x="69" y="246"/>
                    </a:lnTo>
                    <a:lnTo>
                      <a:pt x="74" y="246"/>
                    </a:lnTo>
                    <a:lnTo>
                      <a:pt x="74" y="250"/>
                    </a:lnTo>
                    <a:lnTo>
                      <a:pt x="76" y="252"/>
                    </a:lnTo>
                    <a:lnTo>
                      <a:pt x="80" y="257"/>
                    </a:lnTo>
                    <a:lnTo>
                      <a:pt x="83" y="261"/>
                    </a:lnTo>
                    <a:lnTo>
                      <a:pt x="88" y="258"/>
                    </a:lnTo>
                    <a:lnTo>
                      <a:pt x="89" y="259"/>
                    </a:lnTo>
                    <a:lnTo>
                      <a:pt x="90" y="257"/>
                    </a:lnTo>
                    <a:lnTo>
                      <a:pt x="91" y="258"/>
                    </a:lnTo>
                    <a:lnTo>
                      <a:pt x="93" y="257"/>
                    </a:lnTo>
                    <a:lnTo>
                      <a:pt x="94" y="257"/>
                    </a:lnTo>
                    <a:lnTo>
                      <a:pt x="96" y="260"/>
                    </a:lnTo>
                    <a:lnTo>
                      <a:pt x="102" y="259"/>
                    </a:lnTo>
                    <a:lnTo>
                      <a:pt x="102" y="255"/>
                    </a:lnTo>
                    <a:lnTo>
                      <a:pt x="104" y="261"/>
                    </a:lnTo>
                    <a:lnTo>
                      <a:pt x="104" y="262"/>
                    </a:lnTo>
                    <a:lnTo>
                      <a:pt x="108" y="261"/>
                    </a:lnTo>
                    <a:lnTo>
                      <a:pt x="113" y="265"/>
                    </a:lnTo>
                    <a:lnTo>
                      <a:pt x="116" y="268"/>
                    </a:lnTo>
                    <a:lnTo>
                      <a:pt x="115" y="269"/>
                    </a:lnTo>
                    <a:lnTo>
                      <a:pt x="115" y="271"/>
                    </a:lnTo>
                    <a:lnTo>
                      <a:pt x="111" y="278"/>
                    </a:lnTo>
                    <a:lnTo>
                      <a:pt x="114" y="280"/>
                    </a:lnTo>
                    <a:lnTo>
                      <a:pt x="116" y="278"/>
                    </a:lnTo>
                    <a:lnTo>
                      <a:pt x="118" y="278"/>
                    </a:lnTo>
                    <a:lnTo>
                      <a:pt x="124" y="285"/>
                    </a:lnTo>
                    <a:lnTo>
                      <a:pt x="128" y="285"/>
                    </a:lnTo>
                    <a:lnTo>
                      <a:pt x="132" y="294"/>
                    </a:lnTo>
                    <a:lnTo>
                      <a:pt x="134" y="299"/>
                    </a:lnTo>
                    <a:lnTo>
                      <a:pt x="133" y="300"/>
                    </a:lnTo>
                    <a:lnTo>
                      <a:pt x="134" y="302"/>
                    </a:lnTo>
                    <a:lnTo>
                      <a:pt x="137" y="301"/>
                    </a:lnTo>
                    <a:lnTo>
                      <a:pt x="136" y="302"/>
                    </a:lnTo>
                    <a:lnTo>
                      <a:pt x="137" y="303"/>
                    </a:lnTo>
                    <a:lnTo>
                      <a:pt x="136" y="303"/>
                    </a:lnTo>
                    <a:lnTo>
                      <a:pt x="136" y="305"/>
                    </a:lnTo>
                    <a:lnTo>
                      <a:pt x="138" y="313"/>
                    </a:lnTo>
                    <a:lnTo>
                      <a:pt x="141" y="312"/>
                    </a:lnTo>
                    <a:lnTo>
                      <a:pt x="143" y="313"/>
                    </a:lnTo>
                    <a:lnTo>
                      <a:pt x="146" y="312"/>
                    </a:lnTo>
                    <a:lnTo>
                      <a:pt x="147" y="312"/>
                    </a:lnTo>
                    <a:lnTo>
                      <a:pt x="149" y="310"/>
                    </a:lnTo>
                    <a:lnTo>
                      <a:pt x="150" y="310"/>
                    </a:lnTo>
                    <a:lnTo>
                      <a:pt x="155" y="312"/>
                    </a:lnTo>
                    <a:lnTo>
                      <a:pt x="158" y="309"/>
                    </a:lnTo>
                    <a:lnTo>
                      <a:pt x="159" y="306"/>
                    </a:lnTo>
                    <a:lnTo>
                      <a:pt x="163" y="303"/>
                    </a:lnTo>
                    <a:lnTo>
                      <a:pt x="165" y="301"/>
                    </a:lnTo>
                    <a:lnTo>
                      <a:pt x="166" y="300"/>
                    </a:lnTo>
                    <a:lnTo>
                      <a:pt x="168" y="299"/>
                    </a:lnTo>
                    <a:lnTo>
                      <a:pt x="168" y="297"/>
                    </a:lnTo>
                    <a:lnTo>
                      <a:pt x="170" y="293"/>
                    </a:lnTo>
                    <a:lnTo>
                      <a:pt x="175" y="289"/>
                    </a:lnTo>
                    <a:lnTo>
                      <a:pt x="176" y="289"/>
                    </a:lnTo>
                    <a:lnTo>
                      <a:pt x="178" y="288"/>
                    </a:lnTo>
                    <a:lnTo>
                      <a:pt x="178" y="283"/>
                    </a:lnTo>
                    <a:lnTo>
                      <a:pt x="187" y="284"/>
                    </a:lnTo>
                    <a:lnTo>
                      <a:pt x="188" y="284"/>
                    </a:lnTo>
                    <a:lnTo>
                      <a:pt x="189" y="283"/>
                    </a:lnTo>
                    <a:lnTo>
                      <a:pt x="195" y="284"/>
                    </a:lnTo>
                    <a:lnTo>
                      <a:pt x="198" y="284"/>
                    </a:lnTo>
                    <a:lnTo>
                      <a:pt x="203" y="287"/>
                    </a:lnTo>
                    <a:lnTo>
                      <a:pt x="208" y="285"/>
                    </a:lnTo>
                    <a:lnTo>
                      <a:pt x="208" y="281"/>
                    </a:lnTo>
                    <a:lnTo>
                      <a:pt x="211" y="274"/>
                    </a:lnTo>
                    <a:lnTo>
                      <a:pt x="212" y="271"/>
                    </a:lnTo>
                    <a:lnTo>
                      <a:pt x="213" y="270"/>
                    </a:lnTo>
                    <a:lnTo>
                      <a:pt x="212" y="266"/>
                    </a:lnTo>
                    <a:lnTo>
                      <a:pt x="213" y="263"/>
                    </a:lnTo>
                    <a:lnTo>
                      <a:pt x="215" y="259"/>
                    </a:lnTo>
                    <a:lnTo>
                      <a:pt x="217" y="257"/>
                    </a:lnTo>
                    <a:lnTo>
                      <a:pt x="218" y="253"/>
                    </a:lnTo>
                    <a:lnTo>
                      <a:pt x="217" y="249"/>
                    </a:lnTo>
                    <a:lnTo>
                      <a:pt x="218" y="247"/>
                    </a:lnTo>
                    <a:lnTo>
                      <a:pt x="220" y="246"/>
                    </a:lnTo>
                    <a:lnTo>
                      <a:pt x="221" y="244"/>
                    </a:lnTo>
                    <a:lnTo>
                      <a:pt x="224" y="242"/>
                    </a:lnTo>
                    <a:lnTo>
                      <a:pt x="228" y="242"/>
                    </a:lnTo>
                    <a:lnTo>
                      <a:pt x="229" y="242"/>
                    </a:lnTo>
                    <a:lnTo>
                      <a:pt x="236" y="244"/>
                    </a:lnTo>
                    <a:lnTo>
                      <a:pt x="237" y="242"/>
                    </a:lnTo>
                    <a:lnTo>
                      <a:pt x="239" y="241"/>
                    </a:lnTo>
                    <a:lnTo>
                      <a:pt x="241" y="241"/>
                    </a:lnTo>
                    <a:lnTo>
                      <a:pt x="244" y="244"/>
                    </a:lnTo>
                    <a:lnTo>
                      <a:pt x="248" y="245"/>
                    </a:lnTo>
                    <a:lnTo>
                      <a:pt x="250" y="245"/>
                    </a:lnTo>
                    <a:lnTo>
                      <a:pt x="251" y="242"/>
                    </a:lnTo>
                    <a:lnTo>
                      <a:pt x="254" y="242"/>
                    </a:lnTo>
                    <a:lnTo>
                      <a:pt x="261" y="239"/>
                    </a:lnTo>
                    <a:lnTo>
                      <a:pt x="263" y="237"/>
                    </a:lnTo>
                    <a:lnTo>
                      <a:pt x="266" y="234"/>
                    </a:lnTo>
                    <a:lnTo>
                      <a:pt x="266" y="232"/>
                    </a:lnTo>
                    <a:lnTo>
                      <a:pt x="270" y="229"/>
                    </a:lnTo>
                    <a:lnTo>
                      <a:pt x="269" y="228"/>
                    </a:lnTo>
                    <a:lnTo>
                      <a:pt x="270" y="226"/>
                    </a:lnTo>
                    <a:lnTo>
                      <a:pt x="274" y="219"/>
                    </a:lnTo>
                    <a:lnTo>
                      <a:pt x="277" y="215"/>
                    </a:lnTo>
                    <a:lnTo>
                      <a:pt x="277" y="204"/>
                    </a:lnTo>
                    <a:lnTo>
                      <a:pt x="278" y="202"/>
                    </a:lnTo>
                    <a:lnTo>
                      <a:pt x="279" y="202"/>
                    </a:lnTo>
                    <a:lnTo>
                      <a:pt x="280" y="202"/>
                    </a:lnTo>
                    <a:lnTo>
                      <a:pt x="279" y="199"/>
                    </a:lnTo>
                    <a:lnTo>
                      <a:pt x="277" y="197"/>
                    </a:lnTo>
                    <a:lnTo>
                      <a:pt x="277" y="194"/>
                    </a:lnTo>
                    <a:lnTo>
                      <a:pt x="278" y="191"/>
                    </a:lnTo>
                    <a:lnTo>
                      <a:pt x="280" y="190"/>
                    </a:lnTo>
                    <a:lnTo>
                      <a:pt x="280" y="187"/>
                    </a:lnTo>
                    <a:lnTo>
                      <a:pt x="280" y="186"/>
                    </a:lnTo>
                    <a:lnTo>
                      <a:pt x="286" y="183"/>
                    </a:lnTo>
                    <a:lnTo>
                      <a:pt x="284" y="179"/>
                    </a:lnTo>
                    <a:lnTo>
                      <a:pt x="285" y="169"/>
                    </a:lnTo>
                    <a:lnTo>
                      <a:pt x="288" y="167"/>
                    </a:lnTo>
                    <a:lnTo>
                      <a:pt x="289" y="163"/>
                    </a:lnTo>
                    <a:lnTo>
                      <a:pt x="290" y="163"/>
                    </a:lnTo>
                    <a:lnTo>
                      <a:pt x="290" y="157"/>
                    </a:lnTo>
                    <a:lnTo>
                      <a:pt x="292" y="157"/>
                    </a:lnTo>
                    <a:lnTo>
                      <a:pt x="292" y="155"/>
                    </a:lnTo>
                    <a:lnTo>
                      <a:pt x="293" y="151"/>
                    </a:lnTo>
                    <a:lnTo>
                      <a:pt x="290" y="151"/>
                    </a:lnTo>
                    <a:lnTo>
                      <a:pt x="291" y="147"/>
                    </a:lnTo>
                    <a:lnTo>
                      <a:pt x="291" y="142"/>
                    </a:lnTo>
                    <a:lnTo>
                      <a:pt x="296" y="140"/>
                    </a:lnTo>
                    <a:lnTo>
                      <a:pt x="296" y="137"/>
                    </a:lnTo>
                    <a:lnTo>
                      <a:pt x="302" y="133"/>
                    </a:lnTo>
                    <a:lnTo>
                      <a:pt x="303" y="128"/>
                    </a:lnTo>
                    <a:lnTo>
                      <a:pt x="303" y="125"/>
                    </a:lnTo>
                    <a:lnTo>
                      <a:pt x="305" y="124"/>
                    </a:lnTo>
                    <a:lnTo>
                      <a:pt x="306" y="124"/>
                    </a:lnTo>
                    <a:lnTo>
                      <a:pt x="308" y="123"/>
                    </a:lnTo>
                    <a:lnTo>
                      <a:pt x="310" y="124"/>
                    </a:lnTo>
                    <a:lnTo>
                      <a:pt x="311" y="122"/>
                    </a:lnTo>
                    <a:lnTo>
                      <a:pt x="312" y="123"/>
                    </a:lnTo>
                    <a:lnTo>
                      <a:pt x="313" y="121"/>
                    </a:lnTo>
                    <a:lnTo>
                      <a:pt x="320" y="123"/>
                    </a:lnTo>
                    <a:lnTo>
                      <a:pt x="322" y="122"/>
                    </a:lnTo>
                    <a:lnTo>
                      <a:pt x="326" y="121"/>
                    </a:lnTo>
                    <a:lnTo>
                      <a:pt x="327" y="120"/>
                    </a:lnTo>
                    <a:lnTo>
                      <a:pt x="330" y="120"/>
                    </a:lnTo>
                    <a:lnTo>
                      <a:pt x="335" y="120"/>
                    </a:lnTo>
                    <a:lnTo>
                      <a:pt x="336" y="119"/>
                    </a:lnTo>
                    <a:lnTo>
                      <a:pt x="336" y="118"/>
                    </a:lnTo>
                    <a:lnTo>
                      <a:pt x="341" y="116"/>
                    </a:lnTo>
                    <a:lnTo>
                      <a:pt x="344" y="114"/>
                    </a:lnTo>
                    <a:lnTo>
                      <a:pt x="345" y="114"/>
                    </a:lnTo>
                    <a:lnTo>
                      <a:pt x="353" y="113"/>
                    </a:lnTo>
                    <a:lnTo>
                      <a:pt x="358" y="110"/>
                    </a:lnTo>
                    <a:lnTo>
                      <a:pt x="362" y="103"/>
                    </a:lnTo>
                    <a:lnTo>
                      <a:pt x="363" y="102"/>
                    </a:lnTo>
                    <a:lnTo>
                      <a:pt x="366" y="102"/>
                    </a:lnTo>
                    <a:lnTo>
                      <a:pt x="365" y="98"/>
                    </a:lnTo>
                    <a:lnTo>
                      <a:pt x="368" y="97"/>
                    </a:lnTo>
                    <a:lnTo>
                      <a:pt x="370" y="9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4" name="Freeform 115">
                <a:extLst>
                  <a:ext uri="{FF2B5EF4-FFF2-40B4-BE49-F238E27FC236}">
                    <a16:creationId xmlns:a16="http://schemas.microsoft.com/office/drawing/2014/main" id="{D417DA1B-8194-45E7-968D-3B718C357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9" y="3515"/>
                <a:ext cx="370" cy="313"/>
              </a:xfrm>
              <a:custGeom>
                <a:avLst/>
                <a:gdLst>
                  <a:gd name="T0" fmla="*/ 360 w 370"/>
                  <a:gd name="T1" fmla="*/ 67 h 313"/>
                  <a:gd name="T2" fmla="*/ 345 w 370"/>
                  <a:gd name="T3" fmla="*/ 47 h 313"/>
                  <a:gd name="T4" fmla="*/ 321 w 370"/>
                  <a:gd name="T5" fmla="*/ 29 h 313"/>
                  <a:gd name="T6" fmla="*/ 291 w 370"/>
                  <a:gd name="T7" fmla="*/ 15 h 313"/>
                  <a:gd name="T8" fmla="*/ 261 w 370"/>
                  <a:gd name="T9" fmla="*/ 18 h 313"/>
                  <a:gd name="T10" fmla="*/ 248 w 370"/>
                  <a:gd name="T11" fmla="*/ 0 h 313"/>
                  <a:gd name="T12" fmla="*/ 224 w 370"/>
                  <a:gd name="T13" fmla="*/ 10 h 313"/>
                  <a:gd name="T14" fmla="*/ 217 w 370"/>
                  <a:gd name="T15" fmla="*/ 11 h 313"/>
                  <a:gd name="T16" fmla="*/ 202 w 370"/>
                  <a:gd name="T17" fmla="*/ 21 h 313"/>
                  <a:gd name="T18" fmla="*/ 198 w 370"/>
                  <a:gd name="T19" fmla="*/ 39 h 313"/>
                  <a:gd name="T20" fmla="*/ 187 w 370"/>
                  <a:gd name="T21" fmla="*/ 43 h 313"/>
                  <a:gd name="T22" fmla="*/ 178 w 370"/>
                  <a:gd name="T23" fmla="*/ 34 h 313"/>
                  <a:gd name="T24" fmla="*/ 168 w 370"/>
                  <a:gd name="T25" fmla="*/ 38 h 313"/>
                  <a:gd name="T26" fmla="*/ 156 w 370"/>
                  <a:gd name="T27" fmla="*/ 36 h 313"/>
                  <a:gd name="T28" fmla="*/ 157 w 370"/>
                  <a:gd name="T29" fmla="*/ 53 h 313"/>
                  <a:gd name="T30" fmla="*/ 147 w 370"/>
                  <a:gd name="T31" fmla="*/ 56 h 313"/>
                  <a:gd name="T32" fmla="*/ 132 w 370"/>
                  <a:gd name="T33" fmla="*/ 51 h 313"/>
                  <a:gd name="T34" fmla="*/ 124 w 370"/>
                  <a:gd name="T35" fmla="*/ 54 h 313"/>
                  <a:gd name="T36" fmla="*/ 110 w 370"/>
                  <a:gd name="T37" fmla="*/ 73 h 313"/>
                  <a:gd name="T38" fmla="*/ 100 w 370"/>
                  <a:gd name="T39" fmla="*/ 62 h 313"/>
                  <a:gd name="T40" fmla="*/ 85 w 370"/>
                  <a:gd name="T41" fmla="*/ 58 h 313"/>
                  <a:gd name="T42" fmla="*/ 83 w 370"/>
                  <a:gd name="T43" fmla="*/ 45 h 313"/>
                  <a:gd name="T44" fmla="*/ 74 w 370"/>
                  <a:gd name="T45" fmla="*/ 53 h 313"/>
                  <a:gd name="T46" fmla="*/ 77 w 370"/>
                  <a:gd name="T47" fmla="*/ 73 h 313"/>
                  <a:gd name="T48" fmla="*/ 66 w 370"/>
                  <a:gd name="T49" fmla="*/ 79 h 313"/>
                  <a:gd name="T50" fmla="*/ 59 w 370"/>
                  <a:gd name="T51" fmla="*/ 93 h 313"/>
                  <a:gd name="T52" fmla="*/ 45 w 370"/>
                  <a:gd name="T53" fmla="*/ 95 h 313"/>
                  <a:gd name="T54" fmla="*/ 30 w 370"/>
                  <a:gd name="T55" fmla="*/ 93 h 313"/>
                  <a:gd name="T56" fmla="*/ 25 w 370"/>
                  <a:gd name="T57" fmla="*/ 104 h 313"/>
                  <a:gd name="T58" fmla="*/ 15 w 370"/>
                  <a:gd name="T59" fmla="*/ 111 h 313"/>
                  <a:gd name="T60" fmla="*/ 16 w 370"/>
                  <a:gd name="T61" fmla="*/ 138 h 313"/>
                  <a:gd name="T62" fmla="*/ 16 w 370"/>
                  <a:gd name="T63" fmla="*/ 148 h 313"/>
                  <a:gd name="T64" fmla="*/ 27 w 370"/>
                  <a:gd name="T65" fmla="*/ 154 h 313"/>
                  <a:gd name="T66" fmla="*/ 18 w 370"/>
                  <a:gd name="T67" fmla="*/ 168 h 313"/>
                  <a:gd name="T68" fmla="*/ 6 w 370"/>
                  <a:gd name="T69" fmla="*/ 181 h 313"/>
                  <a:gd name="T70" fmla="*/ 11 w 370"/>
                  <a:gd name="T71" fmla="*/ 192 h 313"/>
                  <a:gd name="T72" fmla="*/ 31 w 370"/>
                  <a:gd name="T73" fmla="*/ 197 h 313"/>
                  <a:gd name="T74" fmla="*/ 28 w 370"/>
                  <a:gd name="T75" fmla="*/ 216 h 313"/>
                  <a:gd name="T76" fmla="*/ 42 w 370"/>
                  <a:gd name="T77" fmla="*/ 227 h 313"/>
                  <a:gd name="T78" fmla="*/ 55 w 370"/>
                  <a:gd name="T79" fmla="*/ 229 h 313"/>
                  <a:gd name="T80" fmla="*/ 64 w 370"/>
                  <a:gd name="T81" fmla="*/ 240 h 313"/>
                  <a:gd name="T82" fmla="*/ 68 w 370"/>
                  <a:gd name="T83" fmla="*/ 247 h 313"/>
                  <a:gd name="T84" fmla="*/ 89 w 370"/>
                  <a:gd name="T85" fmla="*/ 259 h 313"/>
                  <a:gd name="T86" fmla="*/ 104 w 370"/>
                  <a:gd name="T87" fmla="*/ 262 h 313"/>
                  <a:gd name="T88" fmla="*/ 124 w 370"/>
                  <a:gd name="T89" fmla="*/ 285 h 313"/>
                  <a:gd name="T90" fmla="*/ 136 w 370"/>
                  <a:gd name="T91" fmla="*/ 305 h 313"/>
                  <a:gd name="T92" fmla="*/ 159 w 370"/>
                  <a:gd name="T93" fmla="*/ 306 h 313"/>
                  <a:gd name="T94" fmla="*/ 178 w 370"/>
                  <a:gd name="T95" fmla="*/ 283 h 313"/>
                  <a:gd name="T96" fmla="*/ 212 w 370"/>
                  <a:gd name="T97" fmla="*/ 271 h 313"/>
                  <a:gd name="T98" fmla="*/ 221 w 370"/>
                  <a:gd name="T99" fmla="*/ 244 h 313"/>
                  <a:gd name="T100" fmla="*/ 250 w 370"/>
                  <a:gd name="T101" fmla="*/ 245 h 313"/>
                  <a:gd name="T102" fmla="*/ 274 w 370"/>
                  <a:gd name="T103" fmla="*/ 219 h 313"/>
                  <a:gd name="T104" fmla="*/ 278 w 370"/>
                  <a:gd name="T105" fmla="*/ 191 h 313"/>
                  <a:gd name="T106" fmla="*/ 290 w 370"/>
                  <a:gd name="T107" fmla="*/ 157 h 313"/>
                  <a:gd name="T108" fmla="*/ 303 w 370"/>
                  <a:gd name="T109" fmla="*/ 128 h 313"/>
                  <a:gd name="T110" fmla="*/ 320 w 370"/>
                  <a:gd name="T111" fmla="*/ 123 h 313"/>
                  <a:gd name="T112" fmla="*/ 345 w 370"/>
                  <a:gd name="T113" fmla="*/ 114 h 31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70"/>
                  <a:gd name="T172" fmla="*/ 0 h 313"/>
                  <a:gd name="T173" fmla="*/ 370 w 370"/>
                  <a:gd name="T174" fmla="*/ 313 h 31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70" h="313">
                    <a:moveTo>
                      <a:pt x="370" y="93"/>
                    </a:moveTo>
                    <a:lnTo>
                      <a:pt x="368" y="84"/>
                    </a:lnTo>
                    <a:lnTo>
                      <a:pt x="368" y="82"/>
                    </a:lnTo>
                    <a:lnTo>
                      <a:pt x="368" y="80"/>
                    </a:lnTo>
                    <a:lnTo>
                      <a:pt x="366" y="78"/>
                    </a:lnTo>
                    <a:lnTo>
                      <a:pt x="364" y="78"/>
                    </a:lnTo>
                    <a:lnTo>
                      <a:pt x="362" y="76"/>
                    </a:lnTo>
                    <a:lnTo>
                      <a:pt x="360" y="75"/>
                    </a:lnTo>
                    <a:lnTo>
                      <a:pt x="357" y="75"/>
                    </a:lnTo>
                    <a:lnTo>
                      <a:pt x="360" y="67"/>
                    </a:lnTo>
                    <a:lnTo>
                      <a:pt x="358" y="61"/>
                    </a:lnTo>
                    <a:lnTo>
                      <a:pt x="357" y="61"/>
                    </a:lnTo>
                    <a:lnTo>
                      <a:pt x="356" y="60"/>
                    </a:lnTo>
                    <a:lnTo>
                      <a:pt x="357" y="60"/>
                    </a:lnTo>
                    <a:lnTo>
                      <a:pt x="356" y="59"/>
                    </a:lnTo>
                    <a:lnTo>
                      <a:pt x="354" y="55"/>
                    </a:lnTo>
                    <a:lnTo>
                      <a:pt x="352" y="55"/>
                    </a:lnTo>
                    <a:lnTo>
                      <a:pt x="349" y="52"/>
                    </a:lnTo>
                    <a:lnTo>
                      <a:pt x="347" y="51"/>
                    </a:lnTo>
                    <a:lnTo>
                      <a:pt x="345" y="47"/>
                    </a:lnTo>
                    <a:lnTo>
                      <a:pt x="343" y="44"/>
                    </a:lnTo>
                    <a:lnTo>
                      <a:pt x="343" y="35"/>
                    </a:lnTo>
                    <a:lnTo>
                      <a:pt x="342" y="33"/>
                    </a:lnTo>
                    <a:lnTo>
                      <a:pt x="340" y="32"/>
                    </a:lnTo>
                    <a:lnTo>
                      <a:pt x="335" y="31"/>
                    </a:lnTo>
                    <a:lnTo>
                      <a:pt x="334" y="31"/>
                    </a:lnTo>
                    <a:lnTo>
                      <a:pt x="331" y="34"/>
                    </a:lnTo>
                    <a:lnTo>
                      <a:pt x="329" y="35"/>
                    </a:lnTo>
                    <a:lnTo>
                      <a:pt x="322" y="32"/>
                    </a:lnTo>
                    <a:lnTo>
                      <a:pt x="321" y="29"/>
                    </a:lnTo>
                    <a:lnTo>
                      <a:pt x="319" y="29"/>
                    </a:lnTo>
                    <a:lnTo>
                      <a:pt x="315" y="31"/>
                    </a:lnTo>
                    <a:lnTo>
                      <a:pt x="312" y="29"/>
                    </a:lnTo>
                    <a:lnTo>
                      <a:pt x="309" y="23"/>
                    </a:lnTo>
                    <a:lnTo>
                      <a:pt x="307" y="18"/>
                    </a:lnTo>
                    <a:lnTo>
                      <a:pt x="306" y="17"/>
                    </a:lnTo>
                    <a:lnTo>
                      <a:pt x="304" y="18"/>
                    </a:lnTo>
                    <a:lnTo>
                      <a:pt x="298" y="19"/>
                    </a:lnTo>
                    <a:lnTo>
                      <a:pt x="296" y="14"/>
                    </a:lnTo>
                    <a:lnTo>
                      <a:pt x="291" y="15"/>
                    </a:lnTo>
                    <a:lnTo>
                      <a:pt x="289" y="14"/>
                    </a:lnTo>
                    <a:lnTo>
                      <a:pt x="288" y="15"/>
                    </a:lnTo>
                    <a:lnTo>
                      <a:pt x="285" y="14"/>
                    </a:lnTo>
                    <a:lnTo>
                      <a:pt x="283" y="15"/>
                    </a:lnTo>
                    <a:lnTo>
                      <a:pt x="282" y="15"/>
                    </a:lnTo>
                    <a:lnTo>
                      <a:pt x="279" y="14"/>
                    </a:lnTo>
                    <a:lnTo>
                      <a:pt x="276" y="15"/>
                    </a:lnTo>
                    <a:lnTo>
                      <a:pt x="270" y="16"/>
                    </a:lnTo>
                    <a:lnTo>
                      <a:pt x="264" y="18"/>
                    </a:lnTo>
                    <a:lnTo>
                      <a:pt x="261" y="18"/>
                    </a:lnTo>
                    <a:lnTo>
                      <a:pt x="261" y="19"/>
                    </a:lnTo>
                    <a:lnTo>
                      <a:pt x="258" y="17"/>
                    </a:lnTo>
                    <a:lnTo>
                      <a:pt x="259" y="14"/>
                    </a:lnTo>
                    <a:lnTo>
                      <a:pt x="259" y="9"/>
                    </a:lnTo>
                    <a:lnTo>
                      <a:pt x="257" y="6"/>
                    </a:lnTo>
                    <a:lnTo>
                      <a:pt x="255" y="2"/>
                    </a:lnTo>
                    <a:lnTo>
                      <a:pt x="253" y="2"/>
                    </a:lnTo>
                    <a:lnTo>
                      <a:pt x="253" y="3"/>
                    </a:lnTo>
                    <a:lnTo>
                      <a:pt x="250" y="0"/>
                    </a:lnTo>
                    <a:lnTo>
                      <a:pt x="248" y="0"/>
                    </a:lnTo>
                    <a:lnTo>
                      <a:pt x="239" y="0"/>
                    </a:lnTo>
                    <a:lnTo>
                      <a:pt x="237" y="6"/>
                    </a:lnTo>
                    <a:lnTo>
                      <a:pt x="233" y="10"/>
                    </a:lnTo>
                    <a:lnTo>
                      <a:pt x="233" y="11"/>
                    </a:lnTo>
                    <a:lnTo>
                      <a:pt x="233" y="13"/>
                    </a:lnTo>
                    <a:lnTo>
                      <a:pt x="230" y="13"/>
                    </a:lnTo>
                    <a:lnTo>
                      <a:pt x="228" y="10"/>
                    </a:lnTo>
                    <a:lnTo>
                      <a:pt x="226" y="11"/>
                    </a:lnTo>
                    <a:lnTo>
                      <a:pt x="225" y="10"/>
                    </a:lnTo>
                    <a:lnTo>
                      <a:pt x="224" y="10"/>
                    </a:lnTo>
                    <a:lnTo>
                      <a:pt x="224" y="8"/>
                    </a:lnTo>
                    <a:lnTo>
                      <a:pt x="220" y="8"/>
                    </a:lnTo>
                    <a:lnTo>
                      <a:pt x="220" y="6"/>
                    </a:lnTo>
                    <a:lnTo>
                      <a:pt x="219" y="5"/>
                    </a:lnTo>
                    <a:lnTo>
                      <a:pt x="217" y="5"/>
                    </a:lnTo>
                    <a:lnTo>
                      <a:pt x="218" y="6"/>
                    </a:lnTo>
                    <a:lnTo>
                      <a:pt x="218" y="8"/>
                    </a:lnTo>
                    <a:lnTo>
                      <a:pt x="217" y="10"/>
                    </a:lnTo>
                    <a:lnTo>
                      <a:pt x="217" y="11"/>
                    </a:lnTo>
                    <a:lnTo>
                      <a:pt x="217" y="14"/>
                    </a:lnTo>
                    <a:lnTo>
                      <a:pt x="211" y="15"/>
                    </a:lnTo>
                    <a:lnTo>
                      <a:pt x="210" y="14"/>
                    </a:lnTo>
                    <a:lnTo>
                      <a:pt x="209" y="16"/>
                    </a:lnTo>
                    <a:lnTo>
                      <a:pt x="209" y="17"/>
                    </a:lnTo>
                    <a:lnTo>
                      <a:pt x="208" y="19"/>
                    </a:lnTo>
                    <a:lnTo>
                      <a:pt x="204" y="20"/>
                    </a:lnTo>
                    <a:lnTo>
                      <a:pt x="203" y="21"/>
                    </a:lnTo>
                    <a:lnTo>
                      <a:pt x="202" y="20"/>
                    </a:lnTo>
                    <a:lnTo>
                      <a:pt x="202" y="21"/>
                    </a:lnTo>
                    <a:lnTo>
                      <a:pt x="204" y="25"/>
                    </a:lnTo>
                    <a:lnTo>
                      <a:pt x="204" y="28"/>
                    </a:lnTo>
                    <a:lnTo>
                      <a:pt x="203" y="29"/>
                    </a:lnTo>
                    <a:lnTo>
                      <a:pt x="203" y="30"/>
                    </a:lnTo>
                    <a:lnTo>
                      <a:pt x="202" y="31"/>
                    </a:lnTo>
                    <a:lnTo>
                      <a:pt x="201" y="32"/>
                    </a:lnTo>
                    <a:lnTo>
                      <a:pt x="198" y="33"/>
                    </a:lnTo>
                    <a:lnTo>
                      <a:pt x="198" y="34"/>
                    </a:lnTo>
                    <a:lnTo>
                      <a:pt x="199" y="36"/>
                    </a:lnTo>
                    <a:lnTo>
                      <a:pt x="198" y="39"/>
                    </a:lnTo>
                    <a:lnTo>
                      <a:pt x="198" y="40"/>
                    </a:lnTo>
                    <a:lnTo>
                      <a:pt x="198" y="42"/>
                    </a:lnTo>
                    <a:lnTo>
                      <a:pt x="197" y="42"/>
                    </a:lnTo>
                    <a:lnTo>
                      <a:pt x="197" y="43"/>
                    </a:lnTo>
                    <a:lnTo>
                      <a:pt x="196" y="43"/>
                    </a:lnTo>
                    <a:lnTo>
                      <a:pt x="195" y="43"/>
                    </a:lnTo>
                    <a:lnTo>
                      <a:pt x="194" y="43"/>
                    </a:lnTo>
                    <a:lnTo>
                      <a:pt x="194" y="42"/>
                    </a:lnTo>
                    <a:lnTo>
                      <a:pt x="192" y="42"/>
                    </a:lnTo>
                    <a:lnTo>
                      <a:pt x="187" y="43"/>
                    </a:lnTo>
                    <a:lnTo>
                      <a:pt x="186" y="44"/>
                    </a:lnTo>
                    <a:lnTo>
                      <a:pt x="185" y="44"/>
                    </a:lnTo>
                    <a:lnTo>
                      <a:pt x="183" y="41"/>
                    </a:lnTo>
                    <a:lnTo>
                      <a:pt x="181" y="41"/>
                    </a:lnTo>
                    <a:lnTo>
                      <a:pt x="181" y="40"/>
                    </a:lnTo>
                    <a:lnTo>
                      <a:pt x="179" y="39"/>
                    </a:lnTo>
                    <a:lnTo>
                      <a:pt x="179" y="38"/>
                    </a:lnTo>
                    <a:lnTo>
                      <a:pt x="180" y="36"/>
                    </a:lnTo>
                    <a:lnTo>
                      <a:pt x="179" y="36"/>
                    </a:lnTo>
                    <a:lnTo>
                      <a:pt x="178" y="34"/>
                    </a:lnTo>
                    <a:lnTo>
                      <a:pt x="176" y="32"/>
                    </a:lnTo>
                    <a:lnTo>
                      <a:pt x="175" y="29"/>
                    </a:lnTo>
                    <a:lnTo>
                      <a:pt x="173" y="31"/>
                    </a:lnTo>
                    <a:lnTo>
                      <a:pt x="171" y="29"/>
                    </a:lnTo>
                    <a:lnTo>
                      <a:pt x="170" y="29"/>
                    </a:lnTo>
                    <a:lnTo>
                      <a:pt x="170" y="31"/>
                    </a:lnTo>
                    <a:lnTo>
                      <a:pt x="168" y="32"/>
                    </a:lnTo>
                    <a:lnTo>
                      <a:pt x="168" y="34"/>
                    </a:lnTo>
                    <a:lnTo>
                      <a:pt x="168" y="38"/>
                    </a:lnTo>
                    <a:lnTo>
                      <a:pt x="167" y="39"/>
                    </a:lnTo>
                    <a:lnTo>
                      <a:pt x="165" y="39"/>
                    </a:lnTo>
                    <a:lnTo>
                      <a:pt x="163" y="33"/>
                    </a:lnTo>
                    <a:lnTo>
                      <a:pt x="159" y="34"/>
                    </a:lnTo>
                    <a:lnTo>
                      <a:pt x="158" y="34"/>
                    </a:lnTo>
                    <a:lnTo>
                      <a:pt x="157" y="35"/>
                    </a:lnTo>
                    <a:lnTo>
                      <a:pt x="156" y="33"/>
                    </a:lnTo>
                    <a:lnTo>
                      <a:pt x="155" y="34"/>
                    </a:lnTo>
                    <a:lnTo>
                      <a:pt x="156" y="36"/>
                    </a:lnTo>
                    <a:lnTo>
                      <a:pt x="155" y="37"/>
                    </a:lnTo>
                    <a:lnTo>
                      <a:pt x="158" y="40"/>
                    </a:lnTo>
                    <a:lnTo>
                      <a:pt x="158" y="43"/>
                    </a:lnTo>
                    <a:lnTo>
                      <a:pt x="159" y="45"/>
                    </a:lnTo>
                    <a:lnTo>
                      <a:pt x="162" y="47"/>
                    </a:lnTo>
                    <a:lnTo>
                      <a:pt x="160" y="47"/>
                    </a:lnTo>
                    <a:lnTo>
                      <a:pt x="162" y="50"/>
                    </a:lnTo>
                    <a:lnTo>
                      <a:pt x="158" y="53"/>
                    </a:lnTo>
                    <a:lnTo>
                      <a:pt x="157" y="53"/>
                    </a:lnTo>
                    <a:lnTo>
                      <a:pt x="156" y="56"/>
                    </a:lnTo>
                    <a:lnTo>
                      <a:pt x="153" y="57"/>
                    </a:lnTo>
                    <a:lnTo>
                      <a:pt x="151" y="57"/>
                    </a:lnTo>
                    <a:lnTo>
                      <a:pt x="150" y="57"/>
                    </a:lnTo>
                    <a:lnTo>
                      <a:pt x="150" y="56"/>
                    </a:lnTo>
                    <a:lnTo>
                      <a:pt x="150" y="57"/>
                    </a:lnTo>
                    <a:lnTo>
                      <a:pt x="148" y="57"/>
                    </a:lnTo>
                    <a:lnTo>
                      <a:pt x="147" y="57"/>
                    </a:lnTo>
                    <a:lnTo>
                      <a:pt x="147" y="56"/>
                    </a:lnTo>
                    <a:lnTo>
                      <a:pt x="145" y="57"/>
                    </a:lnTo>
                    <a:lnTo>
                      <a:pt x="145" y="56"/>
                    </a:lnTo>
                    <a:lnTo>
                      <a:pt x="145" y="54"/>
                    </a:lnTo>
                    <a:lnTo>
                      <a:pt x="143" y="52"/>
                    </a:lnTo>
                    <a:lnTo>
                      <a:pt x="142" y="51"/>
                    </a:lnTo>
                    <a:lnTo>
                      <a:pt x="141" y="52"/>
                    </a:lnTo>
                    <a:lnTo>
                      <a:pt x="139" y="52"/>
                    </a:lnTo>
                    <a:lnTo>
                      <a:pt x="139" y="51"/>
                    </a:lnTo>
                    <a:lnTo>
                      <a:pt x="133" y="53"/>
                    </a:lnTo>
                    <a:lnTo>
                      <a:pt x="132" y="51"/>
                    </a:lnTo>
                    <a:lnTo>
                      <a:pt x="130" y="53"/>
                    </a:lnTo>
                    <a:lnTo>
                      <a:pt x="129" y="53"/>
                    </a:lnTo>
                    <a:lnTo>
                      <a:pt x="127" y="56"/>
                    </a:lnTo>
                    <a:lnTo>
                      <a:pt x="126" y="55"/>
                    </a:lnTo>
                    <a:lnTo>
                      <a:pt x="126" y="54"/>
                    </a:lnTo>
                    <a:lnTo>
                      <a:pt x="126" y="52"/>
                    </a:lnTo>
                    <a:lnTo>
                      <a:pt x="124" y="53"/>
                    </a:lnTo>
                    <a:lnTo>
                      <a:pt x="121" y="52"/>
                    </a:lnTo>
                    <a:lnTo>
                      <a:pt x="124" y="54"/>
                    </a:lnTo>
                    <a:lnTo>
                      <a:pt x="122" y="56"/>
                    </a:lnTo>
                    <a:lnTo>
                      <a:pt x="123" y="56"/>
                    </a:lnTo>
                    <a:lnTo>
                      <a:pt x="124" y="57"/>
                    </a:lnTo>
                    <a:lnTo>
                      <a:pt x="123" y="62"/>
                    </a:lnTo>
                    <a:lnTo>
                      <a:pt x="122" y="63"/>
                    </a:lnTo>
                    <a:lnTo>
                      <a:pt x="121" y="63"/>
                    </a:lnTo>
                    <a:lnTo>
                      <a:pt x="120" y="63"/>
                    </a:lnTo>
                    <a:lnTo>
                      <a:pt x="117" y="67"/>
                    </a:lnTo>
                    <a:lnTo>
                      <a:pt x="110" y="73"/>
                    </a:lnTo>
                    <a:lnTo>
                      <a:pt x="110" y="68"/>
                    </a:lnTo>
                    <a:lnTo>
                      <a:pt x="109" y="66"/>
                    </a:lnTo>
                    <a:lnTo>
                      <a:pt x="107" y="63"/>
                    </a:lnTo>
                    <a:lnTo>
                      <a:pt x="104" y="62"/>
                    </a:lnTo>
                    <a:lnTo>
                      <a:pt x="105" y="61"/>
                    </a:lnTo>
                    <a:lnTo>
                      <a:pt x="102" y="61"/>
                    </a:lnTo>
                    <a:lnTo>
                      <a:pt x="101" y="60"/>
                    </a:lnTo>
                    <a:lnTo>
                      <a:pt x="101" y="61"/>
                    </a:lnTo>
                    <a:lnTo>
                      <a:pt x="99" y="60"/>
                    </a:lnTo>
                    <a:lnTo>
                      <a:pt x="100" y="62"/>
                    </a:lnTo>
                    <a:lnTo>
                      <a:pt x="99" y="63"/>
                    </a:lnTo>
                    <a:lnTo>
                      <a:pt x="99" y="61"/>
                    </a:lnTo>
                    <a:lnTo>
                      <a:pt x="95" y="61"/>
                    </a:lnTo>
                    <a:lnTo>
                      <a:pt x="96" y="59"/>
                    </a:lnTo>
                    <a:lnTo>
                      <a:pt x="94" y="57"/>
                    </a:lnTo>
                    <a:lnTo>
                      <a:pt x="93" y="57"/>
                    </a:lnTo>
                    <a:lnTo>
                      <a:pt x="89" y="55"/>
                    </a:lnTo>
                    <a:lnTo>
                      <a:pt x="89" y="59"/>
                    </a:lnTo>
                    <a:lnTo>
                      <a:pt x="88" y="58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5" y="54"/>
                    </a:lnTo>
                    <a:lnTo>
                      <a:pt x="86" y="50"/>
                    </a:lnTo>
                    <a:lnTo>
                      <a:pt x="88" y="47"/>
                    </a:lnTo>
                    <a:lnTo>
                      <a:pt x="87" y="47"/>
                    </a:lnTo>
                    <a:lnTo>
                      <a:pt x="85" y="43"/>
                    </a:lnTo>
                    <a:lnTo>
                      <a:pt x="85" y="44"/>
                    </a:lnTo>
                    <a:lnTo>
                      <a:pt x="83" y="44"/>
                    </a:lnTo>
                    <a:lnTo>
                      <a:pt x="83" y="45"/>
                    </a:lnTo>
                    <a:lnTo>
                      <a:pt x="80" y="45"/>
                    </a:lnTo>
                    <a:lnTo>
                      <a:pt x="80" y="48"/>
                    </a:lnTo>
                    <a:lnTo>
                      <a:pt x="78" y="49"/>
                    </a:lnTo>
                    <a:lnTo>
                      <a:pt x="79" y="49"/>
                    </a:lnTo>
                    <a:lnTo>
                      <a:pt x="78" y="50"/>
                    </a:lnTo>
                    <a:lnTo>
                      <a:pt x="77" y="50"/>
                    </a:lnTo>
                    <a:lnTo>
                      <a:pt x="76" y="51"/>
                    </a:lnTo>
                    <a:lnTo>
                      <a:pt x="76" y="53"/>
                    </a:lnTo>
                    <a:lnTo>
                      <a:pt x="74" y="53"/>
                    </a:lnTo>
                    <a:lnTo>
                      <a:pt x="74" y="56"/>
                    </a:lnTo>
                    <a:lnTo>
                      <a:pt x="73" y="56"/>
                    </a:lnTo>
                    <a:lnTo>
                      <a:pt x="73" y="57"/>
                    </a:lnTo>
                    <a:lnTo>
                      <a:pt x="73" y="60"/>
                    </a:lnTo>
                    <a:lnTo>
                      <a:pt x="74" y="63"/>
                    </a:lnTo>
                    <a:lnTo>
                      <a:pt x="75" y="65"/>
                    </a:lnTo>
                    <a:lnTo>
                      <a:pt x="74" y="67"/>
                    </a:lnTo>
                    <a:lnTo>
                      <a:pt x="77" y="68"/>
                    </a:lnTo>
                    <a:lnTo>
                      <a:pt x="77" y="69"/>
                    </a:lnTo>
                    <a:lnTo>
                      <a:pt x="77" y="73"/>
                    </a:lnTo>
                    <a:lnTo>
                      <a:pt x="77" y="76"/>
                    </a:lnTo>
                    <a:lnTo>
                      <a:pt x="75" y="76"/>
                    </a:lnTo>
                    <a:lnTo>
                      <a:pt x="74" y="76"/>
                    </a:lnTo>
                    <a:lnTo>
                      <a:pt x="73" y="76"/>
                    </a:lnTo>
                    <a:lnTo>
                      <a:pt x="71" y="79"/>
                    </a:lnTo>
                    <a:lnTo>
                      <a:pt x="69" y="78"/>
                    </a:lnTo>
                    <a:lnTo>
                      <a:pt x="69" y="80"/>
                    </a:lnTo>
                    <a:lnTo>
                      <a:pt x="67" y="80"/>
                    </a:lnTo>
                    <a:lnTo>
                      <a:pt x="66" y="79"/>
                    </a:lnTo>
                    <a:lnTo>
                      <a:pt x="65" y="86"/>
                    </a:lnTo>
                    <a:lnTo>
                      <a:pt x="64" y="86"/>
                    </a:lnTo>
                    <a:lnTo>
                      <a:pt x="63" y="87"/>
                    </a:lnTo>
                    <a:lnTo>
                      <a:pt x="62" y="87"/>
                    </a:lnTo>
                    <a:lnTo>
                      <a:pt x="63" y="88"/>
                    </a:lnTo>
                    <a:lnTo>
                      <a:pt x="61" y="88"/>
                    </a:lnTo>
                    <a:lnTo>
                      <a:pt x="61" y="90"/>
                    </a:lnTo>
                    <a:lnTo>
                      <a:pt x="59" y="91"/>
                    </a:lnTo>
                    <a:lnTo>
                      <a:pt x="58" y="92"/>
                    </a:lnTo>
                    <a:lnTo>
                      <a:pt x="59" y="93"/>
                    </a:lnTo>
                    <a:lnTo>
                      <a:pt x="58" y="93"/>
                    </a:lnTo>
                    <a:lnTo>
                      <a:pt x="55" y="95"/>
                    </a:lnTo>
                    <a:lnTo>
                      <a:pt x="53" y="95"/>
                    </a:lnTo>
                    <a:lnTo>
                      <a:pt x="53" y="96"/>
                    </a:lnTo>
                    <a:lnTo>
                      <a:pt x="50" y="93"/>
                    </a:lnTo>
                    <a:lnTo>
                      <a:pt x="49" y="93"/>
                    </a:lnTo>
                    <a:lnTo>
                      <a:pt x="49" y="91"/>
                    </a:lnTo>
                    <a:lnTo>
                      <a:pt x="48" y="93"/>
                    </a:lnTo>
                    <a:lnTo>
                      <a:pt x="46" y="94"/>
                    </a:lnTo>
                    <a:lnTo>
                      <a:pt x="45" y="95"/>
                    </a:lnTo>
                    <a:lnTo>
                      <a:pt x="42" y="93"/>
                    </a:lnTo>
                    <a:lnTo>
                      <a:pt x="41" y="93"/>
                    </a:lnTo>
                    <a:lnTo>
                      <a:pt x="39" y="94"/>
                    </a:lnTo>
                    <a:lnTo>
                      <a:pt x="37" y="94"/>
                    </a:lnTo>
                    <a:lnTo>
                      <a:pt x="37" y="96"/>
                    </a:lnTo>
                    <a:lnTo>
                      <a:pt x="36" y="97"/>
                    </a:lnTo>
                    <a:lnTo>
                      <a:pt x="33" y="95"/>
                    </a:lnTo>
                    <a:lnTo>
                      <a:pt x="33" y="92"/>
                    </a:lnTo>
                    <a:lnTo>
                      <a:pt x="32" y="92"/>
                    </a:lnTo>
                    <a:lnTo>
                      <a:pt x="30" y="93"/>
                    </a:lnTo>
                    <a:lnTo>
                      <a:pt x="32" y="95"/>
                    </a:lnTo>
                    <a:lnTo>
                      <a:pt x="30" y="96"/>
                    </a:lnTo>
                    <a:lnTo>
                      <a:pt x="29" y="96"/>
                    </a:lnTo>
                    <a:lnTo>
                      <a:pt x="27" y="97"/>
                    </a:lnTo>
                    <a:lnTo>
                      <a:pt x="27" y="100"/>
                    </a:lnTo>
                    <a:lnTo>
                      <a:pt x="27" y="103"/>
                    </a:lnTo>
                    <a:lnTo>
                      <a:pt x="25" y="105"/>
                    </a:lnTo>
                    <a:lnTo>
                      <a:pt x="25" y="104"/>
                    </a:lnTo>
                    <a:lnTo>
                      <a:pt x="25" y="105"/>
                    </a:lnTo>
                    <a:lnTo>
                      <a:pt x="24" y="104"/>
                    </a:lnTo>
                    <a:lnTo>
                      <a:pt x="23" y="103"/>
                    </a:lnTo>
                    <a:lnTo>
                      <a:pt x="22" y="102"/>
                    </a:lnTo>
                    <a:lnTo>
                      <a:pt x="21" y="101"/>
                    </a:lnTo>
                    <a:lnTo>
                      <a:pt x="19" y="104"/>
                    </a:lnTo>
                    <a:lnTo>
                      <a:pt x="18" y="108"/>
                    </a:lnTo>
                    <a:lnTo>
                      <a:pt x="16" y="109"/>
                    </a:lnTo>
                    <a:lnTo>
                      <a:pt x="15" y="111"/>
                    </a:lnTo>
                    <a:lnTo>
                      <a:pt x="12" y="112"/>
                    </a:lnTo>
                    <a:lnTo>
                      <a:pt x="12" y="115"/>
                    </a:lnTo>
                    <a:lnTo>
                      <a:pt x="14" y="116"/>
                    </a:lnTo>
                    <a:lnTo>
                      <a:pt x="14" y="118"/>
                    </a:lnTo>
                    <a:lnTo>
                      <a:pt x="16" y="120"/>
                    </a:lnTo>
                    <a:lnTo>
                      <a:pt x="16" y="124"/>
                    </a:lnTo>
                    <a:lnTo>
                      <a:pt x="12" y="128"/>
                    </a:lnTo>
                    <a:lnTo>
                      <a:pt x="14" y="131"/>
                    </a:lnTo>
                    <a:lnTo>
                      <a:pt x="16" y="134"/>
                    </a:lnTo>
                    <a:lnTo>
                      <a:pt x="16" y="138"/>
                    </a:lnTo>
                    <a:lnTo>
                      <a:pt x="17" y="139"/>
                    </a:lnTo>
                    <a:lnTo>
                      <a:pt x="18" y="140"/>
                    </a:lnTo>
                    <a:lnTo>
                      <a:pt x="19" y="140"/>
                    </a:lnTo>
                    <a:lnTo>
                      <a:pt x="19" y="142"/>
                    </a:lnTo>
                    <a:lnTo>
                      <a:pt x="17" y="144"/>
                    </a:lnTo>
                    <a:lnTo>
                      <a:pt x="16" y="143"/>
                    </a:lnTo>
                    <a:lnTo>
                      <a:pt x="16" y="146"/>
                    </a:lnTo>
                    <a:lnTo>
                      <a:pt x="14" y="148"/>
                    </a:lnTo>
                    <a:lnTo>
                      <a:pt x="16" y="150"/>
                    </a:lnTo>
                    <a:lnTo>
                      <a:pt x="16" y="148"/>
                    </a:lnTo>
                    <a:lnTo>
                      <a:pt x="20" y="148"/>
                    </a:lnTo>
                    <a:lnTo>
                      <a:pt x="22" y="148"/>
                    </a:lnTo>
                    <a:lnTo>
                      <a:pt x="23" y="150"/>
                    </a:lnTo>
                    <a:lnTo>
                      <a:pt x="25" y="149"/>
                    </a:lnTo>
                    <a:lnTo>
                      <a:pt x="27" y="145"/>
                    </a:lnTo>
                    <a:lnTo>
                      <a:pt x="28" y="145"/>
                    </a:lnTo>
                    <a:lnTo>
                      <a:pt x="29" y="148"/>
                    </a:lnTo>
                    <a:lnTo>
                      <a:pt x="27" y="152"/>
                    </a:lnTo>
                    <a:lnTo>
                      <a:pt x="27" y="154"/>
                    </a:lnTo>
                    <a:lnTo>
                      <a:pt x="27" y="155"/>
                    </a:lnTo>
                    <a:lnTo>
                      <a:pt x="27" y="156"/>
                    </a:lnTo>
                    <a:lnTo>
                      <a:pt x="25" y="157"/>
                    </a:lnTo>
                    <a:lnTo>
                      <a:pt x="23" y="166"/>
                    </a:lnTo>
                    <a:lnTo>
                      <a:pt x="21" y="165"/>
                    </a:lnTo>
                    <a:lnTo>
                      <a:pt x="20" y="166"/>
                    </a:lnTo>
                    <a:lnTo>
                      <a:pt x="19" y="165"/>
                    </a:lnTo>
                    <a:lnTo>
                      <a:pt x="19" y="167"/>
                    </a:lnTo>
                    <a:lnTo>
                      <a:pt x="18" y="168"/>
                    </a:lnTo>
                    <a:lnTo>
                      <a:pt x="17" y="168"/>
                    </a:lnTo>
                    <a:lnTo>
                      <a:pt x="16" y="167"/>
                    </a:lnTo>
                    <a:lnTo>
                      <a:pt x="14" y="167"/>
                    </a:lnTo>
                    <a:lnTo>
                      <a:pt x="12" y="167"/>
                    </a:lnTo>
                    <a:lnTo>
                      <a:pt x="11" y="171"/>
                    </a:lnTo>
                    <a:lnTo>
                      <a:pt x="9" y="177"/>
                    </a:lnTo>
                    <a:lnTo>
                      <a:pt x="9" y="180"/>
                    </a:lnTo>
                    <a:lnTo>
                      <a:pt x="7" y="181"/>
                    </a:lnTo>
                    <a:lnTo>
                      <a:pt x="6" y="181"/>
                    </a:lnTo>
                    <a:lnTo>
                      <a:pt x="1" y="180"/>
                    </a:lnTo>
                    <a:lnTo>
                      <a:pt x="1" y="187"/>
                    </a:lnTo>
                    <a:lnTo>
                      <a:pt x="2" y="186"/>
                    </a:lnTo>
                    <a:lnTo>
                      <a:pt x="3" y="188"/>
                    </a:lnTo>
                    <a:lnTo>
                      <a:pt x="2" y="191"/>
                    </a:lnTo>
                    <a:lnTo>
                      <a:pt x="0" y="192"/>
                    </a:lnTo>
                    <a:lnTo>
                      <a:pt x="6" y="194"/>
                    </a:lnTo>
                    <a:lnTo>
                      <a:pt x="8" y="193"/>
                    </a:lnTo>
                    <a:lnTo>
                      <a:pt x="9" y="195"/>
                    </a:lnTo>
                    <a:lnTo>
                      <a:pt x="11" y="192"/>
                    </a:lnTo>
                    <a:lnTo>
                      <a:pt x="12" y="192"/>
                    </a:lnTo>
                    <a:lnTo>
                      <a:pt x="13" y="191"/>
                    </a:lnTo>
                    <a:lnTo>
                      <a:pt x="14" y="192"/>
                    </a:lnTo>
                    <a:lnTo>
                      <a:pt x="16" y="191"/>
                    </a:lnTo>
                    <a:lnTo>
                      <a:pt x="20" y="191"/>
                    </a:lnTo>
                    <a:lnTo>
                      <a:pt x="25" y="188"/>
                    </a:lnTo>
                    <a:lnTo>
                      <a:pt x="28" y="189"/>
                    </a:lnTo>
                    <a:lnTo>
                      <a:pt x="29" y="189"/>
                    </a:lnTo>
                    <a:lnTo>
                      <a:pt x="29" y="196"/>
                    </a:lnTo>
                    <a:lnTo>
                      <a:pt x="31" y="197"/>
                    </a:lnTo>
                    <a:lnTo>
                      <a:pt x="32" y="198"/>
                    </a:lnTo>
                    <a:lnTo>
                      <a:pt x="32" y="200"/>
                    </a:lnTo>
                    <a:lnTo>
                      <a:pt x="32" y="202"/>
                    </a:lnTo>
                    <a:lnTo>
                      <a:pt x="32" y="206"/>
                    </a:lnTo>
                    <a:lnTo>
                      <a:pt x="31" y="208"/>
                    </a:lnTo>
                    <a:lnTo>
                      <a:pt x="29" y="210"/>
                    </a:lnTo>
                    <a:lnTo>
                      <a:pt x="29" y="211"/>
                    </a:lnTo>
                    <a:lnTo>
                      <a:pt x="28" y="214"/>
                    </a:lnTo>
                    <a:lnTo>
                      <a:pt x="27" y="215"/>
                    </a:lnTo>
                    <a:lnTo>
                      <a:pt x="28" y="216"/>
                    </a:lnTo>
                    <a:lnTo>
                      <a:pt x="29" y="215"/>
                    </a:lnTo>
                    <a:lnTo>
                      <a:pt x="30" y="213"/>
                    </a:lnTo>
                    <a:lnTo>
                      <a:pt x="37" y="214"/>
                    </a:lnTo>
                    <a:lnTo>
                      <a:pt x="37" y="218"/>
                    </a:lnTo>
                    <a:lnTo>
                      <a:pt x="39" y="217"/>
                    </a:lnTo>
                    <a:lnTo>
                      <a:pt x="41" y="218"/>
                    </a:lnTo>
                    <a:lnTo>
                      <a:pt x="42" y="220"/>
                    </a:lnTo>
                    <a:lnTo>
                      <a:pt x="43" y="221"/>
                    </a:lnTo>
                    <a:lnTo>
                      <a:pt x="42" y="227"/>
                    </a:lnTo>
                    <a:lnTo>
                      <a:pt x="44" y="227"/>
                    </a:lnTo>
                    <a:lnTo>
                      <a:pt x="45" y="225"/>
                    </a:lnTo>
                    <a:lnTo>
                      <a:pt x="47" y="227"/>
                    </a:lnTo>
                    <a:lnTo>
                      <a:pt x="47" y="226"/>
                    </a:lnTo>
                    <a:lnTo>
                      <a:pt x="49" y="227"/>
                    </a:lnTo>
                    <a:lnTo>
                      <a:pt x="50" y="226"/>
                    </a:lnTo>
                    <a:lnTo>
                      <a:pt x="52" y="227"/>
                    </a:lnTo>
                    <a:lnTo>
                      <a:pt x="52" y="229"/>
                    </a:lnTo>
                    <a:lnTo>
                      <a:pt x="55" y="229"/>
                    </a:lnTo>
                    <a:lnTo>
                      <a:pt x="56" y="229"/>
                    </a:lnTo>
                    <a:lnTo>
                      <a:pt x="59" y="228"/>
                    </a:lnTo>
                    <a:lnTo>
                      <a:pt x="61" y="230"/>
                    </a:lnTo>
                    <a:lnTo>
                      <a:pt x="60" y="231"/>
                    </a:lnTo>
                    <a:lnTo>
                      <a:pt x="63" y="233"/>
                    </a:lnTo>
                    <a:lnTo>
                      <a:pt x="63" y="232"/>
                    </a:lnTo>
                    <a:lnTo>
                      <a:pt x="65" y="234"/>
                    </a:lnTo>
                    <a:lnTo>
                      <a:pt x="64" y="237"/>
                    </a:lnTo>
                    <a:lnTo>
                      <a:pt x="65" y="238"/>
                    </a:lnTo>
                    <a:lnTo>
                      <a:pt x="64" y="240"/>
                    </a:lnTo>
                    <a:lnTo>
                      <a:pt x="64" y="241"/>
                    </a:lnTo>
                    <a:lnTo>
                      <a:pt x="62" y="243"/>
                    </a:lnTo>
                    <a:lnTo>
                      <a:pt x="63" y="244"/>
                    </a:lnTo>
                    <a:lnTo>
                      <a:pt x="62" y="245"/>
                    </a:lnTo>
                    <a:lnTo>
                      <a:pt x="62" y="246"/>
                    </a:lnTo>
                    <a:lnTo>
                      <a:pt x="63" y="246"/>
                    </a:lnTo>
                    <a:lnTo>
                      <a:pt x="65" y="248"/>
                    </a:lnTo>
                    <a:lnTo>
                      <a:pt x="66" y="247"/>
                    </a:lnTo>
                    <a:lnTo>
                      <a:pt x="67" y="248"/>
                    </a:lnTo>
                    <a:lnTo>
                      <a:pt x="68" y="247"/>
                    </a:lnTo>
                    <a:lnTo>
                      <a:pt x="68" y="249"/>
                    </a:lnTo>
                    <a:lnTo>
                      <a:pt x="69" y="246"/>
                    </a:lnTo>
                    <a:lnTo>
                      <a:pt x="74" y="246"/>
                    </a:lnTo>
                    <a:lnTo>
                      <a:pt x="74" y="250"/>
                    </a:lnTo>
                    <a:lnTo>
                      <a:pt x="76" y="252"/>
                    </a:lnTo>
                    <a:lnTo>
                      <a:pt x="80" y="257"/>
                    </a:lnTo>
                    <a:lnTo>
                      <a:pt x="83" y="261"/>
                    </a:lnTo>
                    <a:lnTo>
                      <a:pt x="88" y="258"/>
                    </a:lnTo>
                    <a:lnTo>
                      <a:pt x="89" y="259"/>
                    </a:lnTo>
                    <a:lnTo>
                      <a:pt x="90" y="257"/>
                    </a:lnTo>
                    <a:lnTo>
                      <a:pt x="91" y="258"/>
                    </a:lnTo>
                    <a:lnTo>
                      <a:pt x="93" y="257"/>
                    </a:lnTo>
                    <a:lnTo>
                      <a:pt x="94" y="257"/>
                    </a:lnTo>
                    <a:lnTo>
                      <a:pt x="96" y="260"/>
                    </a:lnTo>
                    <a:lnTo>
                      <a:pt x="102" y="259"/>
                    </a:lnTo>
                    <a:lnTo>
                      <a:pt x="102" y="255"/>
                    </a:lnTo>
                    <a:lnTo>
                      <a:pt x="104" y="261"/>
                    </a:lnTo>
                    <a:lnTo>
                      <a:pt x="104" y="262"/>
                    </a:lnTo>
                    <a:lnTo>
                      <a:pt x="108" y="261"/>
                    </a:lnTo>
                    <a:lnTo>
                      <a:pt x="113" y="265"/>
                    </a:lnTo>
                    <a:lnTo>
                      <a:pt x="116" y="268"/>
                    </a:lnTo>
                    <a:lnTo>
                      <a:pt x="115" y="269"/>
                    </a:lnTo>
                    <a:lnTo>
                      <a:pt x="115" y="271"/>
                    </a:lnTo>
                    <a:lnTo>
                      <a:pt x="111" y="278"/>
                    </a:lnTo>
                    <a:lnTo>
                      <a:pt x="114" y="280"/>
                    </a:lnTo>
                    <a:lnTo>
                      <a:pt x="116" y="278"/>
                    </a:lnTo>
                    <a:lnTo>
                      <a:pt x="118" y="278"/>
                    </a:lnTo>
                    <a:lnTo>
                      <a:pt x="124" y="285"/>
                    </a:lnTo>
                    <a:lnTo>
                      <a:pt x="128" y="285"/>
                    </a:lnTo>
                    <a:lnTo>
                      <a:pt x="132" y="294"/>
                    </a:lnTo>
                    <a:lnTo>
                      <a:pt x="134" y="299"/>
                    </a:lnTo>
                    <a:lnTo>
                      <a:pt x="133" y="300"/>
                    </a:lnTo>
                    <a:lnTo>
                      <a:pt x="134" y="302"/>
                    </a:lnTo>
                    <a:lnTo>
                      <a:pt x="137" y="301"/>
                    </a:lnTo>
                    <a:lnTo>
                      <a:pt x="136" y="302"/>
                    </a:lnTo>
                    <a:lnTo>
                      <a:pt x="137" y="303"/>
                    </a:lnTo>
                    <a:lnTo>
                      <a:pt x="136" y="303"/>
                    </a:lnTo>
                    <a:lnTo>
                      <a:pt x="136" y="305"/>
                    </a:lnTo>
                    <a:lnTo>
                      <a:pt x="138" y="313"/>
                    </a:lnTo>
                    <a:lnTo>
                      <a:pt x="141" y="312"/>
                    </a:lnTo>
                    <a:lnTo>
                      <a:pt x="143" y="313"/>
                    </a:lnTo>
                    <a:lnTo>
                      <a:pt x="146" y="312"/>
                    </a:lnTo>
                    <a:lnTo>
                      <a:pt x="147" y="312"/>
                    </a:lnTo>
                    <a:lnTo>
                      <a:pt x="149" y="310"/>
                    </a:lnTo>
                    <a:lnTo>
                      <a:pt x="150" y="310"/>
                    </a:lnTo>
                    <a:lnTo>
                      <a:pt x="155" y="312"/>
                    </a:lnTo>
                    <a:lnTo>
                      <a:pt x="158" y="309"/>
                    </a:lnTo>
                    <a:lnTo>
                      <a:pt x="159" y="306"/>
                    </a:lnTo>
                    <a:lnTo>
                      <a:pt x="163" y="303"/>
                    </a:lnTo>
                    <a:lnTo>
                      <a:pt x="165" y="301"/>
                    </a:lnTo>
                    <a:lnTo>
                      <a:pt x="166" y="300"/>
                    </a:lnTo>
                    <a:lnTo>
                      <a:pt x="168" y="299"/>
                    </a:lnTo>
                    <a:lnTo>
                      <a:pt x="168" y="297"/>
                    </a:lnTo>
                    <a:lnTo>
                      <a:pt x="170" y="293"/>
                    </a:lnTo>
                    <a:lnTo>
                      <a:pt x="175" y="289"/>
                    </a:lnTo>
                    <a:lnTo>
                      <a:pt x="176" y="289"/>
                    </a:lnTo>
                    <a:lnTo>
                      <a:pt x="178" y="288"/>
                    </a:lnTo>
                    <a:lnTo>
                      <a:pt x="178" y="283"/>
                    </a:lnTo>
                    <a:lnTo>
                      <a:pt x="187" y="284"/>
                    </a:lnTo>
                    <a:lnTo>
                      <a:pt x="188" y="284"/>
                    </a:lnTo>
                    <a:lnTo>
                      <a:pt x="189" y="283"/>
                    </a:lnTo>
                    <a:lnTo>
                      <a:pt x="195" y="284"/>
                    </a:lnTo>
                    <a:lnTo>
                      <a:pt x="198" y="284"/>
                    </a:lnTo>
                    <a:lnTo>
                      <a:pt x="203" y="287"/>
                    </a:lnTo>
                    <a:lnTo>
                      <a:pt x="208" y="285"/>
                    </a:lnTo>
                    <a:lnTo>
                      <a:pt x="208" y="281"/>
                    </a:lnTo>
                    <a:lnTo>
                      <a:pt x="211" y="274"/>
                    </a:lnTo>
                    <a:lnTo>
                      <a:pt x="212" y="271"/>
                    </a:lnTo>
                    <a:lnTo>
                      <a:pt x="213" y="270"/>
                    </a:lnTo>
                    <a:lnTo>
                      <a:pt x="212" y="266"/>
                    </a:lnTo>
                    <a:lnTo>
                      <a:pt x="213" y="263"/>
                    </a:lnTo>
                    <a:lnTo>
                      <a:pt x="215" y="259"/>
                    </a:lnTo>
                    <a:lnTo>
                      <a:pt x="217" y="257"/>
                    </a:lnTo>
                    <a:lnTo>
                      <a:pt x="218" y="253"/>
                    </a:lnTo>
                    <a:lnTo>
                      <a:pt x="217" y="249"/>
                    </a:lnTo>
                    <a:lnTo>
                      <a:pt x="218" y="247"/>
                    </a:lnTo>
                    <a:lnTo>
                      <a:pt x="220" y="246"/>
                    </a:lnTo>
                    <a:lnTo>
                      <a:pt x="221" y="244"/>
                    </a:lnTo>
                    <a:lnTo>
                      <a:pt x="224" y="242"/>
                    </a:lnTo>
                    <a:lnTo>
                      <a:pt x="228" y="242"/>
                    </a:lnTo>
                    <a:lnTo>
                      <a:pt x="229" y="242"/>
                    </a:lnTo>
                    <a:lnTo>
                      <a:pt x="236" y="244"/>
                    </a:lnTo>
                    <a:lnTo>
                      <a:pt x="237" y="242"/>
                    </a:lnTo>
                    <a:lnTo>
                      <a:pt x="239" y="241"/>
                    </a:lnTo>
                    <a:lnTo>
                      <a:pt x="241" y="241"/>
                    </a:lnTo>
                    <a:lnTo>
                      <a:pt x="244" y="244"/>
                    </a:lnTo>
                    <a:lnTo>
                      <a:pt x="248" y="245"/>
                    </a:lnTo>
                    <a:lnTo>
                      <a:pt x="250" y="245"/>
                    </a:lnTo>
                    <a:lnTo>
                      <a:pt x="251" y="242"/>
                    </a:lnTo>
                    <a:lnTo>
                      <a:pt x="254" y="242"/>
                    </a:lnTo>
                    <a:lnTo>
                      <a:pt x="261" y="239"/>
                    </a:lnTo>
                    <a:lnTo>
                      <a:pt x="263" y="237"/>
                    </a:lnTo>
                    <a:lnTo>
                      <a:pt x="266" y="234"/>
                    </a:lnTo>
                    <a:lnTo>
                      <a:pt x="266" y="232"/>
                    </a:lnTo>
                    <a:lnTo>
                      <a:pt x="270" y="229"/>
                    </a:lnTo>
                    <a:lnTo>
                      <a:pt x="269" y="228"/>
                    </a:lnTo>
                    <a:lnTo>
                      <a:pt x="270" y="226"/>
                    </a:lnTo>
                    <a:lnTo>
                      <a:pt x="274" y="219"/>
                    </a:lnTo>
                    <a:lnTo>
                      <a:pt x="277" y="215"/>
                    </a:lnTo>
                    <a:lnTo>
                      <a:pt x="277" y="204"/>
                    </a:lnTo>
                    <a:lnTo>
                      <a:pt x="278" y="202"/>
                    </a:lnTo>
                    <a:lnTo>
                      <a:pt x="279" y="202"/>
                    </a:lnTo>
                    <a:lnTo>
                      <a:pt x="280" y="202"/>
                    </a:lnTo>
                    <a:lnTo>
                      <a:pt x="279" y="199"/>
                    </a:lnTo>
                    <a:lnTo>
                      <a:pt x="277" y="197"/>
                    </a:lnTo>
                    <a:lnTo>
                      <a:pt x="277" y="194"/>
                    </a:lnTo>
                    <a:lnTo>
                      <a:pt x="278" y="191"/>
                    </a:lnTo>
                    <a:lnTo>
                      <a:pt x="280" y="190"/>
                    </a:lnTo>
                    <a:lnTo>
                      <a:pt x="280" y="187"/>
                    </a:lnTo>
                    <a:lnTo>
                      <a:pt x="280" y="186"/>
                    </a:lnTo>
                    <a:lnTo>
                      <a:pt x="286" y="183"/>
                    </a:lnTo>
                    <a:lnTo>
                      <a:pt x="284" y="179"/>
                    </a:lnTo>
                    <a:lnTo>
                      <a:pt x="285" y="169"/>
                    </a:lnTo>
                    <a:lnTo>
                      <a:pt x="288" y="167"/>
                    </a:lnTo>
                    <a:lnTo>
                      <a:pt x="289" y="163"/>
                    </a:lnTo>
                    <a:lnTo>
                      <a:pt x="290" y="163"/>
                    </a:lnTo>
                    <a:lnTo>
                      <a:pt x="290" y="157"/>
                    </a:lnTo>
                    <a:lnTo>
                      <a:pt x="292" y="157"/>
                    </a:lnTo>
                    <a:lnTo>
                      <a:pt x="292" y="155"/>
                    </a:lnTo>
                    <a:lnTo>
                      <a:pt x="293" y="151"/>
                    </a:lnTo>
                    <a:lnTo>
                      <a:pt x="290" y="151"/>
                    </a:lnTo>
                    <a:lnTo>
                      <a:pt x="291" y="147"/>
                    </a:lnTo>
                    <a:lnTo>
                      <a:pt x="291" y="142"/>
                    </a:lnTo>
                    <a:lnTo>
                      <a:pt x="296" y="140"/>
                    </a:lnTo>
                    <a:lnTo>
                      <a:pt x="296" y="137"/>
                    </a:lnTo>
                    <a:lnTo>
                      <a:pt x="302" y="133"/>
                    </a:lnTo>
                    <a:lnTo>
                      <a:pt x="303" y="128"/>
                    </a:lnTo>
                    <a:lnTo>
                      <a:pt x="303" y="125"/>
                    </a:lnTo>
                    <a:lnTo>
                      <a:pt x="305" y="124"/>
                    </a:lnTo>
                    <a:lnTo>
                      <a:pt x="306" y="124"/>
                    </a:lnTo>
                    <a:lnTo>
                      <a:pt x="308" y="123"/>
                    </a:lnTo>
                    <a:lnTo>
                      <a:pt x="310" y="124"/>
                    </a:lnTo>
                    <a:lnTo>
                      <a:pt x="311" y="122"/>
                    </a:lnTo>
                    <a:lnTo>
                      <a:pt x="312" y="123"/>
                    </a:lnTo>
                    <a:lnTo>
                      <a:pt x="313" y="121"/>
                    </a:lnTo>
                    <a:lnTo>
                      <a:pt x="320" y="123"/>
                    </a:lnTo>
                    <a:lnTo>
                      <a:pt x="322" y="122"/>
                    </a:lnTo>
                    <a:lnTo>
                      <a:pt x="326" y="121"/>
                    </a:lnTo>
                    <a:lnTo>
                      <a:pt x="327" y="120"/>
                    </a:lnTo>
                    <a:lnTo>
                      <a:pt x="330" y="120"/>
                    </a:lnTo>
                    <a:lnTo>
                      <a:pt x="335" y="120"/>
                    </a:lnTo>
                    <a:lnTo>
                      <a:pt x="336" y="119"/>
                    </a:lnTo>
                    <a:lnTo>
                      <a:pt x="336" y="118"/>
                    </a:lnTo>
                    <a:lnTo>
                      <a:pt x="341" y="116"/>
                    </a:lnTo>
                    <a:lnTo>
                      <a:pt x="344" y="114"/>
                    </a:lnTo>
                    <a:lnTo>
                      <a:pt x="345" y="114"/>
                    </a:lnTo>
                    <a:lnTo>
                      <a:pt x="353" y="113"/>
                    </a:lnTo>
                    <a:lnTo>
                      <a:pt x="358" y="110"/>
                    </a:lnTo>
                    <a:lnTo>
                      <a:pt x="362" y="103"/>
                    </a:lnTo>
                    <a:lnTo>
                      <a:pt x="363" y="102"/>
                    </a:lnTo>
                    <a:lnTo>
                      <a:pt x="366" y="102"/>
                    </a:lnTo>
                    <a:lnTo>
                      <a:pt x="365" y="98"/>
                    </a:lnTo>
                    <a:lnTo>
                      <a:pt x="368" y="97"/>
                    </a:lnTo>
                    <a:lnTo>
                      <a:pt x="370" y="93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84" name="Group 119">
              <a:extLst>
                <a:ext uri="{FF2B5EF4-FFF2-40B4-BE49-F238E27FC236}">
                  <a16:creationId xmlns:a16="http://schemas.microsoft.com/office/drawing/2014/main" id="{BCA6464C-0AE6-49DE-ACBF-BE691C89DAF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63" y="3367"/>
              <a:ext cx="572" cy="484"/>
              <a:chOff x="763" y="3367"/>
              <a:chExt cx="572" cy="484"/>
            </a:xfrm>
          </p:grpSpPr>
          <p:sp>
            <p:nvSpPr>
              <p:cNvPr id="491" name="Freeform 117">
                <a:extLst>
                  <a:ext uri="{FF2B5EF4-FFF2-40B4-BE49-F238E27FC236}">
                    <a16:creationId xmlns:a16="http://schemas.microsoft.com/office/drawing/2014/main" id="{C77BA599-7BA1-4798-B807-283A2BC041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" y="3367"/>
                <a:ext cx="572" cy="484"/>
              </a:xfrm>
              <a:custGeom>
                <a:avLst/>
                <a:gdLst>
                  <a:gd name="T0" fmla="*/ 557 w 572"/>
                  <a:gd name="T1" fmla="*/ 259 h 484"/>
                  <a:gd name="T2" fmla="*/ 527 w 572"/>
                  <a:gd name="T3" fmla="*/ 257 h 484"/>
                  <a:gd name="T4" fmla="*/ 507 w 572"/>
                  <a:gd name="T5" fmla="*/ 242 h 484"/>
                  <a:gd name="T6" fmla="*/ 497 w 572"/>
                  <a:gd name="T7" fmla="*/ 214 h 484"/>
                  <a:gd name="T8" fmla="*/ 467 w 572"/>
                  <a:gd name="T9" fmla="*/ 200 h 484"/>
                  <a:gd name="T10" fmla="*/ 443 w 572"/>
                  <a:gd name="T11" fmla="*/ 189 h 484"/>
                  <a:gd name="T12" fmla="*/ 418 w 572"/>
                  <a:gd name="T13" fmla="*/ 168 h 484"/>
                  <a:gd name="T14" fmla="*/ 395 w 572"/>
                  <a:gd name="T15" fmla="*/ 140 h 484"/>
                  <a:gd name="T16" fmla="*/ 394 w 572"/>
                  <a:gd name="T17" fmla="*/ 113 h 484"/>
                  <a:gd name="T18" fmla="*/ 407 w 572"/>
                  <a:gd name="T19" fmla="*/ 79 h 484"/>
                  <a:gd name="T20" fmla="*/ 410 w 572"/>
                  <a:gd name="T21" fmla="*/ 54 h 484"/>
                  <a:gd name="T22" fmla="*/ 401 w 572"/>
                  <a:gd name="T23" fmla="*/ 32 h 484"/>
                  <a:gd name="T24" fmla="*/ 391 w 572"/>
                  <a:gd name="T25" fmla="*/ 24 h 484"/>
                  <a:gd name="T26" fmla="*/ 365 w 572"/>
                  <a:gd name="T27" fmla="*/ 14 h 484"/>
                  <a:gd name="T28" fmla="*/ 360 w 572"/>
                  <a:gd name="T29" fmla="*/ 29 h 484"/>
                  <a:gd name="T30" fmla="*/ 344 w 572"/>
                  <a:gd name="T31" fmla="*/ 39 h 484"/>
                  <a:gd name="T32" fmla="*/ 315 w 572"/>
                  <a:gd name="T33" fmla="*/ 39 h 484"/>
                  <a:gd name="T34" fmla="*/ 308 w 572"/>
                  <a:gd name="T35" fmla="*/ 34 h 484"/>
                  <a:gd name="T36" fmla="*/ 288 w 572"/>
                  <a:gd name="T37" fmla="*/ 31 h 484"/>
                  <a:gd name="T38" fmla="*/ 271 w 572"/>
                  <a:gd name="T39" fmla="*/ 22 h 484"/>
                  <a:gd name="T40" fmla="*/ 262 w 572"/>
                  <a:gd name="T41" fmla="*/ 26 h 484"/>
                  <a:gd name="T42" fmla="*/ 250 w 572"/>
                  <a:gd name="T43" fmla="*/ 21 h 484"/>
                  <a:gd name="T44" fmla="*/ 225 w 572"/>
                  <a:gd name="T45" fmla="*/ 6 h 484"/>
                  <a:gd name="T46" fmla="*/ 205 w 572"/>
                  <a:gd name="T47" fmla="*/ 17 h 484"/>
                  <a:gd name="T48" fmla="*/ 179 w 572"/>
                  <a:gd name="T49" fmla="*/ 16 h 484"/>
                  <a:gd name="T50" fmla="*/ 163 w 572"/>
                  <a:gd name="T51" fmla="*/ 6 h 484"/>
                  <a:gd name="T52" fmla="*/ 154 w 572"/>
                  <a:gd name="T53" fmla="*/ 16 h 484"/>
                  <a:gd name="T54" fmla="*/ 131 w 572"/>
                  <a:gd name="T55" fmla="*/ 15 h 484"/>
                  <a:gd name="T56" fmla="*/ 113 w 572"/>
                  <a:gd name="T57" fmla="*/ 10 h 484"/>
                  <a:gd name="T58" fmla="*/ 90 w 572"/>
                  <a:gd name="T59" fmla="*/ 17 h 484"/>
                  <a:gd name="T60" fmla="*/ 91 w 572"/>
                  <a:gd name="T61" fmla="*/ 32 h 484"/>
                  <a:gd name="T62" fmla="*/ 92 w 572"/>
                  <a:gd name="T63" fmla="*/ 49 h 484"/>
                  <a:gd name="T64" fmla="*/ 89 w 572"/>
                  <a:gd name="T65" fmla="*/ 74 h 484"/>
                  <a:gd name="T66" fmla="*/ 84 w 572"/>
                  <a:gd name="T67" fmla="*/ 98 h 484"/>
                  <a:gd name="T68" fmla="*/ 62 w 572"/>
                  <a:gd name="T69" fmla="*/ 116 h 484"/>
                  <a:gd name="T70" fmla="*/ 58 w 572"/>
                  <a:gd name="T71" fmla="*/ 138 h 484"/>
                  <a:gd name="T72" fmla="*/ 52 w 572"/>
                  <a:gd name="T73" fmla="*/ 168 h 484"/>
                  <a:gd name="T74" fmla="*/ 34 w 572"/>
                  <a:gd name="T75" fmla="*/ 177 h 484"/>
                  <a:gd name="T76" fmla="*/ 20 w 572"/>
                  <a:gd name="T77" fmla="*/ 196 h 484"/>
                  <a:gd name="T78" fmla="*/ 0 w 572"/>
                  <a:gd name="T79" fmla="*/ 245 h 484"/>
                  <a:gd name="T80" fmla="*/ 24 w 572"/>
                  <a:gd name="T81" fmla="*/ 282 h 484"/>
                  <a:gd name="T82" fmla="*/ 57 w 572"/>
                  <a:gd name="T83" fmla="*/ 328 h 484"/>
                  <a:gd name="T84" fmla="*/ 97 w 572"/>
                  <a:gd name="T85" fmla="*/ 386 h 484"/>
                  <a:gd name="T86" fmla="*/ 125 w 572"/>
                  <a:gd name="T87" fmla="*/ 414 h 484"/>
                  <a:gd name="T88" fmla="*/ 119 w 572"/>
                  <a:gd name="T89" fmla="*/ 447 h 484"/>
                  <a:gd name="T90" fmla="*/ 155 w 572"/>
                  <a:gd name="T91" fmla="*/ 457 h 484"/>
                  <a:gd name="T92" fmla="*/ 208 w 572"/>
                  <a:gd name="T93" fmla="*/ 477 h 484"/>
                  <a:gd name="T94" fmla="*/ 229 w 572"/>
                  <a:gd name="T95" fmla="*/ 444 h 484"/>
                  <a:gd name="T96" fmla="*/ 260 w 572"/>
                  <a:gd name="T97" fmla="*/ 468 h 484"/>
                  <a:gd name="T98" fmla="*/ 299 w 572"/>
                  <a:gd name="T99" fmla="*/ 482 h 484"/>
                  <a:gd name="T100" fmla="*/ 332 w 572"/>
                  <a:gd name="T101" fmla="*/ 418 h 484"/>
                  <a:gd name="T102" fmla="*/ 356 w 572"/>
                  <a:gd name="T103" fmla="*/ 399 h 484"/>
                  <a:gd name="T104" fmla="*/ 379 w 572"/>
                  <a:gd name="T105" fmla="*/ 397 h 484"/>
                  <a:gd name="T106" fmla="*/ 395 w 572"/>
                  <a:gd name="T107" fmla="*/ 340 h 484"/>
                  <a:gd name="T108" fmla="*/ 403 w 572"/>
                  <a:gd name="T109" fmla="*/ 295 h 484"/>
                  <a:gd name="T110" fmla="*/ 444 w 572"/>
                  <a:gd name="T111" fmla="*/ 311 h 484"/>
                  <a:gd name="T112" fmla="*/ 462 w 572"/>
                  <a:gd name="T113" fmla="*/ 329 h 484"/>
                  <a:gd name="T114" fmla="*/ 497 w 572"/>
                  <a:gd name="T115" fmla="*/ 322 h 484"/>
                  <a:gd name="T116" fmla="*/ 550 w 572"/>
                  <a:gd name="T117" fmla="*/ 358 h 484"/>
                  <a:gd name="T118" fmla="*/ 560 w 572"/>
                  <a:gd name="T119" fmla="*/ 348 h 484"/>
                  <a:gd name="T120" fmla="*/ 535 w 572"/>
                  <a:gd name="T121" fmla="*/ 322 h 484"/>
                  <a:gd name="T122" fmla="*/ 556 w 572"/>
                  <a:gd name="T123" fmla="*/ 299 h 48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2"/>
                  <a:gd name="T187" fmla="*/ 0 h 484"/>
                  <a:gd name="T188" fmla="*/ 572 w 572"/>
                  <a:gd name="T189" fmla="*/ 484 h 48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2" h="484">
                    <a:moveTo>
                      <a:pt x="572" y="284"/>
                    </a:moveTo>
                    <a:lnTo>
                      <a:pt x="567" y="277"/>
                    </a:lnTo>
                    <a:lnTo>
                      <a:pt x="568" y="276"/>
                    </a:lnTo>
                    <a:lnTo>
                      <a:pt x="570" y="276"/>
                    </a:lnTo>
                    <a:lnTo>
                      <a:pt x="570" y="274"/>
                    </a:lnTo>
                    <a:lnTo>
                      <a:pt x="567" y="273"/>
                    </a:lnTo>
                    <a:lnTo>
                      <a:pt x="565" y="274"/>
                    </a:lnTo>
                    <a:lnTo>
                      <a:pt x="566" y="274"/>
                    </a:lnTo>
                    <a:lnTo>
                      <a:pt x="565" y="275"/>
                    </a:lnTo>
                    <a:lnTo>
                      <a:pt x="562" y="271"/>
                    </a:lnTo>
                    <a:lnTo>
                      <a:pt x="561" y="269"/>
                    </a:lnTo>
                    <a:lnTo>
                      <a:pt x="562" y="268"/>
                    </a:lnTo>
                    <a:lnTo>
                      <a:pt x="565" y="268"/>
                    </a:lnTo>
                    <a:lnTo>
                      <a:pt x="565" y="269"/>
                    </a:lnTo>
                    <a:lnTo>
                      <a:pt x="565" y="267"/>
                    </a:lnTo>
                    <a:lnTo>
                      <a:pt x="565" y="263"/>
                    </a:lnTo>
                    <a:lnTo>
                      <a:pt x="562" y="261"/>
                    </a:lnTo>
                    <a:lnTo>
                      <a:pt x="561" y="264"/>
                    </a:lnTo>
                    <a:lnTo>
                      <a:pt x="562" y="261"/>
                    </a:lnTo>
                    <a:lnTo>
                      <a:pt x="559" y="259"/>
                    </a:lnTo>
                    <a:lnTo>
                      <a:pt x="558" y="259"/>
                    </a:lnTo>
                    <a:lnTo>
                      <a:pt x="557" y="259"/>
                    </a:lnTo>
                    <a:lnTo>
                      <a:pt x="556" y="261"/>
                    </a:lnTo>
                    <a:lnTo>
                      <a:pt x="557" y="263"/>
                    </a:lnTo>
                    <a:lnTo>
                      <a:pt x="556" y="264"/>
                    </a:lnTo>
                    <a:lnTo>
                      <a:pt x="554" y="264"/>
                    </a:lnTo>
                    <a:lnTo>
                      <a:pt x="554" y="263"/>
                    </a:lnTo>
                    <a:lnTo>
                      <a:pt x="553" y="261"/>
                    </a:lnTo>
                    <a:lnTo>
                      <a:pt x="550" y="260"/>
                    </a:lnTo>
                    <a:lnTo>
                      <a:pt x="549" y="261"/>
                    </a:lnTo>
                    <a:lnTo>
                      <a:pt x="546" y="265"/>
                    </a:lnTo>
                    <a:lnTo>
                      <a:pt x="544" y="264"/>
                    </a:lnTo>
                    <a:lnTo>
                      <a:pt x="542" y="264"/>
                    </a:lnTo>
                    <a:lnTo>
                      <a:pt x="537" y="262"/>
                    </a:lnTo>
                    <a:lnTo>
                      <a:pt x="537" y="264"/>
                    </a:lnTo>
                    <a:lnTo>
                      <a:pt x="536" y="263"/>
                    </a:lnTo>
                    <a:lnTo>
                      <a:pt x="535" y="264"/>
                    </a:lnTo>
                    <a:lnTo>
                      <a:pt x="535" y="262"/>
                    </a:lnTo>
                    <a:lnTo>
                      <a:pt x="534" y="262"/>
                    </a:lnTo>
                    <a:lnTo>
                      <a:pt x="532" y="257"/>
                    </a:lnTo>
                    <a:lnTo>
                      <a:pt x="531" y="256"/>
                    </a:lnTo>
                    <a:lnTo>
                      <a:pt x="529" y="256"/>
                    </a:lnTo>
                    <a:lnTo>
                      <a:pt x="528" y="257"/>
                    </a:lnTo>
                    <a:lnTo>
                      <a:pt x="527" y="257"/>
                    </a:lnTo>
                    <a:lnTo>
                      <a:pt x="526" y="261"/>
                    </a:lnTo>
                    <a:lnTo>
                      <a:pt x="524" y="263"/>
                    </a:lnTo>
                    <a:lnTo>
                      <a:pt x="524" y="262"/>
                    </a:lnTo>
                    <a:lnTo>
                      <a:pt x="524" y="259"/>
                    </a:lnTo>
                    <a:lnTo>
                      <a:pt x="521" y="257"/>
                    </a:lnTo>
                    <a:lnTo>
                      <a:pt x="520" y="255"/>
                    </a:lnTo>
                    <a:lnTo>
                      <a:pt x="518" y="254"/>
                    </a:lnTo>
                    <a:lnTo>
                      <a:pt x="517" y="254"/>
                    </a:lnTo>
                    <a:lnTo>
                      <a:pt x="516" y="254"/>
                    </a:lnTo>
                    <a:lnTo>
                      <a:pt x="513" y="251"/>
                    </a:lnTo>
                    <a:lnTo>
                      <a:pt x="514" y="250"/>
                    </a:lnTo>
                    <a:lnTo>
                      <a:pt x="513" y="247"/>
                    </a:lnTo>
                    <a:lnTo>
                      <a:pt x="512" y="245"/>
                    </a:lnTo>
                    <a:lnTo>
                      <a:pt x="511" y="246"/>
                    </a:lnTo>
                    <a:lnTo>
                      <a:pt x="509" y="244"/>
                    </a:lnTo>
                    <a:lnTo>
                      <a:pt x="510" y="242"/>
                    </a:lnTo>
                    <a:lnTo>
                      <a:pt x="509" y="242"/>
                    </a:lnTo>
                    <a:lnTo>
                      <a:pt x="508" y="242"/>
                    </a:lnTo>
                    <a:lnTo>
                      <a:pt x="508" y="244"/>
                    </a:lnTo>
                    <a:lnTo>
                      <a:pt x="507" y="244"/>
                    </a:lnTo>
                    <a:lnTo>
                      <a:pt x="507" y="242"/>
                    </a:lnTo>
                    <a:lnTo>
                      <a:pt x="506" y="239"/>
                    </a:lnTo>
                    <a:lnTo>
                      <a:pt x="506" y="237"/>
                    </a:lnTo>
                    <a:lnTo>
                      <a:pt x="504" y="237"/>
                    </a:lnTo>
                    <a:lnTo>
                      <a:pt x="503" y="237"/>
                    </a:lnTo>
                    <a:lnTo>
                      <a:pt x="505" y="234"/>
                    </a:lnTo>
                    <a:lnTo>
                      <a:pt x="505" y="231"/>
                    </a:lnTo>
                    <a:lnTo>
                      <a:pt x="507" y="229"/>
                    </a:lnTo>
                    <a:lnTo>
                      <a:pt x="507" y="227"/>
                    </a:lnTo>
                    <a:lnTo>
                      <a:pt x="509" y="225"/>
                    </a:lnTo>
                    <a:lnTo>
                      <a:pt x="508" y="224"/>
                    </a:lnTo>
                    <a:lnTo>
                      <a:pt x="508" y="223"/>
                    </a:lnTo>
                    <a:lnTo>
                      <a:pt x="508" y="221"/>
                    </a:lnTo>
                    <a:lnTo>
                      <a:pt x="508" y="217"/>
                    </a:lnTo>
                    <a:lnTo>
                      <a:pt x="508" y="214"/>
                    </a:lnTo>
                    <a:lnTo>
                      <a:pt x="507" y="213"/>
                    </a:lnTo>
                    <a:lnTo>
                      <a:pt x="504" y="212"/>
                    </a:lnTo>
                    <a:lnTo>
                      <a:pt x="503" y="212"/>
                    </a:lnTo>
                    <a:lnTo>
                      <a:pt x="502" y="212"/>
                    </a:lnTo>
                    <a:lnTo>
                      <a:pt x="501" y="211"/>
                    </a:lnTo>
                    <a:lnTo>
                      <a:pt x="499" y="211"/>
                    </a:lnTo>
                    <a:lnTo>
                      <a:pt x="499" y="213"/>
                    </a:lnTo>
                    <a:lnTo>
                      <a:pt x="497" y="214"/>
                    </a:lnTo>
                    <a:lnTo>
                      <a:pt x="494" y="211"/>
                    </a:lnTo>
                    <a:lnTo>
                      <a:pt x="491" y="211"/>
                    </a:lnTo>
                    <a:lnTo>
                      <a:pt x="490" y="213"/>
                    </a:lnTo>
                    <a:lnTo>
                      <a:pt x="488" y="214"/>
                    </a:lnTo>
                    <a:lnTo>
                      <a:pt x="487" y="212"/>
                    </a:lnTo>
                    <a:lnTo>
                      <a:pt x="486" y="212"/>
                    </a:lnTo>
                    <a:lnTo>
                      <a:pt x="484" y="213"/>
                    </a:lnTo>
                    <a:lnTo>
                      <a:pt x="484" y="214"/>
                    </a:lnTo>
                    <a:lnTo>
                      <a:pt x="482" y="215"/>
                    </a:lnTo>
                    <a:lnTo>
                      <a:pt x="483" y="212"/>
                    </a:lnTo>
                    <a:lnTo>
                      <a:pt x="484" y="210"/>
                    </a:lnTo>
                    <a:lnTo>
                      <a:pt x="480" y="206"/>
                    </a:lnTo>
                    <a:lnTo>
                      <a:pt x="480" y="207"/>
                    </a:lnTo>
                    <a:lnTo>
                      <a:pt x="478" y="206"/>
                    </a:lnTo>
                    <a:lnTo>
                      <a:pt x="477" y="206"/>
                    </a:lnTo>
                    <a:lnTo>
                      <a:pt x="474" y="203"/>
                    </a:lnTo>
                    <a:lnTo>
                      <a:pt x="471" y="203"/>
                    </a:lnTo>
                    <a:lnTo>
                      <a:pt x="470" y="204"/>
                    </a:lnTo>
                    <a:lnTo>
                      <a:pt x="469" y="199"/>
                    </a:lnTo>
                    <a:lnTo>
                      <a:pt x="467" y="199"/>
                    </a:lnTo>
                    <a:lnTo>
                      <a:pt x="467" y="200"/>
                    </a:lnTo>
                    <a:lnTo>
                      <a:pt x="462" y="205"/>
                    </a:lnTo>
                    <a:lnTo>
                      <a:pt x="459" y="206"/>
                    </a:lnTo>
                    <a:lnTo>
                      <a:pt x="458" y="206"/>
                    </a:lnTo>
                    <a:lnTo>
                      <a:pt x="455" y="204"/>
                    </a:lnTo>
                    <a:lnTo>
                      <a:pt x="452" y="203"/>
                    </a:lnTo>
                    <a:lnTo>
                      <a:pt x="453" y="202"/>
                    </a:lnTo>
                    <a:lnTo>
                      <a:pt x="452" y="198"/>
                    </a:lnTo>
                    <a:lnTo>
                      <a:pt x="453" y="197"/>
                    </a:lnTo>
                    <a:lnTo>
                      <a:pt x="452" y="196"/>
                    </a:lnTo>
                    <a:lnTo>
                      <a:pt x="451" y="193"/>
                    </a:lnTo>
                    <a:lnTo>
                      <a:pt x="450" y="193"/>
                    </a:lnTo>
                    <a:lnTo>
                      <a:pt x="449" y="191"/>
                    </a:lnTo>
                    <a:lnTo>
                      <a:pt x="448" y="190"/>
                    </a:lnTo>
                    <a:lnTo>
                      <a:pt x="444" y="190"/>
                    </a:lnTo>
                    <a:lnTo>
                      <a:pt x="442" y="193"/>
                    </a:lnTo>
                    <a:lnTo>
                      <a:pt x="440" y="190"/>
                    </a:lnTo>
                    <a:lnTo>
                      <a:pt x="438" y="190"/>
                    </a:lnTo>
                    <a:lnTo>
                      <a:pt x="436" y="187"/>
                    </a:lnTo>
                    <a:lnTo>
                      <a:pt x="437" y="187"/>
                    </a:lnTo>
                    <a:lnTo>
                      <a:pt x="438" y="187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42" y="184"/>
                    </a:lnTo>
                    <a:lnTo>
                      <a:pt x="444" y="183"/>
                    </a:lnTo>
                    <a:lnTo>
                      <a:pt x="445" y="180"/>
                    </a:lnTo>
                    <a:lnTo>
                      <a:pt x="439" y="177"/>
                    </a:lnTo>
                    <a:lnTo>
                      <a:pt x="436" y="176"/>
                    </a:lnTo>
                    <a:lnTo>
                      <a:pt x="435" y="177"/>
                    </a:lnTo>
                    <a:lnTo>
                      <a:pt x="433" y="176"/>
                    </a:lnTo>
                    <a:lnTo>
                      <a:pt x="434" y="176"/>
                    </a:lnTo>
                    <a:lnTo>
                      <a:pt x="431" y="173"/>
                    </a:lnTo>
                    <a:lnTo>
                      <a:pt x="430" y="171"/>
                    </a:lnTo>
                    <a:lnTo>
                      <a:pt x="429" y="167"/>
                    </a:lnTo>
                    <a:lnTo>
                      <a:pt x="427" y="167"/>
                    </a:lnTo>
                    <a:lnTo>
                      <a:pt x="428" y="165"/>
                    </a:lnTo>
                    <a:lnTo>
                      <a:pt x="427" y="165"/>
                    </a:lnTo>
                    <a:lnTo>
                      <a:pt x="426" y="164"/>
                    </a:lnTo>
                    <a:lnTo>
                      <a:pt x="424" y="165"/>
                    </a:lnTo>
                    <a:lnTo>
                      <a:pt x="423" y="166"/>
                    </a:lnTo>
                    <a:lnTo>
                      <a:pt x="422" y="166"/>
                    </a:lnTo>
                    <a:lnTo>
                      <a:pt x="420" y="167"/>
                    </a:lnTo>
                    <a:lnTo>
                      <a:pt x="418" y="168"/>
                    </a:lnTo>
                    <a:lnTo>
                      <a:pt x="415" y="172"/>
                    </a:lnTo>
                    <a:lnTo>
                      <a:pt x="412" y="171"/>
                    </a:lnTo>
                    <a:lnTo>
                      <a:pt x="412" y="170"/>
                    </a:lnTo>
                    <a:lnTo>
                      <a:pt x="411" y="170"/>
                    </a:lnTo>
                    <a:lnTo>
                      <a:pt x="411" y="169"/>
                    </a:lnTo>
                    <a:lnTo>
                      <a:pt x="410" y="166"/>
                    </a:lnTo>
                    <a:lnTo>
                      <a:pt x="407" y="163"/>
                    </a:lnTo>
                    <a:lnTo>
                      <a:pt x="406" y="163"/>
                    </a:lnTo>
                    <a:lnTo>
                      <a:pt x="404" y="160"/>
                    </a:lnTo>
                    <a:lnTo>
                      <a:pt x="405" y="158"/>
                    </a:lnTo>
                    <a:lnTo>
                      <a:pt x="403" y="157"/>
                    </a:lnTo>
                    <a:lnTo>
                      <a:pt x="403" y="156"/>
                    </a:lnTo>
                    <a:lnTo>
                      <a:pt x="401" y="155"/>
                    </a:lnTo>
                    <a:lnTo>
                      <a:pt x="398" y="153"/>
                    </a:lnTo>
                    <a:lnTo>
                      <a:pt x="400" y="150"/>
                    </a:lnTo>
                    <a:lnTo>
                      <a:pt x="400" y="149"/>
                    </a:lnTo>
                    <a:lnTo>
                      <a:pt x="397" y="148"/>
                    </a:lnTo>
                    <a:lnTo>
                      <a:pt x="395" y="144"/>
                    </a:lnTo>
                    <a:lnTo>
                      <a:pt x="394" y="142"/>
                    </a:lnTo>
                    <a:lnTo>
                      <a:pt x="394" y="141"/>
                    </a:lnTo>
                    <a:lnTo>
                      <a:pt x="395" y="140"/>
                    </a:lnTo>
                    <a:lnTo>
                      <a:pt x="395" y="139"/>
                    </a:lnTo>
                    <a:lnTo>
                      <a:pt x="397" y="139"/>
                    </a:lnTo>
                    <a:lnTo>
                      <a:pt x="397" y="136"/>
                    </a:lnTo>
                    <a:lnTo>
                      <a:pt x="398" y="137"/>
                    </a:lnTo>
                    <a:lnTo>
                      <a:pt x="400" y="135"/>
                    </a:lnTo>
                    <a:lnTo>
                      <a:pt x="401" y="134"/>
                    </a:lnTo>
                    <a:lnTo>
                      <a:pt x="402" y="135"/>
                    </a:lnTo>
                    <a:lnTo>
                      <a:pt x="403" y="132"/>
                    </a:lnTo>
                    <a:lnTo>
                      <a:pt x="401" y="133"/>
                    </a:lnTo>
                    <a:lnTo>
                      <a:pt x="401" y="129"/>
                    </a:lnTo>
                    <a:lnTo>
                      <a:pt x="400" y="126"/>
                    </a:lnTo>
                    <a:lnTo>
                      <a:pt x="397" y="125"/>
                    </a:lnTo>
                    <a:lnTo>
                      <a:pt x="393" y="123"/>
                    </a:lnTo>
                    <a:lnTo>
                      <a:pt x="392" y="122"/>
                    </a:lnTo>
                    <a:lnTo>
                      <a:pt x="393" y="120"/>
                    </a:lnTo>
                    <a:lnTo>
                      <a:pt x="393" y="119"/>
                    </a:lnTo>
                    <a:lnTo>
                      <a:pt x="393" y="118"/>
                    </a:lnTo>
                    <a:lnTo>
                      <a:pt x="393" y="116"/>
                    </a:lnTo>
                    <a:lnTo>
                      <a:pt x="395" y="116"/>
                    </a:lnTo>
                    <a:lnTo>
                      <a:pt x="393" y="115"/>
                    </a:lnTo>
                    <a:lnTo>
                      <a:pt x="394" y="113"/>
                    </a:lnTo>
                    <a:lnTo>
                      <a:pt x="395" y="113"/>
                    </a:lnTo>
                    <a:lnTo>
                      <a:pt x="397" y="113"/>
                    </a:lnTo>
                    <a:lnTo>
                      <a:pt x="397" y="111"/>
                    </a:lnTo>
                    <a:lnTo>
                      <a:pt x="397" y="109"/>
                    </a:lnTo>
                    <a:lnTo>
                      <a:pt x="398" y="108"/>
                    </a:lnTo>
                    <a:lnTo>
                      <a:pt x="398" y="105"/>
                    </a:lnTo>
                    <a:lnTo>
                      <a:pt x="399" y="105"/>
                    </a:lnTo>
                    <a:lnTo>
                      <a:pt x="399" y="102"/>
                    </a:lnTo>
                    <a:lnTo>
                      <a:pt x="401" y="102"/>
                    </a:lnTo>
                    <a:lnTo>
                      <a:pt x="402" y="99"/>
                    </a:lnTo>
                    <a:lnTo>
                      <a:pt x="401" y="99"/>
                    </a:lnTo>
                    <a:lnTo>
                      <a:pt x="400" y="100"/>
                    </a:lnTo>
                    <a:lnTo>
                      <a:pt x="398" y="100"/>
                    </a:lnTo>
                    <a:lnTo>
                      <a:pt x="398" y="99"/>
                    </a:lnTo>
                    <a:lnTo>
                      <a:pt x="398" y="98"/>
                    </a:lnTo>
                    <a:lnTo>
                      <a:pt x="400" y="98"/>
                    </a:lnTo>
                    <a:lnTo>
                      <a:pt x="402" y="95"/>
                    </a:lnTo>
                    <a:lnTo>
                      <a:pt x="402" y="91"/>
                    </a:lnTo>
                    <a:lnTo>
                      <a:pt x="403" y="89"/>
                    </a:lnTo>
                    <a:lnTo>
                      <a:pt x="406" y="89"/>
                    </a:lnTo>
                    <a:lnTo>
                      <a:pt x="407" y="80"/>
                    </a:lnTo>
                    <a:lnTo>
                      <a:pt x="407" y="79"/>
                    </a:lnTo>
                    <a:lnTo>
                      <a:pt x="406" y="78"/>
                    </a:lnTo>
                    <a:lnTo>
                      <a:pt x="406" y="76"/>
                    </a:lnTo>
                    <a:lnTo>
                      <a:pt x="407" y="75"/>
                    </a:lnTo>
                    <a:lnTo>
                      <a:pt x="409" y="73"/>
                    </a:lnTo>
                    <a:lnTo>
                      <a:pt x="410" y="72"/>
                    </a:lnTo>
                    <a:lnTo>
                      <a:pt x="409" y="70"/>
                    </a:lnTo>
                    <a:lnTo>
                      <a:pt x="410" y="67"/>
                    </a:lnTo>
                    <a:lnTo>
                      <a:pt x="409" y="66"/>
                    </a:lnTo>
                    <a:lnTo>
                      <a:pt x="409" y="65"/>
                    </a:lnTo>
                    <a:lnTo>
                      <a:pt x="410" y="65"/>
                    </a:lnTo>
                    <a:lnTo>
                      <a:pt x="407" y="62"/>
                    </a:lnTo>
                    <a:lnTo>
                      <a:pt x="407" y="61"/>
                    </a:lnTo>
                    <a:lnTo>
                      <a:pt x="407" y="59"/>
                    </a:lnTo>
                    <a:lnTo>
                      <a:pt x="406" y="59"/>
                    </a:lnTo>
                    <a:lnTo>
                      <a:pt x="403" y="57"/>
                    </a:lnTo>
                    <a:lnTo>
                      <a:pt x="404" y="55"/>
                    </a:lnTo>
                    <a:lnTo>
                      <a:pt x="406" y="53"/>
                    </a:lnTo>
                    <a:lnTo>
                      <a:pt x="407" y="54"/>
                    </a:lnTo>
                    <a:lnTo>
                      <a:pt x="407" y="53"/>
                    </a:lnTo>
                    <a:lnTo>
                      <a:pt x="409" y="54"/>
                    </a:lnTo>
                    <a:lnTo>
                      <a:pt x="410" y="54"/>
                    </a:lnTo>
                    <a:lnTo>
                      <a:pt x="413" y="55"/>
                    </a:lnTo>
                    <a:lnTo>
                      <a:pt x="415" y="54"/>
                    </a:lnTo>
                    <a:lnTo>
                      <a:pt x="415" y="53"/>
                    </a:lnTo>
                    <a:lnTo>
                      <a:pt x="414" y="51"/>
                    </a:lnTo>
                    <a:lnTo>
                      <a:pt x="414" y="48"/>
                    </a:lnTo>
                    <a:lnTo>
                      <a:pt x="412" y="45"/>
                    </a:lnTo>
                    <a:lnTo>
                      <a:pt x="412" y="44"/>
                    </a:lnTo>
                    <a:lnTo>
                      <a:pt x="414" y="42"/>
                    </a:lnTo>
                    <a:lnTo>
                      <a:pt x="412" y="42"/>
                    </a:lnTo>
                    <a:lnTo>
                      <a:pt x="411" y="44"/>
                    </a:lnTo>
                    <a:lnTo>
                      <a:pt x="410" y="44"/>
                    </a:lnTo>
                    <a:lnTo>
                      <a:pt x="409" y="42"/>
                    </a:lnTo>
                    <a:lnTo>
                      <a:pt x="407" y="44"/>
                    </a:lnTo>
                    <a:lnTo>
                      <a:pt x="406" y="44"/>
                    </a:lnTo>
                    <a:lnTo>
                      <a:pt x="405" y="41"/>
                    </a:lnTo>
                    <a:lnTo>
                      <a:pt x="402" y="38"/>
                    </a:lnTo>
                    <a:lnTo>
                      <a:pt x="404" y="37"/>
                    </a:lnTo>
                    <a:lnTo>
                      <a:pt x="402" y="36"/>
                    </a:lnTo>
                    <a:lnTo>
                      <a:pt x="402" y="34"/>
                    </a:lnTo>
                    <a:lnTo>
                      <a:pt x="402" y="33"/>
                    </a:lnTo>
                    <a:lnTo>
                      <a:pt x="401" y="32"/>
                    </a:lnTo>
                    <a:lnTo>
                      <a:pt x="401" y="28"/>
                    </a:lnTo>
                    <a:lnTo>
                      <a:pt x="399" y="29"/>
                    </a:lnTo>
                    <a:lnTo>
                      <a:pt x="400" y="28"/>
                    </a:lnTo>
                    <a:lnTo>
                      <a:pt x="400" y="27"/>
                    </a:lnTo>
                    <a:lnTo>
                      <a:pt x="399" y="27"/>
                    </a:lnTo>
                    <a:lnTo>
                      <a:pt x="400" y="26"/>
                    </a:lnTo>
                    <a:lnTo>
                      <a:pt x="400" y="24"/>
                    </a:lnTo>
                    <a:lnTo>
                      <a:pt x="398" y="23"/>
                    </a:lnTo>
                    <a:lnTo>
                      <a:pt x="399" y="23"/>
                    </a:lnTo>
                    <a:lnTo>
                      <a:pt x="401" y="23"/>
                    </a:lnTo>
                    <a:lnTo>
                      <a:pt x="398" y="21"/>
                    </a:lnTo>
                    <a:lnTo>
                      <a:pt x="398" y="20"/>
                    </a:lnTo>
                    <a:lnTo>
                      <a:pt x="397" y="22"/>
                    </a:lnTo>
                    <a:lnTo>
                      <a:pt x="396" y="22"/>
                    </a:lnTo>
                    <a:lnTo>
                      <a:pt x="395" y="21"/>
                    </a:lnTo>
                    <a:lnTo>
                      <a:pt x="394" y="21"/>
                    </a:lnTo>
                    <a:lnTo>
                      <a:pt x="392" y="25"/>
                    </a:lnTo>
                    <a:lnTo>
                      <a:pt x="393" y="26"/>
                    </a:lnTo>
                    <a:lnTo>
                      <a:pt x="392" y="27"/>
                    </a:lnTo>
                    <a:lnTo>
                      <a:pt x="391" y="26"/>
                    </a:lnTo>
                    <a:lnTo>
                      <a:pt x="391" y="24"/>
                    </a:lnTo>
                    <a:lnTo>
                      <a:pt x="390" y="22"/>
                    </a:lnTo>
                    <a:lnTo>
                      <a:pt x="389" y="22"/>
                    </a:lnTo>
                    <a:lnTo>
                      <a:pt x="387" y="21"/>
                    </a:lnTo>
                    <a:lnTo>
                      <a:pt x="385" y="17"/>
                    </a:lnTo>
                    <a:lnTo>
                      <a:pt x="384" y="13"/>
                    </a:lnTo>
                    <a:lnTo>
                      <a:pt x="382" y="13"/>
                    </a:lnTo>
                    <a:lnTo>
                      <a:pt x="376" y="10"/>
                    </a:lnTo>
                    <a:lnTo>
                      <a:pt x="375" y="8"/>
                    </a:lnTo>
                    <a:lnTo>
                      <a:pt x="372" y="3"/>
                    </a:lnTo>
                    <a:lnTo>
                      <a:pt x="373" y="2"/>
                    </a:lnTo>
                    <a:lnTo>
                      <a:pt x="372" y="2"/>
                    </a:lnTo>
                    <a:lnTo>
                      <a:pt x="371" y="4"/>
                    </a:lnTo>
                    <a:lnTo>
                      <a:pt x="371" y="7"/>
                    </a:lnTo>
                    <a:lnTo>
                      <a:pt x="368" y="7"/>
                    </a:lnTo>
                    <a:lnTo>
                      <a:pt x="368" y="8"/>
                    </a:lnTo>
                    <a:lnTo>
                      <a:pt x="366" y="8"/>
                    </a:lnTo>
                    <a:lnTo>
                      <a:pt x="366" y="9"/>
                    </a:lnTo>
                    <a:lnTo>
                      <a:pt x="366" y="8"/>
                    </a:lnTo>
                    <a:lnTo>
                      <a:pt x="365" y="10"/>
                    </a:lnTo>
                    <a:lnTo>
                      <a:pt x="366" y="10"/>
                    </a:lnTo>
                    <a:lnTo>
                      <a:pt x="365" y="14"/>
                    </a:lnTo>
                    <a:lnTo>
                      <a:pt x="361" y="11"/>
                    </a:lnTo>
                    <a:lnTo>
                      <a:pt x="361" y="13"/>
                    </a:lnTo>
                    <a:lnTo>
                      <a:pt x="361" y="14"/>
                    </a:lnTo>
                    <a:lnTo>
                      <a:pt x="360" y="14"/>
                    </a:lnTo>
                    <a:lnTo>
                      <a:pt x="361" y="15"/>
                    </a:lnTo>
                    <a:lnTo>
                      <a:pt x="360" y="15"/>
                    </a:lnTo>
                    <a:lnTo>
                      <a:pt x="361" y="16"/>
                    </a:lnTo>
                    <a:lnTo>
                      <a:pt x="360" y="18"/>
                    </a:lnTo>
                    <a:lnTo>
                      <a:pt x="361" y="19"/>
                    </a:lnTo>
                    <a:lnTo>
                      <a:pt x="360" y="19"/>
                    </a:lnTo>
                    <a:lnTo>
                      <a:pt x="359" y="20"/>
                    </a:lnTo>
                    <a:lnTo>
                      <a:pt x="358" y="20"/>
                    </a:lnTo>
                    <a:lnTo>
                      <a:pt x="358" y="23"/>
                    </a:lnTo>
                    <a:lnTo>
                      <a:pt x="357" y="23"/>
                    </a:lnTo>
                    <a:lnTo>
                      <a:pt x="357" y="24"/>
                    </a:lnTo>
                    <a:lnTo>
                      <a:pt x="357" y="25"/>
                    </a:lnTo>
                    <a:lnTo>
                      <a:pt x="359" y="26"/>
                    </a:lnTo>
                    <a:lnTo>
                      <a:pt x="358" y="28"/>
                    </a:lnTo>
                    <a:lnTo>
                      <a:pt x="358" y="30"/>
                    </a:lnTo>
                    <a:lnTo>
                      <a:pt x="360" y="29"/>
                    </a:lnTo>
                    <a:lnTo>
                      <a:pt x="360" y="31"/>
                    </a:lnTo>
                    <a:lnTo>
                      <a:pt x="359" y="31"/>
                    </a:lnTo>
                    <a:lnTo>
                      <a:pt x="361" y="32"/>
                    </a:lnTo>
                    <a:lnTo>
                      <a:pt x="361" y="33"/>
                    </a:lnTo>
                    <a:lnTo>
                      <a:pt x="359" y="34"/>
                    </a:lnTo>
                    <a:lnTo>
                      <a:pt x="361" y="34"/>
                    </a:lnTo>
                    <a:lnTo>
                      <a:pt x="360" y="34"/>
                    </a:lnTo>
                    <a:lnTo>
                      <a:pt x="358" y="35"/>
                    </a:lnTo>
                    <a:lnTo>
                      <a:pt x="357" y="34"/>
                    </a:lnTo>
                    <a:lnTo>
                      <a:pt x="357" y="35"/>
                    </a:lnTo>
                    <a:lnTo>
                      <a:pt x="357" y="36"/>
                    </a:lnTo>
                    <a:lnTo>
                      <a:pt x="353" y="36"/>
                    </a:lnTo>
                    <a:lnTo>
                      <a:pt x="353" y="37"/>
                    </a:lnTo>
                    <a:lnTo>
                      <a:pt x="352" y="37"/>
                    </a:lnTo>
                    <a:lnTo>
                      <a:pt x="352" y="36"/>
                    </a:lnTo>
                    <a:lnTo>
                      <a:pt x="349" y="36"/>
                    </a:lnTo>
                    <a:lnTo>
                      <a:pt x="348" y="35"/>
                    </a:lnTo>
                    <a:lnTo>
                      <a:pt x="348" y="36"/>
                    </a:lnTo>
                    <a:lnTo>
                      <a:pt x="348" y="37"/>
                    </a:lnTo>
                    <a:lnTo>
                      <a:pt x="346" y="37"/>
                    </a:lnTo>
                    <a:lnTo>
                      <a:pt x="345" y="37"/>
                    </a:lnTo>
                    <a:lnTo>
                      <a:pt x="344" y="39"/>
                    </a:lnTo>
                    <a:lnTo>
                      <a:pt x="341" y="42"/>
                    </a:lnTo>
                    <a:lnTo>
                      <a:pt x="340" y="41"/>
                    </a:lnTo>
                    <a:lnTo>
                      <a:pt x="340" y="42"/>
                    </a:lnTo>
                    <a:lnTo>
                      <a:pt x="338" y="42"/>
                    </a:lnTo>
                    <a:lnTo>
                      <a:pt x="336" y="43"/>
                    </a:lnTo>
                    <a:lnTo>
                      <a:pt x="336" y="44"/>
                    </a:lnTo>
                    <a:lnTo>
                      <a:pt x="335" y="44"/>
                    </a:lnTo>
                    <a:lnTo>
                      <a:pt x="336" y="48"/>
                    </a:lnTo>
                    <a:lnTo>
                      <a:pt x="335" y="49"/>
                    </a:lnTo>
                    <a:lnTo>
                      <a:pt x="335" y="51"/>
                    </a:lnTo>
                    <a:lnTo>
                      <a:pt x="334" y="52"/>
                    </a:lnTo>
                    <a:lnTo>
                      <a:pt x="332" y="51"/>
                    </a:lnTo>
                    <a:lnTo>
                      <a:pt x="331" y="50"/>
                    </a:lnTo>
                    <a:lnTo>
                      <a:pt x="332" y="49"/>
                    </a:lnTo>
                    <a:lnTo>
                      <a:pt x="331" y="45"/>
                    </a:lnTo>
                    <a:lnTo>
                      <a:pt x="329" y="44"/>
                    </a:lnTo>
                    <a:lnTo>
                      <a:pt x="324" y="41"/>
                    </a:lnTo>
                    <a:lnTo>
                      <a:pt x="319" y="42"/>
                    </a:lnTo>
                    <a:lnTo>
                      <a:pt x="317" y="42"/>
                    </a:lnTo>
                    <a:lnTo>
                      <a:pt x="317" y="40"/>
                    </a:lnTo>
                    <a:lnTo>
                      <a:pt x="315" y="40"/>
                    </a:lnTo>
                    <a:lnTo>
                      <a:pt x="315" y="39"/>
                    </a:lnTo>
                    <a:lnTo>
                      <a:pt x="316" y="38"/>
                    </a:lnTo>
                    <a:lnTo>
                      <a:pt x="317" y="38"/>
                    </a:lnTo>
                    <a:lnTo>
                      <a:pt x="318" y="36"/>
                    </a:lnTo>
                    <a:lnTo>
                      <a:pt x="319" y="35"/>
                    </a:lnTo>
                    <a:lnTo>
                      <a:pt x="320" y="32"/>
                    </a:lnTo>
                    <a:lnTo>
                      <a:pt x="320" y="31"/>
                    </a:lnTo>
                    <a:lnTo>
                      <a:pt x="319" y="31"/>
                    </a:lnTo>
                    <a:lnTo>
                      <a:pt x="318" y="33"/>
                    </a:lnTo>
                    <a:lnTo>
                      <a:pt x="317" y="34"/>
                    </a:lnTo>
                    <a:lnTo>
                      <a:pt x="315" y="33"/>
                    </a:lnTo>
                    <a:lnTo>
                      <a:pt x="315" y="34"/>
                    </a:lnTo>
                    <a:lnTo>
                      <a:pt x="314" y="34"/>
                    </a:lnTo>
                    <a:lnTo>
                      <a:pt x="314" y="32"/>
                    </a:lnTo>
                    <a:lnTo>
                      <a:pt x="312" y="36"/>
                    </a:lnTo>
                    <a:lnTo>
                      <a:pt x="310" y="35"/>
                    </a:lnTo>
                    <a:lnTo>
                      <a:pt x="311" y="34"/>
                    </a:lnTo>
                    <a:lnTo>
                      <a:pt x="310" y="34"/>
                    </a:lnTo>
                    <a:lnTo>
                      <a:pt x="309" y="35"/>
                    </a:lnTo>
                    <a:lnTo>
                      <a:pt x="309" y="34"/>
                    </a:lnTo>
                    <a:lnTo>
                      <a:pt x="308" y="34"/>
                    </a:lnTo>
                    <a:lnTo>
                      <a:pt x="306" y="33"/>
                    </a:lnTo>
                    <a:lnTo>
                      <a:pt x="305" y="32"/>
                    </a:lnTo>
                    <a:lnTo>
                      <a:pt x="304" y="32"/>
                    </a:lnTo>
                    <a:lnTo>
                      <a:pt x="303" y="34"/>
                    </a:lnTo>
                    <a:lnTo>
                      <a:pt x="302" y="32"/>
                    </a:lnTo>
                    <a:lnTo>
                      <a:pt x="301" y="32"/>
                    </a:lnTo>
                    <a:lnTo>
                      <a:pt x="301" y="31"/>
                    </a:lnTo>
                    <a:lnTo>
                      <a:pt x="300" y="32"/>
                    </a:lnTo>
                    <a:lnTo>
                      <a:pt x="300" y="31"/>
                    </a:lnTo>
                    <a:lnTo>
                      <a:pt x="298" y="31"/>
                    </a:lnTo>
                    <a:lnTo>
                      <a:pt x="300" y="28"/>
                    </a:lnTo>
                    <a:lnTo>
                      <a:pt x="299" y="27"/>
                    </a:lnTo>
                    <a:lnTo>
                      <a:pt x="297" y="27"/>
                    </a:lnTo>
                    <a:lnTo>
                      <a:pt x="296" y="28"/>
                    </a:lnTo>
                    <a:lnTo>
                      <a:pt x="294" y="28"/>
                    </a:lnTo>
                    <a:lnTo>
                      <a:pt x="291" y="25"/>
                    </a:lnTo>
                    <a:lnTo>
                      <a:pt x="289" y="25"/>
                    </a:lnTo>
                    <a:lnTo>
                      <a:pt x="289" y="26"/>
                    </a:lnTo>
                    <a:lnTo>
                      <a:pt x="288" y="28"/>
                    </a:lnTo>
                    <a:lnTo>
                      <a:pt x="286" y="29"/>
                    </a:lnTo>
                    <a:lnTo>
                      <a:pt x="286" y="31"/>
                    </a:lnTo>
                    <a:lnTo>
                      <a:pt x="288" y="31"/>
                    </a:lnTo>
                    <a:lnTo>
                      <a:pt x="287" y="31"/>
                    </a:lnTo>
                    <a:lnTo>
                      <a:pt x="286" y="31"/>
                    </a:lnTo>
                    <a:lnTo>
                      <a:pt x="285" y="29"/>
                    </a:lnTo>
                    <a:lnTo>
                      <a:pt x="284" y="31"/>
                    </a:lnTo>
                    <a:lnTo>
                      <a:pt x="283" y="29"/>
                    </a:lnTo>
                    <a:lnTo>
                      <a:pt x="283" y="28"/>
                    </a:lnTo>
                    <a:lnTo>
                      <a:pt x="282" y="26"/>
                    </a:lnTo>
                    <a:lnTo>
                      <a:pt x="280" y="26"/>
                    </a:lnTo>
                    <a:lnTo>
                      <a:pt x="280" y="23"/>
                    </a:lnTo>
                    <a:lnTo>
                      <a:pt x="278" y="23"/>
                    </a:lnTo>
                    <a:lnTo>
                      <a:pt x="277" y="24"/>
                    </a:lnTo>
                    <a:lnTo>
                      <a:pt x="276" y="24"/>
                    </a:lnTo>
                    <a:lnTo>
                      <a:pt x="273" y="18"/>
                    </a:lnTo>
                    <a:lnTo>
                      <a:pt x="272" y="18"/>
                    </a:lnTo>
                    <a:lnTo>
                      <a:pt x="271" y="16"/>
                    </a:lnTo>
                    <a:lnTo>
                      <a:pt x="271" y="19"/>
                    </a:lnTo>
                    <a:lnTo>
                      <a:pt x="270" y="17"/>
                    </a:lnTo>
                    <a:lnTo>
                      <a:pt x="269" y="18"/>
                    </a:lnTo>
                    <a:lnTo>
                      <a:pt x="270" y="18"/>
                    </a:lnTo>
                    <a:lnTo>
                      <a:pt x="271" y="22"/>
                    </a:lnTo>
                    <a:lnTo>
                      <a:pt x="270" y="23"/>
                    </a:lnTo>
                    <a:lnTo>
                      <a:pt x="271" y="23"/>
                    </a:lnTo>
                    <a:lnTo>
                      <a:pt x="270" y="25"/>
                    </a:lnTo>
                    <a:lnTo>
                      <a:pt x="270" y="26"/>
                    </a:lnTo>
                    <a:lnTo>
                      <a:pt x="272" y="26"/>
                    </a:lnTo>
                    <a:lnTo>
                      <a:pt x="271" y="27"/>
                    </a:lnTo>
                    <a:lnTo>
                      <a:pt x="270" y="26"/>
                    </a:lnTo>
                    <a:lnTo>
                      <a:pt x="270" y="27"/>
                    </a:lnTo>
                    <a:lnTo>
                      <a:pt x="269" y="24"/>
                    </a:lnTo>
                    <a:lnTo>
                      <a:pt x="268" y="24"/>
                    </a:lnTo>
                    <a:lnTo>
                      <a:pt x="267" y="23"/>
                    </a:lnTo>
                    <a:lnTo>
                      <a:pt x="265" y="23"/>
                    </a:lnTo>
                    <a:lnTo>
                      <a:pt x="264" y="24"/>
                    </a:lnTo>
                    <a:lnTo>
                      <a:pt x="263" y="23"/>
                    </a:lnTo>
                    <a:lnTo>
                      <a:pt x="263" y="24"/>
                    </a:lnTo>
                    <a:lnTo>
                      <a:pt x="262" y="24"/>
                    </a:lnTo>
                    <a:lnTo>
                      <a:pt x="263" y="25"/>
                    </a:lnTo>
                    <a:lnTo>
                      <a:pt x="262" y="25"/>
                    </a:lnTo>
                    <a:lnTo>
                      <a:pt x="262" y="26"/>
                    </a:lnTo>
                    <a:lnTo>
                      <a:pt x="262" y="25"/>
                    </a:lnTo>
                    <a:lnTo>
                      <a:pt x="262" y="26"/>
                    </a:lnTo>
                    <a:lnTo>
                      <a:pt x="261" y="27"/>
                    </a:lnTo>
                    <a:lnTo>
                      <a:pt x="260" y="25"/>
                    </a:lnTo>
                    <a:lnTo>
                      <a:pt x="260" y="26"/>
                    </a:lnTo>
                    <a:lnTo>
                      <a:pt x="259" y="28"/>
                    </a:lnTo>
                    <a:lnTo>
                      <a:pt x="258" y="28"/>
                    </a:lnTo>
                    <a:lnTo>
                      <a:pt x="259" y="27"/>
                    </a:lnTo>
                    <a:lnTo>
                      <a:pt x="257" y="27"/>
                    </a:lnTo>
                    <a:lnTo>
                      <a:pt x="256" y="28"/>
                    </a:lnTo>
                    <a:lnTo>
                      <a:pt x="255" y="30"/>
                    </a:lnTo>
                    <a:lnTo>
                      <a:pt x="255" y="28"/>
                    </a:lnTo>
                    <a:lnTo>
                      <a:pt x="254" y="28"/>
                    </a:lnTo>
                    <a:lnTo>
                      <a:pt x="254" y="27"/>
                    </a:lnTo>
                    <a:lnTo>
                      <a:pt x="252" y="26"/>
                    </a:lnTo>
                    <a:lnTo>
                      <a:pt x="249" y="28"/>
                    </a:lnTo>
                    <a:lnTo>
                      <a:pt x="248" y="27"/>
                    </a:lnTo>
                    <a:lnTo>
                      <a:pt x="247" y="27"/>
                    </a:lnTo>
                    <a:lnTo>
                      <a:pt x="249" y="27"/>
                    </a:lnTo>
                    <a:lnTo>
                      <a:pt x="249" y="26"/>
                    </a:lnTo>
                    <a:lnTo>
                      <a:pt x="249" y="24"/>
                    </a:lnTo>
                    <a:lnTo>
                      <a:pt x="250" y="23"/>
                    </a:lnTo>
                    <a:lnTo>
                      <a:pt x="250" y="21"/>
                    </a:lnTo>
                    <a:lnTo>
                      <a:pt x="249" y="21"/>
                    </a:lnTo>
                    <a:lnTo>
                      <a:pt x="248" y="21"/>
                    </a:lnTo>
                    <a:lnTo>
                      <a:pt x="247" y="20"/>
                    </a:lnTo>
                    <a:lnTo>
                      <a:pt x="247" y="18"/>
                    </a:lnTo>
                    <a:lnTo>
                      <a:pt x="246" y="19"/>
                    </a:lnTo>
                    <a:lnTo>
                      <a:pt x="243" y="16"/>
                    </a:lnTo>
                    <a:lnTo>
                      <a:pt x="241" y="18"/>
                    </a:lnTo>
                    <a:lnTo>
                      <a:pt x="240" y="16"/>
                    </a:lnTo>
                    <a:lnTo>
                      <a:pt x="240" y="17"/>
                    </a:lnTo>
                    <a:lnTo>
                      <a:pt x="240" y="16"/>
                    </a:lnTo>
                    <a:lnTo>
                      <a:pt x="239" y="15"/>
                    </a:lnTo>
                    <a:lnTo>
                      <a:pt x="240" y="12"/>
                    </a:lnTo>
                    <a:lnTo>
                      <a:pt x="240" y="11"/>
                    </a:lnTo>
                    <a:lnTo>
                      <a:pt x="239" y="10"/>
                    </a:lnTo>
                    <a:lnTo>
                      <a:pt x="236" y="9"/>
                    </a:lnTo>
                    <a:lnTo>
                      <a:pt x="236" y="8"/>
                    </a:lnTo>
                    <a:lnTo>
                      <a:pt x="234" y="8"/>
                    </a:lnTo>
                    <a:lnTo>
                      <a:pt x="234" y="6"/>
                    </a:lnTo>
                    <a:lnTo>
                      <a:pt x="231" y="8"/>
                    </a:lnTo>
                    <a:lnTo>
                      <a:pt x="230" y="8"/>
                    </a:lnTo>
                    <a:lnTo>
                      <a:pt x="226" y="8"/>
                    </a:lnTo>
                    <a:lnTo>
                      <a:pt x="225" y="6"/>
                    </a:lnTo>
                    <a:lnTo>
                      <a:pt x="224" y="8"/>
                    </a:lnTo>
                    <a:lnTo>
                      <a:pt x="223" y="8"/>
                    </a:lnTo>
                    <a:lnTo>
                      <a:pt x="222" y="8"/>
                    </a:lnTo>
                    <a:lnTo>
                      <a:pt x="222" y="10"/>
                    </a:lnTo>
                    <a:lnTo>
                      <a:pt x="222" y="13"/>
                    </a:lnTo>
                    <a:lnTo>
                      <a:pt x="220" y="14"/>
                    </a:lnTo>
                    <a:lnTo>
                      <a:pt x="220" y="15"/>
                    </a:lnTo>
                    <a:lnTo>
                      <a:pt x="218" y="16"/>
                    </a:lnTo>
                    <a:lnTo>
                      <a:pt x="217" y="16"/>
                    </a:lnTo>
                    <a:lnTo>
                      <a:pt x="217" y="17"/>
                    </a:lnTo>
                    <a:lnTo>
                      <a:pt x="218" y="17"/>
                    </a:lnTo>
                    <a:lnTo>
                      <a:pt x="216" y="19"/>
                    </a:lnTo>
                    <a:lnTo>
                      <a:pt x="216" y="21"/>
                    </a:lnTo>
                    <a:lnTo>
                      <a:pt x="214" y="20"/>
                    </a:lnTo>
                    <a:lnTo>
                      <a:pt x="214" y="19"/>
                    </a:lnTo>
                    <a:lnTo>
                      <a:pt x="215" y="18"/>
                    </a:lnTo>
                    <a:lnTo>
                      <a:pt x="215" y="17"/>
                    </a:lnTo>
                    <a:lnTo>
                      <a:pt x="212" y="18"/>
                    </a:lnTo>
                    <a:lnTo>
                      <a:pt x="209" y="18"/>
                    </a:lnTo>
                    <a:lnTo>
                      <a:pt x="208" y="19"/>
                    </a:lnTo>
                    <a:lnTo>
                      <a:pt x="206" y="18"/>
                    </a:lnTo>
                    <a:lnTo>
                      <a:pt x="205" y="17"/>
                    </a:lnTo>
                    <a:lnTo>
                      <a:pt x="202" y="17"/>
                    </a:lnTo>
                    <a:lnTo>
                      <a:pt x="201" y="17"/>
                    </a:lnTo>
                    <a:lnTo>
                      <a:pt x="200" y="19"/>
                    </a:lnTo>
                    <a:lnTo>
                      <a:pt x="198" y="16"/>
                    </a:lnTo>
                    <a:lnTo>
                      <a:pt x="196" y="16"/>
                    </a:lnTo>
                    <a:lnTo>
                      <a:pt x="193" y="15"/>
                    </a:lnTo>
                    <a:lnTo>
                      <a:pt x="193" y="19"/>
                    </a:lnTo>
                    <a:lnTo>
                      <a:pt x="191" y="17"/>
                    </a:lnTo>
                    <a:lnTo>
                      <a:pt x="189" y="18"/>
                    </a:lnTo>
                    <a:lnTo>
                      <a:pt x="188" y="17"/>
                    </a:lnTo>
                    <a:lnTo>
                      <a:pt x="188" y="16"/>
                    </a:lnTo>
                    <a:lnTo>
                      <a:pt x="189" y="15"/>
                    </a:lnTo>
                    <a:lnTo>
                      <a:pt x="188" y="14"/>
                    </a:lnTo>
                    <a:lnTo>
                      <a:pt x="187" y="14"/>
                    </a:lnTo>
                    <a:lnTo>
                      <a:pt x="187" y="16"/>
                    </a:lnTo>
                    <a:lnTo>
                      <a:pt x="186" y="17"/>
                    </a:lnTo>
                    <a:lnTo>
                      <a:pt x="184" y="17"/>
                    </a:lnTo>
                    <a:lnTo>
                      <a:pt x="183" y="17"/>
                    </a:lnTo>
                    <a:lnTo>
                      <a:pt x="183" y="16"/>
                    </a:lnTo>
                    <a:lnTo>
                      <a:pt x="180" y="16"/>
                    </a:lnTo>
                    <a:lnTo>
                      <a:pt x="180" y="15"/>
                    </a:lnTo>
                    <a:lnTo>
                      <a:pt x="179" y="16"/>
                    </a:lnTo>
                    <a:lnTo>
                      <a:pt x="178" y="15"/>
                    </a:lnTo>
                    <a:lnTo>
                      <a:pt x="177" y="12"/>
                    </a:lnTo>
                    <a:lnTo>
                      <a:pt x="178" y="10"/>
                    </a:lnTo>
                    <a:lnTo>
                      <a:pt x="178" y="7"/>
                    </a:lnTo>
                    <a:lnTo>
                      <a:pt x="178" y="6"/>
                    </a:lnTo>
                    <a:lnTo>
                      <a:pt x="179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3"/>
                    </a:lnTo>
                    <a:lnTo>
                      <a:pt x="177" y="0"/>
                    </a:lnTo>
                    <a:lnTo>
                      <a:pt x="177" y="1"/>
                    </a:lnTo>
                    <a:lnTo>
                      <a:pt x="173" y="1"/>
                    </a:lnTo>
                    <a:lnTo>
                      <a:pt x="172" y="0"/>
                    </a:lnTo>
                    <a:lnTo>
                      <a:pt x="170" y="3"/>
                    </a:lnTo>
                    <a:lnTo>
                      <a:pt x="170" y="2"/>
                    </a:lnTo>
                    <a:lnTo>
                      <a:pt x="167" y="4"/>
                    </a:lnTo>
                    <a:lnTo>
                      <a:pt x="166" y="4"/>
                    </a:lnTo>
                    <a:lnTo>
                      <a:pt x="164" y="3"/>
                    </a:lnTo>
                    <a:lnTo>
                      <a:pt x="163" y="6"/>
                    </a:lnTo>
                    <a:lnTo>
                      <a:pt x="164" y="8"/>
                    </a:lnTo>
                    <a:lnTo>
                      <a:pt x="163" y="10"/>
                    </a:lnTo>
                    <a:lnTo>
                      <a:pt x="163" y="8"/>
                    </a:lnTo>
                    <a:lnTo>
                      <a:pt x="162" y="11"/>
                    </a:lnTo>
                    <a:lnTo>
                      <a:pt x="162" y="13"/>
                    </a:lnTo>
                    <a:lnTo>
                      <a:pt x="161" y="13"/>
                    </a:lnTo>
                    <a:lnTo>
                      <a:pt x="161" y="14"/>
                    </a:lnTo>
                    <a:lnTo>
                      <a:pt x="160" y="12"/>
                    </a:lnTo>
                    <a:lnTo>
                      <a:pt x="159" y="12"/>
                    </a:lnTo>
                    <a:lnTo>
                      <a:pt x="159" y="14"/>
                    </a:lnTo>
                    <a:lnTo>
                      <a:pt x="160" y="16"/>
                    </a:lnTo>
                    <a:lnTo>
                      <a:pt x="159" y="16"/>
                    </a:lnTo>
                    <a:lnTo>
                      <a:pt x="159" y="17"/>
                    </a:lnTo>
                    <a:lnTo>
                      <a:pt x="158" y="17"/>
                    </a:lnTo>
                    <a:lnTo>
                      <a:pt x="158" y="15"/>
                    </a:lnTo>
                    <a:lnTo>
                      <a:pt x="156" y="15"/>
                    </a:lnTo>
                    <a:lnTo>
                      <a:pt x="156" y="13"/>
                    </a:lnTo>
                    <a:lnTo>
                      <a:pt x="154" y="15"/>
                    </a:lnTo>
                    <a:lnTo>
                      <a:pt x="154" y="16"/>
                    </a:lnTo>
                    <a:lnTo>
                      <a:pt x="153" y="17"/>
                    </a:lnTo>
                    <a:lnTo>
                      <a:pt x="153" y="19"/>
                    </a:lnTo>
                    <a:lnTo>
                      <a:pt x="153" y="20"/>
                    </a:lnTo>
                    <a:lnTo>
                      <a:pt x="149" y="19"/>
                    </a:lnTo>
                    <a:lnTo>
                      <a:pt x="146" y="18"/>
                    </a:lnTo>
                    <a:lnTo>
                      <a:pt x="146" y="16"/>
                    </a:lnTo>
                    <a:lnTo>
                      <a:pt x="145" y="15"/>
                    </a:lnTo>
                    <a:lnTo>
                      <a:pt x="141" y="18"/>
                    </a:lnTo>
                    <a:lnTo>
                      <a:pt x="141" y="21"/>
                    </a:lnTo>
                    <a:lnTo>
                      <a:pt x="139" y="23"/>
                    </a:lnTo>
                    <a:lnTo>
                      <a:pt x="139" y="21"/>
                    </a:lnTo>
                    <a:lnTo>
                      <a:pt x="135" y="22"/>
                    </a:lnTo>
                    <a:lnTo>
                      <a:pt x="134" y="21"/>
                    </a:lnTo>
                    <a:lnTo>
                      <a:pt x="133" y="21"/>
                    </a:lnTo>
                    <a:lnTo>
                      <a:pt x="133" y="19"/>
                    </a:lnTo>
                    <a:lnTo>
                      <a:pt x="131" y="17"/>
                    </a:lnTo>
                    <a:lnTo>
                      <a:pt x="131" y="19"/>
                    </a:lnTo>
                    <a:lnTo>
                      <a:pt x="128" y="19"/>
                    </a:lnTo>
                    <a:lnTo>
                      <a:pt x="130" y="17"/>
                    </a:lnTo>
                    <a:lnTo>
                      <a:pt x="130" y="16"/>
                    </a:lnTo>
                    <a:lnTo>
                      <a:pt x="131" y="15"/>
                    </a:lnTo>
                    <a:lnTo>
                      <a:pt x="128" y="15"/>
                    </a:lnTo>
                    <a:lnTo>
                      <a:pt x="128" y="16"/>
                    </a:lnTo>
                    <a:lnTo>
                      <a:pt x="126" y="15"/>
                    </a:lnTo>
                    <a:lnTo>
                      <a:pt x="126" y="13"/>
                    </a:lnTo>
                    <a:lnTo>
                      <a:pt x="126" y="10"/>
                    </a:lnTo>
                    <a:lnTo>
                      <a:pt x="123" y="8"/>
                    </a:lnTo>
                    <a:lnTo>
                      <a:pt x="121" y="9"/>
                    </a:lnTo>
                    <a:lnTo>
                      <a:pt x="121" y="10"/>
                    </a:lnTo>
                    <a:lnTo>
                      <a:pt x="122" y="10"/>
                    </a:lnTo>
                    <a:lnTo>
                      <a:pt x="120" y="11"/>
                    </a:lnTo>
                    <a:lnTo>
                      <a:pt x="118" y="14"/>
                    </a:lnTo>
                    <a:lnTo>
                      <a:pt x="117" y="14"/>
                    </a:lnTo>
                    <a:lnTo>
                      <a:pt x="115" y="15"/>
                    </a:lnTo>
                    <a:lnTo>
                      <a:pt x="115" y="14"/>
                    </a:lnTo>
                    <a:lnTo>
                      <a:pt x="115" y="13"/>
                    </a:lnTo>
                    <a:lnTo>
                      <a:pt x="114" y="14"/>
                    </a:lnTo>
                    <a:lnTo>
                      <a:pt x="113" y="14"/>
                    </a:lnTo>
                    <a:lnTo>
                      <a:pt x="113" y="10"/>
                    </a:lnTo>
                    <a:lnTo>
                      <a:pt x="112" y="10"/>
                    </a:lnTo>
                    <a:lnTo>
                      <a:pt x="112" y="6"/>
                    </a:lnTo>
                    <a:lnTo>
                      <a:pt x="110" y="6"/>
                    </a:lnTo>
                    <a:lnTo>
                      <a:pt x="111" y="7"/>
                    </a:lnTo>
                    <a:lnTo>
                      <a:pt x="109" y="7"/>
                    </a:lnTo>
                    <a:lnTo>
                      <a:pt x="109" y="10"/>
                    </a:lnTo>
                    <a:lnTo>
                      <a:pt x="107" y="10"/>
                    </a:lnTo>
                    <a:lnTo>
                      <a:pt x="107" y="11"/>
                    </a:lnTo>
                    <a:lnTo>
                      <a:pt x="104" y="9"/>
                    </a:lnTo>
                    <a:lnTo>
                      <a:pt x="102" y="8"/>
                    </a:lnTo>
                    <a:lnTo>
                      <a:pt x="100" y="12"/>
                    </a:lnTo>
                    <a:lnTo>
                      <a:pt x="99" y="12"/>
                    </a:lnTo>
                    <a:lnTo>
                      <a:pt x="95" y="11"/>
                    </a:lnTo>
                    <a:lnTo>
                      <a:pt x="95" y="10"/>
                    </a:lnTo>
                    <a:lnTo>
                      <a:pt x="93" y="10"/>
                    </a:lnTo>
                    <a:lnTo>
                      <a:pt x="93" y="11"/>
                    </a:lnTo>
                    <a:lnTo>
                      <a:pt x="91" y="12"/>
                    </a:lnTo>
                    <a:lnTo>
                      <a:pt x="90" y="14"/>
                    </a:lnTo>
                    <a:lnTo>
                      <a:pt x="92" y="15"/>
                    </a:lnTo>
                    <a:lnTo>
                      <a:pt x="92" y="16"/>
                    </a:lnTo>
                    <a:lnTo>
                      <a:pt x="92" y="17"/>
                    </a:lnTo>
                    <a:lnTo>
                      <a:pt x="90" y="17"/>
                    </a:lnTo>
                    <a:lnTo>
                      <a:pt x="90" y="18"/>
                    </a:lnTo>
                    <a:lnTo>
                      <a:pt x="88" y="18"/>
                    </a:lnTo>
                    <a:lnTo>
                      <a:pt x="89" y="19"/>
                    </a:lnTo>
                    <a:lnTo>
                      <a:pt x="88" y="20"/>
                    </a:lnTo>
                    <a:lnTo>
                      <a:pt x="88" y="23"/>
                    </a:lnTo>
                    <a:lnTo>
                      <a:pt x="90" y="23"/>
                    </a:lnTo>
                    <a:lnTo>
                      <a:pt x="91" y="23"/>
                    </a:lnTo>
                    <a:lnTo>
                      <a:pt x="91" y="24"/>
                    </a:lnTo>
                    <a:lnTo>
                      <a:pt x="91" y="23"/>
                    </a:lnTo>
                    <a:lnTo>
                      <a:pt x="93" y="24"/>
                    </a:lnTo>
                    <a:lnTo>
                      <a:pt x="93" y="25"/>
                    </a:lnTo>
                    <a:lnTo>
                      <a:pt x="91" y="24"/>
                    </a:lnTo>
                    <a:lnTo>
                      <a:pt x="92" y="25"/>
                    </a:lnTo>
                    <a:lnTo>
                      <a:pt x="91" y="27"/>
                    </a:lnTo>
                    <a:lnTo>
                      <a:pt x="92" y="25"/>
                    </a:lnTo>
                    <a:lnTo>
                      <a:pt x="92" y="27"/>
                    </a:lnTo>
                    <a:lnTo>
                      <a:pt x="91" y="28"/>
                    </a:lnTo>
                    <a:lnTo>
                      <a:pt x="92" y="28"/>
                    </a:lnTo>
                    <a:lnTo>
                      <a:pt x="92" y="29"/>
                    </a:lnTo>
                    <a:lnTo>
                      <a:pt x="92" y="32"/>
                    </a:lnTo>
                    <a:lnTo>
                      <a:pt x="91" y="32"/>
                    </a:lnTo>
                    <a:lnTo>
                      <a:pt x="90" y="34"/>
                    </a:lnTo>
                    <a:lnTo>
                      <a:pt x="92" y="35"/>
                    </a:lnTo>
                    <a:lnTo>
                      <a:pt x="91" y="36"/>
                    </a:lnTo>
                    <a:lnTo>
                      <a:pt x="91" y="37"/>
                    </a:lnTo>
                    <a:lnTo>
                      <a:pt x="90" y="38"/>
                    </a:lnTo>
                    <a:lnTo>
                      <a:pt x="91" y="39"/>
                    </a:lnTo>
                    <a:lnTo>
                      <a:pt x="92" y="41"/>
                    </a:lnTo>
                    <a:lnTo>
                      <a:pt x="92" y="42"/>
                    </a:lnTo>
                    <a:lnTo>
                      <a:pt x="93" y="43"/>
                    </a:lnTo>
                    <a:lnTo>
                      <a:pt x="93" y="44"/>
                    </a:lnTo>
                    <a:lnTo>
                      <a:pt x="94" y="44"/>
                    </a:lnTo>
                    <a:lnTo>
                      <a:pt x="94" y="45"/>
                    </a:lnTo>
                    <a:lnTo>
                      <a:pt x="93" y="45"/>
                    </a:lnTo>
                    <a:lnTo>
                      <a:pt x="93" y="46"/>
                    </a:lnTo>
                    <a:lnTo>
                      <a:pt x="97" y="47"/>
                    </a:lnTo>
                    <a:lnTo>
                      <a:pt x="97" y="48"/>
                    </a:lnTo>
                    <a:lnTo>
                      <a:pt x="95" y="48"/>
                    </a:lnTo>
                    <a:lnTo>
                      <a:pt x="93" y="47"/>
                    </a:lnTo>
                    <a:lnTo>
                      <a:pt x="92" y="49"/>
                    </a:lnTo>
                    <a:lnTo>
                      <a:pt x="90" y="52"/>
                    </a:lnTo>
                    <a:lnTo>
                      <a:pt x="88" y="52"/>
                    </a:lnTo>
                    <a:lnTo>
                      <a:pt x="89" y="53"/>
                    </a:lnTo>
                    <a:lnTo>
                      <a:pt x="88" y="55"/>
                    </a:lnTo>
                    <a:lnTo>
                      <a:pt x="88" y="57"/>
                    </a:lnTo>
                    <a:lnTo>
                      <a:pt x="88" y="58"/>
                    </a:lnTo>
                    <a:lnTo>
                      <a:pt x="87" y="61"/>
                    </a:lnTo>
                    <a:lnTo>
                      <a:pt x="86" y="61"/>
                    </a:lnTo>
                    <a:lnTo>
                      <a:pt x="86" y="62"/>
                    </a:lnTo>
                    <a:lnTo>
                      <a:pt x="87" y="62"/>
                    </a:lnTo>
                    <a:lnTo>
                      <a:pt x="86" y="62"/>
                    </a:lnTo>
                    <a:lnTo>
                      <a:pt x="87" y="62"/>
                    </a:lnTo>
                    <a:lnTo>
                      <a:pt x="86" y="63"/>
                    </a:lnTo>
                    <a:lnTo>
                      <a:pt x="87" y="66"/>
                    </a:lnTo>
                    <a:lnTo>
                      <a:pt x="87" y="68"/>
                    </a:lnTo>
                    <a:lnTo>
                      <a:pt x="88" y="70"/>
                    </a:lnTo>
                    <a:lnTo>
                      <a:pt x="89" y="72"/>
                    </a:lnTo>
                    <a:lnTo>
                      <a:pt x="88" y="72"/>
                    </a:lnTo>
                    <a:lnTo>
                      <a:pt x="89" y="73"/>
                    </a:lnTo>
                    <a:lnTo>
                      <a:pt x="88" y="73"/>
                    </a:lnTo>
                    <a:lnTo>
                      <a:pt x="88" y="74"/>
                    </a:lnTo>
                    <a:lnTo>
                      <a:pt x="89" y="74"/>
                    </a:lnTo>
                    <a:lnTo>
                      <a:pt x="90" y="75"/>
                    </a:lnTo>
                    <a:lnTo>
                      <a:pt x="92" y="75"/>
                    </a:lnTo>
                    <a:lnTo>
                      <a:pt x="91" y="76"/>
                    </a:lnTo>
                    <a:lnTo>
                      <a:pt x="92" y="77"/>
                    </a:lnTo>
                    <a:lnTo>
                      <a:pt x="92" y="79"/>
                    </a:lnTo>
                    <a:lnTo>
                      <a:pt x="92" y="81"/>
                    </a:lnTo>
                    <a:lnTo>
                      <a:pt x="91" y="80"/>
                    </a:lnTo>
                    <a:lnTo>
                      <a:pt x="91" y="82"/>
                    </a:lnTo>
                    <a:lnTo>
                      <a:pt x="90" y="82"/>
                    </a:lnTo>
                    <a:lnTo>
                      <a:pt x="88" y="83"/>
                    </a:lnTo>
                    <a:lnTo>
                      <a:pt x="89" y="84"/>
                    </a:lnTo>
                    <a:lnTo>
                      <a:pt x="90" y="82"/>
                    </a:lnTo>
                    <a:lnTo>
                      <a:pt x="90" y="85"/>
                    </a:lnTo>
                    <a:lnTo>
                      <a:pt x="91" y="86"/>
                    </a:lnTo>
                    <a:lnTo>
                      <a:pt x="88" y="86"/>
                    </a:lnTo>
                    <a:lnTo>
                      <a:pt x="86" y="89"/>
                    </a:lnTo>
                    <a:lnTo>
                      <a:pt x="85" y="92"/>
                    </a:lnTo>
                    <a:lnTo>
                      <a:pt x="85" y="93"/>
                    </a:lnTo>
                    <a:lnTo>
                      <a:pt x="84" y="93"/>
                    </a:lnTo>
                    <a:lnTo>
                      <a:pt x="85" y="96"/>
                    </a:lnTo>
                    <a:lnTo>
                      <a:pt x="84" y="98"/>
                    </a:lnTo>
                    <a:lnTo>
                      <a:pt x="80" y="97"/>
                    </a:lnTo>
                    <a:lnTo>
                      <a:pt x="79" y="98"/>
                    </a:lnTo>
                    <a:lnTo>
                      <a:pt x="78" y="100"/>
                    </a:lnTo>
                    <a:lnTo>
                      <a:pt x="77" y="100"/>
                    </a:lnTo>
                    <a:lnTo>
                      <a:pt x="75" y="100"/>
                    </a:lnTo>
                    <a:lnTo>
                      <a:pt x="74" y="105"/>
                    </a:lnTo>
                    <a:lnTo>
                      <a:pt x="71" y="102"/>
                    </a:lnTo>
                    <a:lnTo>
                      <a:pt x="71" y="107"/>
                    </a:lnTo>
                    <a:lnTo>
                      <a:pt x="70" y="108"/>
                    </a:lnTo>
                    <a:lnTo>
                      <a:pt x="69" y="108"/>
                    </a:lnTo>
                    <a:lnTo>
                      <a:pt x="71" y="111"/>
                    </a:lnTo>
                    <a:lnTo>
                      <a:pt x="72" y="111"/>
                    </a:lnTo>
                    <a:lnTo>
                      <a:pt x="73" y="112"/>
                    </a:lnTo>
                    <a:lnTo>
                      <a:pt x="72" y="114"/>
                    </a:lnTo>
                    <a:lnTo>
                      <a:pt x="71" y="115"/>
                    </a:lnTo>
                    <a:lnTo>
                      <a:pt x="71" y="118"/>
                    </a:lnTo>
                    <a:lnTo>
                      <a:pt x="69" y="118"/>
                    </a:lnTo>
                    <a:lnTo>
                      <a:pt x="68" y="118"/>
                    </a:lnTo>
                    <a:lnTo>
                      <a:pt x="67" y="116"/>
                    </a:lnTo>
                    <a:lnTo>
                      <a:pt x="65" y="116"/>
                    </a:lnTo>
                    <a:lnTo>
                      <a:pt x="63" y="116"/>
                    </a:lnTo>
                    <a:lnTo>
                      <a:pt x="62" y="116"/>
                    </a:lnTo>
                    <a:lnTo>
                      <a:pt x="63" y="118"/>
                    </a:lnTo>
                    <a:lnTo>
                      <a:pt x="63" y="122"/>
                    </a:lnTo>
                    <a:lnTo>
                      <a:pt x="63" y="126"/>
                    </a:lnTo>
                    <a:lnTo>
                      <a:pt x="64" y="126"/>
                    </a:lnTo>
                    <a:lnTo>
                      <a:pt x="65" y="126"/>
                    </a:lnTo>
                    <a:lnTo>
                      <a:pt x="69" y="127"/>
                    </a:lnTo>
                    <a:lnTo>
                      <a:pt x="70" y="126"/>
                    </a:lnTo>
                    <a:lnTo>
                      <a:pt x="71" y="128"/>
                    </a:lnTo>
                    <a:lnTo>
                      <a:pt x="69" y="128"/>
                    </a:lnTo>
                    <a:lnTo>
                      <a:pt x="66" y="130"/>
                    </a:lnTo>
                    <a:lnTo>
                      <a:pt x="66" y="131"/>
                    </a:lnTo>
                    <a:lnTo>
                      <a:pt x="68" y="134"/>
                    </a:lnTo>
                    <a:lnTo>
                      <a:pt x="67" y="134"/>
                    </a:lnTo>
                    <a:lnTo>
                      <a:pt x="64" y="133"/>
                    </a:lnTo>
                    <a:lnTo>
                      <a:pt x="64" y="132"/>
                    </a:lnTo>
                    <a:lnTo>
                      <a:pt x="63" y="131"/>
                    </a:lnTo>
                    <a:lnTo>
                      <a:pt x="62" y="133"/>
                    </a:lnTo>
                    <a:lnTo>
                      <a:pt x="63" y="134"/>
                    </a:lnTo>
                    <a:lnTo>
                      <a:pt x="63" y="136"/>
                    </a:lnTo>
                    <a:lnTo>
                      <a:pt x="60" y="135"/>
                    </a:lnTo>
                    <a:lnTo>
                      <a:pt x="58" y="137"/>
                    </a:lnTo>
                    <a:lnTo>
                      <a:pt x="58" y="138"/>
                    </a:lnTo>
                    <a:lnTo>
                      <a:pt x="58" y="139"/>
                    </a:lnTo>
                    <a:lnTo>
                      <a:pt x="57" y="139"/>
                    </a:lnTo>
                    <a:lnTo>
                      <a:pt x="56" y="139"/>
                    </a:lnTo>
                    <a:lnTo>
                      <a:pt x="56" y="141"/>
                    </a:lnTo>
                    <a:lnTo>
                      <a:pt x="58" y="141"/>
                    </a:lnTo>
                    <a:lnTo>
                      <a:pt x="57" y="141"/>
                    </a:lnTo>
                    <a:lnTo>
                      <a:pt x="57" y="143"/>
                    </a:lnTo>
                    <a:lnTo>
                      <a:pt x="58" y="142"/>
                    </a:lnTo>
                    <a:lnTo>
                      <a:pt x="58" y="146"/>
                    </a:lnTo>
                    <a:lnTo>
                      <a:pt x="61" y="148"/>
                    </a:lnTo>
                    <a:lnTo>
                      <a:pt x="61" y="149"/>
                    </a:lnTo>
                    <a:lnTo>
                      <a:pt x="62" y="149"/>
                    </a:lnTo>
                    <a:lnTo>
                      <a:pt x="62" y="153"/>
                    </a:lnTo>
                    <a:lnTo>
                      <a:pt x="63" y="156"/>
                    </a:lnTo>
                    <a:lnTo>
                      <a:pt x="61" y="157"/>
                    </a:lnTo>
                    <a:lnTo>
                      <a:pt x="59" y="156"/>
                    </a:lnTo>
                    <a:lnTo>
                      <a:pt x="58" y="156"/>
                    </a:lnTo>
                    <a:lnTo>
                      <a:pt x="55" y="159"/>
                    </a:lnTo>
                    <a:lnTo>
                      <a:pt x="54" y="167"/>
                    </a:lnTo>
                    <a:lnTo>
                      <a:pt x="52" y="168"/>
                    </a:lnTo>
                    <a:lnTo>
                      <a:pt x="53" y="169"/>
                    </a:lnTo>
                    <a:lnTo>
                      <a:pt x="55" y="169"/>
                    </a:lnTo>
                    <a:lnTo>
                      <a:pt x="53" y="170"/>
                    </a:lnTo>
                    <a:lnTo>
                      <a:pt x="53" y="172"/>
                    </a:lnTo>
                    <a:lnTo>
                      <a:pt x="53" y="170"/>
                    </a:lnTo>
                    <a:lnTo>
                      <a:pt x="52" y="170"/>
                    </a:lnTo>
                    <a:lnTo>
                      <a:pt x="51" y="169"/>
                    </a:lnTo>
                    <a:lnTo>
                      <a:pt x="50" y="170"/>
                    </a:lnTo>
                    <a:lnTo>
                      <a:pt x="49" y="169"/>
                    </a:lnTo>
                    <a:lnTo>
                      <a:pt x="47" y="170"/>
                    </a:lnTo>
                    <a:lnTo>
                      <a:pt x="44" y="170"/>
                    </a:lnTo>
                    <a:lnTo>
                      <a:pt x="44" y="172"/>
                    </a:lnTo>
                    <a:lnTo>
                      <a:pt x="43" y="172"/>
                    </a:lnTo>
                    <a:lnTo>
                      <a:pt x="43" y="174"/>
                    </a:lnTo>
                    <a:lnTo>
                      <a:pt x="41" y="174"/>
                    </a:lnTo>
                    <a:lnTo>
                      <a:pt x="40" y="174"/>
                    </a:lnTo>
                    <a:lnTo>
                      <a:pt x="39" y="176"/>
                    </a:lnTo>
                    <a:lnTo>
                      <a:pt x="35" y="179"/>
                    </a:lnTo>
                    <a:lnTo>
                      <a:pt x="34" y="177"/>
                    </a:lnTo>
                    <a:lnTo>
                      <a:pt x="33" y="176"/>
                    </a:lnTo>
                    <a:lnTo>
                      <a:pt x="32" y="176"/>
                    </a:lnTo>
                    <a:lnTo>
                      <a:pt x="28" y="174"/>
                    </a:lnTo>
                    <a:lnTo>
                      <a:pt x="30" y="174"/>
                    </a:lnTo>
                    <a:lnTo>
                      <a:pt x="30" y="173"/>
                    </a:lnTo>
                    <a:lnTo>
                      <a:pt x="25" y="172"/>
                    </a:lnTo>
                    <a:lnTo>
                      <a:pt x="24" y="172"/>
                    </a:lnTo>
                    <a:lnTo>
                      <a:pt x="24" y="173"/>
                    </a:lnTo>
                    <a:lnTo>
                      <a:pt x="27" y="174"/>
                    </a:lnTo>
                    <a:lnTo>
                      <a:pt x="27" y="176"/>
                    </a:lnTo>
                    <a:lnTo>
                      <a:pt x="25" y="177"/>
                    </a:lnTo>
                    <a:lnTo>
                      <a:pt x="24" y="180"/>
                    </a:lnTo>
                    <a:lnTo>
                      <a:pt x="24" y="182"/>
                    </a:lnTo>
                    <a:lnTo>
                      <a:pt x="23" y="183"/>
                    </a:lnTo>
                    <a:lnTo>
                      <a:pt x="24" y="184"/>
                    </a:lnTo>
                    <a:lnTo>
                      <a:pt x="24" y="190"/>
                    </a:lnTo>
                    <a:lnTo>
                      <a:pt x="24" y="191"/>
                    </a:lnTo>
                    <a:lnTo>
                      <a:pt x="19" y="191"/>
                    </a:lnTo>
                    <a:lnTo>
                      <a:pt x="19" y="192"/>
                    </a:lnTo>
                    <a:lnTo>
                      <a:pt x="20" y="196"/>
                    </a:lnTo>
                    <a:lnTo>
                      <a:pt x="22" y="199"/>
                    </a:lnTo>
                    <a:lnTo>
                      <a:pt x="23" y="200"/>
                    </a:lnTo>
                    <a:lnTo>
                      <a:pt x="22" y="203"/>
                    </a:lnTo>
                    <a:lnTo>
                      <a:pt x="24" y="208"/>
                    </a:lnTo>
                    <a:lnTo>
                      <a:pt x="24" y="211"/>
                    </a:lnTo>
                    <a:lnTo>
                      <a:pt x="24" y="212"/>
                    </a:lnTo>
                    <a:lnTo>
                      <a:pt x="22" y="216"/>
                    </a:lnTo>
                    <a:lnTo>
                      <a:pt x="17" y="220"/>
                    </a:lnTo>
                    <a:lnTo>
                      <a:pt x="15" y="218"/>
                    </a:lnTo>
                    <a:lnTo>
                      <a:pt x="14" y="217"/>
                    </a:lnTo>
                    <a:lnTo>
                      <a:pt x="14" y="216"/>
                    </a:lnTo>
                    <a:lnTo>
                      <a:pt x="13" y="216"/>
                    </a:lnTo>
                    <a:lnTo>
                      <a:pt x="13" y="217"/>
                    </a:lnTo>
                    <a:lnTo>
                      <a:pt x="9" y="222"/>
                    </a:lnTo>
                    <a:lnTo>
                      <a:pt x="7" y="227"/>
                    </a:lnTo>
                    <a:lnTo>
                      <a:pt x="4" y="231"/>
                    </a:lnTo>
                    <a:lnTo>
                      <a:pt x="4" y="232"/>
                    </a:lnTo>
                    <a:lnTo>
                      <a:pt x="4" y="234"/>
                    </a:lnTo>
                    <a:lnTo>
                      <a:pt x="4" y="237"/>
                    </a:lnTo>
                    <a:lnTo>
                      <a:pt x="1" y="240"/>
                    </a:lnTo>
                    <a:lnTo>
                      <a:pt x="1" y="242"/>
                    </a:lnTo>
                    <a:lnTo>
                      <a:pt x="0" y="245"/>
                    </a:lnTo>
                    <a:lnTo>
                      <a:pt x="1" y="248"/>
                    </a:lnTo>
                    <a:lnTo>
                      <a:pt x="4" y="249"/>
                    </a:lnTo>
                    <a:lnTo>
                      <a:pt x="3" y="251"/>
                    </a:lnTo>
                    <a:lnTo>
                      <a:pt x="3" y="254"/>
                    </a:lnTo>
                    <a:lnTo>
                      <a:pt x="5" y="255"/>
                    </a:lnTo>
                    <a:lnTo>
                      <a:pt x="6" y="254"/>
                    </a:lnTo>
                    <a:lnTo>
                      <a:pt x="9" y="256"/>
                    </a:lnTo>
                    <a:lnTo>
                      <a:pt x="10" y="255"/>
                    </a:lnTo>
                    <a:lnTo>
                      <a:pt x="11" y="254"/>
                    </a:lnTo>
                    <a:lnTo>
                      <a:pt x="14" y="259"/>
                    </a:lnTo>
                    <a:lnTo>
                      <a:pt x="12" y="262"/>
                    </a:lnTo>
                    <a:lnTo>
                      <a:pt x="14" y="265"/>
                    </a:lnTo>
                    <a:lnTo>
                      <a:pt x="17" y="271"/>
                    </a:lnTo>
                    <a:lnTo>
                      <a:pt x="17" y="268"/>
                    </a:lnTo>
                    <a:lnTo>
                      <a:pt x="19" y="268"/>
                    </a:lnTo>
                    <a:lnTo>
                      <a:pt x="20" y="266"/>
                    </a:lnTo>
                    <a:lnTo>
                      <a:pt x="23" y="267"/>
                    </a:lnTo>
                    <a:lnTo>
                      <a:pt x="24" y="267"/>
                    </a:lnTo>
                    <a:lnTo>
                      <a:pt x="21" y="269"/>
                    </a:lnTo>
                    <a:lnTo>
                      <a:pt x="20" y="271"/>
                    </a:lnTo>
                    <a:lnTo>
                      <a:pt x="24" y="277"/>
                    </a:lnTo>
                    <a:lnTo>
                      <a:pt x="24" y="282"/>
                    </a:lnTo>
                    <a:lnTo>
                      <a:pt x="25" y="283"/>
                    </a:lnTo>
                    <a:lnTo>
                      <a:pt x="27" y="293"/>
                    </a:lnTo>
                    <a:lnTo>
                      <a:pt x="28" y="294"/>
                    </a:lnTo>
                    <a:lnTo>
                      <a:pt x="30" y="295"/>
                    </a:lnTo>
                    <a:lnTo>
                      <a:pt x="30" y="297"/>
                    </a:lnTo>
                    <a:lnTo>
                      <a:pt x="30" y="300"/>
                    </a:lnTo>
                    <a:lnTo>
                      <a:pt x="32" y="301"/>
                    </a:lnTo>
                    <a:lnTo>
                      <a:pt x="34" y="301"/>
                    </a:lnTo>
                    <a:lnTo>
                      <a:pt x="35" y="302"/>
                    </a:lnTo>
                    <a:lnTo>
                      <a:pt x="38" y="301"/>
                    </a:lnTo>
                    <a:lnTo>
                      <a:pt x="43" y="303"/>
                    </a:lnTo>
                    <a:lnTo>
                      <a:pt x="45" y="302"/>
                    </a:lnTo>
                    <a:lnTo>
                      <a:pt x="47" y="300"/>
                    </a:lnTo>
                    <a:lnTo>
                      <a:pt x="49" y="301"/>
                    </a:lnTo>
                    <a:lnTo>
                      <a:pt x="49" y="305"/>
                    </a:lnTo>
                    <a:lnTo>
                      <a:pt x="52" y="311"/>
                    </a:lnTo>
                    <a:lnTo>
                      <a:pt x="50" y="313"/>
                    </a:lnTo>
                    <a:lnTo>
                      <a:pt x="53" y="324"/>
                    </a:lnTo>
                    <a:lnTo>
                      <a:pt x="53" y="325"/>
                    </a:lnTo>
                    <a:lnTo>
                      <a:pt x="55" y="328"/>
                    </a:lnTo>
                    <a:lnTo>
                      <a:pt x="57" y="328"/>
                    </a:lnTo>
                    <a:lnTo>
                      <a:pt x="61" y="329"/>
                    </a:lnTo>
                    <a:lnTo>
                      <a:pt x="59" y="332"/>
                    </a:lnTo>
                    <a:lnTo>
                      <a:pt x="61" y="335"/>
                    </a:lnTo>
                    <a:lnTo>
                      <a:pt x="61" y="337"/>
                    </a:lnTo>
                    <a:lnTo>
                      <a:pt x="64" y="345"/>
                    </a:lnTo>
                    <a:lnTo>
                      <a:pt x="62" y="351"/>
                    </a:lnTo>
                    <a:lnTo>
                      <a:pt x="61" y="353"/>
                    </a:lnTo>
                    <a:lnTo>
                      <a:pt x="63" y="356"/>
                    </a:lnTo>
                    <a:lnTo>
                      <a:pt x="68" y="359"/>
                    </a:lnTo>
                    <a:lnTo>
                      <a:pt x="71" y="358"/>
                    </a:lnTo>
                    <a:lnTo>
                      <a:pt x="72" y="360"/>
                    </a:lnTo>
                    <a:lnTo>
                      <a:pt x="74" y="359"/>
                    </a:lnTo>
                    <a:lnTo>
                      <a:pt x="79" y="362"/>
                    </a:lnTo>
                    <a:lnTo>
                      <a:pt x="82" y="366"/>
                    </a:lnTo>
                    <a:lnTo>
                      <a:pt x="85" y="368"/>
                    </a:lnTo>
                    <a:lnTo>
                      <a:pt x="88" y="375"/>
                    </a:lnTo>
                    <a:lnTo>
                      <a:pt x="90" y="377"/>
                    </a:lnTo>
                    <a:lnTo>
                      <a:pt x="90" y="379"/>
                    </a:lnTo>
                    <a:lnTo>
                      <a:pt x="92" y="379"/>
                    </a:lnTo>
                    <a:lnTo>
                      <a:pt x="92" y="381"/>
                    </a:lnTo>
                    <a:lnTo>
                      <a:pt x="95" y="386"/>
                    </a:lnTo>
                    <a:lnTo>
                      <a:pt x="97" y="386"/>
                    </a:lnTo>
                    <a:lnTo>
                      <a:pt x="98" y="388"/>
                    </a:lnTo>
                    <a:lnTo>
                      <a:pt x="99" y="391"/>
                    </a:lnTo>
                    <a:lnTo>
                      <a:pt x="103" y="392"/>
                    </a:lnTo>
                    <a:lnTo>
                      <a:pt x="105" y="394"/>
                    </a:lnTo>
                    <a:lnTo>
                      <a:pt x="107" y="394"/>
                    </a:lnTo>
                    <a:lnTo>
                      <a:pt x="112" y="396"/>
                    </a:lnTo>
                    <a:lnTo>
                      <a:pt x="113" y="397"/>
                    </a:lnTo>
                    <a:lnTo>
                      <a:pt x="113" y="400"/>
                    </a:lnTo>
                    <a:lnTo>
                      <a:pt x="112" y="402"/>
                    </a:lnTo>
                    <a:lnTo>
                      <a:pt x="115" y="402"/>
                    </a:lnTo>
                    <a:lnTo>
                      <a:pt x="114" y="403"/>
                    </a:lnTo>
                    <a:lnTo>
                      <a:pt x="116" y="405"/>
                    </a:lnTo>
                    <a:lnTo>
                      <a:pt x="117" y="407"/>
                    </a:lnTo>
                    <a:lnTo>
                      <a:pt x="116" y="407"/>
                    </a:lnTo>
                    <a:lnTo>
                      <a:pt x="115" y="408"/>
                    </a:lnTo>
                    <a:lnTo>
                      <a:pt x="118" y="410"/>
                    </a:lnTo>
                    <a:lnTo>
                      <a:pt x="118" y="412"/>
                    </a:lnTo>
                    <a:lnTo>
                      <a:pt x="119" y="412"/>
                    </a:lnTo>
                    <a:lnTo>
                      <a:pt x="121" y="412"/>
                    </a:lnTo>
                    <a:lnTo>
                      <a:pt x="123" y="414"/>
                    </a:lnTo>
                    <a:lnTo>
                      <a:pt x="125" y="414"/>
                    </a:lnTo>
                    <a:lnTo>
                      <a:pt x="124" y="418"/>
                    </a:lnTo>
                    <a:lnTo>
                      <a:pt x="123" y="421"/>
                    </a:lnTo>
                    <a:lnTo>
                      <a:pt x="121" y="423"/>
                    </a:lnTo>
                    <a:lnTo>
                      <a:pt x="118" y="422"/>
                    </a:lnTo>
                    <a:lnTo>
                      <a:pt x="113" y="422"/>
                    </a:lnTo>
                    <a:lnTo>
                      <a:pt x="113" y="426"/>
                    </a:lnTo>
                    <a:lnTo>
                      <a:pt x="111" y="426"/>
                    </a:lnTo>
                    <a:lnTo>
                      <a:pt x="110" y="427"/>
                    </a:lnTo>
                    <a:lnTo>
                      <a:pt x="109" y="427"/>
                    </a:lnTo>
                    <a:lnTo>
                      <a:pt x="112" y="431"/>
                    </a:lnTo>
                    <a:lnTo>
                      <a:pt x="112" y="432"/>
                    </a:lnTo>
                    <a:lnTo>
                      <a:pt x="114" y="434"/>
                    </a:lnTo>
                    <a:lnTo>
                      <a:pt x="113" y="435"/>
                    </a:lnTo>
                    <a:lnTo>
                      <a:pt x="117" y="435"/>
                    </a:lnTo>
                    <a:lnTo>
                      <a:pt x="118" y="435"/>
                    </a:lnTo>
                    <a:lnTo>
                      <a:pt x="118" y="439"/>
                    </a:lnTo>
                    <a:lnTo>
                      <a:pt x="116" y="439"/>
                    </a:lnTo>
                    <a:lnTo>
                      <a:pt x="117" y="440"/>
                    </a:lnTo>
                    <a:lnTo>
                      <a:pt x="116" y="442"/>
                    </a:lnTo>
                    <a:lnTo>
                      <a:pt x="118" y="443"/>
                    </a:lnTo>
                    <a:lnTo>
                      <a:pt x="118" y="444"/>
                    </a:lnTo>
                    <a:lnTo>
                      <a:pt x="119" y="447"/>
                    </a:lnTo>
                    <a:lnTo>
                      <a:pt x="121" y="445"/>
                    </a:lnTo>
                    <a:lnTo>
                      <a:pt x="123" y="446"/>
                    </a:lnTo>
                    <a:lnTo>
                      <a:pt x="122" y="448"/>
                    </a:lnTo>
                    <a:lnTo>
                      <a:pt x="122" y="451"/>
                    </a:lnTo>
                    <a:lnTo>
                      <a:pt x="123" y="451"/>
                    </a:lnTo>
                    <a:lnTo>
                      <a:pt x="124" y="449"/>
                    </a:lnTo>
                    <a:lnTo>
                      <a:pt x="130" y="450"/>
                    </a:lnTo>
                    <a:lnTo>
                      <a:pt x="131" y="451"/>
                    </a:lnTo>
                    <a:lnTo>
                      <a:pt x="129" y="454"/>
                    </a:lnTo>
                    <a:lnTo>
                      <a:pt x="132" y="456"/>
                    </a:lnTo>
                    <a:lnTo>
                      <a:pt x="136" y="456"/>
                    </a:lnTo>
                    <a:lnTo>
                      <a:pt x="140" y="453"/>
                    </a:lnTo>
                    <a:lnTo>
                      <a:pt x="143" y="455"/>
                    </a:lnTo>
                    <a:lnTo>
                      <a:pt x="145" y="454"/>
                    </a:lnTo>
                    <a:lnTo>
                      <a:pt x="148" y="456"/>
                    </a:lnTo>
                    <a:lnTo>
                      <a:pt x="148" y="458"/>
                    </a:lnTo>
                    <a:lnTo>
                      <a:pt x="152" y="457"/>
                    </a:lnTo>
                    <a:lnTo>
                      <a:pt x="153" y="457"/>
                    </a:lnTo>
                    <a:lnTo>
                      <a:pt x="154" y="457"/>
                    </a:lnTo>
                    <a:lnTo>
                      <a:pt x="155" y="457"/>
                    </a:lnTo>
                    <a:lnTo>
                      <a:pt x="158" y="458"/>
                    </a:lnTo>
                    <a:lnTo>
                      <a:pt x="162" y="461"/>
                    </a:lnTo>
                    <a:lnTo>
                      <a:pt x="166" y="463"/>
                    </a:lnTo>
                    <a:lnTo>
                      <a:pt x="169" y="465"/>
                    </a:lnTo>
                    <a:lnTo>
                      <a:pt x="169" y="467"/>
                    </a:lnTo>
                    <a:lnTo>
                      <a:pt x="174" y="465"/>
                    </a:lnTo>
                    <a:lnTo>
                      <a:pt x="178" y="467"/>
                    </a:lnTo>
                    <a:lnTo>
                      <a:pt x="180" y="471"/>
                    </a:lnTo>
                    <a:lnTo>
                      <a:pt x="188" y="477"/>
                    </a:lnTo>
                    <a:lnTo>
                      <a:pt x="190" y="477"/>
                    </a:lnTo>
                    <a:lnTo>
                      <a:pt x="191" y="477"/>
                    </a:lnTo>
                    <a:lnTo>
                      <a:pt x="191" y="481"/>
                    </a:lnTo>
                    <a:lnTo>
                      <a:pt x="193" y="482"/>
                    </a:lnTo>
                    <a:lnTo>
                      <a:pt x="196" y="482"/>
                    </a:lnTo>
                    <a:lnTo>
                      <a:pt x="197" y="479"/>
                    </a:lnTo>
                    <a:lnTo>
                      <a:pt x="200" y="478"/>
                    </a:lnTo>
                    <a:lnTo>
                      <a:pt x="200" y="476"/>
                    </a:lnTo>
                    <a:lnTo>
                      <a:pt x="202" y="473"/>
                    </a:lnTo>
                    <a:lnTo>
                      <a:pt x="204" y="473"/>
                    </a:lnTo>
                    <a:lnTo>
                      <a:pt x="205" y="476"/>
                    </a:lnTo>
                    <a:lnTo>
                      <a:pt x="206" y="477"/>
                    </a:lnTo>
                    <a:lnTo>
                      <a:pt x="208" y="477"/>
                    </a:lnTo>
                    <a:lnTo>
                      <a:pt x="210" y="476"/>
                    </a:lnTo>
                    <a:lnTo>
                      <a:pt x="211" y="473"/>
                    </a:lnTo>
                    <a:lnTo>
                      <a:pt x="211" y="471"/>
                    </a:lnTo>
                    <a:lnTo>
                      <a:pt x="210" y="470"/>
                    </a:lnTo>
                    <a:lnTo>
                      <a:pt x="210" y="466"/>
                    </a:lnTo>
                    <a:lnTo>
                      <a:pt x="211" y="465"/>
                    </a:lnTo>
                    <a:lnTo>
                      <a:pt x="213" y="467"/>
                    </a:lnTo>
                    <a:lnTo>
                      <a:pt x="215" y="467"/>
                    </a:lnTo>
                    <a:lnTo>
                      <a:pt x="216" y="467"/>
                    </a:lnTo>
                    <a:lnTo>
                      <a:pt x="218" y="467"/>
                    </a:lnTo>
                    <a:lnTo>
                      <a:pt x="221" y="470"/>
                    </a:lnTo>
                    <a:lnTo>
                      <a:pt x="223" y="470"/>
                    </a:lnTo>
                    <a:lnTo>
                      <a:pt x="224" y="466"/>
                    </a:lnTo>
                    <a:lnTo>
                      <a:pt x="226" y="465"/>
                    </a:lnTo>
                    <a:lnTo>
                      <a:pt x="227" y="462"/>
                    </a:lnTo>
                    <a:lnTo>
                      <a:pt x="229" y="459"/>
                    </a:lnTo>
                    <a:lnTo>
                      <a:pt x="229" y="456"/>
                    </a:lnTo>
                    <a:lnTo>
                      <a:pt x="231" y="454"/>
                    </a:lnTo>
                    <a:lnTo>
                      <a:pt x="232" y="454"/>
                    </a:lnTo>
                    <a:lnTo>
                      <a:pt x="231" y="450"/>
                    </a:lnTo>
                    <a:lnTo>
                      <a:pt x="229" y="447"/>
                    </a:lnTo>
                    <a:lnTo>
                      <a:pt x="229" y="444"/>
                    </a:lnTo>
                    <a:lnTo>
                      <a:pt x="232" y="444"/>
                    </a:lnTo>
                    <a:lnTo>
                      <a:pt x="233" y="445"/>
                    </a:lnTo>
                    <a:lnTo>
                      <a:pt x="236" y="444"/>
                    </a:lnTo>
                    <a:lnTo>
                      <a:pt x="237" y="446"/>
                    </a:lnTo>
                    <a:lnTo>
                      <a:pt x="238" y="447"/>
                    </a:lnTo>
                    <a:lnTo>
                      <a:pt x="237" y="447"/>
                    </a:lnTo>
                    <a:lnTo>
                      <a:pt x="237" y="448"/>
                    </a:lnTo>
                    <a:lnTo>
                      <a:pt x="239" y="450"/>
                    </a:lnTo>
                    <a:lnTo>
                      <a:pt x="242" y="452"/>
                    </a:lnTo>
                    <a:lnTo>
                      <a:pt x="242" y="455"/>
                    </a:lnTo>
                    <a:lnTo>
                      <a:pt x="242" y="456"/>
                    </a:lnTo>
                    <a:lnTo>
                      <a:pt x="243" y="457"/>
                    </a:lnTo>
                    <a:lnTo>
                      <a:pt x="244" y="460"/>
                    </a:lnTo>
                    <a:lnTo>
                      <a:pt x="246" y="459"/>
                    </a:lnTo>
                    <a:lnTo>
                      <a:pt x="249" y="459"/>
                    </a:lnTo>
                    <a:lnTo>
                      <a:pt x="250" y="461"/>
                    </a:lnTo>
                    <a:lnTo>
                      <a:pt x="256" y="463"/>
                    </a:lnTo>
                    <a:lnTo>
                      <a:pt x="257" y="464"/>
                    </a:lnTo>
                    <a:lnTo>
                      <a:pt x="257" y="467"/>
                    </a:lnTo>
                    <a:lnTo>
                      <a:pt x="259" y="469"/>
                    </a:lnTo>
                    <a:lnTo>
                      <a:pt x="260" y="468"/>
                    </a:lnTo>
                    <a:lnTo>
                      <a:pt x="260" y="466"/>
                    </a:lnTo>
                    <a:lnTo>
                      <a:pt x="262" y="466"/>
                    </a:lnTo>
                    <a:lnTo>
                      <a:pt x="263" y="465"/>
                    </a:lnTo>
                    <a:lnTo>
                      <a:pt x="264" y="465"/>
                    </a:lnTo>
                    <a:lnTo>
                      <a:pt x="266" y="463"/>
                    </a:lnTo>
                    <a:lnTo>
                      <a:pt x="268" y="463"/>
                    </a:lnTo>
                    <a:lnTo>
                      <a:pt x="271" y="460"/>
                    </a:lnTo>
                    <a:lnTo>
                      <a:pt x="272" y="459"/>
                    </a:lnTo>
                    <a:lnTo>
                      <a:pt x="275" y="459"/>
                    </a:lnTo>
                    <a:lnTo>
                      <a:pt x="276" y="463"/>
                    </a:lnTo>
                    <a:lnTo>
                      <a:pt x="276" y="470"/>
                    </a:lnTo>
                    <a:lnTo>
                      <a:pt x="278" y="471"/>
                    </a:lnTo>
                    <a:lnTo>
                      <a:pt x="279" y="471"/>
                    </a:lnTo>
                    <a:lnTo>
                      <a:pt x="283" y="470"/>
                    </a:lnTo>
                    <a:lnTo>
                      <a:pt x="285" y="475"/>
                    </a:lnTo>
                    <a:lnTo>
                      <a:pt x="286" y="483"/>
                    </a:lnTo>
                    <a:lnTo>
                      <a:pt x="292" y="483"/>
                    </a:lnTo>
                    <a:lnTo>
                      <a:pt x="294" y="482"/>
                    </a:lnTo>
                    <a:lnTo>
                      <a:pt x="294" y="483"/>
                    </a:lnTo>
                    <a:lnTo>
                      <a:pt x="295" y="482"/>
                    </a:lnTo>
                    <a:lnTo>
                      <a:pt x="297" y="484"/>
                    </a:lnTo>
                    <a:lnTo>
                      <a:pt x="299" y="482"/>
                    </a:lnTo>
                    <a:lnTo>
                      <a:pt x="299" y="480"/>
                    </a:lnTo>
                    <a:lnTo>
                      <a:pt x="301" y="479"/>
                    </a:lnTo>
                    <a:lnTo>
                      <a:pt x="301" y="478"/>
                    </a:lnTo>
                    <a:lnTo>
                      <a:pt x="304" y="476"/>
                    </a:lnTo>
                    <a:lnTo>
                      <a:pt x="303" y="468"/>
                    </a:lnTo>
                    <a:lnTo>
                      <a:pt x="306" y="458"/>
                    </a:lnTo>
                    <a:lnTo>
                      <a:pt x="306" y="453"/>
                    </a:lnTo>
                    <a:lnTo>
                      <a:pt x="304" y="453"/>
                    </a:lnTo>
                    <a:lnTo>
                      <a:pt x="308" y="441"/>
                    </a:lnTo>
                    <a:lnTo>
                      <a:pt x="309" y="440"/>
                    </a:lnTo>
                    <a:lnTo>
                      <a:pt x="310" y="436"/>
                    </a:lnTo>
                    <a:lnTo>
                      <a:pt x="313" y="431"/>
                    </a:lnTo>
                    <a:lnTo>
                      <a:pt x="314" y="430"/>
                    </a:lnTo>
                    <a:lnTo>
                      <a:pt x="319" y="430"/>
                    </a:lnTo>
                    <a:lnTo>
                      <a:pt x="320" y="427"/>
                    </a:lnTo>
                    <a:lnTo>
                      <a:pt x="324" y="427"/>
                    </a:lnTo>
                    <a:lnTo>
                      <a:pt x="328" y="424"/>
                    </a:lnTo>
                    <a:lnTo>
                      <a:pt x="328" y="422"/>
                    </a:lnTo>
                    <a:lnTo>
                      <a:pt x="330" y="421"/>
                    </a:lnTo>
                    <a:lnTo>
                      <a:pt x="330" y="419"/>
                    </a:lnTo>
                    <a:lnTo>
                      <a:pt x="332" y="418"/>
                    </a:lnTo>
                    <a:lnTo>
                      <a:pt x="333" y="418"/>
                    </a:lnTo>
                    <a:lnTo>
                      <a:pt x="335" y="418"/>
                    </a:lnTo>
                    <a:lnTo>
                      <a:pt x="333" y="411"/>
                    </a:lnTo>
                    <a:lnTo>
                      <a:pt x="337" y="405"/>
                    </a:lnTo>
                    <a:lnTo>
                      <a:pt x="337" y="403"/>
                    </a:lnTo>
                    <a:lnTo>
                      <a:pt x="336" y="400"/>
                    </a:lnTo>
                    <a:lnTo>
                      <a:pt x="337" y="399"/>
                    </a:lnTo>
                    <a:lnTo>
                      <a:pt x="337" y="397"/>
                    </a:lnTo>
                    <a:lnTo>
                      <a:pt x="340" y="396"/>
                    </a:lnTo>
                    <a:lnTo>
                      <a:pt x="341" y="396"/>
                    </a:lnTo>
                    <a:lnTo>
                      <a:pt x="343" y="397"/>
                    </a:lnTo>
                    <a:lnTo>
                      <a:pt x="346" y="397"/>
                    </a:lnTo>
                    <a:lnTo>
                      <a:pt x="347" y="396"/>
                    </a:lnTo>
                    <a:lnTo>
                      <a:pt x="348" y="398"/>
                    </a:lnTo>
                    <a:lnTo>
                      <a:pt x="348" y="397"/>
                    </a:lnTo>
                    <a:lnTo>
                      <a:pt x="349" y="399"/>
                    </a:lnTo>
                    <a:lnTo>
                      <a:pt x="350" y="400"/>
                    </a:lnTo>
                    <a:lnTo>
                      <a:pt x="351" y="399"/>
                    </a:lnTo>
                    <a:lnTo>
                      <a:pt x="352" y="400"/>
                    </a:lnTo>
                    <a:lnTo>
                      <a:pt x="354" y="398"/>
                    </a:lnTo>
                    <a:lnTo>
                      <a:pt x="356" y="399"/>
                    </a:lnTo>
                    <a:lnTo>
                      <a:pt x="358" y="401"/>
                    </a:lnTo>
                    <a:lnTo>
                      <a:pt x="358" y="403"/>
                    </a:lnTo>
                    <a:lnTo>
                      <a:pt x="361" y="403"/>
                    </a:lnTo>
                    <a:lnTo>
                      <a:pt x="363" y="405"/>
                    </a:lnTo>
                    <a:lnTo>
                      <a:pt x="365" y="406"/>
                    </a:lnTo>
                    <a:lnTo>
                      <a:pt x="366" y="405"/>
                    </a:lnTo>
                    <a:lnTo>
                      <a:pt x="369" y="407"/>
                    </a:lnTo>
                    <a:lnTo>
                      <a:pt x="371" y="408"/>
                    </a:lnTo>
                    <a:lnTo>
                      <a:pt x="372" y="410"/>
                    </a:lnTo>
                    <a:lnTo>
                      <a:pt x="374" y="410"/>
                    </a:lnTo>
                    <a:lnTo>
                      <a:pt x="375" y="410"/>
                    </a:lnTo>
                    <a:lnTo>
                      <a:pt x="377" y="412"/>
                    </a:lnTo>
                    <a:lnTo>
                      <a:pt x="379" y="410"/>
                    </a:lnTo>
                    <a:lnTo>
                      <a:pt x="380" y="410"/>
                    </a:lnTo>
                    <a:lnTo>
                      <a:pt x="382" y="409"/>
                    </a:lnTo>
                    <a:lnTo>
                      <a:pt x="384" y="405"/>
                    </a:lnTo>
                    <a:lnTo>
                      <a:pt x="384" y="403"/>
                    </a:lnTo>
                    <a:lnTo>
                      <a:pt x="379" y="398"/>
                    </a:lnTo>
                    <a:lnTo>
                      <a:pt x="379" y="397"/>
                    </a:lnTo>
                    <a:lnTo>
                      <a:pt x="379" y="396"/>
                    </a:lnTo>
                    <a:lnTo>
                      <a:pt x="378" y="395"/>
                    </a:lnTo>
                    <a:lnTo>
                      <a:pt x="381" y="392"/>
                    </a:lnTo>
                    <a:lnTo>
                      <a:pt x="381" y="387"/>
                    </a:lnTo>
                    <a:lnTo>
                      <a:pt x="384" y="382"/>
                    </a:lnTo>
                    <a:lnTo>
                      <a:pt x="384" y="376"/>
                    </a:lnTo>
                    <a:lnTo>
                      <a:pt x="386" y="375"/>
                    </a:lnTo>
                    <a:lnTo>
                      <a:pt x="386" y="374"/>
                    </a:lnTo>
                    <a:lnTo>
                      <a:pt x="389" y="374"/>
                    </a:lnTo>
                    <a:lnTo>
                      <a:pt x="389" y="372"/>
                    </a:lnTo>
                    <a:lnTo>
                      <a:pt x="388" y="369"/>
                    </a:lnTo>
                    <a:lnTo>
                      <a:pt x="387" y="369"/>
                    </a:lnTo>
                    <a:lnTo>
                      <a:pt x="387" y="365"/>
                    </a:lnTo>
                    <a:lnTo>
                      <a:pt x="388" y="359"/>
                    </a:lnTo>
                    <a:lnTo>
                      <a:pt x="391" y="359"/>
                    </a:lnTo>
                    <a:lnTo>
                      <a:pt x="392" y="351"/>
                    </a:lnTo>
                    <a:lnTo>
                      <a:pt x="393" y="352"/>
                    </a:lnTo>
                    <a:lnTo>
                      <a:pt x="393" y="350"/>
                    </a:lnTo>
                    <a:lnTo>
                      <a:pt x="394" y="348"/>
                    </a:lnTo>
                    <a:lnTo>
                      <a:pt x="395" y="346"/>
                    </a:lnTo>
                    <a:lnTo>
                      <a:pt x="395" y="340"/>
                    </a:lnTo>
                    <a:lnTo>
                      <a:pt x="393" y="339"/>
                    </a:lnTo>
                    <a:lnTo>
                      <a:pt x="393" y="336"/>
                    </a:lnTo>
                    <a:lnTo>
                      <a:pt x="392" y="335"/>
                    </a:lnTo>
                    <a:lnTo>
                      <a:pt x="392" y="333"/>
                    </a:lnTo>
                    <a:lnTo>
                      <a:pt x="394" y="332"/>
                    </a:lnTo>
                    <a:lnTo>
                      <a:pt x="395" y="331"/>
                    </a:lnTo>
                    <a:lnTo>
                      <a:pt x="395" y="328"/>
                    </a:lnTo>
                    <a:lnTo>
                      <a:pt x="393" y="327"/>
                    </a:lnTo>
                    <a:lnTo>
                      <a:pt x="393" y="321"/>
                    </a:lnTo>
                    <a:lnTo>
                      <a:pt x="393" y="318"/>
                    </a:lnTo>
                    <a:lnTo>
                      <a:pt x="394" y="314"/>
                    </a:lnTo>
                    <a:lnTo>
                      <a:pt x="395" y="310"/>
                    </a:lnTo>
                    <a:lnTo>
                      <a:pt x="395" y="311"/>
                    </a:lnTo>
                    <a:lnTo>
                      <a:pt x="397" y="307"/>
                    </a:lnTo>
                    <a:lnTo>
                      <a:pt x="400" y="306"/>
                    </a:lnTo>
                    <a:lnTo>
                      <a:pt x="401" y="305"/>
                    </a:lnTo>
                    <a:lnTo>
                      <a:pt x="401" y="304"/>
                    </a:lnTo>
                    <a:lnTo>
                      <a:pt x="402" y="299"/>
                    </a:lnTo>
                    <a:lnTo>
                      <a:pt x="401" y="299"/>
                    </a:lnTo>
                    <a:lnTo>
                      <a:pt x="400" y="297"/>
                    </a:lnTo>
                    <a:lnTo>
                      <a:pt x="402" y="294"/>
                    </a:lnTo>
                    <a:lnTo>
                      <a:pt x="403" y="295"/>
                    </a:lnTo>
                    <a:lnTo>
                      <a:pt x="406" y="295"/>
                    </a:lnTo>
                    <a:lnTo>
                      <a:pt x="407" y="293"/>
                    </a:lnTo>
                    <a:lnTo>
                      <a:pt x="409" y="292"/>
                    </a:lnTo>
                    <a:lnTo>
                      <a:pt x="410" y="295"/>
                    </a:lnTo>
                    <a:lnTo>
                      <a:pt x="414" y="297"/>
                    </a:lnTo>
                    <a:lnTo>
                      <a:pt x="418" y="296"/>
                    </a:lnTo>
                    <a:lnTo>
                      <a:pt x="420" y="297"/>
                    </a:lnTo>
                    <a:lnTo>
                      <a:pt x="421" y="301"/>
                    </a:lnTo>
                    <a:lnTo>
                      <a:pt x="420" y="302"/>
                    </a:lnTo>
                    <a:lnTo>
                      <a:pt x="420" y="303"/>
                    </a:lnTo>
                    <a:lnTo>
                      <a:pt x="420" y="305"/>
                    </a:lnTo>
                    <a:lnTo>
                      <a:pt x="426" y="306"/>
                    </a:lnTo>
                    <a:lnTo>
                      <a:pt x="430" y="308"/>
                    </a:lnTo>
                    <a:lnTo>
                      <a:pt x="431" y="306"/>
                    </a:lnTo>
                    <a:lnTo>
                      <a:pt x="433" y="306"/>
                    </a:lnTo>
                    <a:lnTo>
                      <a:pt x="435" y="307"/>
                    </a:lnTo>
                    <a:lnTo>
                      <a:pt x="436" y="306"/>
                    </a:lnTo>
                    <a:lnTo>
                      <a:pt x="437" y="307"/>
                    </a:lnTo>
                    <a:lnTo>
                      <a:pt x="439" y="306"/>
                    </a:lnTo>
                    <a:lnTo>
                      <a:pt x="439" y="308"/>
                    </a:lnTo>
                    <a:lnTo>
                      <a:pt x="444" y="311"/>
                    </a:lnTo>
                    <a:lnTo>
                      <a:pt x="444" y="314"/>
                    </a:lnTo>
                    <a:lnTo>
                      <a:pt x="443" y="314"/>
                    </a:lnTo>
                    <a:lnTo>
                      <a:pt x="442" y="315"/>
                    </a:lnTo>
                    <a:lnTo>
                      <a:pt x="442" y="316"/>
                    </a:lnTo>
                    <a:lnTo>
                      <a:pt x="445" y="318"/>
                    </a:lnTo>
                    <a:lnTo>
                      <a:pt x="445" y="319"/>
                    </a:lnTo>
                    <a:lnTo>
                      <a:pt x="444" y="320"/>
                    </a:lnTo>
                    <a:lnTo>
                      <a:pt x="446" y="322"/>
                    </a:lnTo>
                    <a:lnTo>
                      <a:pt x="446" y="325"/>
                    </a:lnTo>
                    <a:lnTo>
                      <a:pt x="446" y="326"/>
                    </a:lnTo>
                    <a:lnTo>
                      <a:pt x="444" y="327"/>
                    </a:lnTo>
                    <a:lnTo>
                      <a:pt x="441" y="332"/>
                    </a:lnTo>
                    <a:lnTo>
                      <a:pt x="443" y="335"/>
                    </a:lnTo>
                    <a:lnTo>
                      <a:pt x="444" y="334"/>
                    </a:lnTo>
                    <a:lnTo>
                      <a:pt x="445" y="335"/>
                    </a:lnTo>
                    <a:lnTo>
                      <a:pt x="448" y="333"/>
                    </a:lnTo>
                    <a:lnTo>
                      <a:pt x="450" y="335"/>
                    </a:lnTo>
                    <a:lnTo>
                      <a:pt x="454" y="331"/>
                    </a:lnTo>
                    <a:lnTo>
                      <a:pt x="456" y="331"/>
                    </a:lnTo>
                    <a:lnTo>
                      <a:pt x="458" y="329"/>
                    </a:lnTo>
                    <a:lnTo>
                      <a:pt x="459" y="329"/>
                    </a:lnTo>
                    <a:lnTo>
                      <a:pt x="462" y="329"/>
                    </a:lnTo>
                    <a:lnTo>
                      <a:pt x="466" y="330"/>
                    </a:lnTo>
                    <a:lnTo>
                      <a:pt x="467" y="330"/>
                    </a:lnTo>
                    <a:lnTo>
                      <a:pt x="471" y="333"/>
                    </a:lnTo>
                    <a:lnTo>
                      <a:pt x="472" y="331"/>
                    </a:lnTo>
                    <a:lnTo>
                      <a:pt x="474" y="331"/>
                    </a:lnTo>
                    <a:lnTo>
                      <a:pt x="473" y="328"/>
                    </a:lnTo>
                    <a:lnTo>
                      <a:pt x="474" y="328"/>
                    </a:lnTo>
                    <a:lnTo>
                      <a:pt x="475" y="328"/>
                    </a:lnTo>
                    <a:lnTo>
                      <a:pt x="478" y="322"/>
                    </a:lnTo>
                    <a:lnTo>
                      <a:pt x="479" y="322"/>
                    </a:lnTo>
                    <a:lnTo>
                      <a:pt x="477" y="318"/>
                    </a:lnTo>
                    <a:lnTo>
                      <a:pt x="478" y="315"/>
                    </a:lnTo>
                    <a:lnTo>
                      <a:pt x="481" y="316"/>
                    </a:lnTo>
                    <a:lnTo>
                      <a:pt x="482" y="318"/>
                    </a:lnTo>
                    <a:lnTo>
                      <a:pt x="481" y="320"/>
                    </a:lnTo>
                    <a:lnTo>
                      <a:pt x="485" y="324"/>
                    </a:lnTo>
                    <a:lnTo>
                      <a:pt x="487" y="323"/>
                    </a:lnTo>
                    <a:lnTo>
                      <a:pt x="489" y="325"/>
                    </a:lnTo>
                    <a:lnTo>
                      <a:pt x="491" y="324"/>
                    </a:lnTo>
                    <a:lnTo>
                      <a:pt x="492" y="322"/>
                    </a:lnTo>
                    <a:lnTo>
                      <a:pt x="494" y="323"/>
                    </a:lnTo>
                    <a:lnTo>
                      <a:pt x="497" y="322"/>
                    </a:lnTo>
                    <a:lnTo>
                      <a:pt x="501" y="324"/>
                    </a:lnTo>
                    <a:lnTo>
                      <a:pt x="507" y="329"/>
                    </a:lnTo>
                    <a:lnTo>
                      <a:pt x="508" y="333"/>
                    </a:lnTo>
                    <a:lnTo>
                      <a:pt x="511" y="334"/>
                    </a:lnTo>
                    <a:lnTo>
                      <a:pt x="513" y="338"/>
                    </a:lnTo>
                    <a:lnTo>
                      <a:pt x="516" y="341"/>
                    </a:lnTo>
                    <a:lnTo>
                      <a:pt x="519" y="342"/>
                    </a:lnTo>
                    <a:lnTo>
                      <a:pt x="521" y="342"/>
                    </a:lnTo>
                    <a:lnTo>
                      <a:pt x="523" y="342"/>
                    </a:lnTo>
                    <a:lnTo>
                      <a:pt x="524" y="345"/>
                    </a:lnTo>
                    <a:lnTo>
                      <a:pt x="528" y="342"/>
                    </a:lnTo>
                    <a:lnTo>
                      <a:pt x="529" y="345"/>
                    </a:lnTo>
                    <a:lnTo>
                      <a:pt x="531" y="346"/>
                    </a:lnTo>
                    <a:lnTo>
                      <a:pt x="532" y="346"/>
                    </a:lnTo>
                    <a:lnTo>
                      <a:pt x="537" y="350"/>
                    </a:lnTo>
                    <a:lnTo>
                      <a:pt x="537" y="357"/>
                    </a:lnTo>
                    <a:lnTo>
                      <a:pt x="539" y="361"/>
                    </a:lnTo>
                    <a:lnTo>
                      <a:pt x="545" y="365"/>
                    </a:lnTo>
                    <a:lnTo>
                      <a:pt x="548" y="361"/>
                    </a:lnTo>
                    <a:lnTo>
                      <a:pt x="549" y="361"/>
                    </a:lnTo>
                    <a:lnTo>
                      <a:pt x="549" y="358"/>
                    </a:lnTo>
                    <a:lnTo>
                      <a:pt x="550" y="358"/>
                    </a:lnTo>
                    <a:lnTo>
                      <a:pt x="552" y="359"/>
                    </a:lnTo>
                    <a:lnTo>
                      <a:pt x="553" y="358"/>
                    </a:lnTo>
                    <a:lnTo>
                      <a:pt x="555" y="357"/>
                    </a:lnTo>
                    <a:lnTo>
                      <a:pt x="552" y="356"/>
                    </a:lnTo>
                    <a:lnTo>
                      <a:pt x="554" y="354"/>
                    </a:lnTo>
                    <a:lnTo>
                      <a:pt x="555" y="355"/>
                    </a:lnTo>
                    <a:lnTo>
                      <a:pt x="555" y="353"/>
                    </a:lnTo>
                    <a:lnTo>
                      <a:pt x="555" y="352"/>
                    </a:lnTo>
                    <a:lnTo>
                      <a:pt x="554" y="352"/>
                    </a:lnTo>
                    <a:lnTo>
                      <a:pt x="554" y="351"/>
                    </a:lnTo>
                    <a:lnTo>
                      <a:pt x="553" y="352"/>
                    </a:lnTo>
                    <a:lnTo>
                      <a:pt x="552" y="350"/>
                    </a:lnTo>
                    <a:lnTo>
                      <a:pt x="553" y="348"/>
                    </a:lnTo>
                    <a:lnTo>
                      <a:pt x="555" y="348"/>
                    </a:lnTo>
                    <a:lnTo>
                      <a:pt x="555" y="350"/>
                    </a:lnTo>
                    <a:lnTo>
                      <a:pt x="557" y="351"/>
                    </a:lnTo>
                    <a:lnTo>
                      <a:pt x="558" y="351"/>
                    </a:lnTo>
                    <a:lnTo>
                      <a:pt x="559" y="350"/>
                    </a:lnTo>
                    <a:lnTo>
                      <a:pt x="560" y="348"/>
                    </a:lnTo>
                    <a:lnTo>
                      <a:pt x="557" y="345"/>
                    </a:lnTo>
                    <a:lnTo>
                      <a:pt x="558" y="343"/>
                    </a:lnTo>
                    <a:lnTo>
                      <a:pt x="559" y="342"/>
                    </a:lnTo>
                    <a:lnTo>
                      <a:pt x="559" y="341"/>
                    </a:lnTo>
                    <a:lnTo>
                      <a:pt x="560" y="340"/>
                    </a:lnTo>
                    <a:lnTo>
                      <a:pt x="556" y="337"/>
                    </a:lnTo>
                    <a:lnTo>
                      <a:pt x="552" y="335"/>
                    </a:lnTo>
                    <a:lnTo>
                      <a:pt x="550" y="335"/>
                    </a:lnTo>
                    <a:lnTo>
                      <a:pt x="546" y="334"/>
                    </a:lnTo>
                    <a:lnTo>
                      <a:pt x="545" y="333"/>
                    </a:lnTo>
                    <a:lnTo>
                      <a:pt x="544" y="331"/>
                    </a:lnTo>
                    <a:lnTo>
                      <a:pt x="545" y="329"/>
                    </a:lnTo>
                    <a:lnTo>
                      <a:pt x="545" y="327"/>
                    </a:lnTo>
                    <a:lnTo>
                      <a:pt x="546" y="326"/>
                    </a:lnTo>
                    <a:lnTo>
                      <a:pt x="545" y="324"/>
                    </a:lnTo>
                    <a:lnTo>
                      <a:pt x="544" y="323"/>
                    </a:lnTo>
                    <a:lnTo>
                      <a:pt x="542" y="322"/>
                    </a:lnTo>
                    <a:lnTo>
                      <a:pt x="540" y="324"/>
                    </a:lnTo>
                    <a:lnTo>
                      <a:pt x="538" y="324"/>
                    </a:lnTo>
                    <a:lnTo>
                      <a:pt x="537" y="325"/>
                    </a:lnTo>
                    <a:lnTo>
                      <a:pt x="535" y="322"/>
                    </a:lnTo>
                    <a:lnTo>
                      <a:pt x="537" y="320"/>
                    </a:lnTo>
                    <a:lnTo>
                      <a:pt x="537" y="318"/>
                    </a:lnTo>
                    <a:lnTo>
                      <a:pt x="539" y="317"/>
                    </a:lnTo>
                    <a:lnTo>
                      <a:pt x="541" y="317"/>
                    </a:lnTo>
                    <a:lnTo>
                      <a:pt x="542" y="315"/>
                    </a:lnTo>
                    <a:lnTo>
                      <a:pt x="543" y="313"/>
                    </a:lnTo>
                    <a:lnTo>
                      <a:pt x="545" y="314"/>
                    </a:lnTo>
                    <a:lnTo>
                      <a:pt x="545" y="311"/>
                    </a:lnTo>
                    <a:lnTo>
                      <a:pt x="547" y="312"/>
                    </a:lnTo>
                    <a:lnTo>
                      <a:pt x="548" y="311"/>
                    </a:lnTo>
                    <a:lnTo>
                      <a:pt x="549" y="310"/>
                    </a:lnTo>
                    <a:lnTo>
                      <a:pt x="548" y="309"/>
                    </a:lnTo>
                    <a:lnTo>
                      <a:pt x="550" y="307"/>
                    </a:lnTo>
                    <a:lnTo>
                      <a:pt x="548" y="306"/>
                    </a:lnTo>
                    <a:lnTo>
                      <a:pt x="549" y="306"/>
                    </a:lnTo>
                    <a:lnTo>
                      <a:pt x="548" y="305"/>
                    </a:lnTo>
                    <a:lnTo>
                      <a:pt x="549" y="303"/>
                    </a:lnTo>
                    <a:lnTo>
                      <a:pt x="552" y="303"/>
                    </a:lnTo>
                    <a:lnTo>
                      <a:pt x="555" y="302"/>
                    </a:lnTo>
                    <a:lnTo>
                      <a:pt x="556" y="299"/>
                    </a:lnTo>
                    <a:lnTo>
                      <a:pt x="554" y="298"/>
                    </a:lnTo>
                    <a:lnTo>
                      <a:pt x="555" y="295"/>
                    </a:lnTo>
                    <a:lnTo>
                      <a:pt x="554" y="295"/>
                    </a:lnTo>
                    <a:lnTo>
                      <a:pt x="554" y="294"/>
                    </a:lnTo>
                    <a:lnTo>
                      <a:pt x="557" y="294"/>
                    </a:lnTo>
                    <a:lnTo>
                      <a:pt x="558" y="295"/>
                    </a:lnTo>
                    <a:lnTo>
                      <a:pt x="559" y="291"/>
                    </a:lnTo>
                    <a:lnTo>
                      <a:pt x="557" y="289"/>
                    </a:lnTo>
                    <a:lnTo>
                      <a:pt x="558" y="287"/>
                    </a:lnTo>
                    <a:lnTo>
                      <a:pt x="562" y="289"/>
                    </a:lnTo>
                    <a:lnTo>
                      <a:pt x="565" y="289"/>
                    </a:lnTo>
                    <a:lnTo>
                      <a:pt x="565" y="290"/>
                    </a:lnTo>
                    <a:lnTo>
                      <a:pt x="566" y="289"/>
                    </a:lnTo>
                    <a:lnTo>
                      <a:pt x="567" y="290"/>
                    </a:lnTo>
                    <a:lnTo>
                      <a:pt x="569" y="290"/>
                    </a:lnTo>
                    <a:lnTo>
                      <a:pt x="570" y="289"/>
                    </a:lnTo>
                    <a:lnTo>
                      <a:pt x="570" y="287"/>
                    </a:lnTo>
                    <a:lnTo>
                      <a:pt x="569" y="284"/>
                    </a:lnTo>
                    <a:lnTo>
                      <a:pt x="572" y="28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2" name="Freeform 118">
                <a:extLst>
                  <a:ext uri="{FF2B5EF4-FFF2-40B4-BE49-F238E27FC236}">
                    <a16:creationId xmlns:a16="http://schemas.microsoft.com/office/drawing/2014/main" id="{6420C3AF-D7B8-43A9-A55F-A4A1267CB9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3" y="3367"/>
                <a:ext cx="572" cy="484"/>
              </a:xfrm>
              <a:custGeom>
                <a:avLst/>
                <a:gdLst>
                  <a:gd name="T0" fmla="*/ 557 w 572"/>
                  <a:gd name="T1" fmla="*/ 259 h 484"/>
                  <a:gd name="T2" fmla="*/ 527 w 572"/>
                  <a:gd name="T3" fmla="*/ 257 h 484"/>
                  <a:gd name="T4" fmla="*/ 507 w 572"/>
                  <a:gd name="T5" fmla="*/ 242 h 484"/>
                  <a:gd name="T6" fmla="*/ 497 w 572"/>
                  <a:gd name="T7" fmla="*/ 214 h 484"/>
                  <a:gd name="T8" fmla="*/ 467 w 572"/>
                  <a:gd name="T9" fmla="*/ 200 h 484"/>
                  <a:gd name="T10" fmla="*/ 443 w 572"/>
                  <a:gd name="T11" fmla="*/ 189 h 484"/>
                  <a:gd name="T12" fmla="*/ 418 w 572"/>
                  <a:gd name="T13" fmla="*/ 168 h 484"/>
                  <a:gd name="T14" fmla="*/ 395 w 572"/>
                  <a:gd name="T15" fmla="*/ 140 h 484"/>
                  <a:gd name="T16" fmla="*/ 394 w 572"/>
                  <a:gd name="T17" fmla="*/ 113 h 484"/>
                  <a:gd name="T18" fmla="*/ 407 w 572"/>
                  <a:gd name="T19" fmla="*/ 79 h 484"/>
                  <a:gd name="T20" fmla="*/ 410 w 572"/>
                  <a:gd name="T21" fmla="*/ 54 h 484"/>
                  <a:gd name="T22" fmla="*/ 401 w 572"/>
                  <a:gd name="T23" fmla="*/ 32 h 484"/>
                  <a:gd name="T24" fmla="*/ 391 w 572"/>
                  <a:gd name="T25" fmla="*/ 24 h 484"/>
                  <a:gd name="T26" fmla="*/ 365 w 572"/>
                  <a:gd name="T27" fmla="*/ 14 h 484"/>
                  <a:gd name="T28" fmla="*/ 360 w 572"/>
                  <a:gd name="T29" fmla="*/ 29 h 484"/>
                  <a:gd name="T30" fmla="*/ 344 w 572"/>
                  <a:gd name="T31" fmla="*/ 39 h 484"/>
                  <a:gd name="T32" fmla="*/ 315 w 572"/>
                  <a:gd name="T33" fmla="*/ 39 h 484"/>
                  <a:gd name="T34" fmla="*/ 308 w 572"/>
                  <a:gd name="T35" fmla="*/ 34 h 484"/>
                  <a:gd name="T36" fmla="*/ 288 w 572"/>
                  <a:gd name="T37" fmla="*/ 31 h 484"/>
                  <a:gd name="T38" fmla="*/ 271 w 572"/>
                  <a:gd name="T39" fmla="*/ 22 h 484"/>
                  <a:gd name="T40" fmla="*/ 262 w 572"/>
                  <a:gd name="T41" fmla="*/ 26 h 484"/>
                  <a:gd name="T42" fmla="*/ 250 w 572"/>
                  <a:gd name="T43" fmla="*/ 21 h 484"/>
                  <a:gd name="T44" fmla="*/ 225 w 572"/>
                  <a:gd name="T45" fmla="*/ 6 h 484"/>
                  <a:gd name="T46" fmla="*/ 205 w 572"/>
                  <a:gd name="T47" fmla="*/ 17 h 484"/>
                  <a:gd name="T48" fmla="*/ 179 w 572"/>
                  <a:gd name="T49" fmla="*/ 16 h 484"/>
                  <a:gd name="T50" fmla="*/ 163 w 572"/>
                  <a:gd name="T51" fmla="*/ 6 h 484"/>
                  <a:gd name="T52" fmla="*/ 154 w 572"/>
                  <a:gd name="T53" fmla="*/ 16 h 484"/>
                  <a:gd name="T54" fmla="*/ 131 w 572"/>
                  <a:gd name="T55" fmla="*/ 15 h 484"/>
                  <a:gd name="T56" fmla="*/ 113 w 572"/>
                  <a:gd name="T57" fmla="*/ 10 h 484"/>
                  <a:gd name="T58" fmla="*/ 90 w 572"/>
                  <a:gd name="T59" fmla="*/ 17 h 484"/>
                  <a:gd name="T60" fmla="*/ 91 w 572"/>
                  <a:gd name="T61" fmla="*/ 32 h 484"/>
                  <a:gd name="T62" fmla="*/ 92 w 572"/>
                  <a:gd name="T63" fmla="*/ 49 h 484"/>
                  <a:gd name="T64" fmla="*/ 89 w 572"/>
                  <a:gd name="T65" fmla="*/ 74 h 484"/>
                  <a:gd name="T66" fmla="*/ 84 w 572"/>
                  <a:gd name="T67" fmla="*/ 98 h 484"/>
                  <a:gd name="T68" fmla="*/ 62 w 572"/>
                  <a:gd name="T69" fmla="*/ 116 h 484"/>
                  <a:gd name="T70" fmla="*/ 58 w 572"/>
                  <a:gd name="T71" fmla="*/ 138 h 484"/>
                  <a:gd name="T72" fmla="*/ 52 w 572"/>
                  <a:gd name="T73" fmla="*/ 168 h 484"/>
                  <a:gd name="T74" fmla="*/ 34 w 572"/>
                  <a:gd name="T75" fmla="*/ 177 h 484"/>
                  <a:gd name="T76" fmla="*/ 20 w 572"/>
                  <a:gd name="T77" fmla="*/ 196 h 484"/>
                  <a:gd name="T78" fmla="*/ 0 w 572"/>
                  <a:gd name="T79" fmla="*/ 245 h 484"/>
                  <a:gd name="T80" fmla="*/ 24 w 572"/>
                  <a:gd name="T81" fmla="*/ 282 h 484"/>
                  <a:gd name="T82" fmla="*/ 57 w 572"/>
                  <a:gd name="T83" fmla="*/ 328 h 484"/>
                  <a:gd name="T84" fmla="*/ 97 w 572"/>
                  <a:gd name="T85" fmla="*/ 386 h 484"/>
                  <a:gd name="T86" fmla="*/ 125 w 572"/>
                  <a:gd name="T87" fmla="*/ 414 h 484"/>
                  <a:gd name="T88" fmla="*/ 119 w 572"/>
                  <a:gd name="T89" fmla="*/ 447 h 484"/>
                  <a:gd name="T90" fmla="*/ 155 w 572"/>
                  <a:gd name="T91" fmla="*/ 457 h 484"/>
                  <a:gd name="T92" fmla="*/ 208 w 572"/>
                  <a:gd name="T93" fmla="*/ 477 h 484"/>
                  <a:gd name="T94" fmla="*/ 229 w 572"/>
                  <a:gd name="T95" fmla="*/ 444 h 484"/>
                  <a:gd name="T96" fmla="*/ 260 w 572"/>
                  <a:gd name="T97" fmla="*/ 468 h 484"/>
                  <a:gd name="T98" fmla="*/ 299 w 572"/>
                  <a:gd name="T99" fmla="*/ 482 h 484"/>
                  <a:gd name="T100" fmla="*/ 332 w 572"/>
                  <a:gd name="T101" fmla="*/ 418 h 484"/>
                  <a:gd name="T102" fmla="*/ 356 w 572"/>
                  <a:gd name="T103" fmla="*/ 399 h 484"/>
                  <a:gd name="T104" fmla="*/ 379 w 572"/>
                  <a:gd name="T105" fmla="*/ 397 h 484"/>
                  <a:gd name="T106" fmla="*/ 395 w 572"/>
                  <a:gd name="T107" fmla="*/ 340 h 484"/>
                  <a:gd name="T108" fmla="*/ 403 w 572"/>
                  <a:gd name="T109" fmla="*/ 295 h 484"/>
                  <a:gd name="T110" fmla="*/ 444 w 572"/>
                  <a:gd name="T111" fmla="*/ 311 h 484"/>
                  <a:gd name="T112" fmla="*/ 462 w 572"/>
                  <a:gd name="T113" fmla="*/ 329 h 484"/>
                  <a:gd name="T114" fmla="*/ 497 w 572"/>
                  <a:gd name="T115" fmla="*/ 322 h 484"/>
                  <a:gd name="T116" fmla="*/ 550 w 572"/>
                  <a:gd name="T117" fmla="*/ 358 h 484"/>
                  <a:gd name="T118" fmla="*/ 560 w 572"/>
                  <a:gd name="T119" fmla="*/ 348 h 484"/>
                  <a:gd name="T120" fmla="*/ 535 w 572"/>
                  <a:gd name="T121" fmla="*/ 322 h 484"/>
                  <a:gd name="T122" fmla="*/ 556 w 572"/>
                  <a:gd name="T123" fmla="*/ 299 h 48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2"/>
                  <a:gd name="T187" fmla="*/ 0 h 484"/>
                  <a:gd name="T188" fmla="*/ 572 w 572"/>
                  <a:gd name="T189" fmla="*/ 484 h 48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2" h="484">
                    <a:moveTo>
                      <a:pt x="572" y="284"/>
                    </a:moveTo>
                    <a:lnTo>
                      <a:pt x="567" y="277"/>
                    </a:lnTo>
                    <a:lnTo>
                      <a:pt x="568" y="276"/>
                    </a:lnTo>
                    <a:lnTo>
                      <a:pt x="570" y="276"/>
                    </a:lnTo>
                    <a:lnTo>
                      <a:pt x="570" y="274"/>
                    </a:lnTo>
                    <a:lnTo>
                      <a:pt x="567" y="273"/>
                    </a:lnTo>
                    <a:lnTo>
                      <a:pt x="565" y="274"/>
                    </a:lnTo>
                    <a:lnTo>
                      <a:pt x="566" y="274"/>
                    </a:lnTo>
                    <a:lnTo>
                      <a:pt x="565" y="275"/>
                    </a:lnTo>
                    <a:lnTo>
                      <a:pt x="562" y="271"/>
                    </a:lnTo>
                    <a:lnTo>
                      <a:pt x="561" y="269"/>
                    </a:lnTo>
                    <a:lnTo>
                      <a:pt x="562" y="268"/>
                    </a:lnTo>
                    <a:lnTo>
                      <a:pt x="565" y="268"/>
                    </a:lnTo>
                    <a:lnTo>
                      <a:pt x="565" y="269"/>
                    </a:lnTo>
                    <a:lnTo>
                      <a:pt x="565" y="267"/>
                    </a:lnTo>
                    <a:lnTo>
                      <a:pt x="565" y="263"/>
                    </a:lnTo>
                    <a:lnTo>
                      <a:pt x="562" y="261"/>
                    </a:lnTo>
                    <a:lnTo>
                      <a:pt x="561" y="264"/>
                    </a:lnTo>
                    <a:lnTo>
                      <a:pt x="562" y="261"/>
                    </a:lnTo>
                    <a:lnTo>
                      <a:pt x="559" y="259"/>
                    </a:lnTo>
                    <a:lnTo>
                      <a:pt x="558" y="259"/>
                    </a:lnTo>
                    <a:lnTo>
                      <a:pt x="557" y="259"/>
                    </a:lnTo>
                    <a:lnTo>
                      <a:pt x="556" y="261"/>
                    </a:lnTo>
                    <a:lnTo>
                      <a:pt x="557" y="263"/>
                    </a:lnTo>
                    <a:lnTo>
                      <a:pt x="556" y="264"/>
                    </a:lnTo>
                    <a:lnTo>
                      <a:pt x="554" y="264"/>
                    </a:lnTo>
                    <a:lnTo>
                      <a:pt x="554" y="263"/>
                    </a:lnTo>
                    <a:lnTo>
                      <a:pt x="553" y="261"/>
                    </a:lnTo>
                    <a:lnTo>
                      <a:pt x="550" y="260"/>
                    </a:lnTo>
                    <a:lnTo>
                      <a:pt x="549" y="261"/>
                    </a:lnTo>
                    <a:lnTo>
                      <a:pt x="546" y="265"/>
                    </a:lnTo>
                    <a:lnTo>
                      <a:pt x="544" y="264"/>
                    </a:lnTo>
                    <a:lnTo>
                      <a:pt x="542" y="264"/>
                    </a:lnTo>
                    <a:lnTo>
                      <a:pt x="537" y="262"/>
                    </a:lnTo>
                    <a:lnTo>
                      <a:pt x="537" y="264"/>
                    </a:lnTo>
                    <a:lnTo>
                      <a:pt x="536" y="263"/>
                    </a:lnTo>
                    <a:lnTo>
                      <a:pt x="535" y="264"/>
                    </a:lnTo>
                    <a:lnTo>
                      <a:pt x="535" y="262"/>
                    </a:lnTo>
                    <a:lnTo>
                      <a:pt x="534" y="262"/>
                    </a:lnTo>
                    <a:lnTo>
                      <a:pt x="532" y="257"/>
                    </a:lnTo>
                    <a:lnTo>
                      <a:pt x="531" y="256"/>
                    </a:lnTo>
                    <a:lnTo>
                      <a:pt x="529" y="256"/>
                    </a:lnTo>
                    <a:lnTo>
                      <a:pt x="528" y="257"/>
                    </a:lnTo>
                    <a:lnTo>
                      <a:pt x="527" y="257"/>
                    </a:lnTo>
                    <a:lnTo>
                      <a:pt x="526" y="261"/>
                    </a:lnTo>
                    <a:lnTo>
                      <a:pt x="524" y="263"/>
                    </a:lnTo>
                    <a:lnTo>
                      <a:pt x="524" y="262"/>
                    </a:lnTo>
                    <a:lnTo>
                      <a:pt x="524" y="259"/>
                    </a:lnTo>
                    <a:lnTo>
                      <a:pt x="521" y="257"/>
                    </a:lnTo>
                    <a:lnTo>
                      <a:pt x="520" y="255"/>
                    </a:lnTo>
                    <a:lnTo>
                      <a:pt x="518" y="254"/>
                    </a:lnTo>
                    <a:lnTo>
                      <a:pt x="517" y="254"/>
                    </a:lnTo>
                    <a:lnTo>
                      <a:pt x="516" y="254"/>
                    </a:lnTo>
                    <a:lnTo>
                      <a:pt x="513" y="251"/>
                    </a:lnTo>
                    <a:lnTo>
                      <a:pt x="514" y="250"/>
                    </a:lnTo>
                    <a:lnTo>
                      <a:pt x="513" y="247"/>
                    </a:lnTo>
                    <a:lnTo>
                      <a:pt x="512" y="245"/>
                    </a:lnTo>
                    <a:lnTo>
                      <a:pt x="511" y="246"/>
                    </a:lnTo>
                    <a:lnTo>
                      <a:pt x="509" y="244"/>
                    </a:lnTo>
                    <a:lnTo>
                      <a:pt x="510" y="242"/>
                    </a:lnTo>
                    <a:lnTo>
                      <a:pt x="509" y="242"/>
                    </a:lnTo>
                    <a:lnTo>
                      <a:pt x="508" y="242"/>
                    </a:lnTo>
                    <a:lnTo>
                      <a:pt x="508" y="244"/>
                    </a:lnTo>
                    <a:lnTo>
                      <a:pt x="507" y="244"/>
                    </a:lnTo>
                    <a:lnTo>
                      <a:pt x="507" y="242"/>
                    </a:lnTo>
                    <a:lnTo>
                      <a:pt x="506" y="239"/>
                    </a:lnTo>
                    <a:lnTo>
                      <a:pt x="506" y="237"/>
                    </a:lnTo>
                    <a:lnTo>
                      <a:pt x="504" y="237"/>
                    </a:lnTo>
                    <a:lnTo>
                      <a:pt x="503" y="237"/>
                    </a:lnTo>
                    <a:lnTo>
                      <a:pt x="505" y="234"/>
                    </a:lnTo>
                    <a:lnTo>
                      <a:pt x="505" y="231"/>
                    </a:lnTo>
                    <a:lnTo>
                      <a:pt x="507" y="229"/>
                    </a:lnTo>
                    <a:lnTo>
                      <a:pt x="507" y="227"/>
                    </a:lnTo>
                    <a:lnTo>
                      <a:pt x="509" y="225"/>
                    </a:lnTo>
                    <a:lnTo>
                      <a:pt x="508" y="224"/>
                    </a:lnTo>
                    <a:lnTo>
                      <a:pt x="508" y="223"/>
                    </a:lnTo>
                    <a:lnTo>
                      <a:pt x="508" y="221"/>
                    </a:lnTo>
                    <a:lnTo>
                      <a:pt x="508" y="217"/>
                    </a:lnTo>
                    <a:lnTo>
                      <a:pt x="508" y="214"/>
                    </a:lnTo>
                    <a:lnTo>
                      <a:pt x="507" y="213"/>
                    </a:lnTo>
                    <a:lnTo>
                      <a:pt x="504" y="212"/>
                    </a:lnTo>
                    <a:lnTo>
                      <a:pt x="503" y="212"/>
                    </a:lnTo>
                    <a:lnTo>
                      <a:pt x="502" y="212"/>
                    </a:lnTo>
                    <a:lnTo>
                      <a:pt x="501" y="211"/>
                    </a:lnTo>
                    <a:lnTo>
                      <a:pt x="499" y="211"/>
                    </a:lnTo>
                    <a:lnTo>
                      <a:pt x="499" y="213"/>
                    </a:lnTo>
                    <a:lnTo>
                      <a:pt x="497" y="214"/>
                    </a:lnTo>
                    <a:lnTo>
                      <a:pt x="494" y="211"/>
                    </a:lnTo>
                    <a:lnTo>
                      <a:pt x="491" y="211"/>
                    </a:lnTo>
                    <a:lnTo>
                      <a:pt x="490" y="213"/>
                    </a:lnTo>
                    <a:lnTo>
                      <a:pt x="488" y="214"/>
                    </a:lnTo>
                    <a:lnTo>
                      <a:pt x="487" y="212"/>
                    </a:lnTo>
                    <a:lnTo>
                      <a:pt x="486" y="212"/>
                    </a:lnTo>
                    <a:lnTo>
                      <a:pt x="484" y="213"/>
                    </a:lnTo>
                    <a:lnTo>
                      <a:pt x="484" y="214"/>
                    </a:lnTo>
                    <a:lnTo>
                      <a:pt x="482" y="215"/>
                    </a:lnTo>
                    <a:lnTo>
                      <a:pt x="483" y="212"/>
                    </a:lnTo>
                    <a:lnTo>
                      <a:pt x="484" y="210"/>
                    </a:lnTo>
                    <a:lnTo>
                      <a:pt x="480" y="206"/>
                    </a:lnTo>
                    <a:lnTo>
                      <a:pt x="480" y="207"/>
                    </a:lnTo>
                    <a:lnTo>
                      <a:pt x="478" y="206"/>
                    </a:lnTo>
                    <a:lnTo>
                      <a:pt x="477" y="206"/>
                    </a:lnTo>
                    <a:lnTo>
                      <a:pt x="474" y="203"/>
                    </a:lnTo>
                    <a:lnTo>
                      <a:pt x="471" y="203"/>
                    </a:lnTo>
                    <a:lnTo>
                      <a:pt x="470" y="204"/>
                    </a:lnTo>
                    <a:lnTo>
                      <a:pt x="469" y="199"/>
                    </a:lnTo>
                    <a:lnTo>
                      <a:pt x="467" y="199"/>
                    </a:lnTo>
                    <a:lnTo>
                      <a:pt x="467" y="200"/>
                    </a:lnTo>
                    <a:lnTo>
                      <a:pt x="462" y="205"/>
                    </a:lnTo>
                    <a:lnTo>
                      <a:pt x="459" y="206"/>
                    </a:lnTo>
                    <a:lnTo>
                      <a:pt x="458" y="206"/>
                    </a:lnTo>
                    <a:lnTo>
                      <a:pt x="455" y="204"/>
                    </a:lnTo>
                    <a:lnTo>
                      <a:pt x="452" y="203"/>
                    </a:lnTo>
                    <a:lnTo>
                      <a:pt x="453" y="202"/>
                    </a:lnTo>
                    <a:lnTo>
                      <a:pt x="452" y="198"/>
                    </a:lnTo>
                    <a:lnTo>
                      <a:pt x="453" y="197"/>
                    </a:lnTo>
                    <a:lnTo>
                      <a:pt x="452" y="196"/>
                    </a:lnTo>
                    <a:lnTo>
                      <a:pt x="451" y="193"/>
                    </a:lnTo>
                    <a:lnTo>
                      <a:pt x="450" y="193"/>
                    </a:lnTo>
                    <a:lnTo>
                      <a:pt x="449" y="191"/>
                    </a:lnTo>
                    <a:lnTo>
                      <a:pt x="448" y="190"/>
                    </a:lnTo>
                    <a:lnTo>
                      <a:pt x="444" y="190"/>
                    </a:lnTo>
                    <a:lnTo>
                      <a:pt x="442" y="193"/>
                    </a:lnTo>
                    <a:lnTo>
                      <a:pt x="440" y="190"/>
                    </a:lnTo>
                    <a:lnTo>
                      <a:pt x="438" y="190"/>
                    </a:lnTo>
                    <a:lnTo>
                      <a:pt x="436" y="187"/>
                    </a:lnTo>
                    <a:lnTo>
                      <a:pt x="437" y="187"/>
                    </a:lnTo>
                    <a:lnTo>
                      <a:pt x="438" y="187"/>
                    </a:lnTo>
                    <a:lnTo>
                      <a:pt x="443" y="189"/>
                    </a:lnTo>
                    <a:lnTo>
                      <a:pt x="444" y="187"/>
                    </a:lnTo>
                    <a:lnTo>
                      <a:pt x="442" y="184"/>
                    </a:lnTo>
                    <a:lnTo>
                      <a:pt x="444" y="183"/>
                    </a:lnTo>
                    <a:lnTo>
                      <a:pt x="445" y="180"/>
                    </a:lnTo>
                    <a:lnTo>
                      <a:pt x="439" y="177"/>
                    </a:lnTo>
                    <a:lnTo>
                      <a:pt x="436" y="176"/>
                    </a:lnTo>
                    <a:lnTo>
                      <a:pt x="435" y="177"/>
                    </a:lnTo>
                    <a:lnTo>
                      <a:pt x="433" y="176"/>
                    </a:lnTo>
                    <a:lnTo>
                      <a:pt x="434" y="176"/>
                    </a:lnTo>
                    <a:lnTo>
                      <a:pt x="431" y="173"/>
                    </a:lnTo>
                    <a:lnTo>
                      <a:pt x="430" y="171"/>
                    </a:lnTo>
                    <a:lnTo>
                      <a:pt x="429" y="167"/>
                    </a:lnTo>
                    <a:lnTo>
                      <a:pt x="427" y="167"/>
                    </a:lnTo>
                    <a:lnTo>
                      <a:pt x="428" y="165"/>
                    </a:lnTo>
                    <a:lnTo>
                      <a:pt x="427" y="165"/>
                    </a:lnTo>
                    <a:lnTo>
                      <a:pt x="426" y="164"/>
                    </a:lnTo>
                    <a:lnTo>
                      <a:pt x="424" y="165"/>
                    </a:lnTo>
                    <a:lnTo>
                      <a:pt x="423" y="166"/>
                    </a:lnTo>
                    <a:lnTo>
                      <a:pt x="422" y="166"/>
                    </a:lnTo>
                    <a:lnTo>
                      <a:pt x="420" y="167"/>
                    </a:lnTo>
                    <a:lnTo>
                      <a:pt x="418" y="168"/>
                    </a:lnTo>
                    <a:lnTo>
                      <a:pt x="415" y="172"/>
                    </a:lnTo>
                    <a:lnTo>
                      <a:pt x="412" y="171"/>
                    </a:lnTo>
                    <a:lnTo>
                      <a:pt x="412" y="170"/>
                    </a:lnTo>
                    <a:lnTo>
                      <a:pt x="411" y="170"/>
                    </a:lnTo>
                    <a:lnTo>
                      <a:pt x="411" y="169"/>
                    </a:lnTo>
                    <a:lnTo>
                      <a:pt x="410" y="166"/>
                    </a:lnTo>
                    <a:lnTo>
                      <a:pt x="407" y="163"/>
                    </a:lnTo>
                    <a:lnTo>
                      <a:pt x="406" y="163"/>
                    </a:lnTo>
                    <a:lnTo>
                      <a:pt x="404" y="160"/>
                    </a:lnTo>
                    <a:lnTo>
                      <a:pt x="405" y="158"/>
                    </a:lnTo>
                    <a:lnTo>
                      <a:pt x="403" y="157"/>
                    </a:lnTo>
                    <a:lnTo>
                      <a:pt x="403" y="156"/>
                    </a:lnTo>
                    <a:lnTo>
                      <a:pt x="401" y="155"/>
                    </a:lnTo>
                    <a:lnTo>
                      <a:pt x="398" y="153"/>
                    </a:lnTo>
                    <a:lnTo>
                      <a:pt x="400" y="150"/>
                    </a:lnTo>
                    <a:lnTo>
                      <a:pt x="400" y="149"/>
                    </a:lnTo>
                    <a:lnTo>
                      <a:pt x="397" y="148"/>
                    </a:lnTo>
                    <a:lnTo>
                      <a:pt x="395" y="144"/>
                    </a:lnTo>
                    <a:lnTo>
                      <a:pt x="394" y="142"/>
                    </a:lnTo>
                    <a:lnTo>
                      <a:pt x="394" y="141"/>
                    </a:lnTo>
                    <a:lnTo>
                      <a:pt x="395" y="140"/>
                    </a:lnTo>
                    <a:lnTo>
                      <a:pt x="395" y="139"/>
                    </a:lnTo>
                    <a:lnTo>
                      <a:pt x="397" y="139"/>
                    </a:lnTo>
                    <a:lnTo>
                      <a:pt x="397" y="136"/>
                    </a:lnTo>
                    <a:lnTo>
                      <a:pt x="398" y="137"/>
                    </a:lnTo>
                    <a:lnTo>
                      <a:pt x="400" y="135"/>
                    </a:lnTo>
                    <a:lnTo>
                      <a:pt x="401" y="134"/>
                    </a:lnTo>
                    <a:lnTo>
                      <a:pt x="402" y="135"/>
                    </a:lnTo>
                    <a:lnTo>
                      <a:pt x="403" y="132"/>
                    </a:lnTo>
                    <a:lnTo>
                      <a:pt x="401" y="133"/>
                    </a:lnTo>
                    <a:lnTo>
                      <a:pt x="401" y="129"/>
                    </a:lnTo>
                    <a:lnTo>
                      <a:pt x="400" y="126"/>
                    </a:lnTo>
                    <a:lnTo>
                      <a:pt x="397" y="125"/>
                    </a:lnTo>
                    <a:lnTo>
                      <a:pt x="393" y="123"/>
                    </a:lnTo>
                    <a:lnTo>
                      <a:pt x="392" y="122"/>
                    </a:lnTo>
                    <a:lnTo>
                      <a:pt x="393" y="120"/>
                    </a:lnTo>
                    <a:lnTo>
                      <a:pt x="393" y="119"/>
                    </a:lnTo>
                    <a:lnTo>
                      <a:pt x="393" y="118"/>
                    </a:lnTo>
                    <a:lnTo>
                      <a:pt x="393" y="116"/>
                    </a:lnTo>
                    <a:lnTo>
                      <a:pt x="395" y="116"/>
                    </a:lnTo>
                    <a:lnTo>
                      <a:pt x="393" y="115"/>
                    </a:lnTo>
                    <a:lnTo>
                      <a:pt x="394" y="113"/>
                    </a:lnTo>
                    <a:lnTo>
                      <a:pt x="395" y="113"/>
                    </a:lnTo>
                    <a:lnTo>
                      <a:pt x="397" y="113"/>
                    </a:lnTo>
                    <a:lnTo>
                      <a:pt x="397" y="111"/>
                    </a:lnTo>
                    <a:lnTo>
                      <a:pt x="397" y="109"/>
                    </a:lnTo>
                    <a:lnTo>
                      <a:pt x="398" y="108"/>
                    </a:lnTo>
                    <a:lnTo>
                      <a:pt x="398" y="105"/>
                    </a:lnTo>
                    <a:lnTo>
                      <a:pt x="399" y="105"/>
                    </a:lnTo>
                    <a:lnTo>
                      <a:pt x="399" y="102"/>
                    </a:lnTo>
                    <a:lnTo>
                      <a:pt x="401" y="102"/>
                    </a:lnTo>
                    <a:lnTo>
                      <a:pt x="402" y="99"/>
                    </a:lnTo>
                    <a:lnTo>
                      <a:pt x="401" y="99"/>
                    </a:lnTo>
                    <a:lnTo>
                      <a:pt x="400" y="100"/>
                    </a:lnTo>
                    <a:lnTo>
                      <a:pt x="398" y="100"/>
                    </a:lnTo>
                    <a:lnTo>
                      <a:pt x="398" y="99"/>
                    </a:lnTo>
                    <a:lnTo>
                      <a:pt x="398" y="98"/>
                    </a:lnTo>
                    <a:lnTo>
                      <a:pt x="400" y="98"/>
                    </a:lnTo>
                    <a:lnTo>
                      <a:pt x="402" y="95"/>
                    </a:lnTo>
                    <a:lnTo>
                      <a:pt x="402" y="91"/>
                    </a:lnTo>
                    <a:lnTo>
                      <a:pt x="403" y="89"/>
                    </a:lnTo>
                    <a:lnTo>
                      <a:pt x="406" y="89"/>
                    </a:lnTo>
                    <a:lnTo>
                      <a:pt x="407" y="80"/>
                    </a:lnTo>
                    <a:lnTo>
                      <a:pt x="407" y="79"/>
                    </a:lnTo>
                    <a:lnTo>
                      <a:pt x="406" y="78"/>
                    </a:lnTo>
                    <a:lnTo>
                      <a:pt x="406" y="76"/>
                    </a:lnTo>
                    <a:lnTo>
                      <a:pt x="407" y="75"/>
                    </a:lnTo>
                    <a:lnTo>
                      <a:pt x="409" y="73"/>
                    </a:lnTo>
                    <a:lnTo>
                      <a:pt x="410" y="72"/>
                    </a:lnTo>
                    <a:lnTo>
                      <a:pt x="409" y="70"/>
                    </a:lnTo>
                    <a:lnTo>
                      <a:pt x="410" y="67"/>
                    </a:lnTo>
                    <a:lnTo>
                      <a:pt x="409" y="66"/>
                    </a:lnTo>
                    <a:lnTo>
                      <a:pt x="409" y="65"/>
                    </a:lnTo>
                    <a:lnTo>
                      <a:pt x="410" y="65"/>
                    </a:lnTo>
                    <a:lnTo>
                      <a:pt x="407" y="62"/>
                    </a:lnTo>
                    <a:lnTo>
                      <a:pt x="407" y="61"/>
                    </a:lnTo>
                    <a:lnTo>
                      <a:pt x="407" y="59"/>
                    </a:lnTo>
                    <a:lnTo>
                      <a:pt x="406" y="59"/>
                    </a:lnTo>
                    <a:lnTo>
                      <a:pt x="403" y="57"/>
                    </a:lnTo>
                    <a:lnTo>
                      <a:pt x="404" y="55"/>
                    </a:lnTo>
                    <a:lnTo>
                      <a:pt x="406" y="53"/>
                    </a:lnTo>
                    <a:lnTo>
                      <a:pt x="407" y="54"/>
                    </a:lnTo>
                    <a:lnTo>
                      <a:pt x="407" y="53"/>
                    </a:lnTo>
                    <a:lnTo>
                      <a:pt x="409" y="54"/>
                    </a:lnTo>
                    <a:lnTo>
                      <a:pt x="410" y="54"/>
                    </a:lnTo>
                    <a:lnTo>
                      <a:pt x="413" y="55"/>
                    </a:lnTo>
                    <a:lnTo>
                      <a:pt x="415" y="54"/>
                    </a:lnTo>
                    <a:lnTo>
                      <a:pt x="415" y="53"/>
                    </a:lnTo>
                    <a:lnTo>
                      <a:pt x="414" y="51"/>
                    </a:lnTo>
                    <a:lnTo>
                      <a:pt x="414" y="48"/>
                    </a:lnTo>
                    <a:lnTo>
                      <a:pt x="412" y="45"/>
                    </a:lnTo>
                    <a:lnTo>
                      <a:pt x="412" y="44"/>
                    </a:lnTo>
                    <a:lnTo>
                      <a:pt x="414" y="42"/>
                    </a:lnTo>
                    <a:lnTo>
                      <a:pt x="412" y="42"/>
                    </a:lnTo>
                    <a:lnTo>
                      <a:pt x="411" y="44"/>
                    </a:lnTo>
                    <a:lnTo>
                      <a:pt x="410" y="44"/>
                    </a:lnTo>
                    <a:lnTo>
                      <a:pt x="409" y="42"/>
                    </a:lnTo>
                    <a:lnTo>
                      <a:pt x="407" y="44"/>
                    </a:lnTo>
                    <a:lnTo>
                      <a:pt x="406" y="44"/>
                    </a:lnTo>
                    <a:lnTo>
                      <a:pt x="405" y="41"/>
                    </a:lnTo>
                    <a:lnTo>
                      <a:pt x="402" y="38"/>
                    </a:lnTo>
                    <a:lnTo>
                      <a:pt x="404" y="37"/>
                    </a:lnTo>
                    <a:lnTo>
                      <a:pt x="402" y="36"/>
                    </a:lnTo>
                    <a:lnTo>
                      <a:pt x="402" y="34"/>
                    </a:lnTo>
                    <a:lnTo>
                      <a:pt x="402" y="33"/>
                    </a:lnTo>
                    <a:lnTo>
                      <a:pt x="401" y="32"/>
                    </a:lnTo>
                    <a:lnTo>
                      <a:pt x="401" y="28"/>
                    </a:lnTo>
                    <a:lnTo>
                      <a:pt x="399" y="29"/>
                    </a:lnTo>
                    <a:lnTo>
                      <a:pt x="400" y="28"/>
                    </a:lnTo>
                    <a:lnTo>
                      <a:pt x="400" y="27"/>
                    </a:lnTo>
                    <a:lnTo>
                      <a:pt x="399" y="27"/>
                    </a:lnTo>
                    <a:lnTo>
                      <a:pt x="400" y="26"/>
                    </a:lnTo>
                    <a:lnTo>
                      <a:pt x="400" y="24"/>
                    </a:lnTo>
                    <a:lnTo>
                      <a:pt x="398" y="23"/>
                    </a:lnTo>
                    <a:lnTo>
                      <a:pt x="399" y="23"/>
                    </a:lnTo>
                    <a:lnTo>
                      <a:pt x="401" y="23"/>
                    </a:lnTo>
                    <a:lnTo>
                      <a:pt x="398" y="21"/>
                    </a:lnTo>
                    <a:lnTo>
                      <a:pt x="398" y="20"/>
                    </a:lnTo>
                    <a:lnTo>
                      <a:pt x="397" y="22"/>
                    </a:lnTo>
                    <a:lnTo>
                      <a:pt x="396" y="22"/>
                    </a:lnTo>
                    <a:lnTo>
                      <a:pt x="395" y="21"/>
                    </a:lnTo>
                    <a:lnTo>
                      <a:pt x="394" y="21"/>
                    </a:lnTo>
                    <a:lnTo>
                      <a:pt x="392" y="25"/>
                    </a:lnTo>
                    <a:lnTo>
                      <a:pt x="393" y="26"/>
                    </a:lnTo>
                    <a:lnTo>
                      <a:pt x="392" y="27"/>
                    </a:lnTo>
                    <a:lnTo>
                      <a:pt x="391" y="26"/>
                    </a:lnTo>
                    <a:lnTo>
                      <a:pt x="391" y="24"/>
                    </a:lnTo>
                    <a:lnTo>
                      <a:pt x="390" y="22"/>
                    </a:lnTo>
                    <a:lnTo>
                      <a:pt x="389" y="22"/>
                    </a:lnTo>
                    <a:lnTo>
                      <a:pt x="387" y="21"/>
                    </a:lnTo>
                    <a:lnTo>
                      <a:pt x="385" y="17"/>
                    </a:lnTo>
                    <a:lnTo>
                      <a:pt x="384" y="13"/>
                    </a:lnTo>
                    <a:lnTo>
                      <a:pt x="382" y="13"/>
                    </a:lnTo>
                    <a:lnTo>
                      <a:pt x="376" y="10"/>
                    </a:lnTo>
                    <a:lnTo>
                      <a:pt x="375" y="8"/>
                    </a:lnTo>
                    <a:lnTo>
                      <a:pt x="372" y="3"/>
                    </a:lnTo>
                    <a:lnTo>
                      <a:pt x="373" y="2"/>
                    </a:lnTo>
                    <a:lnTo>
                      <a:pt x="372" y="2"/>
                    </a:lnTo>
                    <a:lnTo>
                      <a:pt x="371" y="4"/>
                    </a:lnTo>
                    <a:lnTo>
                      <a:pt x="371" y="7"/>
                    </a:lnTo>
                    <a:lnTo>
                      <a:pt x="368" y="7"/>
                    </a:lnTo>
                    <a:lnTo>
                      <a:pt x="368" y="8"/>
                    </a:lnTo>
                    <a:lnTo>
                      <a:pt x="366" y="8"/>
                    </a:lnTo>
                    <a:lnTo>
                      <a:pt x="366" y="9"/>
                    </a:lnTo>
                    <a:lnTo>
                      <a:pt x="366" y="8"/>
                    </a:lnTo>
                    <a:lnTo>
                      <a:pt x="365" y="10"/>
                    </a:lnTo>
                    <a:lnTo>
                      <a:pt x="366" y="10"/>
                    </a:lnTo>
                    <a:lnTo>
                      <a:pt x="365" y="14"/>
                    </a:lnTo>
                    <a:lnTo>
                      <a:pt x="361" y="11"/>
                    </a:lnTo>
                    <a:lnTo>
                      <a:pt x="361" y="13"/>
                    </a:lnTo>
                    <a:lnTo>
                      <a:pt x="361" y="14"/>
                    </a:lnTo>
                    <a:lnTo>
                      <a:pt x="360" y="14"/>
                    </a:lnTo>
                    <a:lnTo>
                      <a:pt x="361" y="15"/>
                    </a:lnTo>
                    <a:lnTo>
                      <a:pt x="360" y="15"/>
                    </a:lnTo>
                    <a:lnTo>
                      <a:pt x="361" y="16"/>
                    </a:lnTo>
                    <a:lnTo>
                      <a:pt x="360" y="18"/>
                    </a:lnTo>
                    <a:lnTo>
                      <a:pt x="361" y="19"/>
                    </a:lnTo>
                    <a:lnTo>
                      <a:pt x="360" y="19"/>
                    </a:lnTo>
                    <a:lnTo>
                      <a:pt x="359" y="20"/>
                    </a:lnTo>
                    <a:lnTo>
                      <a:pt x="358" y="20"/>
                    </a:lnTo>
                    <a:lnTo>
                      <a:pt x="358" y="23"/>
                    </a:lnTo>
                    <a:lnTo>
                      <a:pt x="357" y="23"/>
                    </a:lnTo>
                    <a:lnTo>
                      <a:pt x="357" y="24"/>
                    </a:lnTo>
                    <a:lnTo>
                      <a:pt x="357" y="25"/>
                    </a:lnTo>
                    <a:lnTo>
                      <a:pt x="359" y="26"/>
                    </a:lnTo>
                    <a:lnTo>
                      <a:pt x="358" y="28"/>
                    </a:lnTo>
                    <a:lnTo>
                      <a:pt x="358" y="30"/>
                    </a:lnTo>
                    <a:lnTo>
                      <a:pt x="360" y="29"/>
                    </a:lnTo>
                    <a:lnTo>
                      <a:pt x="360" y="31"/>
                    </a:lnTo>
                    <a:lnTo>
                      <a:pt x="359" y="31"/>
                    </a:lnTo>
                    <a:lnTo>
                      <a:pt x="361" y="32"/>
                    </a:lnTo>
                    <a:lnTo>
                      <a:pt x="361" y="33"/>
                    </a:lnTo>
                    <a:lnTo>
                      <a:pt x="359" y="34"/>
                    </a:lnTo>
                    <a:lnTo>
                      <a:pt x="361" y="34"/>
                    </a:lnTo>
                    <a:lnTo>
                      <a:pt x="360" y="34"/>
                    </a:lnTo>
                    <a:lnTo>
                      <a:pt x="358" y="35"/>
                    </a:lnTo>
                    <a:lnTo>
                      <a:pt x="357" y="34"/>
                    </a:lnTo>
                    <a:lnTo>
                      <a:pt x="357" y="35"/>
                    </a:lnTo>
                    <a:lnTo>
                      <a:pt x="357" y="36"/>
                    </a:lnTo>
                    <a:lnTo>
                      <a:pt x="353" y="36"/>
                    </a:lnTo>
                    <a:lnTo>
                      <a:pt x="353" y="37"/>
                    </a:lnTo>
                    <a:lnTo>
                      <a:pt x="352" y="37"/>
                    </a:lnTo>
                    <a:lnTo>
                      <a:pt x="352" y="36"/>
                    </a:lnTo>
                    <a:lnTo>
                      <a:pt x="349" y="36"/>
                    </a:lnTo>
                    <a:lnTo>
                      <a:pt x="348" y="35"/>
                    </a:lnTo>
                    <a:lnTo>
                      <a:pt x="348" y="36"/>
                    </a:lnTo>
                    <a:lnTo>
                      <a:pt x="348" y="37"/>
                    </a:lnTo>
                    <a:lnTo>
                      <a:pt x="346" y="37"/>
                    </a:lnTo>
                    <a:lnTo>
                      <a:pt x="345" y="37"/>
                    </a:lnTo>
                    <a:lnTo>
                      <a:pt x="344" y="39"/>
                    </a:lnTo>
                    <a:lnTo>
                      <a:pt x="341" y="42"/>
                    </a:lnTo>
                    <a:lnTo>
                      <a:pt x="340" y="41"/>
                    </a:lnTo>
                    <a:lnTo>
                      <a:pt x="340" y="42"/>
                    </a:lnTo>
                    <a:lnTo>
                      <a:pt x="338" y="42"/>
                    </a:lnTo>
                    <a:lnTo>
                      <a:pt x="336" y="43"/>
                    </a:lnTo>
                    <a:lnTo>
                      <a:pt x="336" y="44"/>
                    </a:lnTo>
                    <a:lnTo>
                      <a:pt x="335" y="44"/>
                    </a:lnTo>
                    <a:lnTo>
                      <a:pt x="336" y="48"/>
                    </a:lnTo>
                    <a:lnTo>
                      <a:pt x="335" y="49"/>
                    </a:lnTo>
                    <a:lnTo>
                      <a:pt x="335" y="51"/>
                    </a:lnTo>
                    <a:lnTo>
                      <a:pt x="334" y="52"/>
                    </a:lnTo>
                    <a:lnTo>
                      <a:pt x="332" y="51"/>
                    </a:lnTo>
                    <a:lnTo>
                      <a:pt x="331" y="50"/>
                    </a:lnTo>
                    <a:lnTo>
                      <a:pt x="332" y="49"/>
                    </a:lnTo>
                    <a:lnTo>
                      <a:pt x="331" y="45"/>
                    </a:lnTo>
                    <a:lnTo>
                      <a:pt x="329" y="44"/>
                    </a:lnTo>
                    <a:lnTo>
                      <a:pt x="324" y="41"/>
                    </a:lnTo>
                    <a:lnTo>
                      <a:pt x="319" y="42"/>
                    </a:lnTo>
                    <a:lnTo>
                      <a:pt x="317" y="42"/>
                    </a:lnTo>
                    <a:lnTo>
                      <a:pt x="317" y="40"/>
                    </a:lnTo>
                    <a:lnTo>
                      <a:pt x="315" y="40"/>
                    </a:lnTo>
                    <a:lnTo>
                      <a:pt x="315" y="39"/>
                    </a:lnTo>
                    <a:lnTo>
                      <a:pt x="316" y="38"/>
                    </a:lnTo>
                    <a:lnTo>
                      <a:pt x="317" y="38"/>
                    </a:lnTo>
                    <a:lnTo>
                      <a:pt x="318" y="36"/>
                    </a:lnTo>
                    <a:lnTo>
                      <a:pt x="319" y="35"/>
                    </a:lnTo>
                    <a:lnTo>
                      <a:pt x="320" y="32"/>
                    </a:lnTo>
                    <a:lnTo>
                      <a:pt x="320" y="31"/>
                    </a:lnTo>
                    <a:lnTo>
                      <a:pt x="319" y="31"/>
                    </a:lnTo>
                    <a:lnTo>
                      <a:pt x="318" y="33"/>
                    </a:lnTo>
                    <a:lnTo>
                      <a:pt x="317" y="34"/>
                    </a:lnTo>
                    <a:lnTo>
                      <a:pt x="315" y="33"/>
                    </a:lnTo>
                    <a:lnTo>
                      <a:pt x="315" y="34"/>
                    </a:lnTo>
                    <a:lnTo>
                      <a:pt x="314" y="34"/>
                    </a:lnTo>
                    <a:lnTo>
                      <a:pt x="314" y="32"/>
                    </a:lnTo>
                    <a:lnTo>
                      <a:pt x="312" y="36"/>
                    </a:lnTo>
                    <a:lnTo>
                      <a:pt x="310" y="35"/>
                    </a:lnTo>
                    <a:lnTo>
                      <a:pt x="311" y="34"/>
                    </a:lnTo>
                    <a:lnTo>
                      <a:pt x="310" y="34"/>
                    </a:lnTo>
                    <a:lnTo>
                      <a:pt x="309" y="35"/>
                    </a:lnTo>
                    <a:lnTo>
                      <a:pt x="309" y="34"/>
                    </a:lnTo>
                    <a:lnTo>
                      <a:pt x="308" y="34"/>
                    </a:lnTo>
                    <a:lnTo>
                      <a:pt x="306" y="33"/>
                    </a:lnTo>
                    <a:lnTo>
                      <a:pt x="305" y="32"/>
                    </a:lnTo>
                    <a:lnTo>
                      <a:pt x="304" y="32"/>
                    </a:lnTo>
                    <a:lnTo>
                      <a:pt x="303" y="34"/>
                    </a:lnTo>
                    <a:lnTo>
                      <a:pt x="302" y="32"/>
                    </a:lnTo>
                    <a:lnTo>
                      <a:pt x="301" y="32"/>
                    </a:lnTo>
                    <a:lnTo>
                      <a:pt x="301" y="31"/>
                    </a:lnTo>
                    <a:lnTo>
                      <a:pt x="300" y="32"/>
                    </a:lnTo>
                    <a:lnTo>
                      <a:pt x="300" y="31"/>
                    </a:lnTo>
                    <a:lnTo>
                      <a:pt x="298" y="31"/>
                    </a:lnTo>
                    <a:lnTo>
                      <a:pt x="300" y="28"/>
                    </a:lnTo>
                    <a:lnTo>
                      <a:pt x="299" y="27"/>
                    </a:lnTo>
                    <a:lnTo>
                      <a:pt x="297" y="27"/>
                    </a:lnTo>
                    <a:lnTo>
                      <a:pt x="296" y="28"/>
                    </a:lnTo>
                    <a:lnTo>
                      <a:pt x="294" y="28"/>
                    </a:lnTo>
                    <a:lnTo>
                      <a:pt x="291" y="25"/>
                    </a:lnTo>
                    <a:lnTo>
                      <a:pt x="289" y="25"/>
                    </a:lnTo>
                    <a:lnTo>
                      <a:pt x="289" y="26"/>
                    </a:lnTo>
                    <a:lnTo>
                      <a:pt x="288" y="28"/>
                    </a:lnTo>
                    <a:lnTo>
                      <a:pt x="286" y="29"/>
                    </a:lnTo>
                    <a:lnTo>
                      <a:pt x="286" y="31"/>
                    </a:lnTo>
                    <a:lnTo>
                      <a:pt x="288" y="31"/>
                    </a:lnTo>
                    <a:lnTo>
                      <a:pt x="287" y="31"/>
                    </a:lnTo>
                    <a:lnTo>
                      <a:pt x="286" y="31"/>
                    </a:lnTo>
                    <a:lnTo>
                      <a:pt x="285" y="29"/>
                    </a:lnTo>
                    <a:lnTo>
                      <a:pt x="284" y="31"/>
                    </a:lnTo>
                    <a:lnTo>
                      <a:pt x="283" y="29"/>
                    </a:lnTo>
                    <a:lnTo>
                      <a:pt x="283" y="28"/>
                    </a:lnTo>
                    <a:lnTo>
                      <a:pt x="282" y="26"/>
                    </a:lnTo>
                    <a:lnTo>
                      <a:pt x="280" y="26"/>
                    </a:lnTo>
                    <a:lnTo>
                      <a:pt x="280" y="23"/>
                    </a:lnTo>
                    <a:lnTo>
                      <a:pt x="278" y="23"/>
                    </a:lnTo>
                    <a:lnTo>
                      <a:pt x="277" y="24"/>
                    </a:lnTo>
                    <a:lnTo>
                      <a:pt x="276" y="24"/>
                    </a:lnTo>
                    <a:lnTo>
                      <a:pt x="273" y="18"/>
                    </a:lnTo>
                    <a:lnTo>
                      <a:pt x="272" y="18"/>
                    </a:lnTo>
                    <a:lnTo>
                      <a:pt x="271" y="16"/>
                    </a:lnTo>
                    <a:lnTo>
                      <a:pt x="271" y="19"/>
                    </a:lnTo>
                    <a:lnTo>
                      <a:pt x="270" y="17"/>
                    </a:lnTo>
                    <a:lnTo>
                      <a:pt x="269" y="18"/>
                    </a:lnTo>
                    <a:lnTo>
                      <a:pt x="270" y="18"/>
                    </a:lnTo>
                    <a:lnTo>
                      <a:pt x="271" y="22"/>
                    </a:lnTo>
                    <a:lnTo>
                      <a:pt x="270" y="23"/>
                    </a:lnTo>
                    <a:lnTo>
                      <a:pt x="271" y="23"/>
                    </a:lnTo>
                    <a:lnTo>
                      <a:pt x="270" y="25"/>
                    </a:lnTo>
                    <a:lnTo>
                      <a:pt x="270" y="26"/>
                    </a:lnTo>
                    <a:lnTo>
                      <a:pt x="272" y="26"/>
                    </a:lnTo>
                    <a:lnTo>
                      <a:pt x="271" y="27"/>
                    </a:lnTo>
                    <a:lnTo>
                      <a:pt x="270" y="26"/>
                    </a:lnTo>
                    <a:lnTo>
                      <a:pt x="270" y="27"/>
                    </a:lnTo>
                    <a:lnTo>
                      <a:pt x="269" y="24"/>
                    </a:lnTo>
                    <a:lnTo>
                      <a:pt x="268" y="24"/>
                    </a:lnTo>
                    <a:lnTo>
                      <a:pt x="267" y="23"/>
                    </a:lnTo>
                    <a:lnTo>
                      <a:pt x="265" y="23"/>
                    </a:lnTo>
                    <a:lnTo>
                      <a:pt x="264" y="24"/>
                    </a:lnTo>
                    <a:lnTo>
                      <a:pt x="263" y="23"/>
                    </a:lnTo>
                    <a:lnTo>
                      <a:pt x="263" y="24"/>
                    </a:lnTo>
                    <a:lnTo>
                      <a:pt x="262" y="24"/>
                    </a:lnTo>
                    <a:lnTo>
                      <a:pt x="263" y="25"/>
                    </a:lnTo>
                    <a:lnTo>
                      <a:pt x="262" y="25"/>
                    </a:lnTo>
                    <a:lnTo>
                      <a:pt x="262" y="26"/>
                    </a:lnTo>
                    <a:lnTo>
                      <a:pt x="262" y="25"/>
                    </a:lnTo>
                    <a:lnTo>
                      <a:pt x="262" y="26"/>
                    </a:lnTo>
                    <a:lnTo>
                      <a:pt x="261" y="27"/>
                    </a:lnTo>
                    <a:lnTo>
                      <a:pt x="260" y="25"/>
                    </a:lnTo>
                    <a:lnTo>
                      <a:pt x="260" y="26"/>
                    </a:lnTo>
                    <a:lnTo>
                      <a:pt x="259" y="28"/>
                    </a:lnTo>
                    <a:lnTo>
                      <a:pt x="258" y="28"/>
                    </a:lnTo>
                    <a:lnTo>
                      <a:pt x="259" y="27"/>
                    </a:lnTo>
                    <a:lnTo>
                      <a:pt x="257" y="27"/>
                    </a:lnTo>
                    <a:lnTo>
                      <a:pt x="256" y="28"/>
                    </a:lnTo>
                    <a:lnTo>
                      <a:pt x="255" y="30"/>
                    </a:lnTo>
                    <a:lnTo>
                      <a:pt x="255" y="28"/>
                    </a:lnTo>
                    <a:lnTo>
                      <a:pt x="254" y="28"/>
                    </a:lnTo>
                    <a:lnTo>
                      <a:pt x="254" y="27"/>
                    </a:lnTo>
                    <a:lnTo>
                      <a:pt x="252" y="26"/>
                    </a:lnTo>
                    <a:lnTo>
                      <a:pt x="249" y="28"/>
                    </a:lnTo>
                    <a:lnTo>
                      <a:pt x="248" y="27"/>
                    </a:lnTo>
                    <a:lnTo>
                      <a:pt x="247" y="27"/>
                    </a:lnTo>
                    <a:lnTo>
                      <a:pt x="249" y="27"/>
                    </a:lnTo>
                    <a:lnTo>
                      <a:pt x="249" y="26"/>
                    </a:lnTo>
                    <a:lnTo>
                      <a:pt x="249" y="24"/>
                    </a:lnTo>
                    <a:lnTo>
                      <a:pt x="250" y="23"/>
                    </a:lnTo>
                    <a:lnTo>
                      <a:pt x="250" y="21"/>
                    </a:lnTo>
                    <a:lnTo>
                      <a:pt x="249" y="21"/>
                    </a:lnTo>
                    <a:lnTo>
                      <a:pt x="248" y="21"/>
                    </a:lnTo>
                    <a:lnTo>
                      <a:pt x="247" y="20"/>
                    </a:lnTo>
                    <a:lnTo>
                      <a:pt x="247" y="18"/>
                    </a:lnTo>
                    <a:lnTo>
                      <a:pt x="246" y="19"/>
                    </a:lnTo>
                    <a:lnTo>
                      <a:pt x="243" y="16"/>
                    </a:lnTo>
                    <a:lnTo>
                      <a:pt x="241" y="18"/>
                    </a:lnTo>
                    <a:lnTo>
                      <a:pt x="240" y="16"/>
                    </a:lnTo>
                    <a:lnTo>
                      <a:pt x="240" y="17"/>
                    </a:lnTo>
                    <a:lnTo>
                      <a:pt x="240" y="16"/>
                    </a:lnTo>
                    <a:lnTo>
                      <a:pt x="239" y="15"/>
                    </a:lnTo>
                    <a:lnTo>
                      <a:pt x="240" y="12"/>
                    </a:lnTo>
                    <a:lnTo>
                      <a:pt x="240" y="11"/>
                    </a:lnTo>
                    <a:lnTo>
                      <a:pt x="239" y="10"/>
                    </a:lnTo>
                    <a:lnTo>
                      <a:pt x="236" y="9"/>
                    </a:lnTo>
                    <a:lnTo>
                      <a:pt x="236" y="8"/>
                    </a:lnTo>
                    <a:lnTo>
                      <a:pt x="234" y="8"/>
                    </a:lnTo>
                    <a:lnTo>
                      <a:pt x="234" y="6"/>
                    </a:lnTo>
                    <a:lnTo>
                      <a:pt x="231" y="8"/>
                    </a:lnTo>
                    <a:lnTo>
                      <a:pt x="230" y="8"/>
                    </a:lnTo>
                    <a:lnTo>
                      <a:pt x="226" y="8"/>
                    </a:lnTo>
                    <a:lnTo>
                      <a:pt x="225" y="6"/>
                    </a:lnTo>
                    <a:lnTo>
                      <a:pt x="224" y="8"/>
                    </a:lnTo>
                    <a:lnTo>
                      <a:pt x="223" y="8"/>
                    </a:lnTo>
                    <a:lnTo>
                      <a:pt x="222" y="8"/>
                    </a:lnTo>
                    <a:lnTo>
                      <a:pt x="222" y="10"/>
                    </a:lnTo>
                    <a:lnTo>
                      <a:pt x="222" y="13"/>
                    </a:lnTo>
                    <a:lnTo>
                      <a:pt x="220" y="14"/>
                    </a:lnTo>
                    <a:lnTo>
                      <a:pt x="220" y="15"/>
                    </a:lnTo>
                    <a:lnTo>
                      <a:pt x="218" y="16"/>
                    </a:lnTo>
                    <a:lnTo>
                      <a:pt x="217" y="16"/>
                    </a:lnTo>
                    <a:lnTo>
                      <a:pt x="217" y="17"/>
                    </a:lnTo>
                    <a:lnTo>
                      <a:pt x="218" y="17"/>
                    </a:lnTo>
                    <a:lnTo>
                      <a:pt x="216" y="19"/>
                    </a:lnTo>
                    <a:lnTo>
                      <a:pt x="216" y="21"/>
                    </a:lnTo>
                    <a:lnTo>
                      <a:pt x="214" y="20"/>
                    </a:lnTo>
                    <a:lnTo>
                      <a:pt x="214" y="19"/>
                    </a:lnTo>
                    <a:lnTo>
                      <a:pt x="215" y="18"/>
                    </a:lnTo>
                    <a:lnTo>
                      <a:pt x="215" y="17"/>
                    </a:lnTo>
                    <a:lnTo>
                      <a:pt x="212" y="18"/>
                    </a:lnTo>
                    <a:lnTo>
                      <a:pt x="209" y="18"/>
                    </a:lnTo>
                    <a:lnTo>
                      <a:pt x="208" y="19"/>
                    </a:lnTo>
                    <a:lnTo>
                      <a:pt x="206" y="18"/>
                    </a:lnTo>
                    <a:lnTo>
                      <a:pt x="205" y="17"/>
                    </a:lnTo>
                    <a:lnTo>
                      <a:pt x="202" y="17"/>
                    </a:lnTo>
                    <a:lnTo>
                      <a:pt x="201" y="17"/>
                    </a:lnTo>
                    <a:lnTo>
                      <a:pt x="200" y="19"/>
                    </a:lnTo>
                    <a:lnTo>
                      <a:pt x="198" y="16"/>
                    </a:lnTo>
                    <a:lnTo>
                      <a:pt x="196" y="16"/>
                    </a:lnTo>
                    <a:lnTo>
                      <a:pt x="193" y="15"/>
                    </a:lnTo>
                    <a:lnTo>
                      <a:pt x="193" y="19"/>
                    </a:lnTo>
                    <a:lnTo>
                      <a:pt x="191" y="17"/>
                    </a:lnTo>
                    <a:lnTo>
                      <a:pt x="189" y="18"/>
                    </a:lnTo>
                    <a:lnTo>
                      <a:pt x="188" y="17"/>
                    </a:lnTo>
                    <a:lnTo>
                      <a:pt x="188" y="16"/>
                    </a:lnTo>
                    <a:lnTo>
                      <a:pt x="189" y="15"/>
                    </a:lnTo>
                    <a:lnTo>
                      <a:pt x="188" y="14"/>
                    </a:lnTo>
                    <a:lnTo>
                      <a:pt x="187" y="14"/>
                    </a:lnTo>
                    <a:lnTo>
                      <a:pt x="187" y="16"/>
                    </a:lnTo>
                    <a:lnTo>
                      <a:pt x="186" y="17"/>
                    </a:lnTo>
                    <a:lnTo>
                      <a:pt x="184" y="17"/>
                    </a:lnTo>
                    <a:lnTo>
                      <a:pt x="183" y="17"/>
                    </a:lnTo>
                    <a:lnTo>
                      <a:pt x="183" y="16"/>
                    </a:lnTo>
                    <a:lnTo>
                      <a:pt x="180" y="16"/>
                    </a:lnTo>
                    <a:lnTo>
                      <a:pt x="180" y="15"/>
                    </a:lnTo>
                    <a:lnTo>
                      <a:pt x="179" y="16"/>
                    </a:lnTo>
                    <a:lnTo>
                      <a:pt x="178" y="15"/>
                    </a:lnTo>
                    <a:lnTo>
                      <a:pt x="177" y="12"/>
                    </a:lnTo>
                    <a:lnTo>
                      <a:pt x="178" y="10"/>
                    </a:lnTo>
                    <a:lnTo>
                      <a:pt x="178" y="7"/>
                    </a:lnTo>
                    <a:lnTo>
                      <a:pt x="178" y="6"/>
                    </a:lnTo>
                    <a:lnTo>
                      <a:pt x="179" y="5"/>
                    </a:lnTo>
                    <a:lnTo>
                      <a:pt x="179" y="4"/>
                    </a:lnTo>
                    <a:lnTo>
                      <a:pt x="181" y="4"/>
                    </a:lnTo>
                    <a:lnTo>
                      <a:pt x="179" y="3"/>
                    </a:lnTo>
                    <a:lnTo>
                      <a:pt x="177" y="0"/>
                    </a:lnTo>
                    <a:lnTo>
                      <a:pt x="177" y="1"/>
                    </a:lnTo>
                    <a:lnTo>
                      <a:pt x="173" y="1"/>
                    </a:lnTo>
                    <a:lnTo>
                      <a:pt x="172" y="0"/>
                    </a:lnTo>
                    <a:lnTo>
                      <a:pt x="170" y="3"/>
                    </a:lnTo>
                    <a:lnTo>
                      <a:pt x="170" y="2"/>
                    </a:lnTo>
                    <a:lnTo>
                      <a:pt x="167" y="4"/>
                    </a:lnTo>
                    <a:lnTo>
                      <a:pt x="166" y="4"/>
                    </a:lnTo>
                    <a:lnTo>
                      <a:pt x="164" y="3"/>
                    </a:lnTo>
                    <a:lnTo>
                      <a:pt x="163" y="6"/>
                    </a:lnTo>
                    <a:lnTo>
                      <a:pt x="164" y="8"/>
                    </a:lnTo>
                    <a:lnTo>
                      <a:pt x="163" y="10"/>
                    </a:lnTo>
                    <a:lnTo>
                      <a:pt x="163" y="8"/>
                    </a:lnTo>
                    <a:lnTo>
                      <a:pt x="162" y="11"/>
                    </a:lnTo>
                    <a:lnTo>
                      <a:pt x="162" y="13"/>
                    </a:lnTo>
                    <a:lnTo>
                      <a:pt x="161" y="13"/>
                    </a:lnTo>
                    <a:lnTo>
                      <a:pt x="161" y="14"/>
                    </a:lnTo>
                    <a:lnTo>
                      <a:pt x="160" y="12"/>
                    </a:lnTo>
                    <a:lnTo>
                      <a:pt x="159" y="12"/>
                    </a:lnTo>
                    <a:lnTo>
                      <a:pt x="159" y="14"/>
                    </a:lnTo>
                    <a:lnTo>
                      <a:pt x="160" y="16"/>
                    </a:lnTo>
                    <a:lnTo>
                      <a:pt x="159" y="16"/>
                    </a:lnTo>
                    <a:lnTo>
                      <a:pt x="159" y="17"/>
                    </a:lnTo>
                    <a:lnTo>
                      <a:pt x="158" y="17"/>
                    </a:lnTo>
                    <a:lnTo>
                      <a:pt x="158" y="15"/>
                    </a:lnTo>
                    <a:lnTo>
                      <a:pt x="156" y="15"/>
                    </a:lnTo>
                    <a:lnTo>
                      <a:pt x="156" y="13"/>
                    </a:lnTo>
                    <a:lnTo>
                      <a:pt x="154" y="15"/>
                    </a:lnTo>
                    <a:lnTo>
                      <a:pt x="154" y="16"/>
                    </a:lnTo>
                    <a:lnTo>
                      <a:pt x="153" y="17"/>
                    </a:lnTo>
                    <a:lnTo>
                      <a:pt x="153" y="19"/>
                    </a:lnTo>
                    <a:lnTo>
                      <a:pt x="153" y="20"/>
                    </a:lnTo>
                    <a:lnTo>
                      <a:pt x="149" y="19"/>
                    </a:lnTo>
                    <a:lnTo>
                      <a:pt x="146" y="18"/>
                    </a:lnTo>
                    <a:lnTo>
                      <a:pt x="146" y="16"/>
                    </a:lnTo>
                    <a:lnTo>
                      <a:pt x="145" y="15"/>
                    </a:lnTo>
                    <a:lnTo>
                      <a:pt x="141" y="18"/>
                    </a:lnTo>
                    <a:lnTo>
                      <a:pt x="141" y="21"/>
                    </a:lnTo>
                    <a:lnTo>
                      <a:pt x="139" y="23"/>
                    </a:lnTo>
                    <a:lnTo>
                      <a:pt x="139" y="21"/>
                    </a:lnTo>
                    <a:lnTo>
                      <a:pt x="135" y="22"/>
                    </a:lnTo>
                    <a:lnTo>
                      <a:pt x="134" y="21"/>
                    </a:lnTo>
                    <a:lnTo>
                      <a:pt x="133" y="21"/>
                    </a:lnTo>
                    <a:lnTo>
                      <a:pt x="133" y="19"/>
                    </a:lnTo>
                    <a:lnTo>
                      <a:pt x="131" y="17"/>
                    </a:lnTo>
                    <a:lnTo>
                      <a:pt x="131" y="19"/>
                    </a:lnTo>
                    <a:lnTo>
                      <a:pt x="128" y="19"/>
                    </a:lnTo>
                    <a:lnTo>
                      <a:pt x="130" y="17"/>
                    </a:lnTo>
                    <a:lnTo>
                      <a:pt x="130" y="16"/>
                    </a:lnTo>
                    <a:lnTo>
                      <a:pt x="131" y="15"/>
                    </a:lnTo>
                    <a:lnTo>
                      <a:pt x="128" y="15"/>
                    </a:lnTo>
                    <a:lnTo>
                      <a:pt x="128" y="16"/>
                    </a:lnTo>
                    <a:lnTo>
                      <a:pt x="126" y="15"/>
                    </a:lnTo>
                    <a:lnTo>
                      <a:pt x="126" y="13"/>
                    </a:lnTo>
                    <a:lnTo>
                      <a:pt x="126" y="10"/>
                    </a:lnTo>
                    <a:lnTo>
                      <a:pt x="123" y="8"/>
                    </a:lnTo>
                    <a:lnTo>
                      <a:pt x="121" y="9"/>
                    </a:lnTo>
                    <a:lnTo>
                      <a:pt x="121" y="10"/>
                    </a:lnTo>
                    <a:lnTo>
                      <a:pt x="122" y="10"/>
                    </a:lnTo>
                    <a:lnTo>
                      <a:pt x="120" y="11"/>
                    </a:lnTo>
                    <a:lnTo>
                      <a:pt x="118" y="14"/>
                    </a:lnTo>
                    <a:lnTo>
                      <a:pt x="117" y="14"/>
                    </a:lnTo>
                    <a:lnTo>
                      <a:pt x="115" y="15"/>
                    </a:lnTo>
                    <a:lnTo>
                      <a:pt x="115" y="14"/>
                    </a:lnTo>
                    <a:lnTo>
                      <a:pt x="115" y="13"/>
                    </a:lnTo>
                    <a:lnTo>
                      <a:pt x="114" y="14"/>
                    </a:lnTo>
                    <a:lnTo>
                      <a:pt x="113" y="14"/>
                    </a:lnTo>
                    <a:lnTo>
                      <a:pt x="113" y="10"/>
                    </a:lnTo>
                    <a:lnTo>
                      <a:pt x="112" y="10"/>
                    </a:lnTo>
                    <a:lnTo>
                      <a:pt x="112" y="6"/>
                    </a:lnTo>
                    <a:lnTo>
                      <a:pt x="110" y="6"/>
                    </a:lnTo>
                    <a:lnTo>
                      <a:pt x="111" y="7"/>
                    </a:lnTo>
                    <a:lnTo>
                      <a:pt x="109" y="7"/>
                    </a:lnTo>
                    <a:lnTo>
                      <a:pt x="109" y="10"/>
                    </a:lnTo>
                    <a:lnTo>
                      <a:pt x="107" y="10"/>
                    </a:lnTo>
                    <a:lnTo>
                      <a:pt x="107" y="11"/>
                    </a:lnTo>
                    <a:lnTo>
                      <a:pt x="104" y="9"/>
                    </a:lnTo>
                    <a:lnTo>
                      <a:pt x="102" y="8"/>
                    </a:lnTo>
                    <a:lnTo>
                      <a:pt x="100" y="12"/>
                    </a:lnTo>
                    <a:lnTo>
                      <a:pt x="99" y="12"/>
                    </a:lnTo>
                    <a:lnTo>
                      <a:pt x="95" y="11"/>
                    </a:lnTo>
                    <a:lnTo>
                      <a:pt x="95" y="10"/>
                    </a:lnTo>
                    <a:lnTo>
                      <a:pt x="93" y="10"/>
                    </a:lnTo>
                    <a:lnTo>
                      <a:pt x="93" y="11"/>
                    </a:lnTo>
                    <a:lnTo>
                      <a:pt x="91" y="12"/>
                    </a:lnTo>
                    <a:lnTo>
                      <a:pt x="90" y="14"/>
                    </a:lnTo>
                    <a:lnTo>
                      <a:pt x="92" y="15"/>
                    </a:lnTo>
                    <a:lnTo>
                      <a:pt x="92" y="16"/>
                    </a:lnTo>
                    <a:lnTo>
                      <a:pt x="92" y="17"/>
                    </a:lnTo>
                    <a:lnTo>
                      <a:pt x="90" y="17"/>
                    </a:lnTo>
                    <a:lnTo>
                      <a:pt x="90" y="18"/>
                    </a:lnTo>
                    <a:lnTo>
                      <a:pt x="88" y="18"/>
                    </a:lnTo>
                    <a:lnTo>
                      <a:pt x="89" y="19"/>
                    </a:lnTo>
                    <a:lnTo>
                      <a:pt x="88" y="20"/>
                    </a:lnTo>
                    <a:lnTo>
                      <a:pt x="88" y="23"/>
                    </a:lnTo>
                    <a:lnTo>
                      <a:pt x="90" y="23"/>
                    </a:lnTo>
                    <a:lnTo>
                      <a:pt x="91" y="23"/>
                    </a:lnTo>
                    <a:lnTo>
                      <a:pt x="91" y="24"/>
                    </a:lnTo>
                    <a:lnTo>
                      <a:pt x="91" y="23"/>
                    </a:lnTo>
                    <a:lnTo>
                      <a:pt x="93" y="24"/>
                    </a:lnTo>
                    <a:lnTo>
                      <a:pt x="93" y="25"/>
                    </a:lnTo>
                    <a:lnTo>
                      <a:pt x="91" y="24"/>
                    </a:lnTo>
                    <a:lnTo>
                      <a:pt x="92" y="25"/>
                    </a:lnTo>
                    <a:lnTo>
                      <a:pt x="91" y="27"/>
                    </a:lnTo>
                    <a:lnTo>
                      <a:pt x="92" y="25"/>
                    </a:lnTo>
                    <a:lnTo>
                      <a:pt x="92" y="27"/>
                    </a:lnTo>
                    <a:lnTo>
                      <a:pt x="91" y="28"/>
                    </a:lnTo>
                    <a:lnTo>
                      <a:pt x="92" y="28"/>
                    </a:lnTo>
                    <a:lnTo>
                      <a:pt x="92" y="29"/>
                    </a:lnTo>
                    <a:lnTo>
                      <a:pt x="92" y="32"/>
                    </a:lnTo>
                    <a:lnTo>
                      <a:pt x="91" y="32"/>
                    </a:lnTo>
                    <a:lnTo>
                      <a:pt x="90" y="34"/>
                    </a:lnTo>
                    <a:lnTo>
                      <a:pt x="92" y="35"/>
                    </a:lnTo>
                    <a:lnTo>
                      <a:pt x="91" y="36"/>
                    </a:lnTo>
                    <a:lnTo>
                      <a:pt x="91" y="37"/>
                    </a:lnTo>
                    <a:lnTo>
                      <a:pt x="90" y="38"/>
                    </a:lnTo>
                    <a:lnTo>
                      <a:pt x="91" y="39"/>
                    </a:lnTo>
                    <a:lnTo>
                      <a:pt x="92" y="41"/>
                    </a:lnTo>
                    <a:lnTo>
                      <a:pt x="92" y="42"/>
                    </a:lnTo>
                    <a:lnTo>
                      <a:pt x="93" y="43"/>
                    </a:lnTo>
                    <a:lnTo>
                      <a:pt x="93" y="44"/>
                    </a:lnTo>
                    <a:lnTo>
                      <a:pt x="94" y="44"/>
                    </a:lnTo>
                    <a:lnTo>
                      <a:pt x="94" y="45"/>
                    </a:lnTo>
                    <a:lnTo>
                      <a:pt x="93" y="45"/>
                    </a:lnTo>
                    <a:lnTo>
                      <a:pt x="93" y="46"/>
                    </a:lnTo>
                    <a:lnTo>
                      <a:pt x="97" y="47"/>
                    </a:lnTo>
                    <a:lnTo>
                      <a:pt x="97" y="48"/>
                    </a:lnTo>
                    <a:lnTo>
                      <a:pt x="95" y="48"/>
                    </a:lnTo>
                    <a:lnTo>
                      <a:pt x="93" y="47"/>
                    </a:lnTo>
                    <a:lnTo>
                      <a:pt x="92" y="49"/>
                    </a:lnTo>
                    <a:lnTo>
                      <a:pt x="90" y="52"/>
                    </a:lnTo>
                    <a:lnTo>
                      <a:pt x="88" y="52"/>
                    </a:lnTo>
                    <a:lnTo>
                      <a:pt x="89" y="53"/>
                    </a:lnTo>
                    <a:lnTo>
                      <a:pt x="88" y="55"/>
                    </a:lnTo>
                    <a:lnTo>
                      <a:pt x="88" y="57"/>
                    </a:lnTo>
                    <a:lnTo>
                      <a:pt x="88" y="58"/>
                    </a:lnTo>
                    <a:lnTo>
                      <a:pt x="87" y="61"/>
                    </a:lnTo>
                    <a:lnTo>
                      <a:pt x="86" y="61"/>
                    </a:lnTo>
                    <a:lnTo>
                      <a:pt x="86" y="62"/>
                    </a:lnTo>
                    <a:lnTo>
                      <a:pt x="87" y="62"/>
                    </a:lnTo>
                    <a:lnTo>
                      <a:pt x="86" y="62"/>
                    </a:lnTo>
                    <a:lnTo>
                      <a:pt x="87" y="62"/>
                    </a:lnTo>
                    <a:lnTo>
                      <a:pt x="86" y="63"/>
                    </a:lnTo>
                    <a:lnTo>
                      <a:pt x="87" y="66"/>
                    </a:lnTo>
                    <a:lnTo>
                      <a:pt x="87" y="68"/>
                    </a:lnTo>
                    <a:lnTo>
                      <a:pt x="88" y="70"/>
                    </a:lnTo>
                    <a:lnTo>
                      <a:pt x="89" y="72"/>
                    </a:lnTo>
                    <a:lnTo>
                      <a:pt x="88" y="72"/>
                    </a:lnTo>
                    <a:lnTo>
                      <a:pt x="89" y="73"/>
                    </a:lnTo>
                    <a:lnTo>
                      <a:pt x="88" y="73"/>
                    </a:lnTo>
                    <a:lnTo>
                      <a:pt x="88" y="74"/>
                    </a:lnTo>
                    <a:lnTo>
                      <a:pt x="89" y="74"/>
                    </a:lnTo>
                    <a:lnTo>
                      <a:pt x="90" y="75"/>
                    </a:lnTo>
                    <a:lnTo>
                      <a:pt x="92" y="75"/>
                    </a:lnTo>
                    <a:lnTo>
                      <a:pt x="91" y="76"/>
                    </a:lnTo>
                    <a:lnTo>
                      <a:pt x="92" y="77"/>
                    </a:lnTo>
                    <a:lnTo>
                      <a:pt x="92" y="79"/>
                    </a:lnTo>
                    <a:lnTo>
                      <a:pt x="92" y="81"/>
                    </a:lnTo>
                    <a:lnTo>
                      <a:pt x="91" y="80"/>
                    </a:lnTo>
                    <a:lnTo>
                      <a:pt x="91" y="82"/>
                    </a:lnTo>
                    <a:lnTo>
                      <a:pt x="90" y="82"/>
                    </a:lnTo>
                    <a:lnTo>
                      <a:pt x="88" y="83"/>
                    </a:lnTo>
                    <a:lnTo>
                      <a:pt x="89" y="84"/>
                    </a:lnTo>
                    <a:lnTo>
                      <a:pt x="90" y="82"/>
                    </a:lnTo>
                    <a:lnTo>
                      <a:pt x="90" y="85"/>
                    </a:lnTo>
                    <a:lnTo>
                      <a:pt x="91" y="86"/>
                    </a:lnTo>
                    <a:lnTo>
                      <a:pt x="88" y="86"/>
                    </a:lnTo>
                    <a:lnTo>
                      <a:pt x="86" y="89"/>
                    </a:lnTo>
                    <a:lnTo>
                      <a:pt x="85" y="92"/>
                    </a:lnTo>
                    <a:lnTo>
                      <a:pt x="85" y="93"/>
                    </a:lnTo>
                    <a:lnTo>
                      <a:pt x="84" y="93"/>
                    </a:lnTo>
                    <a:lnTo>
                      <a:pt x="85" y="96"/>
                    </a:lnTo>
                    <a:lnTo>
                      <a:pt x="84" y="98"/>
                    </a:lnTo>
                    <a:lnTo>
                      <a:pt x="80" y="97"/>
                    </a:lnTo>
                    <a:lnTo>
                      <a:pt x="79" y="98"/>
                    </a:lnTo>
                    <a:lnTo>
                      <a:pt x="78" y="100"/>
                    </a:lnTo>
                    <a:lnTo>
                      <a:pt x="77" y="100"/>
                    </a:lnTo>
                    <a:lnTo>
                      <a:pt x="75" y="100"/>
                    </a:lnTo>
                    <a:lnTo>
                      <a:pt x="74" y="105"/>
                    </a:lnTo>
                    <a:lnTo>
                      <a:pt x="71" y="102"/>
                    </a:lnTo>
                    <a:lnTo>
                      <a:pt x="71" y="107"/>
                    </a:lnTo>
                    <a:lnTo>
                      <a:pt x="70" y="108"/>
                    </a:lnTo>
                    <a:lnTo>
                      <a:pt x="69" y="108"/>
                    </a:lnTo>
                    <a:lnTo>
                      <a:pt x="71" y="111"/>
                    </a:lnTo>
                    <a:lnTo>
                      <a:pt x="72" y="111"/>
                    </a:lnTo>
                    <a:lnTo>
                      <a:pt x="73" y="112"/>
                    </a:lnTo>
                    <a:lnTo>
                      <a:pt x="72" y="114"/>
                    </a:lnTo>
                    <a:lnTo>
                      <a:pt x="71" y="115"/>
                    </a:lnTo>
                    <a:lnTo>
                      <a:pt x="71" y="118"/>
                    </a:lnTo>
                    <a:lnTo>
                      <a:pt x="69" y="118"/>
                    </a:lnTo>
                    <a:lnTo>
                      <a:pt x="68" y="118"/>
                    </a:lnTo>
                    <a:lnTo>
                      <a:pt x="67" y="116"/>
                    </a:lnTo>
                    <a:lnTo>
                      <a:pt x="65" y="116"/>
                    </a:lnTo>
                    <a:lnTo>
                      <a:pt x="63" y="116"/>
                    </a:lnTo>
                    <a:lnTo>
                      <a:pt x="62" y="116"/>
                    </a:lnTo>
                    <a:lnTo>
                      <a:pt x="63" y="118"/>
                    </a:lnTo>
                    <a:lnTo>
                      <a:pt x="63" y="122"/>
                    </a:lnTo>
                    <a:lnTo>
                      <a:pt x="63" y="126"/>
                    </a:lnTo>
                    <a:lnTo>
                      <a:pt x="64" y="126"/>
                    </a:lnTo>
                    <a:lnTo>
                      <a:pt x="65" y="126"/>
                    </a:lnTo>
                    <a:lnTo>
                      <a:pt x="69" y="127"/>
                    </a:lnTo>
                    <a:lnTo>
                      <a:pt x="70" y="126"/>
                    </a:lnTo>
                    <a:lnTo>
                      <a:pt x="71" y="128"/>
                    </a:lnTo>
                    <a:lnTo>
                      <a:pt x="69" y="128"/>
                    </a:lnTo>
                    <a:lnTo>
                      <a:pt x="66" y="130"/>
                    </a:lnTo>
                    <a:lnTo>
                      <a:pt x="66" y="131"/>
                    </a:lnTo>
                    <a:lnTo>
                      <a:pt x="68" y="134"/>
                    </a:lnTo>
                    <a:lnTo>
                      <a:pt x="67" y="134"/>
                    </a:lnTo>
                    <a:lnTo>
                      <a:pt x="64" y="133"/>
                    </a:lnTo>
                    <a:lnTo>
                      <a:pt x="64" y="132"/>
                    </a:lnTo>
                    <a:lnTo>
                      <a:pt x="63" y="131"/>
                    </a:lnTo>
                    <a:lnTo>
                      <a:pt x="62" y="133"/>
                    </a:lnTo>
                    <a:lnTo>
                      <a:pt x="63" y="134"/>
                    </a:lnTo>
                    <a:lnTo>
                      <a:pt x="63" y="136"/>
                    </a:lnTo>
                    <a:lnTo>
                      <a:pt x="60" y="135"/>
                    </a:lnTo>
                    <a:lnTo>
                      <a:pt x="58" y="137"/>
                    </a:lnTo>
                    <a:lnTo>
                      <a:pt x="58" y="138"/>
                    </a:lnTo>
                    <a:lnTo>
                      <a:pt x="58" y="139"/>
                    </a:lnTo>
                    <a:lnTo>
                      <a:pt x="57" y="139"/>
                    </a:lnTo>
                    <a:lnTo>
                      <a:pt x="56" y="139"/>
                    </a:lnTo>
                    <a:lnTo>
                      <a:pt x="56" y="141"/>
                    </a:lnTo>
                    <a:lnTo>
                      <a:pt x="58" y="141"/>
                    </a:lnTo>
                    <a:lnTo>
                      <a:pt x="57" y="141"/>
                    </a:lnTo>
                    <a:lnTo>
                      <a:pt x="57" y="143"/>
                    </a:lnTo>
                    <a:lnTo>
                      <a:pt x="58" y="142"/>
                    </a:lnTo>
                    <a:lnTo>
                      <a:pt x="58" y="146"/>
                    </a:lnTo>
                    <a:lnTo>
                      <a:pt x="61" y="148"/>
                    </a:lnTo>
                    <a:lnTo>
                      <a:pt x="61" y="149"/>
                    </a:lnTo>
                    <a:lnTo>
                      <a:pt x="62" y="149"/>
                    </a:lnTo>
                    <a:lnTo>
                      <a:pt x="62" y="153"/>
                    </a:lnTo>
                    <a:lnTo>
                      <a:pt x="63" y="156"/>
                    </a:lnTo>
                    <a:lnTo>
                      <a:pt x="61" y="157"/>
                    </a:lnTo>
                    <a:lnTo>
                      <a:pt x="59" y="156"/>
                    </a:lnTo>
                    <a:lnTo>
                      <a:pt x="58" y="156"/>
                    </a:lnTo>
                    <a:lnTo>
                      <a:pt x="55" y="159"/>
                    </a:lnTo>
                    <a:lnTo>
                      <a:pt x="54" y="167"/>
                    </a:lnTo>
                    <a:lnTo>
                      <a:pt x="52" y="168"/>
                    </a:lnTo>
                    <a:lnTo>
                      <a:pt x="53" y="169"/>
                    </a:lnTo>
                    <a:lnTo>
                      <a:pt x="55" y="169"/>
                    </a:lnTo>
                    <a:lnTo>
                      <a:pt x="53" y="170"/>
                    </a:lnTo>
                    <a:lnTo>
                      <a:pt x="53" y="172"/>
                    </a:lnTo>
                    <a:lnTo>
                      <a:pt x="53" y="170"/>
                    </a:lnTo>
                    <a:lnTo>
                      <a:pt x="52" y="170"/>
                    </a:lnTo>
                    <a:lnTo>
                      <a:pt x="51" y="169"/>
                    </a:lnTo>
                    <a:lnTo>
                      <a:pt x="50" y="170"/>
                    </a:lnTo>
                    <a:lnTo>
                      <a:pt x="49" y="169"/>
                    </a:lnTo>
                    <a:lnTo>
                      <a:pt x="47" y="170"/>
                    </a:lnTo>
                    <a:lnTo>
                      <a:pt x="44" y="170"/>
                    </a:lnTo>
                    <a:lnTo>
                      <a:pt x="44" y="172"/>
                    </a:lnTo>
                    <a:lnTo>
                      <a:pt x="43" y="172"/>
                    </a:lnTo>
                    <a:lnTo>
                      <a:pt x="43" y="174"/>
                    </a:lnTo>
                    <a:lnTo>
                      <a:pt x="41" y="174"/>
                    </a:lnTo>
                    <a:lnTo>
                      <a:pt x="40" y="174"/>
                    </a:lnTo>
                    <a:lnTo>
                      <a:pt x="39" y="176"/>
                    </a:lnTo>
                    <a:lnTo>
                      <a:pt x="35" y="179"/>
                    </a:lnTo>
                    <a:lnTo>
                      <a:pt x="34" y="177"/>
                    </a:lnTo>
                    <a:lnTo>
                      <a:pt x="33" y="176"/>
                    </a:lnTo>
                    <a:lnTo>
                      <a:pt x="32" y="176"/>
                    </a:lnTo>
                    <a:lnTo>
                      <a:pt x="28" y="174"/>
                    </a:lnTo>
                    <a:lnTo>
                      <a:pt x="30" y="174"/>
                    </a:lnTo>
                    <a:lnTo>
                      <a:pt x="30" y="173"/>
                    </a:lnTo>
                    <a:lnTo>
                      <a:pt x="25" y="172"/>
                    </a:lnTo>
                    <a:lnTo>
                      <a:pt x="24" y="172"/>
                    </a:lnTo>
                    <a:lnTo>
                      <a:pt x="24" y="173"/>
                    </a:lnTo>
                    <a:lnTo>
                      <a:pt x="27" y="174"/>
                    </a:lnTo>
                    <a:lnTo>
                      <a:pt x="27" y="176"/>
                    </a:lnTo>
                    <a:lnTo>
                      <a:pt x="25" y="177"/>
                    </a:lnTo>
                    <a:lnTo>
                      <a:pt x="24" y="180"/>
                    </a:lnTo>
                    <a:lnTo>
                      <a:pt x="24" y="182"/>
                    </a:lnTo>
                    <a:lnTo>
                      <a:pt x="23" y="183"/>
                    </a:lnTo>
                    <a:lnTo>
                      <a:pt x="24" y="184"/>
                    </a:lnTo>
                    <a:lnTo>
                      <a:pt x="24" y="190"/>
                    </a:lnTo>
                    <a:lnTo>
                      <a:pt x="24" y="191"/>
                    </a:lnTo>
                    <a:lnTo>
                      <a:pt x="19" y="191"/>
                    </a:lnTo>
                    <a:lnTo>
                      <a:pt x="19" y="192"/>
                    </a:lnTo>
                    <a:lnTo>
                      <a:pt x="20" y="196"/>
                    </a:lnTo>
                    <a:lnTo>
                      <a:pt x="22" y="199"/>
                    </a:lnTo>
                    <a:lnTo>
                      <a:pt x="23" y="200"/>
                    </a:lnTo>
                    <a:lnTo>
                      <a:pt x="22" y="203"/>
                    </a:lnTo>
                    <a:lnTo>
                      <a:pt x="24" y="208"/>
                    </a:lnTo>
                    <a:lnTo>
                      <a:pt x="24" y="211"/>
                    </a:lnTo>
                    <a:lnTo>
                      <a:pt x="24" y="212"/>
                    </a:lnTo>
                    <a:lnTo>
                      <a:pt x="22" y="216"/>
                    </a:lnTo>
                    <a:lnTo>
                      <a:pt x="17" y="220"/>
                    </a:lnTo>
                    <a:lnTo>
                      <a:pt x="15" y="218"/>
                    </a:lnTo>
                    <a:lnTo>
                      <a:pt x="14" y="217"/>
                    </a:lnTo>
                    <a:lnTo>
                      <a:pt x="14" y="216"/>
                    </a:lnTo>
                    <a:lnTo>
                      <a:pt x="13" y="216"/>
                    </a:lnTo>
                    <a:lnTo>
                      <a:pt x="13" y="217"/>
                    </a:lnTo>
                    <a:lnTo>
                      <a:pt x="9" y="222"/>
                    </a:lnTo>
                    <a:lnTo>
                      <a:pt x="7" y="227"/>
                    </a:lnTo>
                    <a:lnTo>
                      <a:pt x="4" y="231"/>
                    </a:lnTo>
                    <a:lnTo>
                      <a:pt x="4" y="232"/>
                    </a:lnTo>
                    <a:lnTo>
                      <a:pt x="4" y="234"/>
                    </a:lnTo>
                    <a:lnTo>
                      <a:pt x="4" y="237"/>
                    </a:lnTo>
                    <a:lnTo>
                      <a:pt x="1" y="240"/>
                    </a:lnTo>
                    <a:lnTo>
                      <a:pt x="1" y="242"/>
                    </a:lnTo>
                    <a:lnTo>
                      <a:pt x="0" y="245"/>
                    </a:lnTo>
                    <a:lnTo>
                      <a:pt x="1" y="248"/>
                    </a:lnTo>
                    <a:lnTo>
                      <a:pt x="4" y="249"/>
                    </a:lnTo>
                    <a:lnTo>
                      <a:pt x="3" y="251"/>
                    </a:lnTo>
                    <a:lnTo>
                      <a:pt x="3" y="254"/>
                    </a:lnTo>
                    <a:lnTo>
                      <a:pt x="5" y="255"/>
                    </a:lnTo>
                    <a:lnTo>
                      <a:pt x="6" y="254"/>
                    </a:lnTo>
                    <a:lnTo>
                      <a:pt x="9" y="256"/>
                    </a:lnTo>
                    <a:lnTo>
                      <a:pt x="10" y="255"/>
                    </a:lnTo>
                    <a:lnTo>
                      <a:pt x="11" y="254"/>
                    </a:lnTo>
                    <a:lnTo>
                      <a:pt x="14" y="259"/>
                    </a:lnTo>
                    <a:lnTo>
                      <a:pt x="12" y="262"/>
                    </a:lnTo>
                    <a:lnTo>
                      <a:pt x="14" y="265"/>
                    </a:lnTo>
                    <a:lnTo>
                      <a:pt x="17" y="271"/>
                    </a:lnTo>
                    <a:lnTo>
                      <a:pt x="17" y="268"/>
                    </a:lnTo>
                    <a:lnTo>
                      <a:pt x="19" y="268"/>
                    </a:lnTo>
                    <a:lnTo>
                      <a:pt x="20" y="266"/>
                    </a:lnTo>
                    <a:lnTo>
                      <a:pt x="23" y="267"/>
                    </a:lnTo>
                    <a:lnTo>
                      <a:pt x="24" y="267"/>
                    </a:lnTo>
                    <a:lnTo>
                      <a:pt x="21" y="269"/>
                    </a:lnTo>
                    <a:lnTo>
                      <a:pt x="20" y="271"/>
                    </a:lnTo>
                    <a:lnTo>
                      <a:pt x="24" y="277"/>
                    </a:lnTo>
                    <a:lnTo>
                      <a:pt x="24" y="282"/>
                    </a:lnTo>
                    <a:lnTo>
                      <a:pt x="25" y="283"/>
                    </a:lnTo>
                    <a:lnTo>
                      <a:pt x="27" y="293"/>
                    </a:lnTo>
                    <a:lnTo>
                      <a:pt x="28" y="294"/>
                    </a:lnTo>
                    <a:lnTo>
                      <a:pt x="30" y="295"/>
                    </a:lnTo>
                    <a:lnTo>
                      <a:pt x="30" y="297"/>
                    </a:lnTo>
                    <a:lnTo>
                      <a:pt x="30" y="300"/>
                    </a:lnTo>
                    <a:lnTo>
                      <a:pt x="32" y="301"/>
                    </a:lnTo>
                    <a:lnTo>
                      <a:pt x="34" y="301"/>
                    </a:lnTo>
                    <a:lnTo>
                      <a:pt x="35" y="302"/>
                    </a:lnTo>
                    <a:lnTo>
                      <a:pt x="38" y="301"/>
                    </a:lnTo>
                    <a:lnTo>
                      <a:pt x="43" y="303"/>
                    </a:lnTo>
                    <a:lnTo>
                      <a:pt x="45" y="302"/>
                    </a:lnTo>
                    <a:lnTo>
                      <a:pt x="47" y="300"/>
                    </a:lnTo>
                    <a:lnTo>
                      <a:pt x="49" y="301"/>
                    </a:lnTo>
                    <a:lnTo>
                      <a:pt x="49" y="305"/>
                    </a:lnTo>
                    <a:lnTo>
                      <a:pt x="52" y="311"/>
                    </a:lnTo>
                    <a:lnTo>
                      <a:pt x="50" y="313"/>
                    </a:lnTo>
                    <a:lnTo>
                      <a:pt x="53" y="324"/>
                    </a:lnTo>
                    <a:lnTo>
                      <a:pt x="53" y="325"/>
                    </a:lnTo>
                    <a:lnTo>
                      <a:pt x="55" y="328"/>
                    </a:lnTo>
                    <a:lnTo>
                      <a:pt x="57" y="328"/>
                    </a:lnTo>
                    <a:lnTo>
                      <a:pt x="61" y="329"/>
                    </a:lnTo>
                    <a:lnTo>
                      <a:pt x="59" y="332"/>
                    </a:lnTo>
                    <a:lnTo>
                      <a:pt x="61" y="335"/>
                    </a:lnTo>
                    <a:lnTo>
                      <a:pt x="61" y="337"/>
                    </a:lnTo>
                    <a:lnTo>
                      <a:pt x="64" y="345"/>
                    </a:lnTo>
                    <a:lnTo>
                      <a:pt x="62" y="351"/>
                    </a:lnTo>
                    <a:lnTo>
                      <a:pt x="61" y="353"/>
                    </a:lnTo>
                    <a:lnTo>
                      <a:pt x="63" y="356"/>
                    </a:lnTo>
                    <a:lnTo>
                      <a:pt x="68" y="359"/>
                    </a:lnTo>
                    <a:lnTo>
                      <a:pt x="71" y="358"/>
                    </a:lnTo>
                    <a:lnTo>
                      <a:pt x="72" y="360"/>
                    </a:lnTo>
                    <a:lnTo>
                      <a:pt x="74" y="359"/>
                    </a:lnTo>
                    <a:lnTo>
                      <a:pt x="79" y="362"/>
                    </a:lnTo>
                    <a:lnTo>
                      <a:pt x="82" y="366"/>
                    </a:lnTo>
                    <a:lnTo>
                      <a:pt x="85" y="368"/>
                    </a:lnTo>
                    <a:lnTo>
                      <a:pt x="88" y="375"/>
                    </a:lnTo>
                    <a:lnTo>
                      <a:pt x="90" y="377"/>
                    </a:lnTo>
                    <a:lnTo>
                      <a:pt x="90" y="379"/>
                    </a:lnTo>
                    <a:lnTo>
                      <a:pt x="92" y="379"/>
                    </a:lnTo>
                    <a:lnTo>
                      <a:pt x="92" y="381"/>
                    </a:lnTo>
                    <a:lnTo>
                      <a:pt x="95" y="386"/>
                    </a:lnTo>
                    <a:lnTo>
                      <a:pt x="97" y="386"/>
                    </a:lnTo>
                    <a:lnTo>
                      <a:pt x="98" y="388"/>
                    </a:lnTo>
                    <a:lnTo>
                      <a:pt x="99" y="391"/>
                    </a:lnTo>
                    <a:lnTo>
                      <a:pt x="103" y="392"/>
                    </a:lnTo>
                    <a:lnTo>
                      <a:pt x="105" y="394"/>
                    </a:lnTo>
                    <a:lnTo>
                      <a:pt x="107" y="394"/>
                    </a:lnTo>
                    <a:lnTo>
                      <a:pt x="112" y="396"/>
                    </a:lnTo>
                    <a:lnTo>
                      <a:pt x="113" y="397"/>
                    </a:lnTo>
                    <a:lnTo>
                      <a:pt x="113" y="400"/>
                    </a:lnTo>
                    <a:lnTo>
                      <a:pt x="112" y="402"/>
                    </a:lnTo>
                    <a:lnTo>
                      <a:pt x="115" y="402"/>
                    </a:lnTo>
                    <a:lnTo>
                      <a:pt x="114" y="403"/>
                    </a:lnTo>
                    <a:lnTo>
                      <a:pt x="116" y="405"/>
                    </a:lnTo>
                    <a:lnTo>
                      <a:pt x="117" y="407"/>
                    </a:lnTo>
                    <a:lnTo>
                      <a:pt x="116" y="407"/>
                    </a:lnTo>
                    <a:lnTo>
                      <a:pt x="115" y="408"/>
                    </a:lnTo>
                    <a:lnTo>
                      <a:pt x="118" y="410"/>
                    </a:lnTo>
                    <a:lnTo>
                      <a:pt x="118" y="412"/>
                    </a:lnTo>
                    <a:lnTo>
                      <a:pt x="119" y="412"/>
                    </a:lnTo>
                    <a:lnTo>
                      <a:pt x="121" y="412"/>
                    </a:lnTo>
                    <a:lnTo>
                      <a:pt x="123" y="414"/>
                    </a:lnTo>
                    <a:lnTo>
                      <a:pt x="125" y="414"/>
                    </a:lnTo>
                    <a:lnTo>
                      <a:pt x="124" y="418"/>
                    </a:lnTo>
                    <a:lnTo>
                      <a:pt x="123" y="421"/>
                    </a:lnTo>
                    <a:lnTo>
                      <a:pt x="121" y="423"/>
                    </a:lnTo>
                    <a:lnTo>
                      <a:pt x="118" y="422"/>
                    </a:lnTo>
                    <a:lnTo>
                      <a:pt x="113" y="422"/>
                    </a:lnTo>
                    <a:lnTo>
                      <a:pt x="113" y="426"/>
                    </a:lnTo>
                    <a:lnTo>
                      <a:pt x="111" y="426"/>
                    </a:lnTo>
                    <a:lnTo>
                      <a:pt x="110" y="427"/>
                    </a:lnTo>
                    <a:lnTo>
                      <a:pt x="109" y="427"/>
                    </a:lnTo>
                    <a:lnTo>
                      <a:pt x="112" y="431"/>
                    </a:lnTo>
                    <a:lnTo>
                      <a:pt x="112" y="432"/>
                    </a:lnTo>
                    <a:lnTo>
                      <a:pt x="114" y="434"/>
                    </a:lnTo>
                    <a:lnTo>
                      <a:pt x="113" y="435"/>
                    </a:lnTo>
                    <a:lnTo>
                      <a:pt x="117" y="435"/>
                    </a:lnTo>
                    <a:lnTo>
                      <a:pt x="118" y="435"/>
                    </a:lnTo>
                    <a:lnTo>
                      <a:pt x="118" y="439"/>
                    </a:lnTo>
                    <a:lnTo>
                      <a:pt x="116" y="439"/>
                    </a:lnTo>
                    <a:lnTo>
                      <a:pt x="117" y="440"/>
                    </a:lnTo>
                    <a:lnTo>
                      <a:pt x="116" y="442"/>
                    </a:lnTo>
                    <a:lnTo>
                      <a:pt x="118" y="443"/>
                    </a:lnTo>
                    <a:lnTo>
                      <a:pt x="118" y="444"/>
                    </a:lnTo>
                    <a:lnTo>
                      <a:pt x="119" y="447"/>
                    </a:lnTo>
                    <a:lnTo>
                      <a:pt x="121" y="445"/>
                    </a:lnTo>
                    <a:lnTo>
                      <a:pt x="123" y="446"/>
                    </a:lnTo>
                    <a:lnTo>
                      <a:pt x="122" y="448"/>
                    </a:lnTo>
                    <a:lnTo>
                      <a:pt x="122" y="451"/>
                    </a:lnTo>
                    <a:lnTo>
                      <a:pt x="123" y="451"/>
                    </a:lnTo>
                    <a:lnTo>
                      <a:pt x="124" y="449"/>
                    </a:lnTo>
                    <a:lnTo>
                      <a:pt x="130" y="450"/>
                    </a:lnTo>
                    <a:lnTo>
                      <a:pt x="131" y="451"/>
                    </a:lnTo>
                    <a:lnTo>
                      <a:pt x="129" y="454"/>
                    </a:lnTo>
                    <a:lnTo>
                      <a:pt x="132" y="456"/>
                    </a:lnTo>
                    <a:lnTo>
                      <a:pt x="136" y="456"/>
                    </a:lnTo>
                    <a:lnTo>
                      <a:pt x="140" y="453"/>
                    </a:lnTo>
                    <a:lnTo>
                      <a:pt x="143" y="455"/>
                    </a:lnTo>
                    <a:lnTo>
                      <a:pt x="145" y="454"/>
                    </a:lnTo>
                    <a:lnTo>
                      <a:pt x="148" y="456"/>
                    </a:lnTo>
                    <a:lnTo>
                      <a:pt x="148" y="458"/>
                    </a:lnTo>
                    <a:lnTo>
                      <a:pt x="152" y="457"/>
                    </a:lnTo>
                    <a:lnTo>
                      <a:pt x="153" y="457"/>
                    </a:lnTo>
                    <a:lnTo>
                      <a:pt x="154" y="457"/>
                    </a:lnTo>
                    <a:lnTo>
                      <a:pt x="155" y="457"/>
                    </a:lnTo>
                    <a:lnTo>
                      <a:pt x="158" y="458"/>
                    </a:lnTo>
                    <a:lnTo>
                      <a:pt x="162" y="461"/>
                    </a:lnTo>
                    <a:lnTo>
                      <a:pt x="166" y="463"/>
                    </a:lnTo>
                    <a:lnTo>
                      <a:pt x="169" y="465"/>
                    </a:lnTo>
                    <a:lnTo>
                      <a:pt x="169" y="467"/>
                    </a:lnTo>
                    <a:lnTo>
                      <a:pt x="174" y="465"/>
                    </a:lnTo>
                    <a:lnTo>
                      <a:pt x="178" y="467"/>
                    </a:lnTo>
                    <a:lnTo>
                      <a:pt x="180" y="471"/>
                    </a:lnTo>
                    <a:lnTo>
                      <a:pt x="188" y="477"/>
                    </a:lnTo>
                    <a:lnTo>
                      <a:pt x="190" y="477"/>
                    </a:lnTo>
                    <a:lnTo>
                      <a:pt x="191" y="477"/>
                    </a:lnTo>
                    <a:lnTo>
                      <a:pt x="191" y="481"/>
                    </a:lnTo>
                    <a:lnTo>
                      <a:pt x="193" y="482"/>
                    </a:lnTo>
                    <a:lnTo>
                      <a:pt x="196" y="482"/>
                    </a:lnTo>
                    <a:lnTo>
                      <a:pt x="197" y="479"/>
                    </a:lnTo>
                    <a:lnTo>
                      <a:pt x="200" y="478"/>
                    </a:lnTo>
                    <a:lnTo>
                      <a:pt x="200" y="476"/>
                    </a:lnTo>
                    <a:lnTo>
                      <a:pt x="202" y="473"/>
                    </a:lnTo>
                    <a:lnTo>
                      <a:pt x="204" y="473"/>
                    </a:lnTo>
                    <a:lnTo>
                      <a:pt x="205" y="476"/>
                    </a:lnTo>
                    <a:lnTo>
                      <a:pt x="206" y="477"/>
                    </a:lnTo>
                    <a:lnTo>
                      <a:pt x="208" y="477"/>
                    </a:lnTo>
                    <a:lnTo>
                      <a:pt x="210" y="476"/>
                    </a:lnTo>
                    <a:lnTo>
                      <a:pt x="211" y="473"/>
                    </a:lnTo>
                    <a:lnTo>
                      <a:pt x="211" y="471"/>
                    </a:lnTo>
                    <a:lnTo>
                      <a:pt x="210" y="470"/>
                    </a:lnTo>
                    <a:lnTo>
                      <a:pt x="210" y="466"/>
                    </a:lnTo>
                    <a:lnTo>
                      <a:pt x="211" y="465"/>
                    </a:lnTo>
                    <a:lnTo>
                      <a:pt x="213" y="467"/>
                    </a:lnTo>
                    <a:lnTo>
                      <a:pt x="215" y="467"/>
                    </a:lnTo>
                    <a:lnTo>
                      <a:pt x="216" y="467"/>
                    </a:lnTo>
                    <a:lnTo>
                      <a:pt x="218" y="467"/>
                    </a:lnTo>
                    <a:lnTo>
                      <a:pt x="221" y="470"/>
                    </a:lnTo>
                    <a:lnTo>
                      <a:pt x="223" y="470"/>
                    </a:lnTo>
                    <a:lnTo>
                      <a:pt x="224" y="466"/>
                    </a:lnTo>
                    <a:lnTo>
                      <a:pt x="226" y="465"/>
                    </a:lnTo>
                    <a:lnTo>
                      <a:pt x="227" y="462"/>
                    </a:lnTo>
                    <a:lnTo>
                      <a:pt x="229" y="459"/>
                    </a:lnTo>
                    <a:lnTo>
                      <a:pt x="229" y="456"/>
                    </a:lnTo>
                    <a:lnTo>
                      <a:pt x="231" y="454"/>
                    </a:lnTo>
                    <a:lnTo>
                      <a:pt x="232" y="454"/>
                    </a:lnTo>
                    <a:lnTo>
                      <a:pt x="231" y="450"/>
                    </a:lnTo>
                    <a:lnTo>
                      <a:pt x="229" y="447"/>
                    </a:lnTo>
                    <a:lnTo>
                      <a:pt x="229" y="444"/>
                    </a:lnTo>
                    <a:lnTo>
                      <a:pt x="232" y="444"/>
                    </a:lnTo>
                    <a:lnTo>
                      <a:pt x="233" y="445"/>
                    </a:lnTo>
                    <a:lnTo>
                      <a:pt x="236" y="444"/>
                    </a:lnTo>
                    <a:lnTo>
                      <a:pt x="237" y="446"/>
                    </a:lnTo>
                    <a:lnTo>
                      <a:pt x="238" y="447"/>
                    </a:lnTo>
                    <a:lnTo>
                      <a:pt x="237" y="447"/>
                    </a:lnTo>
                    <a:lnTo>
                      <a:pt x="237" y="448"/>
                    </a:lnTo>
                    <a:lnTo>
                      <a:pt x="239" y="450"/>
                    </a:lnTo>
                    <a:lnTo>
                      <a:pt x="242" y="452"/>
                    </a:lnTo>
                    <a:lnTo>
                      <a:pt x="242" y="455"/>
                    </a:lnTo>
                    <a:lnTo>
                      <a:pt x="242" y="456"/>
                    </a:lnTo>
                    <a:lnTo>
                      <a:pt x="243" y="457"/>
                    </a:lnTo>
                    <a:lnTo>
                      <a:pt x="244" y="460"/>
                    </a:lnTo>
                    <a:lnTo>
                      <a:pt x="246" y="459"/>
                    </a:lnTo>
                    <a:lnTo>
                      <a:pt x="249" y="459"/>
                    </a:lnTo>
                    <a:lnTo>
                      <a:pt x="250" y="461"/>
                    </a:lnTo>
                    <a:lnTo>
                      <a:pt x="256" y="463"/>
                    </a:lnTo>
                    <a:lnTo>
                      <a:pt x="257" y="464"/>
                    </a:lnTo>
                    <a:lnTo>
                      <a:pt x="257" y="467"/>
                    </a:lnTo>
                    <a:lnTo>
                      <a:pt x="259" y="469"/>
                    </a:lnTo>
                    <a:lnTo>
                      <a:pt x="260" y="468"/>
                    </a:lnTo>
                    <a:lnTo>
                      <a:pt x="260" y="466"/>
                    </a:lnTo>
                    <a:lnTo>
                      <a:pt x="262" y="466"/>
                    </a:lnTo>
                    <a:lnTo>
                      <a:pt x="263" y="465"/>
                    </a:lnTo>
                    <a:lnTo>
                      <a:pt x="264" y="465"/>
                    </a:lnTo>
                    <a:lnTo>
                      <a:pt x="266" y="463"/>
                    </a:lnTo>
                    <a:lnTo>
                      <a:pt x="268" y="463"/>
                    </a:lnTo>
                    <a:lnTo>
                      <a:pt x="271" y="460"/>
                    </a:lnTo>
                    <a:lnTo>
                      <a:pt x="272" y="459"/>
                    </a:lnTo>
                    <a:lnTo>
                      <a:pt x="275" y="459"/>
                    </a:lnTo>
                    <a:lnTo>
                      <a:pt x="276" y="463"/>
                    </a:lnTo>
                    <a:lnTo>
                      <a:pt x="276" y="470"/>
                    </a:lnTo>
                    <a:lnTo>
                      <a:pt x="278" y="471"/>
                    </a:lnTo>
                    <a:lnTo>
                      <a:pt x="279" y="471"/>
                    </a:lnTo>
                    <a:lnTo>
                      <a:pt x="283" y="470"/>
                    </a:lnTo>
                    <a:lnTo>
                      <a:pt x="285" y="475"/>
                    </a:lnTo>
                    <a:lnTo>
                      <a:pt x="286" y="483"/>
                    </a:lnTo>
                    <a:lnTo>
                      <a:pt x="292" y="483"/>
                    </a:lnTo>
                    <a:lnTo>
                      <a:pt x="294" y="482"/>
                    </a:lnTo>
                    <a:lnTo>
                      <a:pt x="294" y="483"/>
                    </a:lnTo>
                    <a:lnTo>
                      <a:pt x="295" y="482"/>
                    </a:lnTo>
                    <a:lnTo>
                      <a:pt x="297" y="484"/>
                    </a:lnTo>
                    <a:lnTo>
                      <a:pt x="299" y="482"/>
                    </a:lnTo>
                    <a:lnTo>
                      <a:pt x="299" y="480"/>
                    </a:lnTo>
                    <a:lnTo>
                      <a:pt x="301" y="479"/>
                    </a:lnTo>
                    <a:lnTo>
                      <a:pt x="301" y="478"/>
                    </a:lnTo>
                    <a:lnTo>
                      <a:pt x="304" y="476"/>
                    </a:lnTo>
                    <a:lnTo>
                      <a:pt x="303" y="468"/>
                    </a:lnTo>
                    <a:lnTo>
                      <a:pt x="306" y="458"/>
                    </a:lnTo>
                    <a:lnTo>
                      <a:pt x="306" y="453"/>
                    </a:lnTo>
                    <a:lnTo>
                      <a:pt x="304" y="453"/>
                    </a:lnTo>
                    <a:lnTo>
                      <a:pt x="308" y="441"/>
                    </a:lnTo>
                    <a:lnTo>
                      <a:pt x="309" y="440"/>
                    </a:lnTo>
                    <a:lnTo>
                      <a:pt x="310" y="436"/>
                    </a:lnTo>
                    <a:lnTo>
                      <a:pt x="313" y="431"/>
                    </a:lnTo>
                    <a:lnTo>
                      <a:pt x="314" y="430"/>
                    </a:lnTo>
                    <a:lnTo>
                      <a:pt x="319" y="430"/>
                    </a:lnTo>
                    <a:lnTo>
                      <a:pt x="320" y="427"/>
                    </a:lnTo>
                    <a:lnTo>
                      <a:pt x="324" y="427"/>
                    </a:lnTo>
                    <a:lnTo>
                      <a:pt x="328" y="424"/>
                    </a:lnTo>
                    <a:lnTo>
                      <a:pt x="328" y="422"/>
                    </a:lnTo>
                    <a:lnTo>
                      <a:pt x="330" y="421"/>
                    </a:lnTo>
                    <a:lnTo>
                      <a:pt x="330" y="419"/>
                    </a:lnTo>
                    <a:lnTo>
                      <a:pt x="332" y="418"/>
                    </a:lnTo>
                    <a:lnTo>
                      <a:pt x="333" y="418"/>
                    </a:lnTo>
                    <a:lnTo>
                      <a:pt x="335" y="418"/>
                    </a:lnTo>
                    <a:lnTo>
                      <a:pt x="333" y="411"/>
                    </a:lnTo>
                    <a:lnTo>
                      <a:pt x="337" y="405"/>
                    </a:lnTo>
                    <a:lnTo>
                      <a:pt x="337" y="403"/>
                    </a:lnTo>
                    <a:lnTo>
                      <a:pt x="336" y="400"/>
                    </a:lnTo>
                    <a:lnTo>
                      <a:pt x="337" y="399"/>
                    </a:lnTo>
                    <a:lnTo>
                      <a:pt x="337" y="397"/>
                    </a:lnTo>
                    <a:lnTo>
                      <a:pt x="340" y="396"/>
                    </a:lnTo>
                    <a:lnTo>
                      <a:pt x="341" y="396"/>
                    </a:lnTo>
                    <a:lnTo>
                      <a:pt x="343" y="397"/>
                    </a:lnTo>
                    <a:lnTo>
                      <a:pt x="346" y="397"/>
                    </a:lnTo>
                    <a:lnTo>
                      <a:pt x="347" y="396"/>
                    </a:lnTo>
                    <a:lnTo>
                      <a:pt x="348" y="398"/>
                    </a:lnTo>
                    <a:lnTo>
                      <a:pt x="348" y="397"/>
                    </a:lnTo>
                    <a:lnTo>
                      <a:pt x="349" y="399"/>
                    </a:lnTo>
                    <a:lnTo>
                      <a:pt x="350" y="400"/>
                    </a:lnTo>
                    <a:lnTo>
                      <a:pt x="351" y="399"/>
                    </a:lnTo>
                    <a:lnTo>
                      <a:pt x="352" y="400"/>
                    </a:lnTo>
                    <a:lnTo>
                      <a:pt x="354" y="398"/>
                    </a:lnTo>
                    <a:lnTo>
                      <a:pt x="356" y="399"/>
                    </a:lnTo>
                    <a:lnTo>
                      <a:pt x="358" y="401"/>
                    </a:lnTo>
                    <a:lnTo>
                      <a:pt x="358" y="403"/>
                    </a:lnTo>
                    <a:lnTo>
                      <a:pt x="361" y="403"/>
                    </a:lnTo>
                    <a:lnTo>
                      <a:pt x="363" y="405"/>
                    </a:lnTo>
                    <a:lnTo>
                      <a:pt x="365" y="406"/>
                    </a:lnTo>
                    <a:lnTo>
                      <a:pt x="366" y="405"/>
                    </a:lnTo>
                    <a:lnTo>
                      <a:pt x="369" y="407"/>
                    </a:lnTo>
                    <a:lnTo>
                      <a:pt x="371" y="408"/>
                    </a:lnTo>
                    <a:lnTo>
                      <a:pt x="372" y="410"/>
                    </a:lnTo>
                    <a:lnTo>
                      <a:pt x="374" y="410"/>
                    </a:lnTo>
                    <a:lnTo>
                      <a:pt x="375" y="410"/>
                    </a:lnTo>
                    <a:lnTo>
                      <a:pt x="377" y="412"/>
                    </a:lnTo>
                    <a:lnTo>
                      <a:pt x="379" y="410"/>
                    </a:lnTo>
                    <a:lnTo>
                      <a:pt x="380" y="410"/>
                    </a:lnTo>
                    <a:lnTo>
                      <a:pt x="382" y="409"/>
                    </a:lnTo>
                    <a:lnTo>
                      <a:pt x="384" y="405"/>
                    </a:lnTo>
                    <a:lnTo>
                      <a:pt x="384" y="403"/>
                    </a:lnTo>
                    <a:lnTo>
                      <a:pt x="379" y="398"/>
                    </a:lnTo>
                    <a:lnTo>
                      <a:pt x="379" y="397"/>
                    </a:lnTo>
                    <a:lnTo>
                      <a:pt x="379" y="396"/>
                    </a:lnTo>
                    <a:lnTo>
                      <a:pt x="378" y="395"/>
                    </a:lnTo>
                    <a:lnTo>
                      <a:pt x="381" y="392"/>
                    </a:lnTo>
                    <a:lnTo>
                      <a:pt x="381" y="387"/>
                    </a:lnTo>
                    <a:lnTo>
                      <a:pt x="384" y="382"/>
                    </a:lnTo>
                    <a:lnTo>
                      <a:pt x="384" y="376"/>
                    </a:lnTo>
                    <a:lnTo>
                      <a:pt x="386" y="375"/>
                    </a:lnTo>
                    <a:lnTo>
                      <a:pt x="386" y="374"/>
                    </a:lnTo>
                    <a:lnTo>
                      <a:pt x="389" y="374"/>
                    </a:lnTo>
                    <a:lnTo>
                      <a:pt x="389" y="372"/>
                    </a:lnTo>
                    <a:lnTo>
                      <a:pt x="388" y="369"/>
                    </a:lnTo>
                    <a:lnTo>
                      <a:pt x="387" y="369"/>
                    </a:lnTo>
                    <a:lnTo>
                      <a:pt x="387" y="365"/>
                    </a:lnTo>
                    <a:lnTo>
                      <a:pt x="388" y="359"/>
                    </a:lnTo>
                    <a:lnTo>
                      <a:pt x="391" y="359"/>
                    </a:lnTo>
                    <a:lnTo>
                      <a:pt x="392" y="351"/>
                    </a:lnTo>
                    <a:lnTo>
                      <a:pt x="393" y="352"/>
                    </a:lnTo>
                    <a:lnTo>
                      <a:pt x="393" y="350"/>
                    </a:lnTo>
                    <a:lnTo>
                      <a:pt x="394" y="348"/>
                    </a:lnTo>
                    <a:lnTo>
                      <a:pt x="395" y="346"/>
                    </a:lnTo>
                    <a:lnTo>
                      <a:pt x="395" y="340"/>
                    </a:lnTo>
                    <a:lnTo>
                      <a:pt x="393" y="339"/>
                    </a:lnTo>
                    <a:lnTo>
                      <a:pt x="393" y="336"/>
                    </a:lnTo>
                    <a:lnTo>
                      <a:pt x="392" y="335"/>
                    </a:lnTo>
                    <a:lnTo>
                      <a:pt x="392" y="333"/>
                    </a:lnTo>
                    <a:lnTo>
                      <a:pt x="394" y="332"/>
                    </a:lnTo>
                    <a:lnTo>
                      <a:pt x="395" y="331"/>
                    </a:lnTo>
                    <a:lnTo>
                      <a:pt x="395" y="328"/>
                    </a:lnTo>
                    <a:lnTo>
                      <a:pt x="393" y="327"/>
                    </a:lnTo>
                    <a:lnTo>
                      <a:pt x="393" y="321"/>
                    </a:lnTo>
                    <a:lnTo>
                      <a:pt x="393" y="318"/>
                    </a:lnTo>
                    <a:lnTo>
                      <a:pt x="394" y="314"/>
                    </a:lnTo>
                    <a:lnTo>
                      <a:pt x="395" y="310"/>
                    </a:lnTo>
                    <a:lnTo>
                      <a:pt x="395" y="311"/>
                    </a:lnTo>
                    <a:lnTo>
                      <a:pt x="397" y="307"/>
                    </a:lnTo>
                    <a:lnTo>
                      <a:pt x="400" y="306"/>
                    </a:lnTo>
                    <a:lnTo>
                      <a:pt x="401" y="305"/>
                    </a:lnTo>
                    <a:lnTo>
                      <a:pt x="401" y="304"/>
                    </a:lnTo>
                    <a:lnTo>
                      <a:pt x="402" y="299"/>
                    </a:lnTo>
                    <a:lnTo>
                      <a:pt x="401" y="299"/>
                    </a:lnTo>
                    <a:lnTo>
                      <a:pt x="400" y="297"/>
                    </a:lnTo>
                    <a:lnTo>
                      <a:pt x="402" y="294"/>
                    </a:lnTo>
                    <a:lnTo>
                      <a:pt x="403" y="295"/>
                    </a:lnTo>
                    <a:lnTo>
                      <a:pt x="406" y="295"/>
                    </a:lnTo>
                    <a:lnTo>
                      <a:pt x="407" y="293"/>
                    </a:lnTo>
                    <a:lnTo>
                      <a:pt x="409" y="292"/>
                    </a:lnTo>
                    <a:lnTo>
                      <a:pt x="410" y="295"/>
                    </a:lnTo>
                    <a:lnTo>
                      <a:pt x="414" y="297"/>
                    </a:lnTo>
                    <a:lnTo>
                      <a:pt x="418" y="296"/>
                    </a:lnTo>
                    <a:lnTo>
                      <a:pt x="420" y="297"/>
                    </a:lnTo>
                    <a:lnTo>
                      <a:pt x="421" y="301"/>
                    </a:lnTo>
                    <a:lnTo>
                      <a:pt x="420" y="302"/>
                    </a:lnTo>
                    <a:lnTo>
                      <a:pt x="420" y="303"/>
                    </a:lnTo>
                    <a:lnTo>
                      <a:pt x="420" y="305"/>
                    </a:lnTo>
                    <a:lnTo>
                      <a:pt x="426" y="306"/>
                    </a:lnTo>
                    <a:lnTo>
                      <a:pt x="430" y="308"/>
                    </a:lnTo>
                    <a:lnTo>
                      <a:pt x="431" y="306"/>
                    </a:lnTo>
                    <a:lnTo>
                      <a:pt x="433" y="306"/>
                    </a:lnTo>
                    <a:lnTo>
                      <a:pt x="435" y="307"/>
                    </a:lnTo>
                    <a:lnTo>
                      <a:pt x="436" y="306"/>
                    </a:lnTo>
                    <a:lnTo>
                      <a:pt x="437" y="307"/>
                    </a:lnTo>
                    <a:lnTo>
                      <a:pt x="439" y="306"/>
                    </a:lnTo>
                    <a:lnTo>
                      <a:pt x="439" y="308"/>
                    </a:lnTo>
                    <a:lnTo>
                      <a:pt x="444" y="311"/>
                    </a:lnTo>
                    <a:lnTo>
                      <a:pt x="444" y="314"/>
                    </a:lnTo>
                    <a:lnTo>
                      <a:pt x="443" y="314"/>
                    </a:lnTo>
                    <a:lnTo>
                      <a:pt x="442" y="315"/>
                    </a:lnTo>
                    <a:lnTo>
                      <a:pt x="442" y="316"/>
                    </a:lnTo>
                    <a:lnTo>
                      <a:pt x="445" y="318"/>
                    </a:lnTo>
                    <a:lnTo>
                      <a:pt x="445" y="319"/>
                    </a:lnTo>
                    <a:lnTo>
                      <a:pt x="444" y="320"/>
                    </a:lnTo>
                    <a:lnTo>
                      <a:pt x="446" y="322"/>
                    </a:lnTo>
                    <a:lnTo>
                      <a:pt x="446" y="325"/>
                    </a:lnTo>
                    <a:lnTo>
                      <a:pt x="446" y="326"/>
                    </a:lnTo>
                    <a:lnTo>
                      <a:pt x="444" y="327"/>
                    </a:lnTo>
                    <a:lnTo>
                      <a:pt x="441" y="332"/>
                    </a:lnTo>
                    <a:lnTo>
                      <a:pt x="443" y="335"/>
                    </a:lnTo>
                    <a:lnTo>
                      <a:pt x="444" y="334"/>
                    </a:lnTo>
                    <a:lnTo>
                      <a:pt x="445" y="335"/>
                    </a:lnTo>
                    <a:lnTo>
                      <a:pt x="448" y="333"/>
                    </a:lnTo>
                    <a:lnTo>
                      <a:pt x="450" y="335"/>
                    </a:lnTo>
                    <a:lnTo>
                      <a:pt x="454" y="331"/>
                    </a:lnTo>
                    <a:lnTo>
                      <a:pt x="456" y="331"/>
                    </a:lnTo>
                    <a:lnTo>
                      <a:pt x="458" y="329"/>
                    </a:lnTo>
                    <a:lnTo>
                      <a:pt x="459" y="329"/>
                    </a:lnTo>
                    <a:lnTo>
                      <a:pt x="462" y="329"/>
                    </a:lnTo>
                    <a:lnTo>
                      <a:pt x="466" y="330"/>
                    </a:lnTo>
                    <a:lnTo>
                      <a:pt x="467" y="330"/>
                    </a:lnTo>
                    <a:lnTo>
                      <a:pt x="471" y="333"/>
                    </a:lnTo>
                    <a:lnTo>
                      <a:pt x="472" y="331"/>
                    </a:lnTo>
                    <a:lnTo>
                      <a:pt x="474" y="331"/>
                    </a:lnTo>
                    <a:lnTo>
                      <a:pt x="473" y="328"/>
                    </a:lnTo>
                    <a:lnTo>
                      <a:pt x="474" y="328"/>
                    </a:lnTo>
                    <a:lnTo>
                      <a:pt x="475" y="328"/>
                    </a:lnTo>
                    <a:lnTo>
                      <a:pt x="478" y="322"/>
                    </a:lnTo>
                    <a:lnTo>
                      <a:pt x="479" y="322"/>
                    </a:lnTo>
                    <a:lnTo>
                      <a:pt x="477" y="318"/>
                    </a:lnTo>
                    <a:lnTo>
                      <a:pt x="478" y="315"/>
                    </a:lnTo>
                    <a:lnTo>
                      <a:pt x="481" y="316"/>
                    </a:lnTo>
                    <a:lnTo>
                      <a:pt x="482" y="318"/>
                    </a:lnTo>
                    <a:lnTo>
                      <a:pt x="481" y="320"/>
                    </a:lnTo>
                    <a:lnTo>
                      <a:pt x="485" y="324"/>
                    </a:lnTo>
                    <a:lnTo>
                      <a:pt x="487" y="323"/>
                    </a:lnTo>
                    <a:lnTo>
                      <a:pt x="489" y="325"/>
                    </a:lnTo>
                    <a:lnTo>
                      <a:pt x="491" y="324"/>
                    </a:lnTo>
                    <a:lnTo>
                      <a:pt x="492" y="322"/>
                    </a:lnTo>
                    <a:lnTo>
                      <a:pt x="494" y="323"/>
                    </a:lnTo>
                    <a:lnTo>
                      <a:pt x="497" y="322"/>
                    </a:lnTo>
                    <a:lnTo>
                      <a:pt x="501" y="324"/>
                    </a:lnTo>
                    <a:lnTo>
                      <a:pt x="507" y="329"/>
                    </a:lnTo>
                    <a:lnTo>
                      <a:pt x="508" y="333"/>
                    </a:lnTo>
                    <a:lnTo>
                      <a:pt x="511" y="334"/>
                    </a:lnTo>
                    <a:lnTo>
                      <a:pt x="513" y="338"/>
                    </a:lnTo>
                    <a:lnTo>
                      <a:pt x="516" y="341"/>
                    </a:lnTo>
                    <a:lnTo>
                      <a:pt x="519" y="342"/>
                    </a:lnTo>
                    <a:lnTo>
                      <a:pt x="521" y="342"/>
                    </a:lnTo>
                    <a:lnTo>
                      <a:pt x="523" y="342"/>
                    </a:lnTo>
                    <a:lnTo>
                      <a:pt x="524" y="345"/>
                    </a:lnTo>
                    <a:lnTo>
                      <a:pt x="528" y="342"/>
                    </a:lnTo>
                    <a:lnTo>
                      <a:pt x="529" y="345"/>
                    </a:lnTo>
                    <a:lnTo>
                      <a:pt x="531" y="346"/>
                    </a:lnTo>
                    <a:lnTo>
                      <a:pt x="532" y="346"/>
                    </a:lnTo>
                    <a:lnTo>
                      <a:pt x="537" y="350"/>
                    </a:lnTo>
                    <a:lnTo>
                      <a:pt x="537" y="357"/>
                    </a:lnTo>
                    <a:lnTo>
                      <a:pt x="539" y="361"/>
                    </a:lnTo>
                    <a:lnTo>
                      <a:pt x="545" y="365"/>
                    </a:lnTo>
                    <a:lnTo>
                      <a:pt x="548" y="361"/>
                    </a:lnTo>
                    <a:lnTo>
                      <a:pt x="549" y="361"/>
                    </a:lnTo>
                    <a:lnTo>
                      <a:pt x="549" y="358"/>
                    </a:lnTo>
                    <a:lnTo>
                      <a:pt x="550" y="358"/>
                    </a:lnTo>
                    <a:lnTo>
                      <a:pt x="552" y="359"/>
                    </a:lnTo>
                    <a:lnTo>
                      <a:pt x="553" y="358"/>
                    </a:lnTo>
                    <a:lnTo>
                      <a:pt x="555" y="357"/>
                    </a:lnTo>
                    <a:lnTo>
                      <a:pt x="552" y="356"/>
                    </a:lnTo>
                    <a:lnTo>
                      <a:pt x="554" y="354"/>
                    </a:lnTo>
                    <a:lnTo>
                      <a:pt x="555" y="355"/>
                    </a:lnTo>
                    <a:lnTo>
                      <a:pt x="555" y="353"/>
                    </a:lnTo>
                    <a:lnTo>
                      <a:pt x="555" y="352"/>
                    </a:lnTo>
                    <a:lnTo>
                      <a:pt x="554" y="352"/>
                    </a:lnTo>
                    <a:lnTo>
                      <a:pt x="554" y="351"/>
                    </a:lnTo>
                    <a:lnTo>
                      <a:pt x="553" y="352"/>
                    </a:lnTo>
                    <a:lnTo>
                      <a:pt x="552" y="350"/>
                    </a:lnTo>
                    <a:lnTo>
                      <a:pt x="553" y="348"/>
                    </a:lnTo>
                    <a:lnTo>
                      <a:pt x="555" y="348"/>
                    </a:lnTo>
                    <a:lnTo>
                      <a:pt x="555" y="350"/>
                    </a:lnTo>
                    <a:lnTo>
                      <a:pt x="557" y="351"/>
                    </a:lnTo>
                    <a:lnTo>
                      <a:pt x="558" y="351"/>
                    </a:lnTo>
                    <a:lnTo>
                      <a:pt x="559" y="350"/>
                    </a:lnTo>
                    <a:lnTo>
                      <a:pt x="560" y="348"/>
                    </a:lnTo>
                    <a:lnTo>
                      <a:pt x="557" y="345"/>
                    </a:lnTo>
                    <a:lnTo>
                      <a:pt x="558" y="343"/>
                    </a:lnTo>
                    <a:lnTo>
                      <a:pt x="559" y="342"/>
                    </a:lnTo>
                    <a:lnTo>
                      <a:pt x="559" y="341"/>
                    </a:lnTo>
                    <a:lnTo>
                      <a:pt x="560" y="340"/>
                    </a:lnTo>
                    <a:lnTo>
                      <a:pt x="556" y="337"/>
                    </a:lnTo>
                    <a:lnTo>
                      <a:pt x="552" y="335"/>
                    </a:lnTo>
                    <a:lnTo>
                      <a:pt x="550" y="335"/>
                    </a:lnTo>
                    <a:lnTo>
                      <a:pt x="546" y="334"/>
                    </a:lnTo>
                    <a:lnTo>
                      <a:pt x="545" y="333"/>
                    </a:lnTo>
                    <a:lnTo>
                      <a:pt x="544" y="331"/>
                    </a:lnTo>
                    <a:lnTo>
                      <a:pt x="545" y="329"/>
                    </a:lnTo>
                    <a:lnTo>
                      <a:pt x="545" y="327"/>
                    </a:lnTo>
                    <a:lnTo>
                      <a:pt x="546" y="326"/>
                    </a:lnTo>
                    <a:lnTo>
                      <a:pt x="545" y="324"/>
                    </a:lnTo>
                    <a:lnTo>
                      <a:pt x="544" y="323"/>
                    </a:lnTo>
                    <a:lnTo>
                      <a:pt x="542" y="322"/>
                    </a:lnTo>
                    <a:lnTo>
                      <a:pt x="540" y="324"/>
                    </a:lnTo>
                    <a:lnTo>
                      <a:pt x="538" y="324"/>
                    </a:lnTo>
                    <a:lnTo>
                      <a:pt x="537" y="325"/>
                    </a:lnTo>
                    <a:lnTo>
                      <a:pt x="535" y="322"/>
                    </a:lnTo>
                    <a:lnTo>
                      <a:pt x="537" y="320"/>
                    </a:lnTo>
                    <a:lnTo>
                      <a:pt x="537" y="318"/>
                    </a:lnTo>
                    <a:lnTo>
                      <a:pt x="539" y="317"/>
                    </a:lnTo>
                    <a:lnTo>
                      <a:pt x="541" y="317"/>
                    </a:lnTo>
                    <a:lnTo>
                      <a:pt x="542" y="315"/>
                    </a:lnTo>
                    <a:lnTo>
                      <a:pt x="543" y="313"/>
                    </a:lnTo>
                    <a:lnTo>
                      <a:pt x="545" y="314"/>
                    </a:lnTo>
                    <a:lnTo>
                      <a:pt x="545" y="311"/>
                    </a:lnTo>
                    <a:lnTo>
                      <a:pt x="547" y="312"/>
                    </a:lnTo>
                    <a:lnTo>
                      <a:pt x="548" y="311"/>
                    </a:lnTo>
                    <a:lnTo>
                      <a:pt x="549" y="310"/>
                    </a:lnTo>
                    <a:lnTo>
                      <a:pt x="548" y="309"/>
                    </a:lnTo>
                    <a:lnTo>
                      <a:pt x="550" y="307"/>
                    </a:lnTo>
                    <a:lnTo>
                      <a:pt x="548" y="306"/>
                    </a:lnTo>
                    <a:lnTo>
                      <a:pt x="549" y="306"/>
                    </a:lnTo>
                    <a:lnTo>
                      <a:pt x="548" y="305"/>
                    </a:lnTo>
                    <a:lnTo>
                      <a:pt x="549" y="303"/>
                    </a:lnTo>
                    <a:lnTo>
                      <a:pt x="552" y="303"/>
                    </a:lnTo>
                    <a:lnTo>
                      <a:pt x="555" y="302"/>
                    </a:lnTo>
                    <a:lnTo>
                      <a:pt x="556" y="299"/>
                    </a:lnTo>
                    <a:lnTo>
                      <a:pt x="554" y="298"/>
                    </a:lnTo>
                    <a:lnTo>
                      <a:pt x="555" y="295"/>
                    </a:lnTo>
                    <a:lnTo>
                      <a:pt x="554" y="295"/>
                    </a:lnTo>
                    <a:lnTo>
                      <a:pt x="554" y="294"/>
                    </a:lnTo>
                    <a:lnTo>
                      <a:pt x="557" y="294"/>
                    </a:lnTo>
                    <a:lnTo>
                      <a:pt x="558" y="295"/>
                    </a:lnTo>
                    <a:lnTo>
                      <a:pt x="559" y="291"/>
                    </a:lnTo>
                    <a:lnTo>
                      <a:pt x="557" y="289"/>
                    </a:lnTo>
                    <a:lnTo>
                      <a:pt x="558" y="287"/>
                    </a:lnTo>
                    <a:lnTo>
                      <a:pt x="562" y="289"/>
                    </a:lnTo>
                    <a:lnTo>
                      <a:pt x="565" y="289"/>
                    </a:lnTo>
                    <a:lnTo>
                      <a:pt x="565" y="290"/>
                    </a:lnTo>
                    <a:lnTo>
                      <a:pt x="566" y="289"/>
                    </a:lnTo>
                    <a:lnTo>
                      <a:pt x="567" y="290"/>
                    </a:lnTo>
                    <a:lnTo>
                      <a:pt x="569" y="290"/>
                    </a:lnTo>
                    <a:lnTo>
                      <a:pt x="570" y="289"/>
                    </a:lnTo>
                    <a:lnTo>
                      <a:pt x="570" y="287"/>
                    </a:lnTo>
                    <a:lnTo>
                      <a:pt x="569" y="284"/>
                    </a:lnTo>
                    <a:lnTo>
                      <a:pt x="572" y="284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85" name="Group 122">
              <a:extLst>
                <a:ext uri="{FF2B5EF4-FFF2-40B4-BE49-F238E27FC236}">
                  <a16:creationId xmlns:a16="http://schemas.microsoft.com/office/drawing/2014/main" id="{C8219F19-3A20-489D-87B0-64F8669084F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08" y="3431"/>
              <a:ext cx="579" cy="487"/>
              <a:chOff x="1308" y="3431"/>
              <a:chExt cx="579" cy="487"/>
            </a:xfrm>
          </p:grpSpPr>
          <p:sp>
            <p:nvSpPr>
              <p:cNvPr id="489" name="Freeform 120">
                <a:extLst>
                  <a:ext uri="{FF2B5EF4-FFF2-40B4-BE49-F238E27FC236}">
                    <a16:creationId xmlns:a16="http://schemas.microsoft.com/office/drawing/2014/main" id="{800DC444-047A-429F-BAD6-BBD074AE8A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8" y="3431"/>
                <a:ext cx="579" cy="487"/>
              </a:xfrm>
              <a:custGeom>
                <a:avLst/>
                <a:gdLst>
                  <a:gd name="T0" fmla="*/ 545 w 579"/>
                  <a:gd name="T1" fmla="*/ 345 h 487"/>
                  <a:gd name="T2" fmla="*/ 506 w 579"/>
                  <a:gd name="T3" fmla="*/ 331 h 487"/>
                  <a:gd name="T4" fmla="*/ 490 w 579"/>
                  <a:gd name="T5" fmla="*/ 310 h 487"/>
                  <a:gd name="T6" fmla="*/ 473 w 579"/>
                  <a:gd name="T7" fmla="*/ 285 h 487"/>
                  <a:gd name="T8" fmla="*/ 442 w 579"/>
                  <a:gd name="T9" fmla="*/ 263 h 487"/>
                  <a:gd name="T10" fmla="*/ 468 w 579"/>
                  <a:gd name="T11" fmla="*/ 236 h 487"/>
                  <a:gd name="T12" fmla="*/ 453 w 579"/>
                  <a:gd name="T13" fmla="*/ 212 h 487"/>
                  <a:gd name="T14" fmla="*/ 460 w 579"/>
                  <a:gd name="T15" fmla="*/ 176 h 487"/>
                  <a:gd name="T16" fmla="*/ 438 w 579"/>
                  <a:gd name="T17" fmla="*/ 146 h 487"/>
                  <a:gd name="T18" fmla="*/ 435 w 579"/>
                  <a:gd name="T19" fmla="*/ 123 h 487"/>
                  <a:gd name="T20" fmla="*/ 428 w 579"/>
                  <a:gd name="T21" fmla="*/ 117 h 487"/>
                  <a:gd name="T22" fmla="*/ 420 w 579"/>
                  <a:gd name="T23" fmla="*/ 91 h 487"/>
                  <a:gd name="T24" fmla="*/ 393 w 579"/>
                  <a:gd name="T25" fmla="*/ 76 h 487"/>
                  <a:gd name="T26" fmla="*/ 398 w 579"/>
                  <a:gd name="T27" fmla="*/ 91 h 487"/>
                  <a:gd name="T28" fmla="*/ 391 w 579"/>
                  <a:gd name="T29" fmla="*/ 118 h 487"/>
                  <a:gd name="T30" fmla="*/ 378 w 579"/>
                  <a:gd name="T31" fmla="*/ 99 h 487"/>
                  <a:gd name="T32" fmla="*/ 373 w 579"/>
                  <a:gd name="T33" fmla="*/ 62 h 487"/>
                  <a:gd name="T34" fmla="*/ 371 w 579"/>
                  <a:gd name="T35" fmla="*/ 49 h 487"/>
                  <a:gd name="T36" fmla="*/ 362 w 579"/>
                  <a:gd name="T37" fmla="*/ 25 h 487"/>
                  <a:gd name="T38" fmla="*/ 373 w 579"/>
                  <a:gd name="T39" fmla="*/ 23 h 487"/>
                  <a:gd name="T40" fmla="*/ 330 w 579"/>
                  <a:gd name="T41" fmla="*/ 0 h 487"/>
                  <a:gd name="T42" fmla="*/ 307 w 579"/>
                  <a:gd name="T43" fmla="*/ 13 h 487"/>
                  <a:gd name="T44" fmla="*/ 280 w 579"/>
                  <a:gd name="T45" fmla="*/ 10 h 487"/>
                  <a:gd name="T46" fmla="*/ 261 w 579"/>
                  <a:gd name="T47" fmla="*/ 33 h 487"/>
                  <a:gd name="T48" fmla="*/ 254 w 579"/>
                  <a:gd name="T49" fmla="*/ 57 h 487"/>
                  <a:gd name="T50" fmla="*/ 252 w 579"/>
                  <a:gd name="T51" fmla="*/ 92 h 487"/>
                  <a:gd name="T52" fmla="*/ 251 w 579"/>
                  <a:gd name="T53" fmla="*/ 123 h 487"/>
                  <a:gd name="T54" fmla="*/ 226 w 579"/>
                  <a:gd name="T55" fmla="*/ 142 h 487"/>
                  <a:gd name="T56" fmla="*/ 219 w 579"/>
                  <a:gd name="T57" fmla="*/ 166 h 487"/>
                  <a:gd name="T58" fmla="*/ 214 w 579"/>
                  <a:gd name="T59" fmla="*/ 198 h 487"/>
                  <a:gd name="T60" fmla="*/ 206 w 579"/>
                  <a:gd name="T61" fmla="*/ 219 h 487"/>
                  <a:gd name="T62" fmla="*/ 198 w 579"/>
                  <a:gd name="T63" fmla="*/ 242 h 487"/>
                  <a:gd name="T64" fmla="*/ 170 w 579"/>
                  <a:gd name="T65" fmla="*/ 260 h 487"/>
                  <a:gd name="T66" fmla="*/ 148 w 579"/>
                  <a:gd name="T67" fmla="*/ 257 h 487"/>
                  <a:gd name="T68" fmla="*/ 127 w 579"/>
                  <a:gd name="T69" fmla="*/ 257 h 487"/>
                  <a:gd name="T70" fmla="*/ 106 w 579"/>
                  <a:gd name="T71" fmla="*/ 257 h 487"/>
                  <a:gd name="T72" fmla="*/ 90 w 579"/>
                  <a:gd name="T73" fmla="*/ 264 h 487"/>
                  <a:gd name="T74" fmla="*/ 59 w 579"/>
                  <a:gd name="T75" fmla="*/ 283 h 487"/>
                  <a:gd name="T76" fmla="*/ 38 w 579"/>
                  <a:gd name="T77" fmla="*/ 284 h 487"/>
                  <a:gd name="T78" fmla="*/ 15 w 579"/>
                  <a:gd name="T79" fmla="*/ 281 h 487"/>
                  <a:gd name="T80" fmla="*/ 7 w 579"/>
                  <a:gd name="T81" fmla="*/ 292 h 487"/>
                  <a:gd name="T82" fmla="*/ 39 w 579"/>
                  <a:gd name="T83" fmla="*/ 331 h 487"/>
                  <a:gd name="T84" fmla="*/ 85 w 579"/>
                  <a:gd name="T85" fmla="*/ 337 h 487"/>
                  <a:gd name="T86" fmla="*/ 102 w 579"/>
                  <a:gd name="T87" fmla="*/ 349 h 487"/>
                  <a:gd name="T88" fmla="*/ 146 w 579"/>
                  <a:gd name="T89" fmla="*/ 397 h 487"/>
                  <a:gd name="T90" fmla="*/ 212 w 579"/>
                  <a:gd name="T91" fmla="*/ 410 h 487"/>
                  <a:gd name="T92" fmla="*/ 231 w 579"/>
                  <a:gd name="T93" fmla="*/ 410 h 487"/>
                  <a:gd name="T94" fmla="*/ 265 w 579"/>
                  <a:gd name="T95" fmla="*/ 387 h 487"/>
                  <a:gd name="T96" fmla="*/ 308 w 579"/>
                  <a:gd name="T97" fmla="*/ 415 h 487"/>
                  <a:gd name="T98" fmla="*/ 328 w 579"/>
                  <a:gd name="T99" fmla="*/ 433 h 487"/>
                  <a:gd name="T100" fmla="*/ 369 w 579"/>
                  <a:gd name="T101" fmla="*/ 443 h 487"/>
                  <a:gd name="T102" fmla="*/ 369 w 579"/>
                  <a:gd name="T103" fmla="*/ 471 h 487"/>
                  <a:gd name="T104" fmla="*/ 381 w 579"/>
                  <a:gd name="T105" fmla="*/ 483 h 487"/>
                  <a:gd name="T106" fmla="*/ 388 w 579"/>
                  <a:gd name="T107" fmla="*/ 454 h 487"/>
                  <a:gd name="T108" fmla="*/ 396 w 579"/>
                  <a:gd name="T109" fmla="*/ 444 h 487"/>
                  <a:gd name="T110" fmla="*/ 409 w 579"/>
                  <a:gd name="T111" fmla="*/ 422 h 487"/>
                  <a:gd name="T112" fmla="*/ 421 w 579"/>
                  <a:gd name="T113" fmla="*/ 413 h 487"/>
                  <a:gd name="T114" fmla="*/ 440 w 579"/>
                  <a:gd name="T115" fmla="*/ 389 h 487"/>
                  <a:gd name="T116" fmla="*/ 450 w 579"/>
                  <a:gd name="T117" fmla="*/ 376 h 487"/>
                  <a:gd name="T118" fmla="*/ 484 w 579"/>
                  <a:gd name="T119" fmla="*/ 391 h 487"/>
                  <a:gd name="T120" fmla="*/ 525 w 579"/>
                  <a:gd name="T121" fmla="*/ 394 h 487"/>
                  <a:gd name="T122" fmla="*/ 579 w 579"/>
                  <a:gd name="T123" fmla="*/ 397 h 487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9"/>
                  <a:gd name="T187" fmla="*/ 0 h 487"/>
                  <a:gd name="T188" fmla="*/ 579 w 579"/>
                  <a:gd name="T189" fmla="*/ 487 h 487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9" h="487">
                    <a:moveTo>
                      <a:pt x="577" y="389"/>
                    </a:moveTo>
                    <a:lnTo>
                      <a:pt x="577" y="387"/>
                    </a:lnTo>
                    <a:lnTo>
                      <a:pt x="577" y="386"/>
                    </a:lnTo>
                    <a:lnTo>
                      <a:pt x="578" y="385"/>
                    </a:lnTo>
                    <a:lnTo>
                      <a:pt x="575" y="386"/>
                    </a:lnTo>
                    <a:lnTo>
                      <a:pt x="574" y="384"/>
                    </a:lnTo>
                    <a:lnTo>
                      <a:pt x="574" y="382"/>
                    </a:lnTo>
                    <a:lnTo>
                      <a:pt x="572" y="378"/>
                    </a:lnTo>
                    <a:lnTo>
                      <a:pt x="569" y="369"/>
                    </a:lnTo>
                    <a:lnTo>
                      <a:pt x="564" y="369"/>
                    </a:lnTo>
                    <a:lnTo>
                      <a:pt x="559" y="362"/>
                    </a:lnTo>
                    <a:lnTo>
                      <a:pt x="557" y="362"/>
                    </a:lnTo>
                    <a:lnTo>
                      <a:pt x="555" y="364"/>
                    </a:lnTo>
                    <a:lnTo>
                      <a:pt x="552" y="361"/>
                    </a:lnTo>
                    <a:lnTo>
                      <a:pt x="556" y="355"/>
                    </a:lnTo>
                    <a:lnTo>
                      <a:pt x="556" y="353"/>
                    </a:lnTo>
                    <a:lnTo>
                      <a:pt x="557" y="352"/>
                    </a:lnTo>
                    <a:lnTo>
                      <a:pt x="554" y="349"/>
                    </a:lnTo>
                    <a:lnTo>
                      <a:pt x="549" y="345"/>
                    </a:lnTo>
                    <a:lnTo>
                      <a:pt x="545" y="346"/>
                    </a:lnTo>
                    <a:lnTo>
                      <a:pt x="545" y="345"/>
                    </a:lnTo>
                    <a:lnTo>
                      <a:pt x="543" y="339"/>
                    </a:lnTo>
                    <a:lnTo>
                      <a:pt x="543" y="342"/>
                    </a:lnTo>
                    <a:lnTo>
                      <a:pt x="537" y="344"/>
                    </a:lnTo>
                    <a:lnTo>
                      <a:pt x="535" y="341"/>
                    </a:lnTo>
                    <a:lnTo>
                      <a:pt x="534" y="341"/>
                    </a:lnTo>
                    <a:lnTo>
                      <a:pt x="531" y="342"/>
                    </a:lnTo>
                    <a:lnTo>
                      <a:pt x="531" y="341"/>
                    </a:lnTo>
                    <a:lnTo>
                      <a:pt x="530" y="342"/>
                    </a:lnTo>
                    <a:lnTo>
                      <a:pt x="529" y="342"/>
                    </a:lnTo>
                    <a:lnTo>
                      <a:pt x="524" y="345"/>
                    </a:lnTo>
                    <a:lnTo>
                      <a:pt x="521" y="341"/>
                    </a:lnTo>
                    <a:lnTo>
                      <a:pt x="520" y="341"/>
                    </a:lnTo>
                    <a:lnTo>
                      <a:pt x="517" y="336"/>
                    </a:lnTo>
                    <a:lnTo>
                      <a:pt x="515" y="334"/>
                    </a:lnTo>
                    <a:lnTo>
                      <a:pt x="515" y="329"/>
                    </a:lnTo>
                    <a:lnTo>
                      <a:pt x="510" y="330"/>
                    </a:lnTo>
                    <a:lnTo>
                      <a:pt x="509" y="332"/>
                    </a:lnTo>
                    <a:lnTo>
                      <a:pt x="509" y="331"/>
                    </a:lnTo>
                    <a:lnTo>
                      <a:pt x="508" y="331"/>
                    </a:lnTo>
                    <a:lnTo>
                      <a:pt x="507" y="331"/>
                    </a:lnTo>
                    <a:lnTo>
                      <a:pt x="506" y="331"/>
                    </a:lnTo>
                    <a:lnTo>
                      <a:pt x="504" y="330"/>
                    </a:lnTo>
                    <a:lnTo>
                      <a:pt x="503" y="329"/>
                    </a:lnTo>
                    <a:lnTo>
                      <a:pt x="504" y="328"/>
                    </a:lnTo>
                    <a:lnTo>
                      <a:pt x="503" y="327"/>
                    </a:lnTo>
                    <a:lnTo>
                      <a:pt x="505" y="325"/>
                    </a:lnTo>
                    <a:lnTo>
                      <a:pt x="505" y="324"/>
                    </a:lnTo>
                    <a:lnTo>
                      <a:pt x="506" y="322"/>
                    </a:lnTo>
                    <a:lnTo>
                      <a:pt x="505" y="321"/>
                    </a:lnTo>
                    <a:lnTo>
                      <a:pt x="506" y="318"/>
                    </a:lnTo>
                    <a:lnTo>
                      <a:pt x="504" y="315"/>
                    </a:lnTo>
                    <a:lnTo>
                      <a:pt x="504" y="317"/>
                    </a:lnTo>
                    <a:lnTo>
                      <a:pt x="501" y="315"/>
                    </a:lnTo>
                    <a:lnTo>
                      <a:pt x="502" y="314"/>
                    </a:lnTo>
                    <a:lnTo>
                      <a:pt x="500" y="312"/>
                    </a:lnTo>
                    <a:lnTo>
                      <a:pt x="497" y="313"/>
                    </a:lnTo>
                    <a:lnTo>
                      <a:pt x="496" y="312"/>
                    </a:lnTo>
                    <a:lnTo>
                      <a:pt x="493" y="312"/>
                    </a:lnTo>
                    <a:lnTo>
                      <a:pt x="492" y="310"/>
                    </a:lnTo>
                    <a:lnTo>
                      <a:pt x="491" y="310"/>
                    </a:lnTo>
                    <a:lnTo>
                      <a:pt x="490" y="310"/>
                    </a:lnTo>
                    <a:lnTo>
                      <a:pt x="488" y="310"/>
                    </a:lnTo>
                    <a:lnTo>
                      <a:pt x="486" y="309"/>
                    </a:lnTo>
                    <a:lnTo>
                      <a:pt x="485" y="310"/>
                    </a:lnTo>
                    <a:lnTo>
                      <a:pt x="483" y="310"/>
                    </a:lnTo>
                    <a:lnTo>
                      <a:pt x="484" y="305"/>
                    </a:lnTo>
                    <a:lnTo>
                      <a:pt x="482" y="304"/>
                    </a:lnTo>
                    <a:lnTo>
                      <a:pt x="482" y="301"/>
                    </a:lnTo>
                    <a:lnTo>
                      <a:pt x="480" y="301"/>
                    </a:lnTo>
                    <a:lnTo>
                      <a:pt x="478" y="302"/>
                    </a:lnTo>
                    <a:lnTo>
                      <a:pt x="478" y="298"/>
                    </a:lnTo>
                    <a:lnTo>
                      <a:pt x="471" y="297"/>
                    </a:lnTo>
                    <a:lnTo>
                      <a:pt x="470" y="299"/>
                    </a:lnTo>
                    <a:lnTo>
                      <a:pt x="469" y="300"/>
                    </a:lnTo>
                    <a:lnTo>
                      <a:pt x="468" y="299"/>
                    </a:lnTo>
                    <a:lnTo>
                      <a:pt x="469" y="297"/>
                    </a:lnTo>
                    <a:lnTo>
                      <a:pt x="470" y="295"/>
                    </a:lnTo>
                    <a:lnTo>
                      <a:pt x="470" y="294"/>
                    </a:lnTo>
                    <a:lnTo>
                      <a:pt x="472" y="291"/>
                    </a:lnTo>
                    <a:lnTo>
                      <a:pt x="473" y="289"/>
                    </a:lnTo>
                    <a:lnTo>
                      <a:pt x="473" y="285"/>
                    </a:lnTo>
                    <a:lnTo>
                      <a:pt x="473" y="284"/>
                    </a:lnTo>
                    <a:lnTo>
                      <a:pt x="473" y="282"/>
                    </a:lnTo>
                    <a:lnTo>
                      <a:pt x="472" y="280"/>
                    </a:lnTo>
                    <a:lnTo>
                      <a:pt x="470" y="280"/>
                    </a:lnTo>
                    <a:lnTo>
                      <a:pt x="470" y="273"/>
                    </a:lnTo>
                    <a:lnTo>
                      <a:pt x="469" y="272"/>
                    </a:lnTo>
                    <a:lnTo>
                      <a:pt x="466" y="272"/>
                    </a:lnTo>
                    <a:lnTo>
                      <a:pt x="461" y="274"/>
                    </a:lnTo>
                    <a:lnTo>
                      <a:pt x="457" y="275"/>
                    </a:lnTo>
                    <a:lnTo>
                      <a:pt x="455" y="276"/>
                    </a:lnTo>
                    <a:lnTo>
                      <a:pt x="454" y="275"/>
                    </a:lnTo>
                    <a:lnTo>
                      <a:pt x="453" y="276"/>
                    </a:lnTo>
                    <a:lnTo>
                      <a:pt x="452" y="276"/>
                    </a:lnTo>
                    <a:lnTo>
                      <a:pt x="450" y="278"/>
                    </a:lnTo>
                    <a:lnTo>
                      <a:pt x="449" y="277"/>
                    </a:lnTo>
                    <a:lnTo>
                      <a:pt x="447" y="278"/>
                    </a:lnTo>
                    <a:lnTo>
                      <a:pt x="441" y="276"/>
                    </a:lnTo>
                    <a:lnTo>
                      <a:pt x="443" y="274"/>
                    </a:lnTo>
                    <a:lnTo>
                      <a:pt x="444" y="272"/>
                    </a:lnTo>
                    <a:lnTo>
                      <a:pt x="443" y="270"/>
                    </a:lnTo>
                    <a:lnTo>
                      <a:pt x="442" y="271"/>
                    </a:lnTo>
                    <a:lnTo>
                      <a:pt x="442" y="263"/>
                    </a:lnTo>
                    <a:lnTo>
                      <a:pt x="447" y="264"/>
                    </a:lnTo>
                    <a:lnTo>
                      <a:pt x="448" y="265"/>
                    </a:lnTo>
                    <a:lnTo>
                      <a:pt x="450" y="264"/>
                    </a:lnTo>
                    <a:lnTo>
                      <a:pt x="450" y="261"/>
                    </a:lnTo>
                    <a:lnTo>
                      <a:pt x="452" y="255"/>
                    </a:lnTo>
                    <a:lnTo>
                      <a:pt x="453" y="251"/>
                    </a:lnTo>
                    <a:lnTo>
                      <a:pt x="455" y="250"/>
                    </a:lnTo>
                    <a:lnTo>
                      <a:pt x="457" y="251"/>
                    </a:lnTo>
                    <a:lnTo>
                      <a:pt x="458" y="251"/>
                    </a:lnTo>
                    <a:lnTo>
                      <a:pt x="459" y="251"/>
                    </a:lnTo>
                    <a:lnTo>
                      <a:pt x="460" y="250"/>
                    </a:lnTo>
                    <a:lnTo>
                      <a:pt x="460" y="249"/>
                    </a:lnTo>
                    <a:lnTo>
                      <a:pt x="461" y="250"/>
                    </a:lnTo>
                    <a:lnTo>
                      <a:pt x="462" y="249"/>
                    </a:lnTo>
                    <a:lnTo>
                      <a:pt x="464" y="250"/>
                    </a:lnTo>
                    <a:lnTo>
                      <a:pt x="466" y="240"/>
                    </a:lnTo>
                    <a:lnTo>
                      <a:pt x="468" y="240"/>
                    </a:lnTo>
                    <a:lnTo>
                      <a:pt x="468" y="238"/>
                    </a:lnTo>
                    <a:lnTo>
                      <a:pt x="468" y="237"/>
                    </a:lnTo>
                    <a:lnTo>
                      <a:pt x="468" y="236"/>
                    </a:lnTo>
                    <a:lnTo>
                      <a:pt x="470" y="231"/>
                    </a:lnTo>
                    <a:lnTo>
                      <a:pt x="469" y="229"/>
                    </a:lnTo>
                    <a:lnTo>
                      <a:pt x="468" y="229"/>
                    </a:lnTo>
                    <a:lnTo>
                      <a:pt x="466" y="233"/>
                    </a:lnTo>
                    <a:lnTo>
                      <a:pt x="464" y="233"/>
                    </a:lnTo>
                    <a:lnTo>
                      <a:pt x="463" y="232"/>
                    </a:lnTo>
                    <a:lnTo>
                      <a:pt x="461" y="232"/>
                    </a:lnTo>
                    <a:lnTo>
                      <a:pt x="461" y="231"/>
                    </a:lnTo>
                    <a:lnTo>
                      <a:pt x="457" y="231"/>
                    </a:lnTo>
                    <a:lnTo>
                      <a:pt x="457" y="233"/>
                    </a:lnTo>
                    <a:lnTo>
                      <a:pt x="455" y="231"/>
                    </a:lnTo>
                    <a:lnTo>
                      <a:pt x="457" y="230"/>
                    </a:lnTo>
                    <a:lnTo>
                      <a:pt x="457" y="227"/>
                    </a:lnTo>
                    <a:lnTo>
                      <a:pt x="458" y="227"/>
                    </a:lnTo>
                    <a:lnTo>
                      <a:pt x="460" y="225"/>
                    </a:lnTo>
                    <a:lnTo>
                      <a:pt x="460" y="223"/>
                    </a:lnTo>
                    <a:lnTo>
                      <a:pt x="459" y="223"/>
                    </a:lnTo>
                    <a:lnTo>
                      <a:pt x="458" y="223"/>
                    </a:lnTo>
                    <a:lnTo>
                      <a:pt x="457" y="222"/>
                    </a:lnTo>
                    <a:lnTo>
                      <a:pt x="457" y="217"/>
                    </a:lnTo>
                    <a:lnTo>
                      <a:pt x="455" y="214"/>
                    </a:lnTo>
                    <a:lnTo>
                      <a:pt x="453" y="212"/>
                    </a:lnTo>
                    <a:lnTo>
                      <a:pt x="457" y="207"/>
                    </a:lnTo>
                    <a:lnTo>
                      <a:pt x="457" y="204"/>
                    </a:lnTo>
                    <a:lnTo>
                      <a:pt x="455" y="202"/>
                    </a:lnTo>
                    <a:lnTo>
                      <a:pt x="455" y="200"/>
                    </a:lnTo>
                    <a:lnTo>
                      <a:pt x="453" y="199"/>
                    </a:lnTo>
                    <a:lnTo>
                      <a:pt x="453" y="196"/>
                    </a:lnTo>
                    <a:lnTo>
                      <a:pt x="456" y="195"/>
                    </a:lnTo>
                    <a:lnTo>
                      <a:pt x="457" y="193"/>
                    </a:lnTo>
                    <a:lnTo>
                      <a:pt x="459" y="192"/>
                    </a:lnTo>
                    <a:lnTo>
                      <a:pt x="460" y="188"/>
                    </a:lnTo>
                    <a:lnTo>
                      <a:pt x="460" y="187"/>
                    </a:lnTo>
                    <a:lnTo>
                      <a:pt x="462" y="185"/>
                    </a:lnTo>
                    <a:lnTo>
                      <a:pt x="463" y="185"/>
                    </a:lnTo>
                    <a:lnTo>
                      <a:pt x="463" y="183"/>
                    </a:lnTo>
                    <a:lnTo>
                      <a:pt x="461" y="183"/>
                    </a:lnTo>
                    <a:lnTo>
                      <a:pt x="462" y="182"/>
                    </a:lnTo>
                    <a:lnTo>
                      <a:pt x="461" y="182"/>
                    </a:lnTo>
                    <a:lnTo>
                      <a:pt x="461" y="178"/>
                    </a:lnTo>
                    <a:lnTo>
                      <a:pt x="461" y="176"/>
                    </a:lnTo>
                    <a:lnTo>
                      <a:pt x="460" y="175"/>
                    </a:lnTo>
                    <a:lnTo>
                      <a:pt x="460" y="176"/>
                    </a:lnTo>
                    <a:lnTo>
                      <a:pt x="459" y="174"/>
                    </a:lnTo>
                    <a:lnTo>
                      <a:pt x="459" y="171"/>
                    </a:lnTo>
                    <a:lnTo>
                      <a:pt x="458" y="168"/>
                    </a:lnTo>
                    <a:lnTo>
                      <a:pt x="457" y="165"/>
                    </a:lnTo>
                    <a:lnTo>
                      <a:pt x="458" y="165"/>
                    </a:lnTo>
                    <a:lnTo>
                      <a:pt x="458" y="164"/>
                    </a:lnTo>
                    <a:lnTo>
                      <a:pt x="459" y="163"/>
                    </a:lnTo>
                    <a:lnTo>
                      <a:pt x="459" y="160"/>
                    </a:lnTo>
                    <a:lnTo>
                      <a:pt x="456" y="161"/>
                    </a:lnTo>
                    <a:lnTo>
                      <a:pt x="454" y="157"/>
                    </a:lnTo>
                    <a:lnTo>
                      <a:pt x="453" y="155"/>
                    </a:lnTo>
                    <a:lnTo>
                      <a:pt x="453" y="154"/>
                    </a:lnTo>
                    <a:lnTo>
                      <a:pt x="452" y="153"/>
                    </a:lnTo>
                    <a:lnTo>
                      <a:pt x="449" y="152"/>
                    </a:lnTo>
                    <a:lnTo>
                      <a:pt x="447" y="152"/>
                    </a:lnTo>
                    <a:lnTo>
                      <a:pt x="444" y="149"/>
                    </a:lnTo>
                    <a:lnTo>
                      <a:pt x="442" y="149"/>
                    </a:lnTo>
                    <a:lnTo>
                      <a:pt x="439" y="148"/>
                    </a:lnTo>
                    <a:lnTo>
                      <a:pt x="438" y="146"/>
                    </a:lnTo>
                    <a:lnTo>
                      <a:pt x="439" y="146"/>
                    </a:lnTo>
                    <a:lnTo>
                      <a:pt x="436" y="143"/>
                    </a:lnTo>
                    <a:lnTo>
                      <a:pt x="435" y="144"/>
                    </a:lnTo>
                    <a:lnTo>
                      <a:pt x="434" y="142"/>
                    </a:lnTo>
                    <a:lnTo>
                      <a:pt x="436" y="141"/>
                    </a:lnTo>
                    <a:lnTo>
                      <a:pt x="436" y="139"/>
                    </a:lnTo>
                    <a:lnTo>
                      <a:pt x="436" y="138"/>
                    </a:lnTo>
                    <a:lnTo>
                      <a:pt x="435" y="137"/>
                    </a:lnTo>
                    <a:lnTo>
                      <a:pt x="437" y="134"/>
                    </a:lnTo>
                    <a:lnTo>
                      <a:pt x="438" y="133"/>
                    </a:lnTo>
                    <a:lnTo>
                      <a:pt x="438" y="131"/>
                    </a:lnTo>
                    <a:lnTo>
                      <a:pt x="438" y="129"/>
                    </a:lnTo>
                    <a:lnTo>
                      <a:pt x="441" y="127"/>
                    </a:lnTo>
                    <a:lnTo>
                      <a:pt x="441" y="125"/>
                    </a:lnTo>
                    <a:lnTo>
                      <a:pt x="439" y="123"/>
                    </a:lnTo>
                    <a:lnTo>
                      <a:pt x="438" y="120"/>
                    </a:lnTo>
                    <a:lnTo>
                      <a:pt x="438" y="118"/>
                    </a:lnTo>
                    <a:lnTo>
                      <a:pt x="437" y="118"/>
                    </a:lnTo>
                    <a:lnTo>
                      <a:pt x="438" y="120"/>
                    </a:lnTo>
                    <a:lnTo>
                      <a:pt x="437" y="122"/>
                    </a:lnTo>
                    <a:lnTo>
                      <a:pt x="437" y="123"/>
                    </a:lnTo>
                    <a:lnTo>
                      <a:pt x="435" y="123"/>
                    </a:lnTo>
                    <a:lnTo>
                      <a:pt x="436" y="123"/>
                    </a:lnTo>
                    <a:lnTo>
                      <a:pt x="436" y="125"/>
                    </a:lnTo>
                    <a:lnTo>
                      <a:pt x="436" y="126"/>
                    </a:lnTo>
                    <a:lnTo>
                      <a:pt x="437" y="126"/>
                    </a:lnTo>
                    <a:lnTo>
                      <a:pt x="436" y="127"/>
                    </a:lnTo>
                    <a:lnTo>
                      <a:pt x="436" y="128"/>
                    </a:lnTo>
                    <a:lnTo>
                      <a:pt x="434" y="127"/>
                    </a:lnTo>
                    <a:lnTo>
                      <a:pt x="433" y="127"/>
                    </a:lnTo>
                    <a:lnTo>
                      <a:pt x="433" y="128"/>
                    </a:lnTo>
                    <a:lnTo>
                      <a:pt x="432" y="128"/>
                    </a:lnTo>
                    <a:lnTo>
                      <a:pt x="432" y="126"/>
                    </a:lnTo>
                    <a:lnTo>
                      <a:pt x="432" y="125"/>
                    </a:lnTo>
                    <a:lnTo>
                      <a:pt x="431" y="125"/>
                    </a:lnTo>
                    <a:lnTo>
                      <a:pt x="430" y="122"/>
                    </a:lnTo>
                    <a:lnTo>
                      <a:pt x="431" y="120"/>
                    </a:lnTo>
                    <a:lnTo>
                      <a:pt x="427" y="120"/>
                    </a:lnTo>
                    <a:lnTo>
                      <a:pt x="427" y="118"/>
                    </a:lnTo>
                    <a:lnTo>
                      <a:pt x="429" y="119"/>
                    </a:lnTo>
                    <a:lnTo>
                      <a:pt x="429" y="117"/>
                    </a:lnTo>
                    <a:lnTo>
                      <a:pt x="428" y="117"/>
                    </a:lnTo>
                    <a:lnTo>
                      <a:pt x="429" y="114"/>
                    </a:lnTo>
                    <a:lnTo>
                      <a:pt x="429" y="113"/>
                    </a:lnTo>
                    <a:lnTo>
                      <a:pt x="427" y="113"/>
                    </a:lnTo>
                    <a:lnTo>
                      <a:pt x="427" y="112"/>
                    </a:lnTo>
                    <a:lnTo>
                      <a:pt x="425" y="112"/>
                    </a:lnTo>
                    <a:lnTo>
                      <a:pt x="424" y="112"/>
                    </a:lnTo>
                    <a:lnTo>
                      <a:pt x="421" y="109"/>
                    </a:lnTo>
                    <a:lnTo>
                      <a:pt x="422" y="108"/>
                    </a:lnTo>
                    <a:lnTo>
                      <a:pt x="423" y="106"/>
                    </a:lnTo>
                    <a:lnTo>
                      <a:pt x="423" y="104"/>
                    </a:lnTo>
                    <a:lnTo>
                      <a:pt x="422" y="99"/>
                    </a:lnTo>
                    <a:lnTo>
                      <a:pt x="422" y="95"/>
                    </a:lnTo>
                    <a:lnTo>
                      <a:pt x="421" y="93"/>
                    </a:lnTo>
                    <a:lnTo>
                      <a:pt x="420" y="94"/>
                    </a:lnTo>
                    <a:lnTo>
                      <a:pt x="419" y="92"/>
                    </a:lnTo>
                    <a:lnTo>
                      <a:pt x="418" y="92"/>
                    </a:lnTo>
                    <a:lnTo>
                      <a:pt x="418" y="91"/>
                    </a:lnTo>
                    <a:lnTo>
                      <a:pt x="420" y="91"/>
                    </a:lnTo>
                    <a:lnTo>
                      <a:pt x="421" y="91"/>
                    </a:lnTo>
                    <a:lnTo>
                      <a:pt x="420" y="89"/>
                    </a:lnTo>
                    <a:lnTo>
                      <a:pt x="416" y="88"/>
                    </a:lnTo>
                    <a:lnTo>
                      <a:pt x="416" y="86"/>
                    </a:lnTo>
                    <a:lnTo>
                      <a:pt x="414" y="86"/>
                    </a:lnTo>
                    <a:lnTo>
                      <a:pt x="414" y="85"/>
                    </a:lnTo>
                    <a:lnTo>
                      <a:pt x="416" y="85"/>
                    </a:lnTo>
                    <a:lnTo>
                      <a:pt x="416" y="81"/>
                    </a:lnTo>
                    <a:lnTo>
                      <a:pt x="414" y="79"/>
                    </a:lnTo>
                    <a:lnTo>
                      <a:pt x="413" y="78"/>
                    </a:lnTo>
                    <a:lnTo>
                      <a:pt x="414" y="77"/>
                    </a:lnTo>
                    <a:lnTo>
                      <a:pt x="413" y="76"/>
                    </a:lnTo>
                    <a:lnTo>
                      <a:pt x="411" y="75"/>
                    </a:lnTo>
                    <a:lnTo>
                      <a:pt x="409" y="78"/>
                    </a:lnTo>
                    <a:lnTo>
                      <a:pt x="406" y="72"/>
                    </a:lnTo>
                    <a:lnTo>
                      <a:pt x="405" y="72"/>
                    </a:lnTo>
                    <a:lnTo>
                      <a:pt x="404" y="73"/>
                    </a:lnTo>
                    <a:lnTo>
                      <a:pt x="403" y="72"/>
                    </a:lnTo>
                    <a:lnTo>
                      <a:pt x="397" y="76"/>
                    </a:lnTo>
                    <a:lnTo>
                      <a:pt x="395" y="76"/>
                    </a:lnTo>
                    <a:lnTo>
                      <a:pt x="393" y="76"/>
                    </a:lnTo>
                    <a:lnTo>
                      <a:pt x="394" y="77"/>
                    </a:lnTo>
                    <a:lnTo>
                      <a:pt x="395" y="77"/>
                    </a:lnTo>
                    <a:lnTo>
                      <a:pt x="395" y="78"/>
                    </a:lnTo>
                    <a:lnTo>
                      <a:pt x="394" y="78"/>
                    </a:lnTo>
                    <a:lnTo>
                      <a:pt x="393" y="79"/>
                    </a:lnTo>
                    <a:lnTo>
                      <a:pt x="392" y="80"/>
                    </a:lnTo>
                    <a:lnTo>
                      <a:pt x="390" y="79"/>
                    </a:lnTo>
                    <a:lnTo>
                      <a:pt x="389" y="80"/>
                    </a:lnTo>
                    <a:lnTo>
                      <a:pt x="391" y="80"/>
                    </a:lnTo>
                    <a:lnTo>
                      <a:pt x="392" y="82"/>
                    </a:lnTo>
                    <a:lnTo>
                      <a:pt x="391" y="85"/>
                    </a:lnTo>
                    <a:lnTo>
                      <a:pt x="392" y="85"/>
                    </a:lnTo>
                    <a:lnTo>
                      <a:pt x="393" y="85"/>
                    </a:lnTo>
                    <a:lnTo>
                      <a:pt x="394" y="85"/>
                    </a:lnTo>
                    <a:lnTo>
                      <a:pt x="395" y="86"/>
                    </a:lnTo>
                    <a:lnTo>
                      <a:pt x="395" y="89"/>
                    </a:lnTo>
                    <a:lnTo>
                      <a:pt x="396" y="89"/>
                    </a:lnTo>
                    <a:lnTo>
                      <a:pt x="396" y="91"/>
                    </a:lnTo>
                    <a:lnTo>
                      <a:pt x="397" y="90"/>
                    </a:lnTo>
                    <a:lnTo>
                      <a:pt x="398" y="90"/>
                    </a:lnTo>
                    <a:lnTo>
                      <a:pt x="398" y="91"/>
                    </a:lnTo>
                    <a:lnTo>
                      <a:pt x="400" y="92"/>
                    </a:lnTo>
                    <a:lnTo>
                      <a:pt x="399" y="93"/>
                    </a:lnTo>
                    <a:lnTo>
                      <a:pt x="399" y="94"/>
                    </a:lnTo>
                    <a:lnTo>
                      <a:pt x="397" y="95"/>
                    </a:lnTo>
                    <a:lnTo>
                      <a:pt x="397" y="96"/>
                    </a:lnTo>
                    <a:lnTo>
                      <a:pt x="397" y="97"/>
                    </a:lnTo>
                    <a:lnTo>
                      <a:pt x="400" y="99"/>
                    </a:lnTo>
                    <a:lnTo>
                      <a:pt x="401" y="99"/>
                    </a:lnTo>
                    <a:lnTo>
                      <a:pt x="400" y="102"/>
                    </a:lnTo>
                    <a:lnTo>
                      <a:pt x="403" y="105"/>
                    </a:lnTo>
                    <a:lnTo>
                      <a:pt x="400" y="107"/>
                    </a:lnTo>
                    <a:lnTo>
                      <a:pt x="399" y="108"/>
                    </a:lnTo>
                    <a:lnTo>
                      <a:pt x="398" y="105"/>
                    </a:lnTo>
                    <a:lnTo>
                      <a:pt x="396" y="110"/>
                    </a:lnTo>
                    <a:lnTo>
                      <a:pt x="395" y="110"/>
                    </a:lnTo>
                    <a:lnTo>
                      <a:pt x="395" y="112"/>
                    </a:lnTo>
                    <a:lnTo>
                      <a:pt x="395" y="113"/>
                    </a:lnTo>
                    <a:lnTo>
                      <a:pt x="395" y="115"/>
                    </a:lnTo>
                    <a:lnTo>
                      <a:pt x="396" y="118"/>
                    </a:lnTo>
                    <a:lnTo>
                      <a:pt x="395" y="117"/>
                    </a:lnTo>
                    <a:lnTo>
                      <a:pt x="393" y="118"/>
                    </a:lnTo>
                    <a:lnTo>
                      <a:pt x="391" y="118"/>
                    </a:lnTo>
                    <a:lnTo>
                      <a:pt x="389" y="119"/>
                    </a:lnTo>
                    <a:lnTo>
                      <a:pt x="386" y="123"/>
                    </a:lnTo>
                    <a:lnTo>
                      <a:pt x="386" y="125"/>
                    </a:lnTo>
                    <a:lnTo>
                      <a:pt x="384" y="125"/>
                    </a:lnTo>
                    <a:lnTo>
                      <a:pt x="383" y="123"/>
                    </a:lnTo>
                    <a:lnTo>
                      <a:pt x="380" y="121"/>
                    </a:lnTo>
                    <a:lnTo>
                      <a:pt x="377" y="117"/>
                    </a:lnTo>
                    <a:lnTo>
                      <a:pt x="371" y="112"/>
                    </a:lnTo>
                    <a:lnTo>
                      <a:pt x="372" y="109"/>
                    </a:lnTo>
                    <a:lnTo>
                      <a:pt x="370" y="109"/>
                    </a:lnTo>
                    <a:lnTo>
                      <a:pt x="370" y="110"/>
                    </a:lnTo>
                    <a:lnTo>
                      <a:pt x="368" y="109"/>
                    </a:lnTo>
                    <a:lnTo>
                      <a:pt x="368" y="107"/>
                    </a:lnTo>
                    <a:lnTo>
                      <a:pt x="370" y="105"/>
                    </a:lnTo>
                    <a:lnTo>
                      <a:pt x="370" y="103"/>
                    </a:lnTo>
                    <a:lnTo>
                      <a:pt x="371" y="101"/>
                    </a:lnTo>
                    <a:lnTo>
                      <a:pt x="373" y="102"/>
                    </a:lnTo>
                    <a:lnTo>
                      <a:pt x="374" y="101"/>
                    </a:lnTo>
                    <a:lnTo>
                      <a:pt x="376" y="101"/>
                    </a:lnTo>
                    <a:lnTo>
                      <a:pt x="377" y="101"/>
                    </a:lnTo>
                    <a:lnTo>
                      <a:pt x="378" y="101"/>
                    </a:lnTo>
                    <a:lnTo>
                      <a:pt x="378" y="99"/>
                    </a:lnTo>
                    <a:lnTo>
                      <a:pt x="378" y="98"/>
                    </a:lnTo>
                    <a:lnTo>
                      <a:pt x="376" y="97"/>
                    </a:lnTo>
                    <a:lnTo>
                      <a:pt x="377" y="96"/>
                    </a:lnTo>
                    <a:lnTo>
                      <a:pt x="376" y="95"/>
                    </a:lnTo>
                    <a:lnTo>
                      <a:pt x="375" y="95"/>
                    </a:lnTo>
                    <a:lnTo>
                      <a:pt x="376" y="91"/>
                    </a:lnTo>
                    <a:lnTo>
                      <a:pt x="373" y="91"/>
                    </a:lnTo>
                    <a:lnTo>
                      <a:pt x="373" y="89"/>
                    </a:lnTo>
                    <a:lnTo>
                      <a:pt x="371" y="89"/>
                    </a:lnTo>
                    <a:lnTo>
                      <a:pt x="372" y="82"/>
                    </a:lnTo>
                    <a:lnTo>
                      <a:pt x="371" y="81"/>
                    </a:lnTo>
                    <a:lnTo>
                      <a:pt x="372" y="81"/>
                    </a:lnTo>
                    <a:lnTo>
                      <a:pt x="372" y="80"/>
                    </a:lnTo>
                    <a:lnTo>
                      <a:pt x="371" y="78"/>
                    </a:lnTo>
                    <a:lnTo>
                      <a:pt x="371" y="76"/>
                    </a:lnTo>
                    <a:lnTo>
                      <a:pt x="370" y="74"/>
                    </a:lnTo>
                    <a:lnTo>
                      <a:pt x="370" y="72"/>
                    </a:lnTo>
                    <a:lnTo>
                      <a:pt x="369" y="70"/>
                    </a:lnTo>
                    <a:lnTo>
                      <a:pt x="371" y="65"/>
                    </a:lnTo>
                    <a:lnTo>
                      <a:pt x="370" y="64"/>
                    </a:lnTo>
                    <a:lnTo>
                      <a:pt x="373" y="62"/>
                    </a:lnTo>
                    <a:lnTo>
                      <a:pt x="374" y="62"/>
                    </a:lnTo>
                    <a:lnTo>
                      <a:pt x="375" y="62"/>
                    </a:lnTo>
                    <a:lnTo>
                      <a:pt x="376" y="61"/>
                    </a:lnTo>
                    <a:lnTo>
                      <a:pt x="376" y="58"/>
                    </a:lnTo>
                    <a:lnTo>
                      <a:pt x="375" y="57"/>
                    </a:lnTo>
                    <a:lnTo>
                      <a:pt x="377" y="54"/>
                    </a:lnTo>
                    <a:lnTo>
                      <a:pt x="379" y="54"/>
                    </a:lnTo>
                    <a:lnTo>
                      <a:pt x="381" y="55"/>
                    </a:lnTo>
                    <a:lnTo>
                      <a:pt x="383" y="55"/>
                    </a:lnTo>
                    <a:lnTo>
                      <a:pt x="384" y="54"/>
                    </a:lnTo>
                    <a:lnTo>
                      <a:pt x="383" y="54"/>
                    </a:lnTo>
                    <a:lnTo>
                      <a:pt x="382" y="54"/>
                    </a:lnTo>
                    <a:lnTo>
                      <a:pt x="380" y="53"/>
                    </a:lnTo>
                    <a:lnTo>
                      <a:pt x="379" y="52"/>
                    </a:lnTo>
                    <a:lnTo>
                      <a:pt x="378" y="54"/>
                    </a:lnTo>
                    <a:lnTo>
                      <a:pt x="378" y="52"/>
                    </a:lnTo>
                    <a:lnTo>
                      <a:pt x="379" y="51"/>
                    </a:lnTo>
                    <a:lnTo>
                      <a:pt x="377" y="53"/>
                    </a:lnTo>
                    <a:lnTo>
                      <a:pt x="374" y="52"/>
                    </a:lnTo>
                    <a:lnTo>
                      <a:pt x="371" y="49"/>
                    </a:lnTo>
                    <a:lnTo>
                      <a:pt x="370" y="48"/>
                    </a:lnTo>
                    <a:lnTo>
                      <a:pt x="368" y="47"/>
                    </a:lnTo>
                    <a:lnTo>
                      <a:pt x="367" y="48"/>
                    </a:lnTo>
                    <a:lnTo>
                      <a:pt x="365" y="47"/>
                    </a:lnTo>
                    <a:lnTo>
                      <a:pt x="364" y="46"/>
                    </a:lnTo>
                    <a:lnTo>
                      <a:pt x="361" y="47"/>
                    </a:lnTo>
                    <a:lnTo>
                      <a:pt x="359" y="46"/>
                    </a:lnTo>
                    <a:lnTo>
                      <a:pt x="360" y="44"/>
                    </a:lnTo>
                    <a:lnTo>
                      <a:pt x="361" y="43"/>
                    </a:lnTo>
                    <a:lnTo>
                      <a:pt x="362" y="40"/>
                    </a:lnTo>
                    <a:lnTo>
                      <a:pt x="364" y="38"/>
                    </a:lnTo>
                    <a:lnTo>
                      <a:pt x="364" y="37"/>
                    </a:lnTo>
                    <a:lnTo>
                      <a:pt x="362" y="37"/>
                    </a:lnTo>
                    <a:lnTo>
                      <a:pt x="362" y="36"/>
                    </a:lnTo>
                    <a:lnTo>
                      <a:pt x="362" y="34"/>
                    </a:lnTo>
                    <a:lnTo>
                      <a:pt x="362" y="31"/>
                    </a:lnTo>
                    <a:lnTo>
                      <a:pt x="363" y="30"/>
                    </a:lnTo>
                    <a:lnTo>
                      <a:pt x="362" y="28"/>
                    </a:lnTo>
                    <a:lnTo>
                      <a:pt x="364" y="28"/>
                    </a:lnTo>
                    <a:lnTo>
                      <a:pt x="362" y="25"/>
                    </a:lnTo>
                    <a:lnTo>
                      <a:pt x="364" y="28"/>
                    </a:lnTo>
                    <a:lnTo>
                      <a:pt x="367" y="29"/>
                    </a:lnTo>
                    <a:lnTo>
                      <a:pt x="367" y="31"/>
                    </a:lnTo>
                    <a:lnTo>
                      <a:pt x="368" y="28"/>
                    </a:lnTo>
                    <a:lnTo>
                      <a:pt x="368" y="31"/>
                    </a:lnTo>
                    <a:lnTo>
                      <a:pt x="370" y="30"/>
                    </a:lnTo>
                    <a:lnTo>
                      <a:pt x="371" y="31"/>
                    </a:lnTo>
                    <a:lnTo>
                      <a:pt x="372" y="33"/>
                    </a:lnTo>
                    <a:lnTo>
                      <a:pt x="372" y="34"/>
                    </a:lnTo>
                    <a:lnTo>
                      <a:pt x="375" y="33"/>
                    </a:lnTo>
                    <a:lnTo>
                      <a:pt x="377" y="32"/>
                    </a:lnTo>
                    <a:lnTo>
                      <a:pt x="378" y="31"/>
                    </a:lnTo>
                    <a:lnTo>
                      <a:pt x="376" y="31"/>
                    </a:lnTo>
                    <a:lnTo>
                      <a:pt x="376" y="28"/>
                    </a:lnTo>
                    <a:lnTo>
                      <a:pt x="374" y="27"/>
                    </a:lnTo>
                    <a:lnTo>
                      <a:pt x="375" y="25"/>
                    </a:lnTo>
                    <a:lnTo>
                      <a:pt x="377" y="25"/>
                    </a:lnTo>
                    <a:lnTo>
                      <a:pt x="377" y="23"/>
                    </a:lnTo>
                    <a:lnTo>
                      <a:pt x="380" y="23"/>
                    </a:lnTo>
                    <a:lnTo>
                      <a:pt x="379" y="22"/>
                    </a:lnTo>
                    <a:lnTo>
                      <a:pt x="373" y="23"/>
                    </a:lnTo>
                    <a:lnTo>
                      <a:pt x="371" y="21"/>
                    </a:lnTo>
                    <a:lnTo>
                      <a:pt x="367" y="17"/>
                    </a:lnTo>
                    <a:lnTo>
                      <a:pt x="365" y="17"/>
                    </a:lnTo>
                    <a:lnTo>
                      <a:pt x="359" y="12"/>
                    </a:lnTo>
                    <a:lnTo>
                      <a:pt x="358" y="12"/>
                    </a:lnTo>
                    <a:lnTo>
                      <a:pt x="357" y="11"/>
                    </a:lnTo>
                    <a:lnTo>
                      <a:pt x="356" y="9"/>
                    </a:lnTo>
                    <a:lnTo>
                      <a:pt x="351" y="7"/>
                    </a:lnTo>
                    <a:lnTo>
                      <a:pt x="352" y="6"/>
                    </a:lnTo>
                    <a:lnTo>
                      <a:pt x="349" y="7"/>
                    </a:lnTo>
                    <a:lnTo>
                      <a:pt x="348" y="6"/>
                    </a:lnTo>
                    <a:lnTo>
                      <a:pt x="348" y="7"/>
                    </a:lnTo>
                    <a:lnTo>
                      <a:pt x="346" y="6"/>
                    </a:lnTo>
                    <a:lnTo>
                      <a:pt x="343" y="4"/>
                    </a:lnTo>
                    <a:lnTo>
                      <a:pt x="344" y="5"/>
                    </a:lnTo>
                    <a:lnTo>
                      <a:pt x="344" y="6"/>
                    </a:lnTo>
                    <a:lnTo>
                      <a:pt x="341" y="5"/>
                    </a:lnTo>
                    <a:lnTo>
                      <a:pt x="339" y="8"/>
                    </a:lnTo>
                    <a:lnTo>
                      <a:pt x="335" y="2"/>
                    </a:lnTo>
                    <a:lnTo>
                      <a:pt x="331" y="0"/>
                    </a:lnTo>
                    <a:lnTo>
                      <a:pt x="330" y="0"/>
                    </a:lnTo>
                    <a:lnTo>
                      <a:pt x="329" y="2"/>
                    </a:lnTo>
                    <a:lnTo>
                      <a:pt x="330" y="4"/>
                    </a:lnTo>
                    <a:lnTo>
                      <a:pt x="329" y="4"/>
                    </a:lnTo>
                    <a:lnTo>
                      <a:pt x="326" y="4"/>
                    </a:lnTo>
                    <a:lnTo>
                      <a:pt x="324" y="4"/>
                    </a:lnTo>
                    <a:lnTo>
                      <a:pt x="323" y="2"/>
                    </a:lnTo>
                    <a:lnTo>
                      <a:pt x="321" y="4"/>
                    </a:lnTo>
                    <a:lnTo>
                      <a:pt x="318" y="2"/>
                    </a:lnTo>
                    <a:lnTo>
                      <a:pt x="318" y="0"/>
                    </a:lnTo>
                    <a:lnTo>
                      <a:pt x="316" y="1"/>
                    </a:lnTo>
                    <a:lnTo>
                      <a:pt x="315" y="0"/>
                    </a:lnTo>
                    <a:lnTo>
                      <a:pt x="313" y="0"/>
                    </a:lnTo>
                    <a:lnTo>
                      <a:pt x="311" y="0"/>
                    </a:lnTo>
                    <a:lnTo>
                      <a:pt x="311" y="2"/>
                    </a:lnTo>
                    <a:lnTo>
                      <a:pt x="310" y="4"/>
                    </a:lnTo>
                    <a:lnTo>
                      <a:pt x="310" y="7"/>
                    </a:lnTo>
                    <a:lnTo>
                      <a:pt x="310" y="9"/>
                    </a:lnTo>
                    <a:lnTo>
                      <a:pt x="309" y="10"/>
                    </a:lnTo>
                    <a:lnTo>
                      <a:pt x="307" y="13"/>
                    </a:lnTo>
                    <a:lnTo>
                      <a:pt x="308" y="15"/>
                    </a:lnTo>
                    <a:lnTo>
                      <a:pt x="308" y="17"/>
                    </a:lnTo>
                    <a:lnTo>
                      <a:pt x="307" y="17"/>
                    </a:lnTo>
                    <a:lnTo>
                      <a:pt x="307" y="16"/>
                    </a:lnTo>
                    <a:lnTo>
                      <a:pt x="305" y="17"/>
                    </a:lnTo>
                    <a:lnTo>
                      <a:pt x="300" y="15"/>
                    </a:lnTo>
                    <a:lnTo>
                      <a:pt x="300" y="17"/>
                    </a:lnTo>
                    <a:lnTo>
                      <a:pt x="299" y="16"/>
                    </a:lnTo>
                    <a:lnTo>
                      <a:pt x="299" y="15"/>
                    </a:lnTo>
                    <a:lnTo>
                      <a:pt x="297" y="16"/>
                    </a:lnTo>
                    <a:lnTo>
                      <a:pt x="297" y="15"/>
                    </a:lnTo>
                    <a:lnTo>
                      <a:pt x="294" y="11"/>
                    </a:lnTo>
                    <a:lnTo>
                      <a:pt x="293" y="11"/>
                    </a:lnTo>
                    <a:lnTo>
                      <a:pt x="289" y="15"/>
                    </a:lnTo>
                    <a:lnTo>
                      <a:pt x="286" y="14"/>
                    </a:lnTo>
                    <a:lnTo>
                      <a:pt x="285" y="15"/>
                    </a:lnTo>
                    <a:lnTo>
                      <a:pt x="284" y="15"/>
                    </a:lnTo>
                    <a:lnTo>
                      <a:pt x="283" y="15"/>
                    </a:lnTo>
                    <a:lnTo>
                      <a:pt x="281" y="15"/>
                    </a:lnTo>
                    <a:lnTo>
                      <a:pt x="283" y="11"/>
                    </a:lnTo>
                    <a:lnTo>
                      <a:pt x="281" y="10"/>
                    </a:lnTo>
                    <a:lnTo>
                      <a:pt x="280" y="10"/>
                    </a:lnTo>
                    <a:lnTo>
                      <a:pt x="279" y="10"/>
                    </a:lnTo>
                    <a:lnTo>
                      <a:pt x="278" y="11"/>
                    </a:lnTo>
                    <a:lnTo>
                      <a:pt x="276" y="12"/>
                    </a:lnTo>
                    <a:lnTo>
                      <a:pt x="274" y="11"/>
                    </a:lnTo>
                    <a:lnTo>
                      <a:pt x="273" y="13"/>
                    </a:lnTo>
                    <a:lnTo>
                      <a:pt x="274" y="16"/>
                    </a:lnTo>
                    <a:lnTo>
                      <a:pt x="270" y="19"/>
                    </a:lnTo>
                    <a:lnTo>
                      <a:pt x="270" y="21"/>
                    </a:lnTo>
                    <a:lnTo>
                      <a:pt x="268" y="20"/>
                    </a:lnTo>
                    <a:lnTo>
                      <a:pt x="267" y="17"/>
                    </a:lnTo>
                    <a:lnTo>
                      <a:pt x="266" y="17"/>
                    </a:lnTo>
                    <a:lnTo>
                      <a:pt x="266" y="18"/>
                    </a:lnTo>
                    <a:lnTo>
                      <a:pt x="266" y="22"/>
                    </a:lnTo>
                    <a:lnTo>
                      <a:pt x="266" y="23"/>
                    </a:lnTo>
                    <a:lnTo>
                      <a:pt x="265" y="23"/>
                    </a:lnTo>
                    <a:lnTo>
                      <a:pt x="265" y="25"/>
                    </a:lnTo>
                    <a:lnTo>
                      <a:pt x="263" y="28"/>
                    </a:lnTo>
                    <a:lnTo>
                      <a:pt x="262" y="29"/>
                    </a:lnTo>
                    <a:lnTo>
                      <a:pt x="260" y="29"/>
                    </a:lnTo>
                    <a:lnTo>
                      <a:pt x="259" y="31"/>
                    </a:lnTo>
                    <a:lnTo>
                      <a:pt x="261" y="31"/>
                    </a:lnTo>
                    <a:lnTo>
                      <a:pt x="261" y="33"/>
                    </a:lnTo>
                    <a:lnTo>
                      <a:pt x="262" y="34"/>
                    </a:lnTo>
                    <a:lnTo>
                      <a:pt x="263" y="36"/>
                    </a:lnTo>
                    <a:lnTo>
                      <a:pt x="265" y="36"/>
                    </a:lnTo>
                    <a:lnTo>
                      <a:pt x="269" y="38"/>
                    </a:lnTo>
                    <a:lnTo>
                      <a:pt x="270" y="41"/>
                    </a:lnTo>
                    <a:lnTo>
                      <a:pt x="270" y="44"/>
                    </a:lnTo>
                    <a:lnTo>
                      <a:pt x="267" y="51"/>
                    </a:lnTo>
                    <a:lnTo>
                      <a:pt x="266" y="51"/>
                    </a:lnTo>
                    <a:lnTo>
                      <a:pt x="264" y="54"/>
                    </a:lnTo>
                    <a:lnTo>
                      <a:pt x="261" y="55"/>
                    </a:lnTo>
                    <a:lnTo>
                      <a:pt x="261" y="57"/>
                    </a:lnTo>
                    <a:lnTo>
                      <a:pt x="260" y="58"/>
                    </a:lnTo>
                    <a:lnTo>
                      <a:pt x="257" y="59"/>
                    </a:lnTo>
                    <a:lnTo>
                      <a:pt x="256" y="55"/>
                    </a:lnTo>
                    <a:lnTo>
                      <a:pt x="255" y="54"/>
                    </a:lnTo>
                    <a:lnTo>
                      <a:pt x="253" y="54"/>
                    </a:lnTo>
                    <a:lnTo>
                      <a:pt x="252" y="54"/>
                    </a:lnTo>
                    <a:lnTo>
                      <a:pt x="254" y="56"/>
                    </a:lnTo>
                    <a:lnTo>
                      <a:pt x="254" y="57"/>
                    </a:lnTo>
                    <a:lnTo>
                      <a:pt x="253" y="58"/>
                    </a:lnTo>
                    <a:lnTo>
                      <a:pt x="254" y="60"/>
                    </a:lnTo>
                    <a:lnTo>
                      <a:pt x="256" y="62"/>
                    </a:lnTo>
                    <a:lnTo>
                      <a:pt x="257" y="62"/>
                    </a:lnTo>
                    <a:lnTo>
                      <a:pt x="258" y="61"/>
                    </a:lnTo>
                    <a:lnTo>
                      <a:pt x="259" y="62"/>
                    </a:lnTo>
                    <a:lnTo>
                      <a:pt x="258" y="63"/>
                    </a:lnTo>
                    <a:lnTo>
                      <a:pt x="258" y="64"/>
                    </a:lnTo>
                    <a:lnTo>
                      <a:pt x="258" y="66"/>
                    </a:lnTo>
                    <a:lnTo>
                      <a:pt x="261" y="66"/>
                    </a:lnTo>
                    <a:lnTo>
                      <a:pt x="260" y="69"/>
                    </a:lnTo>
                    <a:lnTo>
                      <a:pt x="256" y="71"/>
                    </a:lnTo>
                    <a:lnTo>
                      <a:pt x="258" y="74"/>
                    </a:lnTo>
                    <a:lnTo>
                      <a:pt x="256" y="77"/>
                    </a:lnTo>
                    <a:lnTo>
                      <a:pt x="254" y="78"/>
                    </a:lnTo>
                    <a:lnTo>
                      <a:pt x="253" y="80"/>
                    </a:lnTo>
                    <a:lnTo>
                      <a:pt x="252" y="83"/>
                    </a:lnTo>
                    <a:lnTo>
                      <a:pt x="254" y="88"/>
                    </a:lnTo>
                    <a:lnTo>
                      <a:pt x="253" y="89"/>
                    </a:lnTo>
                    <a:lnTo>
                      <a:pt x="253" y="90"/>
                    </a:lnTo>
                    <a:lnTo>
                      <a:pt x="254" y="91"/>
                    </a:lnTo>
                    <a:lnTo>
                      <a:pt x="252" y="92"/>
                    </a:lnTo>
                    <a:lnTo>
                      <a:pt x="253" y="95"/>
                    </a:lnTo>
                    <a:lnTo>
                      <a:pt x="254" y="95"/>
                    </a:lnTo>
                    <a:lnTo>
                      <a:pt x="256" y="94"/>
                    </a:lnTo>
                    <a:lnTo>
                      <a:pt x="256" y="96"/>
                    </a:lnTo>
                    <a:lnTo>
                      <a:pt x="255" y="98"/>
                    </a:lnTo>
                    <a:lnTo>
                      <a:pt x="254" y="99"/>
                    </a:lnTo>
                    <a:lnTo>
                      <a:pt x="254" y="102"/>
                    </a:lnTo>
                    <a:lnTo>
                      <a:pt x="253" y="105"/>
                    </a:lnTo>
                    <a:lnTo>
                      <a:pt x="253" y="107"/>
                    </a:lnTo>
                    <a:lnTo>
                      <a:pt x="252" y="106"/>
                    </a:lnTo>
                    <a:lnTo>
                      <a:pt x="252" y="107"/>
                    </a:lnTo>
                    <a:lnTo>
                      <a:pt x="253" y="112"/>
                    </a:lnTo>
                    <a:lnTo>
                      <a:pt x="254" y="112"/>
                    </a:lnTo>
                    <a:lnTo>
                      <a:pt x="251" y="114"/>
                    </a:lnTo>
                    <a:lnTo>
                      <a:pt x="253" y="118"/>
                    </a:lnTo>
                    <a:lnTo>
                      <a:pt x="254" y="120"/>
                    </a:lnTo>
                    <a:lnTo>
                      <a:pt x="253" y="119"/>
                    </a:lnTo>
                    <a:lnTo>
                      <a:pt x="254" y="120"/>
                    </a:lnTo>
                    <a:lnTo>
                      <a:pt x="254" y="122"/>
                    </a:lnTo>
                    <a:lnTo>
                      <a:pt x="251" y="122"/>
                    </a:lnTo>
                    <a:lnTo>
                      <a:pt x="251" y="123"/>
                    </a:lnTo>
                    <a:lnTo>
                      <a:pt x="248" y="125"/>
                    </a:lnTo>
                    <a:lnTo>
                      <a:pt x="246" y="125"/>
                    </a:lnTo>
                    <a:lnTo>
                      <a:pt x="246" y="126"/>
                    </a:lnTo>
                    <a:lnTo>
                      <a:pt x="244" y="128"/>
                    </a:lnTo>
                    <a:lnTo>
                      <a:pt x="244" y="129"/>
                    </a:lnTo>
                    <a:lnTo>
                      <a:pt x="243" y="128"/>
                    </a:lnTo>
                    <a:lnTo>
                      <a:pt x="243" y="125"/>
                    </a:lnTo>
                    <a:lnTo>
                      <a:pt x="240" y="125"/>
                    </a:lnTo>
                    <a:lnTo>
                      <a:pt x="240" y="126"/>
                    </a:lnTo>
                    <a:lnTo>
                      <a:pt x="240" y="128"/>
                    </a:lnTo>
                    <a:lnTo>
                      <a:pt x="238" y="129"/>
                    </a:lnTo>
                    <a:lnTo>
                      <a:pt x="234" y="133"/>
                    </a:lnTo>
                    <a:lnTo>
                      <a:pt x="232" y="132"/>
                    </a:lnTo>
                    <a:lnTo>
                      <a:pt x="230" y="133"/>
                    </a:lnTo>
                    <a:lnTo>
                      <a:pt x="227" y="133"/>
                    </a:lnTo>
                    <a:lnTo>
                      <a:pt x="227" y="135"/>
                    </a:lnTo>
                    <a:lnTo>
                      <a:pt x="227" y="136"/>
                    </a:lnTo>
                    <a:lnTo>
                      <a:pt x="226" y="136"/>
                    </a:lnTo>
                    <a:lnTo>
                      <a:pt x="227" y="139"/>
                    </a:lnTo>
                    <a:lnTo>
                      <a:pt x="226" y="140"/>
                    </a:lnTo>
                    <a:lnTo>
                      <a:pt x="226" y="142"/>
                    </a:lnTo>
                    <a:lnTo>
                      <a:pt x="225" y="143"/>
                    </a:lnTo>
                    <a:lnTo>
                      <a:pt x="223" y="143"/>
                    </a:lnTo>
                    <a:lnTo>
                      <a:pt x="222" y="144"/>
                    </a:lnTo>
                    <a:lnTo>
                      <a:pt x="223" y="146"/>
                    </a:lnTo>
                    <a:lnTo>
                      <a:pt x="221" y="146"/>
                    </a:lnTo>
                    <a:lnTo>
                      <a:pt x="221" y="147"/>
                    </a:lnTo>
                    <a:lnTo>
                      <a:pt x="218" y="148"/>
                    </a:lnTo>
                    <a:lnTo>
                      <a:pt x="218" y="147"/>
                    </a:lnTo>
                    <a:lnTo>
                      <a:pt x="217" y="148"/>
                    </a:lnTo>
                    <a:lnTo>
                      <a:pt x="215" y="151"/>
                    </a:lnTo>
                    <a:lnTo>
                      <a:pt x="215" y="154"/>
                    </a:lnTo>
                    <a:lnTo>
                      <a:pt x="216" y="156"/>
                    </a:lnTo>
                    <a:lnTo>
                      <a:pt x="220" y="156"/>
                    </a:lnTo>
                    <a:lnTo>
                      <a:pt x="220" y="157"/>
                    </a:lnTo>
                    <a:lnTo>
                      <a:pt x="221" y="157"/>
                    </a:lnTo>
                    <a:lnTo>
                      <a:pt x="221" y="159"/>
                    </a:lnTo>
                    <a:lnTo>
                      <a:pt x="223" y="161"/>
                    </a:lnTo>
                    <a:lnTo>
                      <a:pt x="223" y="165"/>
                    </a:lnTo>
                    <a:lnTo>
                      <a:pt x="222" y="165"/>
                    </a:lnTo>
                    <a:lnTo>
                      <a:pt x="221" y="165"/>
                    </a:lnTo>
                    <a:lnTo>
                      <a:pt x="219" y="166"/>
                    </a:lnTo>
                    <a:lnTo>
                      <a:pt x="218" y="166"/>
                    </a:lnTo>
                    <a:lnTo>
                      <a:pt x="217" y="165"/>
                    </a:lnTo>
                    <a:lnTo>
                      <a:pt x="214" y="165"/>
                    </a:lnTo>
                    <a:lnTo>
                      <a:pt x="212" y="166"/>
                    </a:lnTo>
                    <a:lnTo>
                      <a:pt x="212" y="169"/>
                    </a:lnTo>
                    <a:lnTo>
                      <a:pt x="210" y="170"/>
                    </a:lnTo>
                    <a:lnTo>
                      <a:pt x="208" y="176"/>
                    </a:lnTo>
                    <a:lnTo>
                      <a:pt x="207" y="178"/>
                    </a:lnTo>
                    <a:lnTo>
                      <a:pt x="207" y="180"/>
                    </a:lnTo>
                    <a:lnTo>
                      <a:pt x="206" y="183"/>
                    </a:lnTo>
                    <a:lnTo>
                      <a:pt x="207" y="185"/>
                    </a:lnTo>
                    <a:lnTo>
                      <a:pt x="209" y="185"/>
                    </a:lnTo>
                    <a:lnTo>
                      <a:pt x="211" y="186"/>
                    </a:lnTo>
                    <a:lnTo>
                      <a:pt x="213" y="186"/>
                    </a:lnTo>
                    <a:lnTo>
                      <a:pt x="214" y="188"/>
                    </a:lnTo>
                    <a:lnTo>
                      <a:pt x="216" y="191"/>
                    </a:lnTo>
                    <a:lnTo>
                      <a:pt x="215" y="193"/>
                    </a:lnTo>
                    <a:lnTo>
                      <a:pt x="215" y="192"/>
                    </a:lnTo>
                    <a:lnTo>
                      <a:pt x="214" y="193"/>
                    </a:lnTo>
                    <a:lnTo>
                      <a:pt x="214" y="198"/>
                    </a:lnTo>
                    <a:lnTo>
                      <a:pt x="216" y="199"/>
                    </a:lnTo>
                    <a:lnTo>
                      <a:pt x="214" y="202"/>
                    </a:lnTo>
                    <a:lnTo>
                      <a:pt x="212" y="200"/>
                    </a:lnTo>
                    <a:lnTo>
                      <a:pt x="212" y="201"/>
                    </a:lnTo>
                    <a:lnTo>
                      <a:pt x="210" y="203"/>
                    </a:lnTo>
                    <a:lnTo>
                      <a:pt x="207" y="201"/>
                    </a:lnTo>
                    <a:lnTo>
                      <a:pt x="204" y="201"/>
                    </a:lnTo>
                    <a:lnTo>
                      <a:pt x="202" y="205"/>
                    </a:lnTo>
                    <a:lnTo>
                      <a:pt x="201" y="206"/>
                    </a:lnTo>
                    <a:lnTo>
                      <a:pt x="203" y="207"/>
                    </a:lnTo>
                    <a:lnTo>
                      <a:pt x="202" y="209"/>
                    </a:lnTo>
                    <a:lnTo>
                      <a:pt x="204" y="208"/>
                    </a:lnTo>
                    <a:lnTo>
                      <a:pt x="204" y="210"/>
                    </a:lnTo>
                    <a:lnTo>
                      <a:pt x="204" y="212"/>
                    </a:lnTo>
                    <a:lnTo>
                      <a:pt x="206" y="215"/>
                    </a:lnTo>
                    <a:lnTo>
                      <a:pt x="205" y="216"/>
                    </a:lnTo>
                    <a:lnTo>
                      <a:pt x="204" y="216"/>
                    </a:lnTo>
                    <a:lnTo>
                      <a:pt x="204" y="217"/>
                    </a:lnTo>
                    <a:lnTo>
                      <a:pt x="202" y="220"/>
                    </a:lnTo>
                    <a:lnTo>
                      <a:pt x="203" y="220"/>
                    </a:lnTo>
                    <a:lnTo>
                      <a:pt x="204" y="218"/>
                    </a:lnTo>
                    <a:lnTo>
                      <a:pt x="206" y="219"/>
                    </a:lnTo>
                    <a:lnTo>
                      <a:pt x="209" y="217"/>
                    </a:lnTo>
                    <a:lnTo>
                      <a:pt x="209" y="215"/>
                    </a:lnTo>
                    <a:lnTo>
                      <a:pt x="210" y="216"/>
                    </a:lnTo>
                    <a:lnTo>
                      <a:pt x="210" y="217"/>
                    </a:lnTo>
                    <a:lnTo>
                      <a:pt x="208" y="221"/>
                    </a:lnTo>
                    <a:lnTo>
                      <a:pt x="211" y="221"/>
                    </a:lnTo>
                    <a:lnTo>
                      <a:pt x="211" y="223"/>
                    </a:lnTo>
                    <a:lnTo>
                      <a:pt x="212" y="223"/>
                    </a:lnTo>
                    <a:lnTo>
                      <a:pt x="210" y="230"/>
                    </a:lnTo>
                    <a:lnTo>
                      <a:pt x="210" y="231"/>
                    </a:lnTo>
                    <a:lnTo>
                      <a:pt x="210" y="230"/>
                    </a:lnTo>
                    <a:lnTo>
                      <a:pt x="209" y="232"/>
                    </a:lnTo>
                    <a:lnTo>
                      <a:pt x="207" y="233"/>
                    </a:lnTo>
                    <a:lnTo>
                      <a:pt x="207" y="234"/>
                    </a:lnTo>
                    <a:lnTo>
                      <a:pt x="205" y="235"/>
                    </a:lnTo>
                    <a:lnTo>
                      <a:pt x="204" y="237"/>
                    </a:lnTo>
                    <a:lnTo>
                      <a:pt x="203" y="237"/>
                    </a:lnTo>
                    <a:lnTo>
                      <a:pt x="201" y="237"/>
                    </a:lnTo>
                    <a:lnTo>
                      <a:pt x="199" y="237"/>
                    </a:lnTo>
                    <a:lnTo>
                      <a:pt x="197" y="237"/>
                    </a:lnTo>
                    <a:lnTo>
                      <a:pt x="196" y="238"/>
                    </a:lnTo>
                    <a:lnTo>
                      <a:pt x="198" y="242"/>
                    </a:lnTo>
                    <a:lnTo>
                      <a:pt x="198" y="244"/>
                    </a:lnTo>
                    <a:lnTo>
                      <a:pt x="196" y="244"/>
                    </a:lnTo>
                    <a:lnTo>
                      <a:pt x="194" y="246"/>
                    </a:lnTo>
                    <a:lnTo>
                      <a:pt x="194" y="247"/>
                    </a:lnTo>
                    <a:lnTo>
                      <a:pt x="193" y="249"/>
                    </a:lnTo>
                    <a:lnTo>
                      <a:pt x="190" y="247"/>
                    </a:lnTo>
                    <a:lnTo>
                      <a:pt x="187" y="248"/>
                    </a:lnTo>
                    <a:lnTo>
                      <a:pt x="185" y="247"/>
                    </a:lnTo>
                    <a:lnTo>
                      <a:pt x="184" y="248"/>
                    </a:lnTo>
                    <a:lnTo>
                      <a:pt x="181" y="246"/>
                    </a:lnTo>
                    <a:lnTo>
                      <a:pt x="180" y="246"/>
                    </a:lnTo>
                    <a:lnTo>
                      <a:pt x="178" y="248"/>
                    </a:lnTo>
                    <a:lnTo>
                      <a:pt x="177" y="248"/>
                    </a:lnTo>
                    <a:lnTo>
                      <a:pt x="172" y="250"/>
                    </a:lnTo>
                    <a:lnTo>
                      <a:pt x="172" y="249"/>
                    </a:lnTo>
                    <a:lnTo>
                      <a:pt x="172" y="250"/>
                    </a:lnTo>
                    <a:lnTo>
                      <a:pt x="170" y="252"/>
                    </a:lnTo>
                    <a:lnTo>
                      <a:pt x="173" y="254"/>
                    </a:lnTo>
                    <a:lnTo>
                      <a:pt x="173" y="256"/>
                    </a:lnTo>
                    <a:lnTo>
                      <a:pt x="174" y="257"/>
                    </a:lnTo>
                    <a:lnTo>
                      <a:pt x="174" y="258"/>
                    </a:lnTo>
                    <a:lnTo>
                      <a:pt x="170" y="260"/>
                    </a:lnTo>
                    <a:lnTo>
                      <a:pt x="170" y="257"/>
                    </a:lnTo>
                    <a:lnTo>
                      <a:pt x="168" y="257"/>
                    </a:lnTo>
                    <a:lnTo>
                      <a:pt x="168" y="260"/>
                    </a:lnTo>
                    <a:lnTo>
                      <a:pt x="166" y="260"/>
                    </a:lnTo>
                    <a:lnTo>
                      <a:pt x="168" y="261"/>
                    </a:lnTo>
                    <a:lnTo>
                      <a:pt x="166" y="261"/>
                    </a:lnTo>
                    <a:lnTo>
                      <a:pt x="166" y="262"/>
                    </a:lnTo>
                    <a:lnTo>
                      <a:pt x="162" y="260"/>
                    </a:lnTo>
                    <a:lnTo>
                      <a:pt x="161" y="260"/>
                    </a:lnTo>
                    <a:lnTo>
                      <a:pt x="161" y="261"/>
                    </a:lnTo>
                    <a:lnTo>
                      <a:pt x="159" y="260"/>
                    </a:lnTo>
                    <a:lnTo>
                      <a:pt x="157" y="260"/>
                    </a:lnTo>
                    <a:lnTo>
                      <a:pt x="157" y="261"/>
                    </a:lnTo>
                    <a:lnTo>
                      <a:pt x="157" y="263"/>
                    </a:lnTo>
                    <a:lnTo>
                      <a:pt x="157" y="264"/>
                    </a:lnTo>
                    <a:lnTo>
                      <a:pt x="156" y="263"/>
                    </a:lnTo>
                    <a:lnTo>
                      <a:pt x="155" y="260"/>
                    </a:lnTo>
                    <a:lnTo>
                      <a:pt x="153" y="260"/>
                    </a:lnTo>
                    <a:lnTo>
                      <a:pt x="152" y="261"/>
                    </a:lnTo>
                    <a:lnTo>
                      <a:pt x="151" y="260"/>
                    </a:lnTo>
                    <a:lnTo>
                      <a:pt x="149" y="257"/>
                    </a:lnTo>
                    <a:lnTo>
                      <a:pt x="148" y="257"/>
                    </a:lnTo>
                    <a:lnTo>
                      <a:pt x="146" y="257"/>
                    </a:lnTo>
                    <a:lnTo>
                      <a:pt x="144" y="257"/>
                    </a:lnTo>
                    <a:lnTo>
                      <a:pt x="144" y="255"/>
                    </a:lnTo>
                    <a:lnTo>
                      <a:pt x="144" y="254"/>
                    </a:lnTo>
                    <a:lnTo>
                      <a:pt x="142" y="254"/>
                    </a:lnTo>
                    <a:lnTo>
                      <a:pt x="142" y="255"/>
                    </a:lnTo>
                    <a:lnTo>
                      <a:pt x="143" y="257"/>
                    </a:lnTo>
                    <a:lnTo>
                      <a:pt x="142" y="260"/>
                    </a:lnTo>
                    <a:lnTo>
                      <a:pt x="141" y="260"/>
                    </a:lnTo>
                    <a:lnTo>
                      <a:pt x="139" y="262"/>
                    </a:lnTo>
                    <a:lnTo>
                      <a:pt x="137" y="262"/>
                    </a:lnTo>
                    <a:lnTo>
                      <a:pt x="136" y="263"/>
                    </a:lnTo>
                    <a:lnTo>
                      <a:pt x="133" y="262"/>
                    </a:lnTo>
                    <a:lnTo>
                      <a:pt x="131" y="261"/>
                    </a:lnTo>
                    <a:lnTo>
                      <a:pt x="128" y="259"/>
                    </a:lnTo>
                    <a:lnTo>
                      <a:pt x="128" y="257"/>
                    </a:lnTo>
                    <a:lnTo>
                      <a:pt x="129" y="257"/>
                    </a:lnTo>
                    <a:lnTo>
                      <a:pt x="128" y="256"/>
                    </a:lnTo>
                    <a:lnTo>
                      <a:pt x="128" y="255"/>
                    </a:lnTo>
                    <a:lnTo>
                      <a:pt x="128" y="257"/>
                    </a:lnTo>
                    <a:lnTo>
                      <a:pt x="127" y="257"/>
                    </a:lnTo>
                    <a:lnTo>
                      <a:pt x="126" y="256"/>
                    </a:lnTo>
                    <a:lnTo>
                      <a:pt x="125" y="256"/>
                    </a:lnTo>
                    <a:lnTo>
                      <a:pt x="125" y="255"/>
                    </a:lnTo>
                    <a:lnTo>
                      <a:pt x="126" y="255"/>
                    </a:lnTo>
                    <a:lnTo>
                      <a:pt x="125" y="254"/>
                    </a:lnTo>
                    <a:lnTo>
                      <a:pt x="126" y="254"/>
                    </a:lnTo>
                    <a:lnTo>
                      <a:pt x="126" y="252"/>
                    </a:lnTo>
                    <a:lnTo>
                      <a:pt x="125" y="251"/>
                    </a:lnTo>
                    <a:lnTo>
                      <a:pt x="125" y="250"/>
                    </a:lnTo>
                    <a:lnTo>
                      <a:pt x="125" y="248"/>
                    </a:lnTo>
                    <a:lnTo>
                      <a:pt x="124" y="247"/>
                    </a:lnTo>
                    <a:lnTo>
                      <a:pt x="121" y="249"/>
                    </a:lnTo>
                    <a:lnTo>
                      <a:pt x="119" y="251"/>
                    </a:lnTo>
                    <a:lnTo>
                      <a:pt x="115" y="248"/>
                    </a:lnTo>
                    <a:lnTo>
                      <a:pt x="114" y="254"/>
                    </a:lnTo>
                    <a:lnTo>
                      <a:pt x="116" y="254"/>
                    </a:lnTo>
                    <a:lnTo>
                      <a:pt x="112" y="256"/>
                    </a:lnTo>
                    <a:lnTo>
                      <a:pt x="110" y="259"/>
                    </a:lnTo>
                    <a:lnTo>
                      <a:pt x="109" y="257"/>
                    </a:lnTo>
                    <a:lnTo>
                      <a:pt x="108" y="258"/>
                    </a:lnTo>
                    <a:lnTo>
                      <a:pt x="106" y="257"/>
                    </a:lnTo>
                    <a:lnTo>
                      <a:pt x="108" y="257"/>
                    </a:lnTo>
                    <a:lnTo>
                      <a:pt x="108" y="256"/>
                    </a:lnTo>
                    <a:lnTo>
                      <a:pt x="104" y="253"/>
                    </a:lnTo>
                    <a:lnTo>
                      <a:pt x="103" y="253"/>
                    </a:lnTo>
                    <a:lnTo>
                      <a:pt x="101" y="252"/>
                    </a:lnTo>
                    <a:lnTo>
                      <a:pt x="102" y="255"/>
                    </a:lnTo>
                    <a:lnTo>
                      <a:pt x="101" y="256"/>
                    </a:lnTo>
                    <a:lnTo>
                      <a:pt x="101" y="258"/>
                    </a:lnTo>
                    <a:lnTo>
                      <a:pt x="99" y="261"/>
                    </a:lnTo>
                    <a:lnTo>
                      <a:pt x="100" y="261"/>
                    </a:lnTo>
                    <a:lnTo>
                      <a:pt x="100" y="262"/>
                    </a:lnTo>
                    <a:lnTo>
                      <a:pt x="99" y="262"/>
                    </a:lnTo>
                    <a:lnTo>
                      <a:pt x="100" y="264"/>
                    </a:lnTo>
                    <a:lnTo>
                      <a:pt x="99" y="264"/>
                    </a:lnTo>
                    <a:lnTo>
                      <a:pt x="98" y="264"/>
                    </a:lnTo>
                    <a:lnTo>
                      <a:pt x="96" y="265"/>
                    </a:lnTo>
                    <a:lnTo>
                      <a:pt x="98" y="267"/>
                    </a:lnTo>
                    <a:lnTo>
                      <a:pt x="95" y="267"/>
                    </a:lnTo>
                    <a:lnTo>
                      <a:pt x="95" y="264"/>
                    </a:lnTo>
                    <a:lnTo>
                      <a:pt x="94" y="264"/>
                    </a:lnTo>
                    <a:lnTo>
                      <a:pt x="91" y="263"/>
                    </a:lnTo>
                    <a:lnTo>
                      <a:pt x="90" y="264"/>
                    </a:lnTo>
                    <a:lnTo>
                      <a:pt x="87" y="263"/>
                    </a:lnTo>
                    <a:lnTo>
                      <a:pt x="85" y="265"/>
                    </a:lnTo>
                    <a:lnTo>
                      <a:pt x="82" y="263"/>
                    </a:lnTo>
                    <a:lnTo>
                      <a:pt x="81" y="265"/>
                    </a:lnTo>
                    <a:lnTo>
                      <a:pt x="78" y="267"/>
                    </a:lnTo>
                    <a:lnTo>
                      <a:pt x="77" y="267"/>
                    </a:lnTo>
                    <a:lnTo>
                      <a:pt x="76" y="269"/>
                    </a:lnTo>
                    <a:lnTo>
                      <a:pt x="78" y="270"/>
                    </a:lnTo>
                    <a:lnTo>
                      <a:pt x="78" y="271"/>
                    </a:lnTo>
                    <a:lnTo>
                      <a:pt x="77" y="271"/>
                    </a:lnTo>
                    <a:lnTo>
                      <a:pt x="77" y="272"/>
                    </a:lnTo>
                    <a:lnTo>
                      <a:pt x="75" y="272"/>
                    </a:lnTo>
                    <a:lnTo>
                      <a:pt x="74" y="275"/>
                    </a:lnTo>
                    <a:lnTo>
                      <a:pt x="71" y="277"/>
                    </a:lnTo>
                    <a:lnTo>
                      <a:pt x="66" y="276"/>
                    </a:lnTo>
                    <a:lnTo>
                      <a:pt x="64" y="275"/>
                    </a:lnTo>
                    <a:lnTo>
                      <a:pt x="64" y="276"/>
                    </a:lnTo>
                    <a:lnTo>
                      <a:pt x="64" y="280"/>
                    </a:lnTo>
                    <a:lnTo>
                      <a:pt x="63" y="282"/>
                    </a:lnTo>
                    <a:lnTo>
                      <a:pt x="60" y="280"/>
                    </a:lnTo>
                    <a:lnTo>
                      <a:pt x="59" y="283"/>
                    </a:lnTo>
                    <a:lnTo>
                      <a:pt x="58" y="282"/>
                    </a:lnTo>
                    <a:lnTo>
                      <a:pt x="58" y="283"/>
                    </a:lnTo>
                    <a:lnTo>
                      <a:pt x="58" y="284"/>
                    </a:lnTo>
                    <a:lnTo>
                      <a:pt x="59" y="284"/>
                    </a:lnTo>
                    <a:lnTo>
                      <a:pt x="58" y="286"/>
                    </a:lnTo>
                    <a:lnTo>
                      <a:pt x="58" y="288"/>
                    </a:lnTo>
                    <a:lnTo>
                      <a:pt x="56" y="288"/>
                    </a:lnTo>
                    <a:lnTo>
                      <a:pt x="55" y="289"/>
                    </a:lnTo>
                    <a:lnTo>
                      <a:pt x="54" y="287"/>
                    </a:lnTo>
                    <a:lnTo>
                      <a:pt x="52" y="285"/>
                    </a:lnTo>
                    <a:lnTo>
                      <a:pt x="52" y="283"/>
                    </a:lnTo>
                    <a:lnTo>
                      <a:pt x="49" y="280"/>
                    </a:lnTo>
                    <a:lnTo>
                      <a:pt x="49" y="279"/>
                    </a:lnTo>
                    <a:lnTo>
                      <a:pt x="46" y="279"/>
                    </a:lnTo>
                    <a:lnTo>
                      <a:pt x="43" y="281"/>
                    </a:lnTo>
                    <a:lnTo>
                      <a:pt x="42" y="282"/>
                    </a:lnTo>
                    <a:lnTo>
                      <a:pt x="42" y="280"/>
                    </a:lnTo>
                    <a:lnTo>
                      <a:pt x="40" y="280"/>
                    </a:lnTo>
                    <a:lnTo>
                      <a:pt x="39" y="279"/>
                    </a:lnTo>
                    <a:lnTo>
                      <a:pt x="38" y="279"/>
                    </a:lnTo>
                    <a:lnTo>
                      <a:pt x="36" y="280"/>
                    </a:lnTo>
                    <a:lnTo>
                      <a:pt x="38" y="284"/>
                    </a:lnTo>
                    <a:lnTo>
                      <a:pt x="37" y="284"/>
                    </a:lnTo>
                    <a:lnTo>
                      <a:pt x="35" y="285"/>
                    </a:lnTo>
                    <a:lnTo>
                      <a:pt x="35" y="287"/>
                    </a:lnTo>
                    <a:lnTo>
                      <a:pt x="33" y="287"/>
                    </a:lnTo>
                    <a:lnTo>
                      <a:pt x="33" y="288"/>
                    </a:lnTo>
                    <a:lnTo>
                      <a:pt x="33" y="289"/>
                    </a:lnTo>
                    <a:lnTo>
                      <a:pt x="31" y="291"/>
                    </a:lnTo>
                    <a:lnTo>
                      <a:pt x="30" y="291"/>
                    </a:lnTo>
                    <a:lnTo>
                      <a:pt x="30" y="288"/>
                    </a:lnTo>
                    <a:lnTo>
                      <a:pt x="28" y="289"/>
                    </a:lnTo>
                    <a:lnTo>
                      <a:pt x="27" y="289"/>
                    </a:lnTo>
                    <a:lnTo>
                      <a:pt x="25" y="287"/>
                    </a:lnTo>
                    <a:lnTo>
                      <a:pt x="25" y="286"/>
                    </a:lnTo>
                    <a:lnTo>
                      <a:pt x="26" y="284"/>
                    </a:lnTo>
                    <a:lnTo>
                      <a:pt x="25" y="283"/>
                    </a:lnTo>
                    <a:lnTo>
                      <a:pt x="24" y="281"/>
                    </a:lnTo>
                    <a:lnTo>
                      <a:pt x="23" y="280"/>
                    </a:lnTo>
                    <a:lnTo>
                      <a:pt x="20" y="280"/>
                    </a:lnTo>
                    <a:lnTo>
                      <a:pt x="21" y="284"/>
                    </a:lnTo>
                    <a:lnTo>
                      <a:pt x="17" y="280"/>
                    </a:lnTo>
                    <a:lnTo>
                      <a:pt x="14" y="280"/>
                    </a:lnTo>
                    <a:lnTo>
                      <a:pt x="15" y="281"/>
                    </a:lnTo>
                    <a:lnTo>
                      <a:pt x="17" y="281"/>
                    </a:lnTo>
                    <a:lnTo>
                      <a:pt x="17" y="282"/>
                    </a:lnTo>
                    <a:lnTo>
                      <a:pt x="18" y="282"/>
                    </a:lnTo>
                    <a:lnTo>
                      <a:pt x="15" y="284"/>
                    </a:lnTo>
                    <a:lnTo>
                      <a:pt x="14" y="285"/>
                    </a:lnTo>
                    <a:lnTo>
                      <a:pt x="14" y="286"/>
                    </a:lnTo>
                    <a:lnTo>
                      <a:pt x="13" y="287"/>
                    </a:lnTo>
                    <a:lnTo>
                      <a:pt x="12" y="287"/>
                    </a:lnTo>
                    <a:lnTo>
                      <a:pt x="10" y="286"/>
                    </a:lnTo>
                    <a:lnTo>
                      <a:pt x="10" y="284"/>
                    </a:lnTo>
                    <a:lnTo>
                      <a:pt x="8" y="284"/>
                    </a:lnTo>
                    <a:lnTo>
                      <a:pt x="7" y="286"/>
                    </a:lnTo>
                    <a:lnTo>
                      <a:pt x="8" y="287"/>
                    </a:lnTo>
                    <a:lnTo>
                      <a:pt x="9" y="287"/>
                    </a:lnTo>
                    <a:lnTo>
                      <a:pt x="10" y="288"/>
                    </a:lnTo>
                    <a:lnTo>
                      <a:pt x="11" y="289"/>
                    </a:lnTo>
                    <a:lnTo>
                      <a:pt x="10" y="291"/>
                    </a:lnTo>
                    <a:lnTo>
                      <a:pt x="9" y="290"/>
                    </a:lnTo>
                    <a:lnTo>
                      <a:pt x="7" y="291"/>
                    </a:lnTo>
                    <a:lnTo>
                      <a:pt x="7" y="292"/>
                    </a:lnTo>
                    <a:lnTo>
                      <a:pt x="10" y="293"/>
                    </a:lnTo>
                    <a:lnTo>
                      <a:pt x="8" y="294"/>
                    </a:lnTo>
                    <a:lnTo>
                      <a:pt x="7" y="295"/>
                    </a:lnTo>
                    <a:lnTo>
                      <a:pt x="5" y="294"/>
                    </a:lnTo>
                    <a:lnTo>
                      <a:pt x="4" y="294"/>
                    </a:lnTo>
                    <a:lnTo>
                      <a:pt x="4" y="297"/>
                    </a:lnTo>
                    <a:lnTo>
                      <a:pt x="0" y="301"/>
                    </a:lnTo>
                    <a:lnTo>
                      <a:pt x="5" y="303"/>
                    </a:lnTo>
                    <a:lnTo>
                      <a:pt x="11" y="308"/>
                    </a:lnTo>
                    <a:lnTo>
                      <a:pt x="17" y="308"/>
                    </a:lnTo>
                    <a:lnTo>
                      <a:pt x="19" y="309"/>
                    </a:lnTo>
                    <a:lnTo>
                      <a:pt x="20" y="308"/>
                    </a:lnTo>
                    <a:lnTo>
                      <a:pt x="22" y="310"/>
                    </a:lnTo>
                    <a:lnTo>
                      <a:pt x="25" y="315"/>
                    </a:lnTo>
                    <a:lnTo>
                      <a:pt x="27" y="315"/>
                    </a:lnTo>
                    <a:lnTo>
                      <a:pt x="26" y="314"/>
                    </a:lnTo>
                    <a:lnTo>
                      <a:pt x="31" y="318"/>
                    </a:lnTo>
                    <a:lnTo>
                      <a:pt x="34" y="322"/>
                    </a:lnTo>
                    <a:lnTo>
                      <a:pt x="35" y="325"/>
                    </a:lnTo>
                    <a:lnTo>
                      <a:pt x="38" y="328"/>
                    </a:lnTo>
                    <a:lnTo>
                      <a:pt x="39" y="331"/>
                    </a:lnTo>
                    <a:lnTo>
                      <a:pt x="40" y="331"/>
                    </a:lnTo>
                    <a:lnTo>
                      <a:pt x="42" y="330"/>
                    </a:lnTo>
                    <a:lnTo>
                      <a:pt x="45" y="330"/>
                    </a:lnTo>
                    <a:lnTo>
                      <a:pt x="46" y="330"/>
                    </a:lnTo>
                    <a:lnTo>
                      <a:pt x="46" y="331"/>
                    </a:lnTo>
                    <a:lnTo>
                      <a:pt x="53" y="333"/>
                    </a:lnTo>
                    <a:lnTo>
                      <a:pt x="57" y="335"/>
                    </a:lnTo>
                    <a:lnTo>
                      <a:pt x="62" y="331"/>
                    </a:lnTo>
                    <a:lnTo>
                      <a:pt x="64" y="328"/>
                    </a:lnTo>
                    <a:lnTo>
                      <a:pt x="65" y="325"/>
                    </a:lnTo>
                    <a:lnTo>
                      <a:pt x="69" y="326"/>
                    </a:lnTo>
                    <a:lnTo>
                      <a:pt x="72" y="328"/>
                    </a:lnTo>
                    <a:lnTo>
                      <a:pt x="77" y="328"/>
                    </a:lnTo>
                    <a:lnTo>
                      <a:pt x="78" y="329"/>
                    </a:lnTo>
                    <a:lnTo>
                      <a:pt x="79" y="329"/>
                    </a:lnTo>
                    <a:lnTo>
                      <a:pt x="82" y="326"/>
                    </a:lnTo>
                    <a:lnTo>
                      <a:pt x="82" y="328"/>
                    </a:lnTo>
                    <a:lnTo>
                      <a:pt x="84" y="331"/>
                    </a:lnTo>
                    <a:lnTo>
                      <a:pt x="84" y="332"/>
                    </a:lnTo>
                    <a:lnTo>
                      <a:pt x="82" y="333"/>
                    </a:lnTo>
                    <a:lnTo>
                      <a:pt x="82" y="335"/>
                    </a:lnTo>
                    <a:lnTo>
                      <a:pt x="85" y="337"/>
                    </a:lnTo>
                    <a:lnTo>
                      <a:pt x="87" y="339"/>
                    </a:lnTo>
                    <a:lnTo>
                      <a:pt x="90" y="338"/>
                    </a:lnTo>
                    <a:lnTo>
                      <a:pt x="90" y="337"/>
                    </a:lnTo>
                    <a:lnTo>
                      <a:pt x="90" y="336"/>
                    </a:lnTo>
                    <a:lnTo>
                      <a:pt x="91" y="336"/>
                    </a:lnTo>
                    <a:lnTo>
                      <a:pt x="92" y="337"/>
                    </a:lnTo>
                    <a:lnTo>
                      <a:pt x="92" y="338"/>
                    </a:lnTo>
                    <a:lnTo>
                      <a:pt x="91" y="342"/>
                    </a:lnTo>
                    <a:lnTo>
                      <a:pt x="92" y="345"/>
                    </a:lnTo>
                    <a:lnTo>
                      <a:pt x="93" y="345"/>
                    </a:lnTo>
                    <a:lnTo>
                      <a:pt x="96" y="342"/>
                    </a:lnTo>
                    <a:lnTo>
                      <a:pt x="97" y="345"/>
                    </a:lnTo>
                    <a:lnTo>
                      <a:pt x="97" y="347"/>
                    </a:lnTo>
                    <a:lnTo>
                      <a:pt x="96" y="347"/>
                    </a:lnTo>
                    <a:lnTo>
                      <a:pt x="95" y="346"/>
                    </a:lnTo>
                    <a:lnTo>
                      <a:pt x="95" y="344"/>
                    </a:lnTo>
                    <a:lnTo>
                      <a:pt x="95" y="345"/>
                    </a:lnTo>
                    <a:lnTo>
                      <a:pt x="94" y="346"/>
                    </a:lnTo>
                    <a:lnTo>
                      <a:pt x="95" y="348"/>
                    </a:lnTo>
                    <a:lnTo>
                      <a:pt x="98" y="348"/>
                    </a:lnTo>
                    <a:lnTo>
                      <a:pt x="101" y="347"/>
                    </a:lnTo>
                    <a:lnTo>
                      <a:pt x="102" y="349"/>
                    </a:lnTo>
                    <a:lnTo>
                      <a:pt x="104" y="349"/>
                    </a:lnTo>
                    <a:lnTo>
                      <a:pt x="102" y="354"/>
                    </a:lnTo>
                    <a:lnTo>
                      <a:pt x="103" y="355"/>
                    </a:lnTo>
                    <a:lnTo>
                      <a:pt x="104" y="358"/>
                    </a:lnTo>
                    <a:lnTo>
                      <a:pt x="106" y="358"/>
                    </a:lnTo>
                    <a:lnTo>
                      <a:pt x="107" y="357"/>
                    </a:lnTo>
                    <a:lnTo>
                      <a:pt x="107" y="354"/>
                    </a:lnTo>
                    <a:lnTo>
                      <a:pt x="108" y="354"/>
                    </a:lnTo>
                    <a:lnTo>
                      <a:pt x="109" y="354"/>
                    </a:lnTo>
                    <a:lnTo>
                      <a:pt x="108" y="356"/>
                    </a:lnTo>
                    <a:lnTo>
                      <a:pt x="112" y="356"/>
                    </a:lnTo>
                    <a:lnTo>
                      <a:pt x="112" y="358"/>
                    </a:lnTo>
                    <a:lnTo>
                      <a:pt x="109" y="360"/>
                    </a:lnTo>
                    <a:lnTo>
                      <a:pt x="108" y="365"/>
                    </a:lnTo>
                    <a:lnTo>
                      <a:pt x="112" y="368"/>
                    </a:lnTo>
                    <a:lnTo>
                      <a:pt x="118" y="375"/>
                    </a:lnTo>
                    <a:lnTo>
                      <a:pt x="120" y="378"/>
                    </a:lnTo>
                    <a:lnTo>
                      <a:pt x="134" y="388"/>
                    </a:lnTo>
                    <a:lnTo>
                      <a:pt x="138" y="392"/>
                    </a:lnTo>
                    <a:lnTo>
                      <a:pt x="142" y="395"/>
                    </a:lnTo>
                    <a:lnTo>
                      <a:pt x="146" y="397"/>
                    </a:lnTo>
                    <a:lnTo>
                      <a:pt x="149" y="398"/>
                    </a:lnTo>
                    <a:lnTo>
                      <a:pt x="150" y="398"/>
                    </a:lnTo>
                    <a:lnTo>
                      <a:pt x="150" y="397"/>
                    </a:lnTo>
                    <a:lnTo>
                      <a:pt x="152" y="397"/>
                    </a:lnTo>
                    <a:lnTo>
                      <a:pt x="152" y="398"/>
                    </a:lnTo>
                    <a:lnTo>
                      <a:pt x="157" y="400"/>
                    </a:lnTo>
                    <a:lnTo>
                      <a:pt x="158" y="399"/>
                    </a:lnTo>
                    <a:lnTo>
                      <a:pt x="160" y="399"/>
                    </a:lnTo>
                    <a:lnTo>
                      <a:pt x="160" y="400"/>
                    </a:lnTo>
                    <a:lnTo>
                      <a:pt x="161" y="399"/>
                    </a:lnTo>
                    <a:lnTo>
                      <a:pt x="161" y="398"/>
                    </a:lnTo>
                    <a:lnTo>
                      <a:pt x="173" y="402"/>
                    </a:lnTo>
                    <a:lnTo>
                      <a:pt x="187" y="405"/>
                    </a:lnTo>
                    <a:lnTo>
                      <a:pt x="191" y="407"/>
                    </a:lnTo>
                    <a:lnTo>
                      <a:pt x="193" y="406"/>
                    </a:lnTo>
                    <a:lnTo>
                      <a:pt x="196" y="406"/>
                    </a:lnTo>
                    <a:lnTo>
                      <a:pt x="201" y="408"/>
                    </a:lnTo>
                    <a:lnTo>
                      <a:pt x="202" y="407"/>
                    </a:lnTo>
                    <a:lnTo>
                      <a:pt x="205" y="410"/>
                    </a:lnTo>
                    <a:lnTo>
                      <a:pt x="210" y="412"/>
                    </a:lnTo>
                    <a:lnTo>
                      <a:pt x="212" y="410"/>
                    </a:lnTo>
                    <a:lnTo>
                      <a:pt x="213" y="408"/>
                    </a:lnTo>
                    <a:lnTo>
                      <a:pt x="214" y="407"/>
                    </a:lnTo>
                    <a:lnTo>
                      <a:pt x="214" y="406"/>
                    </a:lnTo>
                    <a:lnTo>
                      <a:pt x="214" y="409"/>
                    </a:lnTo>
                    <a:lnTo>
                      <a:pt x="216" y="408"/>
                    </a:lnTo>
                    <a:lnTo>
                      <a:pt x="217" y="409"/>
                    </a:lnTo>
                    <a:lnTo>
                      <a:pt x="218" y="410"/>
                    </a:lnTo>
                    <a:lnTo>
                      <a:pt x="216" y="412"/>
                    </a:lnTo>
                    <a:lnTo>
                      <a:pt x="218" y="414"/>
                    </a:lnTo>
                    <a:lnTo>
                      <a:pt x="218" y="413"/>
                    </a:lnTo>
                    <a:lnTo>
                      <a:pt x="218" y="414"/>
                    </a:lnTo>
                    <a:lnTo>
                      <a:pt x="222" y="414"/>
                    </a:lnTo>
                    <a:lnTo>
                      <a:pt x="222" y="415"/>
                    </a:lnTo>
                    <a:lnTo>
                      <a:pt x="224" y="415"/>
                    </a:lnTo>
                    <a:lnTo>
                      <a:pt x="225" y="414"/>
                    </a:lnTo>
                    <a:lnTo>
                      <a:pt x="226" y="412"/>
                    </a:lnTo>
                    <a:lnTo>
                      <a:pt x="227" y="410"/>
                    </a:lnTo>
                    <a:lnTo>
                      <a:pt x="228" y="412"/>
                    </a:lnTo>
                    <a:lnTo>
                      <a:pt x="230" y="410"/>
                    </a:lnTo>
                    <a:lnTo>
                      <a:pt x="231" y="410"/>
                    </a:lnTo>
                    <a:lnTo>
                      <a:pt x="232" y="410"/>
                    </a:lnTo>
                    <a:lnTo>
                      <a:pt x="234" y="406"/>
                    </a:lnTo>
                    <a:lnTo>
                      <a:pt x="235" y="404"/>
                    </a:lnTo>
                    <a:lnTo>
                      <a:pt x="237" y="401"/>
                    </a:lnTo>
                    <a:lnTo>
                      <a:pt x="240" y="401"/>
                    </a:lnTo>
                    <a:lnTo>
                      <a:pt x="242" y="399"/>
                    </a:lnTo>
                    <a:lnTo>
                      <a:pt x="242" y="396"/>
                    </a:lnTo>
                    <a:lnTo>
                      <a:pt x="242" y="395"/>
                    </a:lnTo>
                    <a:lnTo>
                      <a:pt x="243" y="392"/>
                    </a:lnTo>
                    <a:lnTo>
                      <a:pt x="245" y="388"/>
                    </a:lnTo>
                    <a:lnTo>
                      <a:pt x="245" y="386"/>
                    </a:lnTo>
                    <a:lnTo>
                      <a:pt x="246" y="384"/>
                    </a:lnTo>
                    <a:lnTo>
                      <a:pt x="250" y="382"/>
                    </a:lnTo>
                    <a:lnTo>
                      <a:pt x="250" y="381"/>
                    </a:lnTo>
                    <a:lnTo>
                      <a:pt x="249" y="380"/>
                    </a:lnTo>
                    <a:lnTo>
                      <a:pt x="250" y="380"/>
                    </a:lnTo>
                    <a:lnTo>
                      <a:pt x="254" y="384"/>
                    </a:lnTo>
                    <a:lnTo>
                      <a:pt x="260" y="386"/>
                    </a:lnTo>
                    <a:lnTo>
                      <a:pt x="264" y="385"/>
                    </a:lnTo>
                    <a:lnTo>
                      <a:pt x="265" y="387"/>
                    </a:lnTo>
                    <a:lnTo>
                      <a:pt x="267" y="386"/>
                    </a:lnTo>
                    <a:lnTo>
                      <a:pt x="269" y="383"/>
                    </a:lnTo>
                    <a:lnTo>
                      <a:pt x="271" y="381"/>
                    </a:lnTo>
                    <a:lnTo>
                      <a:pt x="275" y="386"/>
                    </a:lnTo>
                    <a:lnTo>
                      <a:pt x="275" y="387"/>
                    </a:lnTo>
                    <a:lnTo>
                      <a:pt x="278" y="391"/>
                    </a:lnTo>
                    <a:lnTo>
                      <a:pt x="283" y="392"/>
                    </a:lnTo>
                    <a:lnTo>
                      <a:pt x="286" y="395"/>
                    </a:lnTo>
                    <a:lnTo>
                      <a:pt x="285" y="397"/>
                    </a:lnTo>
                    <a:lnTo>
                      <a:pt x="289" y="399"/>
                    </a:lnTo>
                    <a:lnTo>
                      <a:pt x="291" y="399"/>
                    </a:lnTo>
                    <a:lnTo>
                      <a:pt x="295" y="399"/>
                    </a:lnTo>
                    <a:lnTo>
                      <a:pt x="296" y="397"/>
                    </a:lnTo>
                    <a:lnTo>
                      <a:pt x="299" y="397"/>
                    </a:lnTo>
                    <a:lnTo>
                      <a:pt x="302" y="399"/>
                    </a:lnTo>
                    <a:lnTo>
                      <a:pt x="304" y="400"/>
                    </a:lnTo>
                    <a:lnTo>
                      <a:pt x="305" y="403"/>
                    </a:lnTo>
                    <a:lnTo>
                      <a:pt x="307" y="406"/>
                    </a:lnTo>
                    <a:lnTo>
                      <a:pt x="308" y="412"/>
                    </a:lnTo>
                    <a:lnTo>
                      <a:pt x="308" y="415"/>
                    </a:lnTo>
                    <a:lnTo>
                      <a:pt x="305" y="418"/>
                    </a:lnTo>
                    <a:lnTo>
                      <a:pt x="305" y="420"/>
                    </a:lnTo>
                    <a:lnTo>
                      <a:pt x="307" y="423"/>
                    </a:lnTo>
                    <a:lnTo>
                      <a:pt x="307" y="426"/>
                    </a:lnTo>
                    <a:lnTo>
                      <a:pt x="308" y="426"/>
                    </a:lnTo>
                    <a:lnTo>
                      <a:pt x="313" y="423"/>
                    </a:lnTo>
                    <a:lnTo>
                      <a:pt x="314" y="422"/>
                    </a:lnTo>
                    <a:lnTo>
                      <a:pt x="317" y="422"/>
                    </a:lnTo>
                    <a:lnTo>
                      <a:pt x="319" y="423"/>
                    </a:lnTo>
                    <a:lnTo>
                      <a:pt x="321" y="423"/>
                    </a:lnTo>
                    <a:lnTo>
                      <a:pt x="320" y="424"/>
                    </a:lnTo>
                    <a:lnTo>
                      <a:pt x="320" y="425"/>
                    </a:lnTo>
                    <a:lnTo>
                      <a:pt x="321" y="425"/>
                    </a:lnTo>
                    <a:lnTo>
                      <a:pt x="322" y="426"/>
                    </a:lnTo>
                    <a:lnTo>
                      <a:pt x="322" y="427"/>
                    </a:lnTo>
                    <a:lnTo>
                      <a:pt x="325" y="426"/>
                    </a:lnTo>
                    <a:lnTo>
                      <a:pt x="327" y="429"/>
                    </a:lnTo>
                    <a:lnTo>
                      <a:pt x="327" y="431"/>
                    </a:lnTo>
                    <a:lnTo>
                      <a:pt x="328" y="433"/>
                    </a:lnTo>
                    <a:lnTo>
                      <a:pt x="329" y="433"/>
                    </a:lnTo>
                    <a:lnTo>
                      <a:pt x="332" y="436"/>
                    </a:lnTo>
                    <a:lnTo>
                      <a:pt x="333" y="435"/>
                    </a:lnTo>
                    <a:lnTo>
                      <a:pt x="334" y="436"/>
                    </a:lnTo>
                    <a:lnTo>
                      <a:pt x="336" y="436"/>
                    </a:lnTo>
                    <a:lnTo>
                      <a:pt x="338" y="438"/>
                    </a:lnTo>
                    <a:lnTo>
                      <a:pt x="339" y="440"/>
                    </a:lnTo>
                    <a:lnTo>
                      <a:pt x="341" y="437"/>
                    </a:lnTo>
                    <a:lnTo>
                      <a:pt x="343" y="438"/>
                    </a:lnTo>
                    <a:lnTo>
                      <a:pt x="346" y="439"/>
                    </a:lnTo>
                    <a:lnTo>
                      <a:pt x="349" y="436"/>
                    </a:lnTo>
                    <a:lnTo>
                      <a:pt x="351" y="439"/>
                    </a:lnTo>
                    <a:lnTo>
                      <a:pt x="358" y="439"/>
                    </a:lnTo>
                    <a:lnTo>
                      <a:pt x="361" y="435"/>
                    </a:lnTo>
                    <a:lnTo>
                      <a:pt x="362" y="438"/>
                    </a:lnTo>
                    <a:lnTo>
                      <a:pt x="366" y="439"/>
                    </a:lnTo>
                    <a:lnTo>
                      <a:pt x="367" y="438"/>
                    </a:lnTo>
                    <a:lnTo>
                      <a:pt x="368" y="439"/>
                    </a:lnTo>
                    <a:lnTo>
                      <a:pt x="367" y="439"/>
                    </a:lnTo>
                    <a:lnTo>
                      <a:pt x="368" y="441"/>
                    </a:lnTo>
                    <a:lnTo>
                      <a:pt x="369" y="443"/>
                    </a:lnTo>
                    <a:lnTo>
                      <a:pt x="368" y="444"/>
                    </a:lnTo>
                    <a:lnTo>
                      <a:pt x="370" y="446"/>
                    </a:lnTo>
                    <a:lnTo>
                      <a:pt x="370" y="448"/>
                    </a:lnTo>
                    <a:lnTo>
                      <a:pt x="370" y="450"/>
                    </a:lnTo>
                    <a:lnTo>
                      <a:pt x="370" y="451"/>
                    </a:lnTo>
                    <a:lnTo>
                      <a:pt x="370" y="452"/>
                    </a:lnTo>
                    <a:lnTo>
                      <a:pt x="370" y="454"/>
                    </a:lnTo>
                    <a:lnTo>
                      <a:pt x="369" y="454"/>
                    </a:lnTo>
                    <a:lnTo>
                      <a:pt x="368" y="456"/>
                    </a:lnTo>
                    <a:lnTo>
                      <a:pt x="368" y="458"/>
                    </a:lnTo>
                    <a:lnTo>
                      <a:pt x="370" y="460"/>
                    </a:lnTo>
                    <a:lnTo>
                      <a:pt x="371" y="461"/>
                    </a:lnTo>
                    <a:lnTo>
                      <a:pt x="370" y="462"/>
                    </a:lnTo>
                    <a:lnTo>
                      <a:pt x="371" y="463"/>
                    </a:lnTo>
                    <a:lnTo>
                      <a:pt x="370" y="463"/>
                    </a:lnTo>
                    <a:lnTo>
                      <a:pt x="371" y="465"/>
                    </a:lnTo>
                    <a:lnTo>
                      <a:pt x="370" y="467"/>
                    </a:lnTo>
                    <a:lnTo>
                      <a:pt x="369" y="468"/>
                    </a:lnTo>
                    <a:lnTo>
                      <a:pt x="370" y="471"/>
                    </a:lnTo>
                    <a:lnTo>
                      <a:pt x="369" y="471"/>
                    </a:lnTo>
                    <a:lnTo>
                      <a:pt x="370" y="473"/>
                    </a:lnTo>
                    <a:lnTo>
                      <a:pt x="371" y="473"/>
                    </a:lnTo>
                    <a:lnTo>
                      <a:pt x="371" y="475"/>
                    </a:lnTo>
                    <a:lnTo>
                      <a:pt x="370" y="476"/>
                    </a:lnTo>
                    <a:lnTo>
                      <a:pt x="370" y="478"/>
                    </a:lnTo>
                    <a:lnTo>
                      <a:pt x="368" y="481"/>
                    </a:lnTo>
                    <a:lnTo>
                      <a:pt x="368" y="483"/>
                    </a:lnTo>
                    <a:lnTo>
                      <a:pt x="370" y="484"/>
                    </a:lnTo>
                    <a:lnTo>
                      <a:pt x="373" y="486"/>
                    </a:lnTo>
                    <a:lnTo>
                      <a:pt x="375" y="487"/>
                    </a:lnTo>
                    <a:lnTo>
                      <a:pt x="375" y="485"/>
                    </a:lnTo>
                    <a:lnTo>
                      <a:pt x="376" y="486"/>
                    </a:lnTo>
                    <a:lnTo>
                      <a:pt x="377" y="486"/>
                    </a:lnTo>
                    <a:lnTo>
                      <a:pt x="376" y="485"/>
                    </a:lnTo>
                    <a:lnTo>
                      <a:pt x="376" y="484"/>
                    </a:lnTo>
                    <a:lnTo>
                      <a:pt x="378" y="484"/>
                    </a:lnTo>
                    <a:lnTo>
                      <a:pt x="378" y="481"/>
                    </a:lnTo>
                    <a:lnTo>
                      <a:pt x="379" y="483"/>
                    </a:lnTo>
                    <a:lnTo>
                      <a:pt x="379" y="481"/>
                    </a:lnTo>
                    <a:lnTo>
                      <a:pt x="381" y="483"/>
                    </a:lnTo>
                    <a:lnTo>
                      <a:pt x="382" y="482"/>
                    </a:lnTo>
                    <a:lnTo>
                      <a:pt x="380" y="480"/>
                    </a:lnTo>
                    <a:lnTo>
                      <a:pt x="382" y="480"/>
                    </a:lnTo>
                    <a:lnTo>
                      <a:pt x="380" y="477"/>
                    </a:lnTo>
                    <a:lnTo>
                      <a:pt x="380" y="476"/>
                    </a:lnTo>
                    <a:lnTo>
                      <a:pt x="382" y="478"/>
                    </a:lnTo>
                    <a:lnTo>
                      <a:pt x="382" y="476"/>
                    </a:lnTo>
                    <a:lnTo>
                      <a:pt x="383" y="475"/>
                    </a:lnTo>
                    <a:lnTo>
                      <a:pt x="382" y="473"/>
                    </a:lnTo>
                    <a:lnTo>
                      <a:pt x="384" y="473"/>
                    </a:lnTo>
                    <a:lnTo>
                      <a:pt x="383" y="471"/>
                    </a:lnTo>
                    <a:lnTo>
                      <a:pt x="383" y="464"/>
                    </a:lnTo>
                    <a:lnTo>
                      <a:pt x="385" y="463"/>
                    </a:lnTo>
                    <a:lnTo>
                      <a:pt x="384" y="461"/>
                    </a:lnTo>
                    <a:lnTo>
                      <a:pt x="384" y="460"/>
                    </a:lnTo>
                    <a:lnTo>
                      <a:pt x="385" y="462"/>
                    </a:lnTo>
                    <a:lnTo>
                      <a:pt x="386" y="461"/>
                    </a:lnTo>
                    <a:lnTo>
                      <a:pt x="386" y="459"/>
                    </a:lnTo>
                    <a:lnTo>
                      <a:pt x="387" y="459"/>
                    </a:lnTo>
                    <a:lnTo>
                      <a:pt x="387" y="457"/>
                    </a:lnTo>
                    <a:lnTo>
                      <a:pt x="388" y="456"/>
                    </a:lnTo>
                    <a:lnTo>
                      <a:pt x="388" y="454"/>
                    </a:lnTo>
                    <a:lnTo>
                      <a:pt x="389" y="453"/>
                    </a:lnTo>
                    <a:lnTo>
                      <a:pt x="390" y="454"/>
                    </a:lnTo>
                    <a:lnTo>
                      <a:pt x="391" y="454"/>
                    </a:lnTo>
                    <a:lnTo>
                      <a:pt x="392" y="452"/>
                    </a:lnTo>
                    <a:lnTo>
                      <a:pt x="393" y="454"/>
                    </a:lnTo>
                    <a:lnTo>
                      <a:pt x="394" y="452"/>
                    </a:lnTo>
                    <a:lnTo>
                      <a:pt x="392" y="452"/>
                    </a:lnTo>
                    <a:lnTo>
                      <a:pt x="393" y="451"/>
                    </a:lnTo>
                    <a:lnTo>
                      <a:pt x="392" y="450"/>
                    </a:lnTo>
                    <a:lnTo>
                      <a:pt x="396" y="450"/>
                    </a:lnTo>
                    <a:lnTo>
                      <a:pt x="394" y="448"/>
                    </a:lnTo>
                    <a:lnTo>
                      <a:pt x="395" y="447"/>
                    </a:lnTo>
                    <a:lnTo>
                      <a:pt x="394" y="448"/>
                    </a:lnTo>
                    <a:lnTo>
                      <a:pt x="393" y="447"/>
                    </a:lnTo>
                    <a:lnTo>
                      <a:pt x="394" y="446"/>
                    </a:lnTo>
                    <a:lnTo>
                      <a:pt x="395" y="446"/>
                    </a:lnTo>
                    <a:lnTo>
                      <a:pt x="394" y="446"/>
                    </a:lnTo>
                    <a:lnTo>
                      <a:pt x="395" y="444"/>
                    </a:lnTo>
                    <a:lnTo>
                      <a:pt x="396" y="444"/>
                    </a:lnTo>
                    <a:lnTo>
                      <a:pt x="395" y="443"/>
                    </a:lnTo>
                    <a:lnTo>
                      <a:pt x="395" y="441"/>
                    </a:lnTo>
                    <a:lnTo>
                      <a:pt x="397" y="440"/>
                    </a:lnTo>
                    <a:lnTo>
                      <a:pt x="395" y="440"/>
                    </a:lnTo>
                    <a:lnTo>
                      <a:pt x="395" y="439"/>
                    </a:lnTo>
                    <a:lnTo>
                      <a:pt x="394" y="439"/>
                    </a:lnTo>
                    <a:lnTo>
                      <a:pt x="396" y="437"/>
                    </a:lnTo>
                    <a:lnTo>
                      <a:pt x="397" y="438"/>
                    </a:lnTo>
                    <a:lnTo>
                      <a:pt x="397" y="437"/>
                    </a:lnTo>
                    <a:lnTo>
                      <a:pt x="398" y="437"/>
                    </a:lnTo>
                    <a:lnTo>
                      <a:pt x="399" y="436"/>
                    </a:lnTo>
                    <a:lnTo>
                      <a:pt x="400" y="434"/>
                    </a:lnTo>
                    <a:lnTo>
                      <a:pt x="400" y="435"/>
                    </a:lnTo>
                    <a:lnTo>
                      <a:pt x="400" y="433"/>
                    </a:lnTo>
                    <a:lnTo>
                      <a:pt x="403" y="433"/>
                    </a:lnTo>
                    <a:lnTo>
                      <a:pt x="403" y="430"/>
                    </a:lnTo>
                    <a:lnTo>
                      <a:pt x="404" y="427"/>
                    </a:lnTo>
                    <a:lnTo>
                      <a:pt x="406" y="426"/>
                    </a:lnTo>
                    <a:lnTo>
                      <a:pt x="408" y="424"/>
                    </a:lnTo>
                    <a:lnTo>
                      <a:pt x="409" y="423"/>
                    </a:lnTo>
                    <a:lnTo>
                      <a:pt x="409" y="422"/>
                    </a:lnTo>
                    <a:lnTo>
                      <a:pt x="408" y="423"/>
                    </a:lnTo>
                    <a:lnTo>
                      <a:pt x="409" y="418"/>
                    </a:lnTo>
                    <a:lnTo>
                      <a:pt x="411" y="419"/>
                    </a:lnTo>
                    <a:lnTo>
                      <a:pt x="412" y="418"/>
                    </a:lnTo>
                    <a:lnTo>
                      <a:pt x="413" y="418"/>
                    </a:lnTo>
                    <a:lnTo>
                      <a:pt x="413" y="417"/>
                    </a:lnTo>
                    <a:lnTo>
                      <a:pt x="414" y="418"/>
                    </a:lnTo>
                    <a:lnTo>
                      <a:pt x="416" y="417"/>
                    </a:lnTo>
                    <a:lnTo>
                      <a:pt x="414" y="416"/>
                    </a:lnTo>
                    <a:lnTo>
                      <a:pt x="414" y="415"/>
                    </a:lnTo>
                    <a:lnTo>
                      <a:pt x="414" y="416"/>
                    </a:lnTo>
                    <a:lnTo>
                      <a:pt x="416" y="416"/>
                    </a:lnTo>
                    <a:lnTo>
                      <a:pt x="416" y="414"/>
                    </a:lnTo>
                    <a:lnTo>
                      <a:pt x="417" y="414"/>
                    </a:lnTo>
                    <a:lnTo>
                      <a:pt x="417" y="413"/>
                    </a:lnTo>
                    <a:lnTo>
                      <a:pt x="418" y="413"/>
                    </a:lnTo>
                    <a:lnTo>
                      <a:pt x="420" y="412"/>
                    </a:lnTo>
                    <a:lnTo>
                      <a:pt x="421" y="413"/>
                    </a:lnTo>
                    <a:lnTo>
                      <a:pt x="424" y="410"/>
                    </a:lnTo>
                    <a:lnTo>
                      <a:pt x="422" y="409"/>
                    </a:lnTo>
                    <a:lnTo>
                      <a:pt x="423" y="406"/>
                    </a:lnTo>
                    <a:lnTo>
                      <a:pt x="424" y="405"/>
                    </a:lnTo>
                    <a:lnTo>
                      <a:pt x="425" y="405"/>
                    </a:lnTo>
                    <a:lnTo>
                      <a:pt x="424" y="404"/>
                    </a:lnTo>
                    <a:lnTo>
                      <a:pt x="425" y="404"/>
                    </a:lnTo>
                    <a:lnTo>
                      <a:pt x="425" y="403"/>
                    </a:lnTo>
                    <a:lnTo>
                      <a:pt x="427" y="403"/>
                    </a:lnTo>
                    <a:lnTo>
                      <a:pt x="427" y="401"/>
                    </a:lnTo>
                    <a:lnTo>
                      <a:pt x="428" y="400"/>
                    </a:lnTo>
                    <a:lnTo>
                      <a:pt x="429" y="398"/>
                    </a:lnTo>
                    <a:lnTo>
                      <a:pt x="428" y="395"/>
                    </a:lnTo>
                    <a:lnTo>
                      <a:pt x="429" y="392"/>
                    </a:lnTo>
                    <a:lnTo>
                      <a:pt x="429" y="391"/>
                    </a:lnTo>
                    <a:lnTo>
                      <a:pt x="430" y="389"/>
                    </a:lnTo>
                    <a:lnTo>
                      <a:pt x="430" y="388"/>
                    </a:lnTo>
                    <a:lnTo>
                      <a:pt x="431" y="388"/>
                    </a:lnTo>
                    <a:lnTo>
                      <a:pt x="432" y="386"/>
                    </a:lnTo>
                    <a:lnTo>
                      <a:pt x="437" y="389"/>
                    </a:lnTo>
                    <a:lnTo>
                      <a:pt x="440" y="389"/>
                    </a:lnTo>
                    <a:lnTo>
                      <a:pt x="441" y="389"/>
                    </a:lnTo>
                    <a:lnTo>
                      <a:pt x="442" y="387"/>
                    </a:lnTo>
                    <a:lnTo>
                      <a:pt x="443" y="386"/>
                    </a:lnTo>
                    <a:lnTo>
                      <a:pt x="442" y="386"/>
                    </a:lnTo>
                    <a:lnTo>
                      <a:pt x="442" y="384"/>
                    </a:lnTo>
                    <a:lnTo>
                      <a:pt x="443" y="385"/>
                    </a:lnTo>
                    <a:lnTo>
                      <a:pt x="445" y="384"/>
                    </a:lnTo>
                    <a:lnTo>
                      <a:pt x="444" y="383"/>
                    </a:lnTo>
                    <a:lnTo>
                      <a:pt x="446" y="384"/>
                    </a:lnTo>
                    <a:lnTo>
                      <a:pt x="446" y="383"/>
                    </a:lnTo>
                    <a:lnTo>
                      <a:pt x="445" y="382"/>
                    </a:lnTo>
                    <a:lnTo>
                      <a:pt x="447" y="382"/>
                    </a:lnTo>
                    <a:lnTo>
                      <a:pt x="448" y="381"/>
                    </a:lnTo>
                    <a:lnTo>
                      <a:pt x="447" y="380"/>
                    </a:lnTo>
                    <a:lnTo>
                      <a:pt x="449" y="379"/>
                    </a:lnTo>
                    <a:lnTo>
                      <a:pt x="449" y="381"/>
                    </a:lnTo>
                    <a:lnTo>
                      <a:pt x="450" y="381"/>
                    </a:lnTo>
                    <a:lnTo>
                      <a:pt x="450" y="380"/>
                    </a:lnTo>
                    <a:lnTo>
                      <a:pt x="449" y="378"/>
                    </a:lnTo>
                    <a:lnTo>
                      <a:pt x="449" y="376"/>
                    </a:lnTo>
                    <a:lnTo>
                      <a:pt x="450" y="376"/>
                    </a:lnTo>
                    <a:lnTo>
                      <a:pt x="452" y="377"/>
                    </a:lnTo>
                    <a:lnTo>
                      <a:pt x="452" y="375"/>
                    </a:lnTo>
                    <a:lnTo>
                      <a:pt x="455" y="373"/>
                    </a:lnTo>
                    <a:lnTo>
                      <a:pt x="456" y="373"/>
                    </a:lnTo>
                    <a:lnTo>
                      <a:pt x="457" y="373"/>
                    </a:lnTo>
                    <a:lnTo>
                      <a:pt x="458" y="373"/>
                    </a:lnTo>
                    <a:lnTo>
                      <a:pt x="458" y="374"/>
                    </a:lnTo>
                    <a:lnTo>
                      <a:pt x="458" y="375"/>
                    </a:lnTo>
                    <a:lnTo>
                      <a:pt x="459" y="374"/>
                    </a:lnTo>
                    <a:lnTo>
                      <a:pt x="461" y="375"/>
                    </a:lnTo>
                    <a:lnTo>
                      <a:pt x="463" y="374"/>
                    </a:lnTo>
                    <a:lnTo>
                      <a:pt x="463" y="376"/>
                    </a:lnTo>
                    <a:lnTo>
                      <a:pt x="465" y="376"/>
                    </a:lnTo>
                    <a:lnTo>
                      <a:pt x="466" y="378"/>
                    </a:lnTo>
                    <a:lnTo>
                      <a:pt x="469" y="378"/>
                    </a:lnTo>
                    <a:lnTo>
                      <a:pt x="470" y="380"/>
                    </a:lnTo>
                    <a:lnTo>
                      <a:pt x="473" y="382"/>
                    </a:lnTo>
                    <a:lnTo>
                      <a:pt x="475" y="382"/>
                    </a:lnTo>
                    <a:lnTo>
                      <a:pt x="478" y="382"/>
                    </a:lnTo>
                    <a:lnTo>
                      <a:pt x="478" y="385"/>
                    </a:lnTo>
                    <a:lnTo>
                      <a:pt x="482" y="388"/>
                    </a:lnTo>
                    <a:lnTo>
                      <a:pt x="484" y="391"/>
                    </a:lnTo>
                    <a:lnTo>
                      <a:pt x="486" y="392"/>
                    </a:lnTo>
                    <a:lnTo>
                      <a:pt x="488" y="391"/>
                    </a:lnTo>
                    <a:lnTo>
                      <a:pt x="489" y="392"/>
                    </a:lnTo>
                    <a:lnTo>
                      <a:pt x="490" y="394"/>
                    </a:lnTo>
                    <a:lnTo>
                      <a:pt x="491" y="397"/>
                    </a:lnTo>
                    <a:lnTo>
                      <a:pt x="495" y="401"/>
                    </a:lnTo>
                    <a:lnTo>
                      <a:pt x="496" y="403"/>
                    </a:lnTo>
                    <a:lnTo>
                      <a:pt x="497" y="403"/>
                    </a:lnTo>
                    <a:lnTo>
                      <a:pt x="499" y="407"/>
                    </a:lnTo>
                    <a:lnTo>
                      <a:pt x="504" y="405"/>
                    </a:lnTo>
                    <a:lnTo>
                      <a:pt x="506" y="406"/>
                    </a:lnTo>
                    <a:lnTo>
                      <a:pt x="507" y="406"/>
                    </a:lnTo>
                    <a:lnTo>
                      <a:pt x="508" y="408"/>
                    </a:lnTo>
                    <a:lnTo>
                      <a:pt x="510" y="405"/>
                    </a:lnTo>
                    <a:lnTo>
                      <a:pt x="514" y="403"/>
                    </a:lnTo>
                    <a:lnTo>
                      <a:pt x="515" y="402"/>
                    </a:lnTo>
                    <a:lnTo>
                      <a:pt x="517" y="403"/>
                    </a:lnTo>
                    <a:lnTo>
                      <a:pt x="518" y="401"/>
                    </a:lnTo>
                    <a:lnTo>
                      <a:pt x="520" y="397"/>
                    </a:lnTo>
                    <a:lnTo>
                      <a:pt x="522" y="399"/>
                    </a:lnTo>
                    <a:lnTo>
                      <a:pt x="522" y="397"/>
                    </a:lnTo>
                    <a:lnTo>
                      <a:pt x="525" y="394"/>
                    </a:lnTo>
                    <a:lnTo>
                      <a:pt x="531" y="397"/>
                    </a:lnTo>
                    <a:lnTo>
                      <a:pt x="533" y="399"/>
                    </a:lnTo>
                    <a:lnTo>
                      <a:pt x="536" y="404"/>
                    </a:lnTo>
                    <a:lnTo>
                      <a:pt x="539" y="409"/>
                    </a:lnTo>
                    <a:lnTo>
                      <a:pt x="539" y="410"/>
                    </a:lnTo>
                    <a:lnTo>
                      <a:pt x="542" y="412"/>
                    </a:lnTo>
                    <a:lnTo>
                      <a:pt x="545" y="412"/>
                    </a:lnTo>
                    <a:lnTo>
                      <a:pt x="548" y="410"/>
                    </a:lnTo>
                    <a:lnTo>
                      <a:pt x="551" y="411"/>
                    </a:lnTo>
                    <a:lnTo>
                      <a:pt x="554" y="407"/>
                    </a:lnTo>
                    <a:lnTo>
                      <a:pt x="557" y="409"/>
                    </a:lnTo>
                    <a:lnTo>
                      <a:pt x="559" y="408"/>
                    </a:lnTo>
                    <a:lnTo>
                      <a:pt x="562" y="409"/>
                    </a:lnTo>
                    <a:lnTo>
                      <a:pt x="564" y="407"/>
                    </a:lnTo>
                    <a:lnTo>
                      <a:pt x="565" y="403"/>
                    </a:lnTo>
                    <a:lnTo>
                      <a:pt x="566" y="401"/>
                    </a:lnTo>
                    <a:lnTo>
                      <a:pt x="571" y="401"/>
                    </a:lnTo>
                    <a:lnTo>
                      <a:pt x="572" y="399"/>
                    </a:lnTo>
                    <a:lnTo>
                      <a:pt x="574" y="396"/>
                    </a:lnTo>
                    <a:lnTo>
                      <a:pt x="577" y="396"/>
                    </a:lnTo>
                    <a:lnTo>
                      <a:pt x="579" y="397"/>
                    </a:lnTo>
                    <a:lnTo>
                      <a:pt x="577" y="38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0" name="Freeform 121">
                <a:extLst>
                  <a:ext uri="{FF2B5EF4-FFF2-40B4-BE49-F238E27FC236}">
                    <a16:creationId xmlns:a16="http://schemas.microsoft.com/office/drawing/2014/main" id="{25508EC7-1D7B-4897-8DB7-FEF1DA04B5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8" y="3431"/>
                <a:ext cx="579" cy="487"/>
              </a:xfrm>
              <a:custGeom>
                <a:avLst/>
                <a:gdLst>
                  <a:gd name="T0" fmla="*/ 545 w 579"/>
                  <a:gd name="T1" fmla="*/ 345 h 487"/>
                  <a:gd name="T2" fmla="*/ 506 w 579"/>
                  <a:gd name="T3" fmla="*/ 331 h 487"/>
                  <a:gd name="T4" fmla="*/ 490 w 579"/>
                  <a:gd name="T5" fmla="*/ 310 h 487"/>
                  <a:gd name="T6" fmla="*/ 473 w 579"/>
                  <a:gd name="T7" fmla="*/ 285 h 487"/>
                  <a:gd name="T8" fmla="*/ 442 w 579"/>
                  <a:gd name="T9" fmla="*/ 263 h 487"/>
                  <a:gd name="T10" fmla="*/ 468 w 579"/>
                  <a:gd name="T11" fmla="*/ 236 h 487"/>
                  <a:gd name="T12" fmla="*/ 453 w 579"/>
                  <a:gd name="T13" fmla="*/ 212 h 487"/>
                  <a:gd name="T14" fmla="*/ 460 w 579"/>
                  <a:gd name="T15" fmla="*/ 176 h 487"/>
                  <a:gd name="T16" fmla="*/ 438 w 579"/>
                  <a:gd name="T17" fmla="*/ 146 h 487"/>
                  <a:gd name="T18" fmla="*/ 435 w 579"/>
                  <a:gd name="T19" fmla="*/ 123 h 487"/>
                  <a:gd name="T20" fmla="*/ 428 w 579"/>
                  <a:gd name="T21" fmla="*/ 117 h 487"/>
                  <a:gd name="T22" fmla="*/ 420 w 579"/>
                  <a:gd name="T23" fmla="*/ 91 h 487"/>
                  <a:gd name="T24" fmla="*/ 393 w 579"/>
                  <a:gd name="T25" fmla="*/ 76 h 487"/>
                  <a:gd name="T26" fmla="*/ 398 w 579"/>
                  <a:gd name="T27" fmla="*/ 91 h 487"/>
                  <a:gd name="T28" fmla="*/ 391 w 579"/>
                  <a:gd name="T29" fmla="*/ 118 h 487"/>
                  <a:gd name="T30" fmla="*/ 378 w 579"/>
                  <a:gd name="T31" fmla="*/ 99 h 487"/>
                  <a:gd name="T32" fmla="*/ 373 w 579"/>
                  <a:gd name="T33" fmla="*/ 62 h 487"/>
                  <a:gd name="T34" fmla="*/ 371 w 579"/>
                  <a:gd name="T35" fmla="*/ 49 h 487"/>
                  <a:gd name="T36" fmla="*/ 362 w 579"/>
                  <a:gd name="T37" fmla="*/ 25 h 487"/>
                  <a:gd name="T38" fmla="*/ 373 w 579"/>
                  <a:gd name="T39" fmla="*/ 23 h 487"/>
                  <a:gd name="T40" fmla="*/ 330 w 579"/>
                  <a:gd name="T41" fmla="*/ 0 h 487"/>
                  <a:gd name="T42" fmla="*/ 307 w 579"/>
                  <a:gd name="T43" fmla="*/ 13 h 487"/>
                  <a:gd name="T44" fmla="*/ 280 w 579"/>
                  <a:gd name="T45" fmla="*/ 10 h 487"/>
                  <a:gd name="T46" fmla="*/ 261 w 579"/>
                  <a:gd name="T47" fmla="*/ 33 h 487"/>
                  <a:gd name="T48" fmla="*/ 254 w 579"/>
                  <a:gd name="T49" fmla="*/ 57 h 487"/>
                  <a:gd name="T50" fmla="*/ 252 w 579"/>
                  <a:gd name="T51" fmla="*/ 92 h 487"/>
                  <a:gd name="T52" fmla="*/ 251 w 579"/>
                  <a:gd name="T53" fmla="*/ 123 h 487"/>
                  <a:gd name="T54" fmla="*/ 226 w 579"/>
                  <a:gd name="T55" fmla="*/ 142 h 487"/>
                  <a:gd name="T56" fmla="*/ 219 w 579"/>
                  <a:gd name="T57" fmla="*/ 166 h 487"/>
                  <a:gd name="T58" fmla="*/ 214 w 579"/>
                  <a:gd name="T59" fmla="*/ 198 h 487"/>
                  <a:gd name="T60" fmla="*/ 206 w 579"/>
                  <a:gd name="T61" fmla="*/ 219 h 487"/>
                  <a:gd name="T62" fmla="*/ 198 w 579"/>
                  <a:gd name="T63" fmla="*/ 242 h 487"/>
                  <a:gd name="T64" fmla="*/ 170 w 579"/>
                  <a:gd name="T65" fmla="*/ 260 h 487"/>
                  <a:gd name="T66" fmla="*/ 148 w 579"/>
                  <a:gd name="T67" fmla="*/ 257 h 487"/>
                  <a:gd name="T68" fmla="*/ 127 w 579"/>
                  <a:gd name="T69" fmla="*/ 257 h 487"/>
                  <a:gd name="T70" fmla="*/ 106 w 579"/>
                  <a:gd name="T71" fmla="*/ 257 h 487"/>
                  <a:gd name="T72" fmla="*/ 90 w 579"/>
                  <a:gd name="T73" fmla="*/ 264 h 487"/>
                  <a:gd name="T74" fmla="*/ 59 w 579"/>
                  <a:gd name="T75" fmla="*/ 283 h 487"/>
                  <a:gd name="T76" fmla="*/ 38 w 579"/>
                  <a:gd name="T77" fmla="*/ 284 h 487"/>
                  <a:gd name="T78" fmla="*/ 15 w 579"/>
                  <a:gd name="T79" fmla="*/ 281 h 487"/>
                  <a:gd name="T80" fmla="*/ 7 w 579"/>
                  <a:gd name="T81" fmla="*/ 292 h 487"/>
                  <a:gd name="T82" fmla="*/ 39 w 579"/>
                  <a:gd name="T83" fmla="*/ 331 h 487"/>
                  <a:gd name="T84" fmla="*/ 85 w 579"/>
                  <a:gd name="T85" fmla="*/ 337 h 487"/>
                  <a:gd name="T86" fmla="*/ 102 w 579"/>
                  <a:gd name="T87" fmla="*/ 349 h 487"/>
                  <a:gd name="T88" fmla="*/ 146 w 579"/>
                  <a:gd name="T89" fmla="*/ 397 h 487"/>
                  <a:gd name="T90" fmla="*/ 212 w 579"/>
                  <a:gd name="T91" fmla="*/ 410 h 487"/>
                  <a:gd name="T92" fmla="*/ 231 w 579"/>
                  <a:gd name="T93" fmla="*/ 410 h 487"/>
                  <a:gd name="T94" fmla="*/ 265 w 579"/>
                  <a:gd name="T95" fmla="*/ 387 h 487"/>
                  <a:gd name="T96" fmla="*/ 308 w 579"/>
                  <a:gd name="T97" fmla="*/ 415 h 487"/>
                  <a:gd name="T98" fmla="*/ 328 w 579"/>
                  <a:gd name="T99" fmla="*/ 433 h 487"/>
                  <a:gd name="T100" fmla="*/ 369 w 579"/>
                  <a:gd name="T101" fmla="*/ 443 h 487"/>
                  <a:gd name="T102" fmla="*/ 369 w 579"/>
                  <a:gd name="T103" fmla="*/ 471 h 487"/>
                  <a:gd name="T104" fmla="*/ 381 w 579"/>
                  <a:gd name="T105" fmla="*/ 483 h 487"/>
                  <a:gd name="T106" fmla="*/ 388 w 579"/>
                  <a:gd name="T107" fmla="*/ 454 h 487"/>
                  <a:gd name="T108" fmla="*/ 396 w 579"/>
                  <a:gd name="T109" fmla="*/ 444 h 487"/>
                  <a:gd name="T110" fmla="*/ 409 w 579"/>
                  <a:gd name="T111" fmla="*/ 422 h 487"/>
                  <a:gd name="T112" fmla="*/ 421 w 579"/>
                  <a:gd name="T113" fmla="*/ 413 h 487"/>
                  <a:gd name="T114" fmla="*/ 440 w 579"/>
                  <a:gd name="T115" fmla="*/ 389 h 487"/>
                  <a:gd name="T116" fmla="*/ 450 w 579"/>
                  <a:gd name="T117" fmla="*/ 376 h 487"/>
                  <a:gd name="T118" fmla="*/ 484 w 579"/>
                  <a:gd name="T119" fmla="*/ 391 h 487"/>
                  <a:gd name="T120" fmla="*/ 525 w 579"/>
                  <a:gd name="T121" fmla="*/ 394 h 487"/>
                  <a:gd name="T122" fmla="*/ 579 w 579"/>
                  <a:gd name="T123" fmla="*/ 397 h 487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79"/>
                  <a:gd name="T187" fmla="*/ 0 h 487"/>
                  <a:gd name="T188" fmla="*/ 579 w 579"/>
                  <a:gd name="T189" fmla="*/ 487 h 487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79" h="487">
                    <a:moveTo>
                      <a:pt x="577" y="389"/>
                    </a:moveTo>
                    <a:lnTo>
                      <a:pt x="577" y="387"/>
                    </a:lnTo>
                    <a:lnTo>
                      <a:pt x="577" y="386"/>
                    </a:lnTo>
                    <a:lnTo>
                      <a:pt x="578" y="385"/>
                    </a:lnTo>
                    <a:lnTo>
                      <a:pt x="575" y="386"/>
                    </a:lnTo>
                    <a:lnTo>
                      <a:pt x="574" y="384"/>
                    </a:lnTo>
                    <a:lnTo>
                      <a:pt x="574" y="382"/>
                    </a:lnTo>
                    <a:lnTo>
                      <a:pt x="572" y="378"/>
                    </a:lnTo>
                    <a:lnTo>
                      <a:pt x="569" y="369"/>
                    </a:lnTo>
                    <a:lnTo>
                      <a:pt x="564" y="369"/>
                    </a:lnTo>
                    <a:lnTo>
                      <a:pt x="559" y="362"/>
                    </a:lnTo>
                    <a:lnTo>
                      <a:pt x="557" y="362"/>
                    </a:lnTo>
                    <a:lnTo>
                      <a:pt x="555" y="364"/>
                    </a:lnTo>
                    <a:lnTo>
                      <a:pt x="552" y="361"/>
                    </a:lnTo>
                    <a:lnTo>
                      <a:pt x="556" y="355"/>
                    </a:lnTo>
                    <a:lnTo>
                      <a:pt x="556" y="353"/>
                    </a:lnTo>
                    <a:lnTo>
                      <a:pt x="557" y="352"/>
                    </a:lnTo>
                    <a:lnTo>
                      <a:pt x="554" y="349"/>
                    </a:lnTo>
                    <a:lnTo>
                      <a:pt x="549" y="345"/>
                    </a:lnTo>
                    <a:lnTo>
                      <a:pt x="545" y="346"/>
                    </a:lnTo>
                    <a:lnTo>
                      <a:pt x="545" y="345"/>
                    </a:lnTo>
                    <a:lnTo>
                      <a:pt x="543" y="339"/>
                    </a:lnTo>
                    <a:lnTo>
                      <a:pt x="543" y="342"/>
                    </a:lnTo>
                    <a:lnTo>
                      <a:pt x="537" y="344"/>
                    </a:lnTo>
                    <a:lnTo>
                      <a:pt x="535" y="341"/>
                    </a:lnTo>
                    <a:lnTo>
                      <a:pt x="534" y="341"/>
                    </a:lnTo>
                    <a:lnTo>
                      <a:pt x="531" y="342"/>
                    </a:lnTo>
                    <a:lnTo>
                      <a:pt x="531" y="341"/>
                    </a:lnTo>
                    <a:lnTo>
                      <a:pt x="530" y="342"/>
                    </a:lnTo>
                    <a:lnTo>
                      <a:pt x="529" y="342"/>
                    </a:lnTo>
                    <a:lnTo>
                      <a:pt x="524" y="345"/>
                    </a:lnTo>
                    <a:lnTo>
                      <a:pt x="521" y="341"/>
                    </a:lnTo>
                    <a:lnTo>
                      <a:pt x="520" y="341"/>
                    </a:lnTo>
                    <a:lnTo>
                      <a:pt x="517" y="336"/>
                    </a:lnTo>
                    <a:lnTo>
                      <a:pt x="515" y="334"/>
                    </a:lnTo>
                    <a:lnTo>
                      <a:pt x="515" y="329"/>
                    </a:lnTo>
                    <a:lnTo>
                      <a:pt x="510" y="330"/>
                    </a:lnTo>
                    <a:lnTo>
                      <a:pt x="509" y="332"/>
                    </a:lnTo>
                    <a:lnTo>
                      <a:pt x="509" y="331"/>
                    </a:lnTo>
                    <a:lnTo>
                      <a:pt x="508" y="331"/>
                    </a:lnTo>
                    <a:lnTo>
                      <a:pt x="507" y="331"/>
                    </a:lnTo>
                    <a:lnTo>
                      <a:pt x="506" y="331"/>
                    </a:lnTo>
                    <a:lnTo>
                      <a:pt x="504" y="330"/>
                    </a:lnTo>
                    <a:lnTo>
                      <a:pt x="503" y="329"/>
                    </a:lnTo>
                    <a:lnTo>
                      <a:pt x="504" y="328"/>
                    </a:lnTo>
                    <a:lnTo>
                      <a:pt x="503" y="327"/>
                    </a:lnTo>
                    <a:lnTo>
                      <a:pt x="505" y="325"/>
                    </a:lnTo>
                    <a:lnTo>
                      <a:pt x="505" y="324"/>
                    </a:lnTo>
                    <a:lnTo>
                      <a:pt x="506" y="322"/>
                    </a:lnTo>
                    <a:lnTo>
                      <a:pt x="505" y="321"/>
                    </a:lnTo>
                    <a:lnTo>
                      <a:pt x="506" y="318"/>
                    </a:lnTo>
                    <a:lnTo>
                      <a:pt x="504" y="315"/>
                    </a:lnTo>
                    <a:lnTo>
                      <a:pt x="504" y="317"/>
                    </a:lnTo>
                    <a:lnTo>
                      <a:pt x="501" y="315"/>
                    </a:lnTo>
                    <a:lnTo>
                      <a:pt x="502" y="314"/>
                    </a:lnTo>
                    <a:lnTo>
                      <a:pt x="500" y="312"/>
                    </a:lnTo>
                    <a:lnTo>
                      <a:pt x="497" y="313"/>
                    </a:lnTo>
                    <a:lnTo>
                      <a:pt x="496" y="312"/>
                    </a:lnTo>
                    <a:lnTo>
                      <a:pt x="493" y="312"/>
                    </a:lnTo>
                    <a:lnTo>
                      <a:pt x="492" y="310"/>
                    </a:lnTo>
                    <a:lnTo>
                      <a:pt x="491" y="310"/>
                    </a:lnTo>
                    <a:lnTo>
                      <a:pt x="490" y="310"/>
                    </a:lnTo>
                    <a:lnTo>
                      <a:pt x="488" y="310"/>
                    </a:lnTo>
                    <a:lnTo>
                      <a:pt x="486" y="309"/>
                    </a:lnTo>
                    <a:lnTo>
                      <a:pt x="485" y="310"/>
                    </a:lnTo>
                    <a:lnTo>
                      <a:pt x="483" y="310"/>
                    </a:lnTo>
                    <a:lnTo>
                      <a:pt x="484" y="305"/>
                    </a:lnTo>
                    <a:lnTo>
                      <a:pt x="482" y="304"/>
                    </a:lnTo>
                    <a:lnTo>
                      <a:pt x="482" y="301"/>
                    </a:lnTo>
                    <a:lnTo>
                      <a:pt x="480" y="301"/>
                    </a:lnTo>
                    <a:lnTo>
                      <a:pt x="478" y="302"/>
                    </a:lnTo>
                    <a:lnTo>
                      <a:pt x="478" y="298"/>
                    </a:lnTo>
                    <a:lnTo>
                      <a:pt x="471" y="297"/>
                    </a:lnTo>
                    <a:lnTo>
                      <a:pt x="470" y="299"/>
                    </a:lnTo>
                    <a:lnTo>
                      <a:pt x="469" y="300"/>
                    </a:lnTo>
                    <a:lnTo>
                      <a:pt x="468" y="299"/>
                    </a:lnTo>
                    <a:lnTo>
                      <a:pt x="469" y="297"/>
                    </a:lnTo>
                    <a:lnTo>
                      <a:pt x="470" y="295"/>
                    </a:lnTo>
                    <a:lnTo>
                      <a:pt x="470" y="294"/>
                    </a:lnTo>
                    <a:lnTo>
                      <a:pt x="472" y="291"/>
                    </a:lnTo>
                    <a:lnTo>
                      <a:pt x="473" y="289"/>
                    </a:lnTo>
                    <a:lnTo>
                      <a:pt x="473" y="285"/>
                    </a:lnTo>
                    <a:lnTo>
                      <a:pt x="473" y="284"/>
                    </a:lnTo>
                    <a:lnTo>
                      <a:pt x="473" y="282"/>
                    </a:lnTo>
                    <a:lnTo>
                      <a:pt x="472" y="280"/>
                    </a:lnTo>
                    <a:lnTo>
                      <a:pt x="470" y="280"/>
                    </a:lnTo>
                    <a:lnTo>
                      <a:pt x="470" y="273"/>
                    </a:lnTo>
                    <a:lnTo>
                      <a:pt x="469" y="272"/>
                    </a:lnTo>
                    <a:lnTo>
                      <a:pt x="466" y="272"/>
                    </a:lnTo>
                    <a:lnTo>
                      <a:pt x="461" y="274"/>
                    </a:lnTo>
                    <a:lnTo>
                      <a:pt x="457" y="275"/>
                    </a:lnTo>
                    <a:lnTo>
                      <a:pt x="455" y="276"/>
                    </a:lnTo>
                    <a:lnTo>
                      <a:pt x="454" y="275"/>
                    </a:lnTo>
                    <a:lnTo>
                      <a:pt x="453" y="276"/>
                    </a:lnTo>
                    <a:lnTo>
                      <a:pt x="452" y="276"/>
                    </a:lnTo>
                    <a:lnTo>
                      <a:pt x="450" y="278"/>
                    </a:lnTo>
                    <a:lnTo>
                      <a:pt x="449" y="277"/>
                    </a:lnTo>
                    <a:lnTo>
                      <a:pt x="447" y="278"/>
                    </a:lnTo>
                    <a:lnTo>
                      <a:pt x="441" y="276"/>
                    </a:lnTo>
                    <a:lnTo>
                      <a:pt x="443" y="274"/>
                    </a:lnTo>
                    <a:lnTo>
                      <a:pt x="444" y="272"/>
                    </a:lnTo>
                    <a:lnTo>
                      <a:pt x="443" y="270"/>
                    </a:lnTo>
                    <a:lnTo>
                      <a:pt x="442" y="271"/>
                    </a:lnTo>
                    <a:lnTo>
                      <a:pt x="442" y="263"/>
                    </a:lnTo>
                    <a:lnTo>
                      <a:pt x="447" y="264"/>
                    </a:lnTo>
                    <a:lnTo>
                      <a:pt x="448" y="265"/>
                    </a:lnTo>
                    <a:lnTo>
                      <a:pt x="450" y="264"/>
                    </a:lnTo>
                    <a:lnTo>
                      <a:pt x="450" y="261"/>
                    </a:lnTo>
                    <a:lnTo>
                      <a:pt x="452" y="255"/>
                    </a:lnTo>
                    <a:lnTo>
                      <a:pt x="453" y="251"/>
                    </a:lnTo>
                    <a:lnTo>
                      <a:pt x="455" y="250"/>
                    </a:lnTo>
                    <a:lnTo>
                      <a:pt x="457" y="251"/>
                    </a:lnTo>
                    <a:lnTo>
                      <a:pt x="458" y="251"/>
                    </a:lnTo>
                    <a:lnTo>
                      <a:pt x="459" y="251"/>
                    </a:lnTo>
                    <a:lnTo>
                      <a:pt x="460" y="250"/>
                    </a:lnTo>
                    <a:lnTo>
                      <a:pt x="460" y="249"/>
                    </a:lnTo>
                    <a:lnTo>
                      <a:pt x="461" y="250"/>
                    </a:lnTo>
                    <a:lnTo>
                      <a:pt x="462" y="249"/>
                    </a:lnTo>
                    <a:lnTo>
                      <a:pt x="464" y="250"/>
                    </a:lnTo>
                    <a:lnTo>
                      <a:pt x="466" y="240"/>
                    </a:lnTo>
                    <a:lnTo>
                      <a:pt x="468" y="240"/>
                    </a:lnTo>
                    <a:lnTo>
                      <a:pt x="468" y="238"/>
                    </a:lnTo>
                    <a:lnTo>
                      <a:pt x="468" y="237"/>
                    </a:lnTo>
                    <a:lnTo>
                      <a:pt x="468" y="236"/>
                    </a:lnTo>
                    <a:lnTo>
                      <a:pt x="470" y="231"/>
                    </a:lnTo>
                    <a:lnTo>
                      <a:pt x="469" y="229"/>
                    </a:lnTo>
                    <a:lnTo>
                      <a:pt x="468" y="229"/>
                    </a:lnTo>
                    <a:lnTo>
                      <a:pt x="466" y="233"/>
                    </a:lnTo>
                    <a:lnTo>
                      <a:pt x="464" y="233"/>
                    </a:lnTo>
                    <a:lnTo>
                      <a:pt x="463" y="232"/>
                    </a:lnTo>
                    <a:lnTo>
                      <a:pt x="461" y="232"/>
                    </a:lnTo>
                    <a:lnTo>
                      <a:pt x="461" y="231"/>
                    </a:lnTo>
                    <a:lnTo>
                      <a:pt x="457" y="231"/>
                    </a:lnTo>
                    <a:lnTo>
                      <a:pt x="457" y="233"/>
                    </a:lnTo>
                    <a:lnTo>
                      <a:pt x="455" y="231"/>
                    </a:lnTo>
                    <a:lnTo>
                      <a:pt x="457" y="230"/>
                    </a:lnTo>
                    <a:lnTo>
                      <a:pt x="457" y="227"/>
                    </a:lnTo>
                    <a:lnTo>
                      <a:pt x="458" y="227"/>
                    </a:lnTo>
                    <a:lnTo>
                      <a:pt x="460" y="225"/>
                    </a:lnTo>
                    <a:lnTo>
                      <a:pt x="460" y="223"/>
                    </a:lnTo>
                    <a:lnTo>
                      <a:pt x="459" y="223"/>
                    </a:lnTo>
                    <a:lnTo>
                      <a:pt x="458" y="223"/>
                    </a:lnTo>
                    <a:lnTo>
                      <a:pt x="457" y="222"/>
                    </a:lnTo>
                    <a:lnTo>
                      <a:pt x="457" y="217"/>
                    </a:lnTo>
                    <a:lnTo>
                      <a:pt x="455" y="214"/>
                    </a:lnTo>
                    <a:lnTo>
                      <a:pt x="453" y="212"/>
                    </a:lnTo>
                    <a:lnTo>
                      <a:pt x="457" y="207"/>
                    </a:lnTo>
                    <a:lnTo>
                      <a:pt x="457" y="204"/>
                    </a:lnTo>
                    <a:lnTo>
                      <a:pt x="455" y="202"/>
                    </a:lnTo>
                    <a:lnTo>
                      <a:pt x="455" y="200"/>
                    </a:lnTo>
                    <a:lnTo>
                      <a:pt x="453" y="199"/>
                    </a:lnTo>
                    <a:lnTo>
                      <a:pt x="453" y="196"/>
                    </a:lnTo>
                    <a:lnTo>
                      <a:pt x="456" y="195"/>
                    </a:lnTo>
                    <a:lnTo>
                      <a:pt x="457" y="193"/>
                    </a:lnTo>
                    <a:lnTo>
                      <a:pt x="459" y="192"/>
                    </a:lnTo>
                    <a:lnTo>
                      <a:pt x="460" y="188"/>
                    </a:lnTo>
                    <a:lnTo>
                      <a:pt x="460" y="187"/>
                    </a:lnTo>
                    <a:lnTo>
                      <a:pt x="462" y="185"/>
                    </a:lnTo>
                    <a:lnTo>
                      <a:pt x="463" y="185"/>
                    </a:lnTo>
                    <a:lnTo>
                      <a:pt x="463" y="183"/>
                    </a:lnTo>
                    <a:lnTo>
                      <a:pt x="461" y="183"/>
                    </a:lnTo>
                    <a:lnTo>
                      <a:pt x="462" y="182"/>
                    </a:lnTo>
                    <a:lnTo>
                      <a:pt x="461" y="182"/>
                    </a:lnTo>
                    <a:lnTo>
                      <a:pt x="461" y="178"/>
                    </a:lnTo>
                    <a:lnTo>
                      <a:pt x="461" y="176"/>
                    </a:lnTo>
                    <a:lnTo>
                      <a:pt x="460" y="175"/>
                    </a:lnTo>
                    <a:lnTo>
                      <a:pt x="460" y="176"/>
                    </a:lnTo>
                    <a:lnTo>
                      <a:pt x="459" y="174"/>
                    </a:lnTo>
                    <a:lnTo>
                      <a:pt x="459" y="171"/>
                    </a:lnTo>
                    <a:lnTo>
                      <a:pt x="458" y="168"/>
                    </a:lnTo>
                    <a:lnTo>
                      <a:pt x="457" y="165"/>
                    </a:lnTo>
                    <a:lnTo>
                      <a:pt x="458" y="165"/>
                    </a:lnTo>
                    <a:lnTo>
                      <a:pt x="458" y="164"/>
                    </a:lnTo>
                    <a:lnTo>
                      <a:pt x="459" y="163"/>
                    </a:lnTo>
                    <a:lnTo>
                      <a:pt x="459" y="160"/>
                    </a:lnTo>
                    <a:lnTo>
                      <a:pt x="456" y="161"/>
                    </a:lnTo>
                    <a:lnTo>
                      <a:pt x="454" y="157"/>
                    </a:lnTo>
                    <a:lnTo>
                      <a:pt x="453" y="155"/>
                    </a:lnTo>
                    <a:lnTo>
                      <a:pt x="453" y="154"/>
                    </a:lnTo>
                    <a:lnTo>
                      <a:pt x="452" y="153"/>
                    </a:lnTo>
                    <a:lnTo>
                      <a:pt x="449" y="152"/>
                    </a:lnTo>
                    <a:lnTo>
                      <a:pt x="447" y="152"/>
                    </a:lnTo>
                    <a:lnTo>
                      <a:pt x="444" y="149"/>
                    </a:lnTo>
                    <a:lnTo>
                      <a:pt x="442" y="149"/>
                    </a:lnTo>
                    <a:lnTo>
                      <a:pt x="439" y="148"/>
                    </a:lnTo>
                    <a:lnTo>
                      <a:pt x="438" y="146"/>
                    </a:lnTo>
                    <a:lnTo>
                      <a:pt x="439" y="146"/>
                    </a:lnTo>
                    <a:lnTo>
                      <a:pt x="436" y="143"/>
                    </a:lnTo>
                    <a:lnTo>
                      <a:pt x="435" y="144"/>
                    </a:lnTo>
                    <a:lnTo>
                      <a:pt x="434" y="142"/>
                    </a:lnTo>
                    <a:lnTo>
                      <a:pt x="436" y="141"/>
                    </a:lnTo>
                    <a:lnTo>
                      <a:pt x="436" y="139"/>
                    </a:lnTo>
                    <a:lnTo>
                      <a:pt x="436" y="138"/>
                    </a:lnTo>
                    <a:lnTo>
                      <a:pt x="435" y="137"/>
                    </a:lnTo>
                    <a:lnTo>
                      <a:pt x="437" y="134"/>
                    </a:lnTo>
                    <a:lnTo>
                      <a:pt x="438" y="133"/>
                    </a:lnTo>
                    <a:lnTo>
                      <a:pt x="438" y="131"/>
                    </a:lnTo>
                    <a:lnTo>
                      <a:pt x="438" y="129"/>
                    </a:lnTo>
                    <a:lnTo>
                      <a:pt x="441" y="127"/>
                    </a:lnTo>
                    <a:lnTo>
                      <a:pt x="441" y="125"/>
                    </a:lnTo>
                    <a:lnTo>
                      <a:pt x="439" y="123"/>
                    </a:lnTo>
                    <a:lnTo>
                      <a:pt x="438" y="120"/>
                    </a:lnTo>
                    <a:lnTo>
                      <a:pt x="438" y="118"/>
                    </a:lnTo>
                    <a:lnTo>
                      <a:pt x="437" y="118"/>
                    </a:lnTo>
                    <a:lnTo>
                      <a:pt x="438" y="120"/>
                    </a:lnTo>
                    <a:lnTo>
                      <a:pt x="437" y="122"/>
                    </a:lnTo>
                    <a:lnTo>
                      <a:pt x="437" y="123"/>
                    </a:lnTo>
                    <a:lnTo>
                      <a:pt x="435" y="123"/>
                    </a:lnTo>
                    <a:lnTo>
                      <a:pt x="436" y="123"/>
                    </a:lnTo>
                    <a:lnTo>
                      <a:pt x="436" y="125"/>
                    </a:lnTo>
                    <a:lnTo>
                      <a:pt x="436" y="126"/>
                    </a:lnTo>
                    <a:lnTo>
                      <a:pt x="437" y="126"/>
                    </a:lnTo>
                    <a:lnTo>
                      <a:pt x="436" y="127"/>
                    </a:lnTo>
                    <a:lnTo>
                      <a:pt x="436" y="128"/>
                    </a:lnTo>
                    <a:lnTo>
                      <a:pt x="434" y="127"/>
                    </a:lnTo>
                    <a:lnTo>
                      <a:pt x="433" y="127"/>
                    </a:lnTo>
                    <a:lnTo>
                      <a:pt x="433" y="128"/>
                    </a:lnTo>
                    <a:lnTo>
                      <a:pt x="432" y="128"/>
                    </a:lnTo>
                    <a:lnTo>
                      <a:pt x="432" y="126"/>
                    </a:lnTo>
                    <a:lnTo>
                      <a:pt x="432" y="125"/>
                    </a:lnTo>
                    <a:lnTo>
                      <a:pt x="431" y="125"/>
                    </a:lnTo>
                    <a:lnTo>
                      <a:pt x="430" y="122"/>
                    </a:lnTo>
                    <a:lnTo>
                      <a:pt x="431" y="120"/>
                    </a:lnTo>
                    <a:lnTo>
                      <a:pt x="427" y="120"/>
                    </a:lnTo>
                    <a:lnTo>
                      <a:pt x="427" y="118"/>
                    </a:lnTo>
                    <a:lnTo>
                      <a:pt x="429" y="119"/>
                    </a:lnTo>
                    <a:lnTo>
                      <a:pt x="429" y="117"/>
                    </a:lnTo>
                    <a:lnTo>
                      <a:pt x="428" y="117"/>
                    </a:lnTo>
                    <a:lnTo>
                      <a:pt x="429" y="114"/>
                    </a:lnTo>
                    <a:lnTo>
                      <a:pt x="429" y="113"/>
                    </a:lnTo>
                    <a:lnTo>
                      <a:pt x="427" y="113"/>
                    </a:lnTo>
                    <a:lnTo>
                      <a:pt x="427" y="112"/>
                    </a:lnTo>
                    <a:lnTo>
                      <a:pt x="425" y="112"/>
                    </a:lnTo>
                    <a:lnTo>
                      <a:pt x="424" y="112"/>
                    </a:lnTo>
                    <a:lnTo>
                      <a:pt x="421" y="109"/>
                    </a:lnTo>
                    <a:lnTo>
                      <a:pt x="422" y="108"/>
                    </a:lnTo>
                    <a:lnTo>
                      <a:pt x="423" y="106"/>
                    </a:lnTo>
                    <a:lnTo>
                      <a:pt x="423" y="104"/>
                    </a:lnTo>
                    <a:lnTo>
                      <a:pt x="422" y="99"/>
                    </a:lnTo>
                    <a:lnTo>
                      <a:pt x="422" y="95"/>
                    </a:lnTo>
                    <a:lnTo>
                      <a:pt x="421" y="93"/>
                    </a:lnTo>
                    <a:lnTo>
                      <a:pt x="420" y="94"/>
                    </a:lnTo>
                    <a:lnTo>
                      <a:pt x="419" y="92"/>
                    </a:lnTo>
                    <a:lnTo>
                      <a:pt x="418" y="92"/>
                    </a:lnTo>
                    <a:lnTo>
                      <a:pt x="418" y="91"/>
                    </a:lnTo>
                    <a:lnTo>
                      <a:pt x="420" y="91"/>
                    </a:lnTo>
                    <a:lnTo>
                      <a:pt x="421" y="91"/>
                    </a:lnTo>
                    <a:lnTo>
                      <a:pt x="420" y="89"/>
                    </a:lnTo>
                    <a:lnTo>
                      <a:pt x="416" y="88"/>
                    </a:lnTo>
                    <a:lnTo>
                      <a:pt x="416" y="86"/>
                    </a:lnTo>
                    <a:lnTo>
                      <a:pt x="414" y="86"/>
                    </a:lnTo>
                    <a:lnTo>
                      <a:pt x="414" y="85"/>
                    </a:lnTo>
                    <a:lnTo>
                      <a:pt x="416" y="85"/>
                    </a:lnTo>
                    <a:lnTo>
                      <a:pt x="416" y="81"/>
                    </a:lnTo>
                    <a:lnTo>
                      <a:pt x="414" y="79"/>
                    </a:lnTo>
                    <a:lnTo>
                      <a:pt x="413" y="78"/>
                    </a:lnTo>
                    <a:lnTo>
                      <a:pt x="414" y="77"/>
                    </a:lnTo>
                    <a:lnTo>
                      <a:pt x="413" y="76"/>
                    </a:lnTo>
                    <a:lnTo>
                      <a:pt x="411" y="75"/>
                    </a:lnTo>
                    <a:lnTo>
                      <a:pt x="409" y="78"/>
                    </a:lnTo>
                    <a:lnTo>
                      <a:pt x="406" y="72"/>
                    </a:lnTo>
                    <a:lnTo>
                      <a:pt x="405" y="72"/>
                    </a:lnTo>
                    <a:lnTo>
                      <a:pt x="404" y="73"/>
                    </a:lnTo>
                    <a:lnTo>
                      <a:pt x="403" y="72"/>
                    </a:lnTo>
                    <a:lnTo>
                      <a:pt x="397" y="76"/>
                    </a:lnTo>
                    <a:lnTo>
                      <a:pt x="395" y="76"/>
                    </a:lnTo>
                    <a:lnTo>
                      <a:pt x="393" y="76"/>
                    </a:lnTo>
                    <a:lnTo>
                      <a:pt x="394" y="77"/>
                    </a:lnTo>
                    <a:lnTo>
                      <a:pt x="395" y="77"/>
                    </a:lnTo>
                    <a:lnTo>
                      <a:pt x="395" y="78"/>
                    </a:lnTo>
                    <a:lnTo>
                      <a:pt x="394" y="78"/>
                    </a:lnTo>
                    <a:lnTo>
                      <a:pt x="393" y="79"/>
                    </a:lnTo>
                    <a:lnTo>
                      <a:pt x="392" y="80"/>
                    </a:lnTo>
                    <a:lnTo>
                      <a:pt x="390" y="79"/>
                    </a:lnTo>
                    <a:lnTo>
                      <a:pt x="389" y="80"/>
                    </a:lnTo>
                    <a:lnTo>
                      <a:pt x="391" y="80"/>
                    </a:lnTo>
                    <a:lnTo>
                      <a:pt x="392" y="82"/>
                    </a:lnTo>
                    <a:lnTo>
                      <a:pt x="391" y="85"/>
                    </a:lnTo>
                    <a:lnTo>
                      <a:pt x="392" y="85"/>
                    </a:lnTo>
                    <a:lnTo>
                      <a:pt x="393" y="85"/>
                    </a:lnTo>
                    <a:lnTo>
                      <a:pt x="394" y="85"/>
                    </a:lnTo>
                    <a:lnTo>
                      <a:pt x="395" y="86"/>
                    </a:lnTo>
                    <a:lnTo>
                      <a:pt x="395" y="89"/>
                    </a:lnTo>
                    <a:lnTo>
                      <a:pt x="396" y="89"/>
                    </a:lnTo>
                    <a:lnTo>
                      <a:pt x="396" y="91"/>
                    </a:lnTo>
                    <a:lnTo>
                      <a:pt x="397" y="90"/>
                    </a:lnTo>
                    <a:lnTo>
                      <a:pt x="398" y="90"/>
                    </a:lnTo>
                    <a:lnTo>
                      <a:pt x="398" y="91"/>
                    </a:lnTo>
                    <a:lnTo>
                      <a:pt x="400" y="92"/>
                    </a:lnTo>
                    <a:lnTo>
                      <a:pt x="399" y="93"/>
                    </a:lnTo>
                    <a:lnTo>
                      <a:pt x="399" y="94"/>
                    </a:lnTo>
                    <a:lnTo>
                      <a:pt x="397" y="95"/>
                    </a:lnTo>
                    <a:lnTo>
                      <a:pt x="397" y="96"/>
                    </a:lnTo>
                    <a:lnTo>
                      <a:pt x="397" y="97"/>
                    </a:lnTo>
                    <a:lnTo>
                      <a:pt x="400" y="99"/>
                    </a:lnTo>
                    <a:lnTo>
                      <a:pt x="401" y="99"/>
                    </a:lnTo>
                    <a:lnTo>
                      <a:pt x="400" y="102"/>
                    </a:lnTo>
                    <a:lnTo>
                      <a:pt x="403" y="105"/>
                    </a:lnTo>
                    <a:lnTo>
                      <a:pt x="400" y="107"/>
                    </a:lnTo>
                    <a:lnTo>
                      <a:pt x="399" y="108"/>
                    </a:lnTo>
                    <a:lnTo>
                      <a:pt x="398" y="105"/>
                    </a:lnTo>
                    <a:lnTo>
                      <a:pt x="396" y="110"/>
                    </a:lnTo>
                    <a:lnTo>
                      <a:pt x="395" y="110"/>
                    </a:lnTo>
                    <a:lnTo>
                      <a:pt x="395" y="112"/>
                    </a:lnTo>
                    <a:lnTo>
                      <a:pt x="395" y="113"/>
                    </a:lnTo>
                    <a:lnTo>
                      <a:pt x="395" y="115"/>
                    </a:lnTo>
                    <a:lnTo>
                      <a:pt x="396" y="118"/>
                    </a:lnTo>
                    <a:lnTo>
                      <a:pt x="395" y="117"/>
                    </a:lnTo>
                    <a:lnTo>
                      <a:pt x="393" y="118"/>
                    </a:lnTo>
                    <a:lnTo>
                      <a:pt x="391" y="118"/>
                    </a:lnTo>
                    <a:lnTo>
                      <a:pt x="389" y="119"/>
                    </a:lnTo>
                    <a:lnTo>
                      <a:pt x="386" y="123"/>
                    </a:lnTo>
                    <a:lnTo>
                      <a:pt x="386" y="125"/>
                    </a:lnTo>
                    <a:lnTo>
                      <a:pt x="384" y="125"/>
                    </a:lnTo>
                    <a:lnTo>
                      <a:pt x="383" y="123"/>
                    </a:lnTo>
                    <a:lnTo>
                      <a:pt x="380" y="121"/>
                    </a:lnTo>
                    <a:lnTo>
                      <a:pt x="377" y="117"/>
                    </a:lnTo>
                    <a:lnTo>
                      <a:pt x="371" y="112"/>
                    </a:lnTo>
                    <a:lnTo>
                      <a:pt x="372" y="109"/>
                    </a:lnTo>
                    <a:lnTo>
                      <a:pt x="370" y="109"/>
                    </a:lnTo>
                    <a:lnTo>
                      <a:pt x="370" y="110"/>
                    </a:lnTo>
                    <a:lnTo>
                      <a:pt x="368" y="109"/>
                    </a:lnTo>
                    <a:lnTo>
                      <a:pt x="368" y="107"/>
                    </a:lnTo>
                    <a:lnTo>
                      <a:pt x="370" y="105"/>
                    </a:lnTo>
                    <a:lnTo>
                      <a:pt x="370" y="103"/>
                    </a:lnTo>
                    <a:lnTo>
                      <a:pt x="371" y="101"/>
                    </a:lnTo>
                    <a:lnTo>
                      <a:pt x="373" y="102"/>
                    </a:lnTo>
                    <a:lnTo>
                      <a:pt x="374" y="101"/>
                    </a:lnTo>
                    <a:lnTo>
                      <a:pt x="376" y="101"/>
                    </a:lnTo>
                    <a:lnTo>
                      <a:pt x="377" y="101"/>
                    </a:lnTo>
                    <a:lnTo>
                      <a:pt x="378" y="101"/>
                    </a:lnTo>
                    <a:lnTo>
                      <a:pt x="378" y="99"/>
                    </a:lnTo>
                    <a:lnTo>
                      <a:pt x="378" y="98"/>
                    </a:lnTo>
                    <a:lnTo>
                      <a:pt x="376" y="97"/>
                    </a:lnTo>
                    <a:lnTo>
                      <a:pt x="377" y="96"/>
                    </a:lnTo>
                    <a:lnTo>
                      <a:pt x="376" y="95"/>
                    </a:lnTo>
                    <a:lnTo>
                      <a:pt x="375" y="95"/>
                    </a:lnTo>
                    <a:lnTo>
                      <a:pt x="376" y="91"/>
                    </a:lnTo>
                    <a:lnTo>
                      <a:pt x="373" y="91"/>
                    </a:lnTo>
                    <a:lnTo>
                      <a:pt x="373" y="89"/>
                    </a:lnTo>
                    <a:lnTo>
                      <a:pt x="371" y="89"/>
                    </a:lnTo>
                    <a:lnTo>
                      <a:pt x="372" y="82"/>
                    </a:lnTo>
                    <a:lnTo>
                      <a:pt x="371" y="81"/>
                    </a:lnTo>
                    <a:lnTo>
                      <a:pt x="372" y="81"/>
                    </a:lnTo>
                    <a:lnTo>
                      <a:pt x="372" y="80"/>
                    </a:lnTo>
                    <a:lnTo>
                      <a:pt x="371" y="78"/>
                    </a:lnTo>
                    <a:lnTo>
                      <a:pt x="371" y="76"/>
                    </a:lnTo>
                    <a:lnTo>
                      <a:pt x="370" y="74"/>
                    </a:lnTo>
                    <a:lnTo>
                      <a:pt x="370" y="72"/>
                    </a:lnTo>
                    <a:lnTo>
                      <a:pt x="369" y="70"/>
                    </a:lnTo>
                    <a:lnTo>
                      <a:pt x="371" y="65"/>
                    </a:lnTo>
                    <a:lnTo>
                      <a:pt x="370" y="64"/>
                    </a:lnTo>
                    <a:lnTo>
                      <a:pt x="373" y="62"/>
                    </a:lnTo>
                    <a:lnTo>
                      <a:pt x="374" y="62"/>
                    </a:lnTo>
                    <a:lnTo>
                      <a:pt x="375" y="62"/>
                    </a:lnTo>
                    <a:lnTo>
                      <a:pt x="376" y="61"/>
                    </a:lnTo>
                    <a:lnTo>
                      <a:pt x="376" y="58"/>
                    </a:lnTo>
                    <a:lnTo>
                      <a:pt x="375" y="57"/>
                    </a:lnTo>
                    <a:lnTo>
                      <a:pt x="377" y="54"/>
                    </a:lnTo>
                    <a:lnTo>
                      <a:pt x="379" y="54"/>
                    </a:lnTo>
                    <a:lnTo>
                      <a:pt x="381" y="55"/>
                    </a:lnTo>
                    <a:lnTo>
                      <a:pt x="383" y="55"/>
                    </a:lnTo>
                    <a:lnTo>
                      <a:pt x="384" y="54"/>
                    </a:lnTo>
                    <a:lnTo>
                      <a:pt x="383" y="54"/>
                    </a:lnTo>
                    <a:lnTo>
                      <a:pt x="382" y="54"/>
                    </a:lnTo>
                    <a:lnTo>
                      <a:pt x="380" y="53"/>
                    </a:lnTo>
                    <a:lnTo>
                      <a:pt x="379" y="52"/>
                    </a:lnTo>
                    <a:lnTo>
                      <a:pt x="378" y="54"/>
                    </a:lnTo>
                    <a:lnTo>
                      <a:pt x="378" y="52"/>
                    </a:lnTo>
                    <a:lnTo>
                      <a:pt x="379" y="51"/>
                    </a:lnTo>
                    <a:lnTo>
                      <a:pt x="377" y="53"/>
                    </a:lnTo>
                    <a:lnTo>
                      <a:pt x="374" y="52"/>
                    </a:lnTo>
                    <a:lnTo>
                      <a:pt x="371" y="49"/>
                    </a:lnTo>
                    <a:lnTo>
                      <a:pt x="370" y="48"/>
                    </a:lnTo>
                    <a:lnTo>
                      <a:pt x="368" y="47"/>
                    </a:lnTo>
                    <a:lnTo>
                      <a:pt x="367" y="48"/>
                    </a:lnTo>
                    <a:lnTo>
                      <a:pt x="365" y="47"/>
                    </a:lnTo>
                    <a:lnTo>
                      <a:pt x="364" y="46"/>
                    </a:lnTo>
                    <a:lnTo>
                      <a:pt x="361" y="47"/>
                    </a:lnTo>
                    <a:lnTo>
                      <a:pt x="359" y="46"/>
                    </a:lnTo>
                    <a:lnTo>
                      <a:pt x="360" y="44"/>
                    </a:lnTo>
                    <a:lnTo>
                      <a:pt x="361" y="43"/>
                    </a:lnTo>
                    <a:lnTo>
                      <a:pt x="362" y="40"/>
                    </a:lnTo>
                    <a:lnTo>
                      <a:pt x="364" y="38"/>
                    </a:lnTo>
                    <a:lnTo>
                      <a:pt x="364" y="37"/>
                    </a:lnTo>
                    <a:lnTo>
                      <a:pt x="362" y="37"/>
                    </a:lnTo>
                    <a:lnTo>
                      <a:pt x="362" y="36"/>
                    </a:lnTo>
                    <a:lnTo>
                      <a:pt x="362" y="34"/>
                    </a:lnTo>
                    <a:lnTo>
                      <a:pt x="362" y="31"/>
                    </a:lnTo>
                    <a:lnTo>
                      <a:pt x="363" y="30"/>
                    </a:lnTo>
                    <a:lnTo>
                      <a:pt x="362" y="28"/>
                    </a:lnTo>
                    <a:lnTo>
                      <a:pt x="364" y="28"/>
                    </a:lnTo>
                    <a:lnTo>
                      <a:pt x="362" y="25"/>
                    </a:lnTo>
                    <a:lnTo>
                      <a:pt x="364" y="28"/>
                    </a:lnTo>
                    <a:lnTo>
                      <a:pt x="367" y="29"/>
                    </a:lnTo>
                    <a:lnTo>
                      <a:pt x="367" y="31"/>
                    </a:lnTo>
                    <a:lnTo>
                      <a:pt x="368" y="28"/>
                    </a:lnTo>
                    <a:lnTo>
                      <a:pt x="368" y="31"/>
                    </a:lnTo>
                    <a:lnTo>
                      <a:pt x="370" y="30"/>
                    </a:lnTo>
                    <a:lnTo>
                      <a:pt x="371" y="31"/>
                    </a:lnTo>
                    <a:lnTo>
                      <a:pt x="372" y="33"/>
                    </a:lnTo>
                    <a:lnTo>
                      <a:pt x="372" y="34"/>
                    </a:lnTo>
                    <a:lnTo>
                      <a:pt x="375" y="33"/>
                    </a:lnTo>
                    <a:lnTo>
                      <a:pt x="377" y="32"/>
                    </a:lnTo>
                    <a:lnTo>
                      <a:pt x="378" y="31"/>
                    </a:lnTo>
                    <a:lnTo>
                      <a:pt x="376" y="31"/>
                    </a:lnTo>
                    <a:lnTo>
                      <a:pt x="376" y="28"/>
                    </a:lnTo>
                    <a:lnTo>
                      <a:pt x="374" y="27"/>
                    </a:lnTo>
                    <a:lnTo>
                      <a:pt x="375" y="25"/>
                    </a:lnTo>
                    <a:lnTo>
                      <a:pt x="377" y="25"/>
                    </a:lnTo>
                    <a:lnTo>
                      <a:pt x="377" y="23"/>
                    </a:lnTo>
                    <a:lnTo>
                      <a:pt x="380" y="23"/>
                    </a:lnTo>
                    <a:lnTo>
                      <a:pt x="379" y="22"/>
                    </a:lnTo>
                    <a:lnTo>
                      <a:pt x="373" y="23"/>
                    </a:lnTo>
                    <a:lnTo>
                      <a:pt x="371" y="21"/>
                    </a:lnTo>
                    <a:lnTo>
                      <a:pt x="367" y="17"/>
                    </a:lnTo>
                    <a:lnTo>
                      <a:pt x="365" y="17"/>
                    </a:lnTo>
                    <a:lnTo>
                      <a:pt x="359" y="12"/>
                    </a:lnTo>
                    <a:lnTo>
                      <a:pt x="358" y="12"/>
                    </a:lnTo>
                    <a:lnTo>
                      <a:pt x="357" y="11"/>
                    </a:lnTo>
                    <a:lnTo>
                      <a:pt x="356" y="9"/>
                    </a:lnTo>
                    <a:lnTo>
                      <a:pt x="351" y="7"/>
                    </a:lnTo>
                    <a:lnTo>
                      <a:pt x="352" y="6"/>
                    </a:lnTo>
                    <a:lnTo>
                      <a:pt x="349" y="7"/>
                    </a:lnTo>
                    <a:lnTo>
                      <a:pt x="348" y="6"/>
                    </a:lnTo>
                    <a:lnTo>
                      <a:pt x="348" y="7"/>
                    </a:lnTo>
                    <a:lnTo>
                      <a:pt x="346" y="6"/>
                    </a:lnTo>
                    <a:lnTo>
                      <a:pt x="343" y="4"/>
                    </a:lnTo>
                    <a:lnTo>
                      <a:pt x="344" y="5"/>
                    </a:lnTo>
                    <a:lnTo>
                      <a:pt x="344" y="6"/>
                    </a:lnTo>
                    <a:lnTo>
                      <a:pt x="341" y="5"/>
                    </a:lnTo>
                    <a:lnTo>
                      <a:pt x="339" y="8"/>
                    </a:lnTo>
                    <a:lnTo>
                      <a:pt x="335" y="2"/>
                    </a:lnTo>
                    <a:lnTo>
                      <a:pt x="331" y="0"/>
                    </a:lnTo>
                    <a:lnTo>
                      <a:pt x="330" y="0"/>
                    </a:lnTo>
                    <a:lnTo>
                      <a:pt x="329" y="2"/>
                    </a:lnTo>
                    <a:lnTo>
                      <a:pt x="330" y="4"/>
                    </a:lnTo>
                    <a:lnTo>
                      <a:pt x="329" y="4"/>
                    </a:lnTo>
                    <a:lnTo>
                      <a:pt x="326" y="4"/>
                    </a:lnTo>
                    <a:lnTo>
                      <a:pt x="324" y="4"/>
                    </a:lnTo>
                    <a:lnTo>
                      <a:pt x="323" y="2"/>
                    </a:lnTo>
                    <a:lnTo>
                      <a:pt x="321" y="4"/>
                    </a:lnTo>
                    <a:lnTo>
                      <a:pt x="318" y="2"/>
                    </a:lnTo>
                    <a:lnTo>
                      <a:pt x="318" y="0"/>
                    </a:lnTo>
                    <a:lnTo>
                      <a:pt x="316" y="1"/>
                    </a:lnTo>
                    <a:lnTo>
                      <a:pt x="315" y="0"/>
                    </a:lnTo>
                    <a:lnTo>
                      <a:pt x="313" y="0"/>
                    </a:lnTo>
                    <a:lnTo>
                      <a:pt x="311" y="0"/>
                    </a:lnTo>
                    <a:lnTo>
                      <a:pt x="311" y="2"/>
                    </a:lnTo>
                    <a:lnTo>
                      <a:pt x="310" y="4"/>
                    </a:lnTo>
                    <a:lnTo>
                      <a:pt x="310" y="7"/>
                    </a:lnTo>
                    <a:lnTo>
                      <a:pt x="310" y="9"/>
                    </a:lnTo>
                    <a:lnTo>
                      <a:pt x="309" y="10"/>
                    </a:lnTo>
                    <a:lnTo>
                      <a:pt x="307" y="13"/>
                    </a:lnTo>
                    <a:lnTo>
                      <a:pt x="308" y="15"/>
                    </a:lnTo>
                    <a:lnTo>
                      <a:pt x="308" y="17"/>
                    </a:lnTo>
                    <a:lnTo>
                      <a:pt x="307" y="17"/>
                    </a:lnTo>
                    <a:lnTo>
                      <a:pt x="307" y="16"/>
                    </a:lnTo>
                    <a:lnTo>
                      <a:pt x="305" y="17"/>
                    </a:lnTo>
                    <a:lnTo>
                      <a:pt x="300" y="15"/>
                    </a:lnTo>
                    <a:lnTo>
                      <a:pt x="300" y="17"/>
                    </a:lnTo>
                    <a:lnTo>
                      <a:pt x="299" y="16"/>
                    </a:lnTo>
                    <a:lnTo>
                      <a:pt x="299" y="15"/>
                    </a:lnTo>
                    <a:lnTo>
                      <a:pt x="297" y="16"/>
                    </a:lnTo>
                    <a:lnTo>
                      <a:pt x="297" y="15"/>
                    </a:lnTo>
                    <a:lnTo>
                      <a:pt x="294" y="11"/>
                    </a:lnTo>
                    <a:lnTo>
                      <a:pt x="293" y="11"/>
                    </a:lnTo>
                    <a:lnTo>
                      <a:pt x="289" y="15"/>
                    </a:lnTo>
                    <a:lnTo>
                      <a:pt x="286" y="14"/>
                    </a:lnTo>
                    <a:lnTo>
                      <a:pt x="285" y="15"/>
                    </a:lnTo>
                    <a:lnTo>
                      <a:pt x="284" y="15"/>
                    </a:lnTo>
                    <a:lnTo>
                      <a:pt x="283" y="15"/>
                    </a:lnTo>
                    <a:lnTo>
                      <a:pt x="281" y="15"/>
                    </a:lnTo>
                    <a:lnTo>
                      <a:pt x="283" y="11"/>
                    </a:lnTo>
                    <a:lnTo>
                      <a:pt x="281" y="10"/>
                    </a:lnTo>
                    <a:lnTo>
                      <a:pt x="280" y="10"/>
                    </a:lnTo>
                    <a:lnTo>
                      <a:pt x="279" y="10"/>
                    </a:lnTo>
                    <a:lnTo>
                      <a:pt x="278" y="11"/>
                    </a:lnTo>
                    <a:lnTo>
                      <a:pt x="276" y="12"/>
                    </a:lnTo>
                    <a:lnTo>
                      <a:pt x="274" y="11"/>
                    </a:lnTo>
                    <a:lnTo>
                      <a:pt x="273" y="13"/>
                    </a:lnTo>
                    <a:lnTo>
                      <a:pt x="274" y="16"/>
                    </a:lnTo>
                    <a:lnTo>
                      <a:pt x="270" y="19"/>
                    </a:lnTo>
                    <a:lnTo>
                      <a:pt x="270" y="21"/>
                    </a:lnTo>
                    <a:lnTo>
                      <a:pt x="268" y="20"/>
                    </a:lnTo>
                    <a:lnTo>
                      <a:pt x="267" y="17"/>
                    </a:lnTo>
                    <a:lnTo>
                      <a:pt x="266" y="17"/>
                    </a:lnTo>
                    <a:lnTo>
                      <a:pt x="266" y="18"/>
                    </a:lnTo>
                    <a:lnTo>
                      <a:pt x="266" y="22"/>
                    </a:lnTo>
                    <a:lnTo>
                      <a:pt x="266" y="23"/>
                    </a:lnTo>
                    <a:lnTo>
                      <a:pt x="265" y="23"/>
                    </a:lnTo>
                    <a:lnTo>
                      <a:pt x="265" y="25"/>
                    </a:lnTo>
                    <a:lnTo>
                      <a:pt x="263" y="28"/>
                    </a:lnTo>
                    <a:lnTo>
                      <a:pt x="262" y="29"/>
                    </a:lnTo>
                    <a:lnTo>
                      <a:pt x="260" y="29"/>
                    </a:lnTo>
                    <a:lnTo>
                      <a:pt x="259" y="31"/>
                    </a:lnTo>
                    <a:lnTo>
                      <a:pt x="261" y="31"/>
                    </a:lnTo>
                    <a:lnTo>
                      <a:pt x="261" y="33"/>
                    </a:lnTo>
                    <a:lnTo>
                      <a:pt x="262" y="34"/>
                    </a:lnTo>
                    <a:lnTo>
                      <a:pt x="263" y="36"/>
                    </a:lnTo>
                    <a:lnTo>
                      <a:pt x="265" y="36"/>
                    </a:lnTo>
                    <a:lnTo>
                      <a:pt x="269" y="38"/>
                    </a:lnTo>
                    <a:lnTo>
                      <a:pt x="270" y="41"/>
                    </a:lnTo>
                    <a:lnTo>
                      <a:pt x="270" y="44"/>
                    </a:lnTo>
                    <a:lnTo>
                      <a:pt x="267" y="51"/>
                    </a:lnTo>
                    <a:lnTo>
                      <a:pt x="266" y="51"/>
                    </a:lnTo>
                    <a:lnTo>
                      <a:pt x="264" y="54"/>
                    </a:lnTo>
                    <a:lnTo>
                      <a:pt x="261" y="55"/>
                    </a:lnTo>
                    <a:lnTo>
                      <a:pt x="261" y="57"/>
                    </a:lnTo>
                    <a:lnTo>
                      <a:pt x="260" y="58"/>
                    </a:lnTo>
                    <a:lnTo>
                      <a:pt x="257" y="59"/>
                    </a:lnTo>
                    <a:lnTo>
                      <a:pt x="256" y="55"/>
                    </a:lnTo>
                    <a:lnTo>
                      <a:pt x="255" y="54"/>
                    </a:lnTo>
                    <a:lnTo>
                      <a:pt x="253" y="54"/>
                    </a:lnTo>
                    <a:lnTo>
                      <a:pt x="252" y="54"/>
                    </a:lnTo>
                    <a:lnTo>
                      <a:pt x="254" y="56"/>
                    </a:lnTo>
                    <a:lnTo>
                      <a:pt x="254" y="57"/>
                    </a:lnTo>
                    <a:lnTo>
                      <a:pt x="253" y="58"/>
                    </a:lnTo>
                    <a:lnTo>
                      <a:pt x="254" y="60"/>
                    </a:lnTo>
                    <a:lnTo>
                      <a:pt x="256" y="62"/>
                    </a:lnTo>
                    <a:lnTo>
                      <a:pt x="257" y="62"/>
                    </a:lnTo>
                    <a:lnTo>
                      <a:pt x="258" y="61"/>
                    </a:lnTo>
                    <a:lnTo>
                      <a:pt x="259" y="62"/>
                    </a:lnTo>
                    <a:lnTo>
                      <a:pt x="258" y="63"/>
                    </a:lnTo>
                    <a:lnTo>
                      <a:pt x="258" y="64"/>
                    </a:lnTo>
                    <a:lnTo>
                      <a:pt x="258" y="66"/>
                    </a:lnTo>
                    <a:lnTo>
                      <a:pt x="261" y="66"/>
                    </a:lnTo>
                    <a:lnTo>
                      <a:pt x="260" y="69"/>
                    </a:lnTo>
                    <a:lnTo>
                      <a:pt x="256" y="71"/>
                    </a:lnTo>
                    <a:lnTo>
                      <a:pt x="258" y="74"/>
                    </a:lnTo>
                    <a:lnTo>
                      <a:pt x="256" y="77"/>
                    </a:lnTo>
                    <a:lnTo>
                      <a:pt x="254" y="78"/>
                    </a:lnTo>
                    <a:lnTo>
                      <a:pt x="253" y="80"/>
                    </a:lnTo>
                    <a:lnTo>
                      <a:pt x="252" y="83"/>
                    </a:lnTo>
                    <a:lnTo>
                      <a:pt x="254" y="88"/>
                    </a:lnTo>
                    <a:lnTo>
                      <a:pt x="253" y="89"/>
                    </a:lnTo>
                    <a:lnTo>
                      <a:pt x="253" y="90"/>
                    </a:lnTo>
                    <a:lnTo>
                      <a:pt x="254" y="91"/>
                    </a:lnTo>
                    <a:lnTo>
                      <a:pt x="252" y="92"/>
                    </a:lnTo>
                    <a:lnTo>
                      <a:pt x="253" y="95"/>
                    </a:lnTo>
                    <a:lnTo>
                      <a:pt x="254" y="95"/>
                    </a:lnTo>
                    <a:lnTo>
                      <a:pt x="256" y="94"/>
                    </a:lnTo>
                    <a:lnTo>
                      <a:pt x="256" y="96"/>
                    </a:lnTo>
                    <a:lnTo>
                      <a:pt x="255" y="98"/>
                    </a:lnTo>
                    <a:lnTo>
                      <a:pt x="254" y="99"/>
                    </a:lnTo>
                    <a:lnTo>
                      <a:pt x="254" y="102"/>
                    </a:lnTo>
                    <a:lnTo>
                      <a:pt x="253" y="105"/>
                    </a:lnTo>
                    <a:lnTo>
                      <a:pt x="253" y="107"/>
                    </a:lnTo>
                    <a:lnTo>
                      <a:pt x="252" y="106"/>
                    </a:lnTo>
                    <a:lnTo>
                      <a:pt x="252" y="107"/>
                    </a:lnTo>
                    <a:lnTo>
                      <a:pt x="253" y="112"/>
                    </a:lnTo>
                    <a:lnTo>
                      <a:pt x="254" y="112"/>
                    </a:lnTo>
                    <a:lnTo>
                      <a:pt x="251" y="114"/>
                    </a:lnTo>
                    <a:lnTo>
                      <a:pt x="253" y="118"/>
                    </a:lnTo>
                    <a:lnTo>
                      <a:pt x="254" y="120"/>
                    </a:lnTo>
                    <a:lnTo>
                      <a:pt x="253" y="119"/>
                    </a:lnTo>
                    <a:lnTo>
                      <a:pt x="254" y="120"/>
                    </a:lnTo>
                    <a:lnTo>
                      <a:pt x="254" y="122"/>
                    </a:lnTo>
                    <a:lnTo>
                      <a:pt x="251" y="122"/>
                    </a:lnTo>
                    <a:lnTo>
                      <a:pt x="251" y="123"/>
                    </a:lnTo>
                    <a:lnTo>
                      <a:pt x="248" y="125"/>
                    </a:lnTo>
                    <a:lnTo>
                      <a:pt x="246" y="125"/>
                    </a:lnTo>
                    <a:lnTo>
                      <a:pt x="246" y="126"/>
                    </a:lnTo>
                    <a:lnTo>
                      <a:pt x="244" y="128"/>
                    </a:lnTo>
                    <a:lnTo>
                      <a:pt x="244" y="129"/>
                    </a:lnTo>
                    <a:lnTo>
                      <a:pt x="243" y="128"/>
                    </a:lnTo>
                    <a:lnTo>
                      <a:pt x="243" y="125"/>
                    </a:lnTo>
                    <a:lnTo>
                      <a:pt x="240" y="125"/>
                    </a:lnTo>
                    <a:lnTo>
                      <a:pt x="240" y="126"/>
                    </a:lnTo>
                    <a:lnTo>
                      <a:pt x="240" y="128"/>
                    </a:lnTo>
                    <a:lnTo>
                      <a:pt x="238" y="129"/>
                    </a:lnTo>
                    <a:lnTo>
                      <a:pt x="234" y="133"/>
                    </a:lnTo>
                    <a:lnTo>
                      <a:pt x="232" y="132"/>
                    </a:lnTo>
                    <a:lnTo>
                      <a:pt x="230" y="133"/>
                    </a:lnTo>
                    <a:lnTo>
                      <a:pt x="227" y="133"/>
                    </a:lnTo>
                    <a:lnTo>
                      <a:pt x="227" y="135"/>
                    </a:lnTo>
                    <a:lnTo>
                      <a:pt x="227" y="136"/>
                    </a:lnTo>
                    <a:lnTo>
                      <a:pt x="226" y="136"/>
                    </a:lnTo>
                    <a:lnTo>
                      <a:pt x="227" y="139"/>
                    </a:lnTo>
                    <a:lnTo>
                      <a:pt x="226" y="140"/>
                    </a:lnTo>
                    <a:lnTo>
                      <a:pt x="226" y="142"/>
                    </a:lnTo>
                    <a:lnTo>
                      <a:pt x="225" y="143"/>
                    </a:lnTo>
                    <a:lnTo>
                      <a:pt x="223" y="143"/>
                    </a:lnTo>
                    <a:lnTo>
                      <a:pt x="222" y="144"/>
                    </a:lnTo>
                    <a:lnTo>
                      <a:pt x="223" y="146"/>
                    </a:lnTo>
                    <a:lnTo>
                      <a:pt x="221" y="146"/>
                    </a:lnTo>
                    <a:lnTo>
                      <a:pt x="221" y="147"/>
                    </a:lnTo>
                    <a:lnTo>
                      <a:pt x="218" y="148"/>
                    </a:lnTo>
                    <a:lnTo>
                      <a:pt x="218" y="147"/>
                    </a:lnTo>
                    <a:lnTo>
                      <a:pt x="217" y="148"/>
                    </a:lnTo>
                    <a:lnTo>
                      <a:pt x="215" y="151"/>
                    </a:lnTo>
                    <a:lnTo>
                      <a:pt x="215" y="154"/>
                    </a:lnTo>
                    <a:lnTo>
                      <a:pt x="216" y="156"/>
                    </a:lnTo>
                    <a:lnTo>
                      <a:pt x="220" y="156"/>
                    </a:lnTo>
                    <a:lnTo>
                      <a:pt x="220" y="157"/>
                    </a:lnTo>
                    <a:lnTo>
                      <a:pt x="221" y="157"/>
                    </a:lnTo>
                    <a:lnTo>
                      <a:pt x="221" y="159"/>
                    </a:lnTo>
                    <a:lnTo>
                      <a:pt x="223" y="161"/>
                    </a:lnTo>
                    <a:lnTo>
                      <a:pt x="223" y="165"/>
                    </a:lnTo>
                    <a:lnTo>
                      <a:pt x="222" y="165"/>
                    </a:lnTo>
                    <a:lnTo>
                      <a:pt x="221" y="165"/>
                    </a:lnTo>
                    <a:lnTo>
                      <a:pt x="219" y="166"/>
                    </a:lnTo>
                    <a:lnTo>
                      <a:pt x="218" y="166"/>
                    </a:lnTo>
                    <a:lnTo>
                      <a:pt x="217" y="165"/>
                    </a:lnTo>
                    <a:lnTo>
                      <a:pt x="214" y="165"/>
                    </a:lnTo>
                    <a:lnTo>
                      <a:pt x="212" y="166"/>
                    </a:lnTo>
                    <a:lnTo>
                      <a:pt x="212" y="169"/>
                    </a:lnTo>
                    <a:lnTo>
                      <a:pt x="210" y="170"/>
                    </a:lnTo>
                    <a:lnTo>
                      <a:pt x="208" y="176"/>
                    </a:lnTo>
                    <a:lnTo>
                      <a:pt x="207" y="178"/>
                    </a:lnTo>
                    <a:lnTo>
                      <a:pt x="207" y="180"/>
                    </a:lnTo>
                    <a:lnTo>
                      <a:pt x="206" y="183"/>
                    </a:lnTo>
                    <a:lnTo>
                      <a:pt x="207" y="185"/>
                    </a:lnTo>
                    <a:lnTo>
                      <a:pt x="209" y="185"/>
                    </a:lnTo>
                    <a:lnTo>
                      <a:pt x="211" y="186"/>
                    </a:lnTo>
                    <a:lnTo>
                      <a:pt x="213" y="186"/>
                    </a:lnTo>
                    <a:lnTo>
                      <a:pt x="214" y="188"/>
                    </a:lnTo>
                    <a:lnTo>
                      <a:pt x="216" y="191"/>
                    </a:lnTo>
                    <a:lnTo>
                      <a:pt x="215" y="193"/>
                    </a:lnTo>
                    <a:lnTo>
                      <a:pt x="215" y="192"/>
                    </a:lnTo>
                    <a:lnTo>
                      <a:pt x="214" y="193"/>
                    </a:lnTo>
                    <a:lnTo>
                      <a:pt x="214" y="198"/>
                    </a:lnTo>
                    <a:lnTo>
                      <a:pt x="216" y="199"/>
                    </a:lnTo>
                    <a:lnTo>
                      <a:pt x="214" y="202"/>
                    </a:lnTo>
                    <a:lnTo>
                      <a:pt x="212" y="200"/>
                    </a:lnTo>
                    <a:lnTo>
                      <a:pt x="212" y="201"/>
                    </a:lnTo>
                    <a:lnTo>
                      <a:pt x="210" y="203"/>
                    </a:lnTo>
                    <a:lnTo>
                      <a:pt x="207" y="201"/>
                    </a:lnTo>
                    <a:lnTo>
                      <a:pt x="204" y="201"/>
                    </a:lnTo>
                    <a:lnTo>
                      <a:pt x="202" y="205"/>
                    </a:lnTo>
                    <a:lnTo>
                      <a:pt x="201" y="206"/>
                    </a:lnTo>
                    <a:lnTo>
                      <a:pt x="203" y="207"/>
                    </a:lnTo>
                    <a:lnTo>
                      <a:pt x="202" y="209"/>
                    </a:lnTo>
                    <a:lnTo>
                      <a:pt x="204" y="208"/>
                    </a:lnTo>
                    <a:lnTo>
                      <a:pt x="204" y="210"/>
                    </a:lnTo>
                    <a:lnTo>
                      <a:pt x="204" y="212"/>
                    </a:lnTo>
                    <a:lnTo>
                      <a:pt x="206" y="215"/>
                    </a:lnTo>
                    <a:lnTo>
                      <a:pt x="205" y="216"/>
                    </a:lnTo>
                    <a:lnTo>
                      <a:pt x="204" y="216"/>
                    </a:lnTo>
                    <a:lnTo>
                      <a:pt x="204" y="217"/>
                    </a:lnTo>
                    <a:lnTo>
                      <a:pt x="202" y="220"/>
                    </a:lnTo>
                    <a:lnTo>
                      <a:pt x="203" y="220"/>
                    </a:lnTo>
                    <a:lnTo>
                      <a:pt x="204" y="218"/>
                    </a:lnTo>
                    <a:lnTo>
                      <a:pt x="206" y="219"/>
                    </a:lnTo>
                    <a:lnTo>
                      <a:pt x="209" y="217"/>
                    </a:lnTo>
                    <a:lnTo>
                      <a:pt x="209" y="215"/>
                    </a:lnTo>
                    <a:lnTo>
                      <a:pt x="210" y="216"/>
                    </a:lnTo>
                    <a:lnTo>
                      <a:pt x="210" y="217"/>
                    </a:lnTo>
                    <a:lnTo>
                      <a:pt x="208" y="221"/>
                    </a:lnTo>
                    <a:lnTo>
                      <a:pt x="211" y="221"/>
                    </a:lnTo>
                    <a:lnTo>
                      <a:pt x="211" y="223"/>
                    </a:lnTo>
                    <a:lnTo>
                      <a:pt x="212" y="223"/>
                    </a:lnTo>
                    <a:lnTo>
                      <a:pt x="210" y="230"/>
                    </a:lnTo>
                    <a:lnTo>
                      <a:pt x="210" y="231"/>
                    </a:lnTo>
                    <a:lnTo>
                      <a:pt x="210" y="230"/>
                    </a:lnTo>
                    <a:lnTo>
                      <a:pt x="209" y="232"/>
                    </a:lnTo>
                    <a:lnTo>
                      <a:pt x="207" y="233"/>
                    </a:lnTo>
                    <a:lnTo>
                      <a:pt x="207" y="234"/>
                    </a:lnTo>
                    <a:lnTo>
                      <a:pt x="205" y="235"/>
                    </a:lnTo>
                    <a:lnTo>
                      <a:pt x="204" y="237"/>
                    </a:lnTo>
                    <a:lnTo>
                      <a:pt x="203" y="237"/>
                    </a:lnTo>
                    <a:lnTo>
                      <a:pt x="201" y="237"/>
                    </a:lnTo>
                    <a:lnTo>
                      <a:pt x="199" y="237"/>
                    </a:lnTo>
                    <a:lnTo>
                      <a:pt x="197" y="237"/>
                    </a:lnTo>
                    <a:lnTo>
                      <a:pt x="196" y="238"/>
                    </a:lnTo>
                    <a:lnTo>
                      <a:pt x="198" y="242"/>
                    </a:lnTo>
                    <a:lnTo>
                      <a:pt x="198" y="244"/>
                    </a:lnTo>
                    <a:lnTo>
                      <a:pt x="196" y="244"/>
                    </a:lnTo>
                    <a:lnTo>
                      <a:pt x="194" y="246"/>
                    </a:lnTo>
                    <a:lnTo>
                      <a:pt x="194" y="247"/>
                    </a:lnTo>
                    <a:lnTo>
                      <a:pt x="193" y="249"/>
                    </a:lnTo>
                    <a:lnTo>
                      <a:pt x="190" y="247"/>
                    </a:lnTo>
                    <a:lnTo>
                      <a:pt x="187" y="248"/>
                    </a:lnTo>
                    <a:lnTo>
                      <a:pt x="185" y="247"/>
                    </a:lnTo>
                    <a:lnTo>
                      <a:pt x="184" y="248"/>
                    </a:lnTo>
                    <a:lnTo>
                      <a:pt x="181" y="246"/>
                    </a:lnTo>
                    <a:lnTo>
                      <a:pt x="180" y="246"/>
                    </a:lnTo>
                    <a:lnTo>
                      <a:pt x="178" y="248"/>
                    </a:lnTo>
                    <a:lnTo>
                      <a:pt x="177" y="248"/>
                    </a:lnTo>
                    <a:lnTo>
                      <a:pt x="172" y="250"/>
                    </a:lnTo>
                    <a:lnTo>
                      <a:pt x="172" y="249"/>
                    </a:lnTo>
                    <a:lnTo>
                      <a:pt x="172" y="250"/>
                    </a:lnTo>
                    <a:lnTo>
                      <a:pt x="170" y="252"/>
                    </a:lnTo>
                    <a:lnTo>
                      <a:pt x="173" y="254"/>
                    </a:lnTo>
                    <a:lnTo>
                      <a:pt x="173" y="256"/>
                    </a:lnTo>
                    <a:lnTo>
                      <a:pt x="174" y="257"/>
                    </a:lnTo>
                    <a:lnTo>
                      <a:pt x="174" y="258"/>
                    </a:lnTo>
                    <a:lnTo>
                      <a:pt x="170" y="260"/>
                    </a:lnTo>
                    <a:lnTo>
                      <a:pt x="170" y="257"/>
                    </a:lnTo>
                    <a:lnTo>
                      <a:pt x="168" y="257"/>
                    </a:lnTo>
                    <a:lnTo>
                      <a:pt x="168" y="260"/>
                    </a:lnTo>
                    <a:lnTo>
                      <a:pt x="166" y="260"/>
                    </a:lnTo>
                    <a:lnTo>
                      <a:pt x="168" y="261"/>
                    </a:lnTo>
                    <a:lnTo>
                      <a:pt x="166" y="261"/>
                    </a:lnTo>
                    <a:lnTo>
                      <a:pt x="166" y="262"/>
                    </a:lnTo>
                    <a:lnTo>
                      <a:pt x="162" y="260"/>
                    </a:lnTo>
                    <a:lnTo>
                      <a:pt x="161" y="260"/>
                    </a:lnTo>
                    <a:lnTo>
                      <a:pt x="161" y="261"/>
                    </a:lnTo>
                    <a:lnTo>
                      <a:pt x="159" y="260"/>
                    </a:lnTo>
                    <a:lnTo>
                      <a:pt x="157" y="260"/>
                    </a:lnTo>
                    <a:lnTo>
                      <a:pt x="157" y="261"/>
                    </a:lnTo>
                    <a:lnTo>
                      <a:pt x="157" y="263"/>
                    </a:lnTo>
                    <a:lnTo>
                      <a:pt x="157" y="264"/>
                    </a:lnTo>
                    <a:lnTo>
                      <a:pt x="156" y="263"/>
                    </a:lnTo>
                    <a:lnTo>
                      <a:pt x="155" y="260"/>
                    </a:lnTo>
                    <a:lnTo>
                      <a:pt x="153" y="260"/>
                    </a:lnTo>
                    <a:lnTo>
                      <a:pt x="152" y="261"/>
                    </a:lnTo>
                    <a:lnTo>
                      <a:pt x="151" y="260"/>
                    </a:lnTo>
                    <a:lnTo>
                      <a:pt x="149" y="257"/>
                    </a:lnTo>
                    <a:lnTo>
                      <a:pt x="148" y="257"/>
                    </a:lnTo>
                    <a:lnTo>
                      <a:pt x="146" y="257"/>
                    </a:lnTo>
                    <a:lnTo>
                      <a:pt x="144" y="257"/>
                    </a:lnTo>
                    <a:lnTo>
                      <a:pt x="144" y="255"/>
                    </a:lnTo>
                    <a:lnTo>
                      <a:pt x="144" y="254"/>
                    </a:lnTo>
                    <a:lnTo>
                      <a:pt x="142" y="254"/>
                    </a:lnTo>
                    <a:lnTo>
                      <a:pt x="142" y="255"/>
                    </a:lnTo>
                    <a:lnTo>
                      <a:pt x="143" y="257"/>
                    </a:lnTo>
                    <a:lnTo>
                      <a:pt x="142" y="260"/>
                    </a:lnTo>
                    <a:lnTo>
                      <a:pt x="141" y="260"/>
                    </a:lnTo>
                    <a:lnTo>
                      <a:pt x="139" y="262"/>
                    </a:lnTo>
                    <a:lnTo>
                      <a:pt x="137" y="262"/>
                    </a:lnTo>
                    <a:lnTo>
                      <a:pt x="136" y="263"/>
                    </a:lnTo>
                    <a:lnTo>
                      <a:pt x="133" y="262"/>
                    </a:lnTo>
                    <a:lnTo>
                      <a:pt x="131" y="261"/>
                    </a:lnTo>
                    <a:lnTo>
                      <a:pt x="128" y="259"/>
                    </a:lnTo>
                    <a:lnTo>
                      <a:pt x="128" y="257"/>
                    </a:lnTo>
                    <a:lnTo>
                      <a:pt x="129" y="257"/>
                    </a:lnTo>
                    <a:lnTo>
                      <a:pt x="128" y="256"/>
                    </a:lnTo>
                    <a:lnTo>
                      <a:pt x="128" y="255"/>
                    </a:lnTo>
                    <a:lnTo>
                      <a:pt x="128" y="257"/>
                    </a:lnTo>
                    <a:lnTo>
                      <a:pt x="127" y="257"/>
                    </a:lnTo>
                    <a:lnTo>
                      <a:pt x="126" y="256"/>
                    </a:lnTo>
                    <a:lnTo>
                      <a:pt x="125" y="256"/>
                    </a:lnTo>
                    <a:lnTo>
                      <a:pt x="125" y="255"/>
                    </a:lnTo>
                    <a:lnTo>
                      <a:pt x="126" y="255"/>
                    </a:lnTo>
                    <a:lnTo>
                      <a:pt x="125" y="254"/>
                    </a:lnTo>
                    <a:lnTo>
                      <a:pt x="126" y="254"/>
                    </a:lnTo>
                    <a:lnTo>
                      <a:pt x="126" y="252"/>
                    </a:lnTo>
                    <a:lnTo>
                      <a:pt x="125" y="251"/>
                    </a:lnTo>
                    <a:lnTo>
                      <a:pt x="125" y="250"/>
                    </a:lnTo>
                    <a:lnTo>
                      <a:pt x="125" y="248"/>
                    </a:lnTo>
                    <a:lnTo>
                      <a:pt x="124" y="247"/>
                    </a:lnTo>
                    <a:lnTo>
                      <a:pt x="121" y="249"/>
                    </a:lnTo>
                    <a:lnTo>
                      <a:pt x="119" y="251"/>
                    </a:lnTo>
                    <a:lnTo>
                      <a:pt x="115" y="248"/>
                    </a:lnTo>
                    <a:lnTo>
                      <a:pt x="114" y="254"/>
                    </a:lnTo>
                    <a:lnTo>
                      <a:pt x="116" y="254"/>
                    </a:lnTo>
                    <a:lnTo>
                      <a:pt x="112" y="256"/>
                    </a:lnTo>
                    <a:lnTo>
                      <a:pt x="110" y="259"/>
                    </a:lnTo>
                    <a:lnTo>
                      <a:pt x="109" y="257"/>
                    </a:lnTo>
                    <a:lnTo>
                      <a:pt x="108" y="258"/>
                    </a:lnTo>
                    <a:lnTo>
                      <a:pt x="106" y="257"/>
                    </a:lnTo>
                    <a:lnTo>
                      <a:pt x="108" y="257"/>
                    </a:lnTo>
                    <a:lnTo>
                      <a:pt x="108" y="256"/>
                    </a:lnTo>
                    <a:lnTo>
                      <a:pt x="104" y="253"/>
                    </a:lnTo>
                    <a:lnTo>
                      <a:pt x="103" y="253"/>
                    </a:lnTo>
                    <a:lnTo>
                      <a:pt x="101" y="252"/>
                    </a:lnTo>
                    <a:lnTo>
                      <a:pt x="102" y="255"/>
                    </a:lnTo>
                    <a:lnTo>
                      <a:pt x="101" y="256"/>
                    </a:lnTo>
                    <a:lnTo>
                      <a:pt x="101" y="258"/>
                    </a:lnTo>
                    <a:lnTo>
                      <a:pt x="99" y="261"/>
                    </a:lnTo>
                    <a:lnTo>
                      <a:pt x="100" y="261"/>
                    </a:lnTo>
                    <a:lnTo>
                      <a:pt x="100" y="262"/>
                    </a:lnTo>
                    <a:lnTo>
                      <a:pt x="99" y="262"/>
                    </a:lnTo>
                    <a:lnTo>
                      <a:pt x="100" y="264"/>
                    </a:lnTo>
                    <a:lnTo>
                      <a:pt x="99" y="264"/>
                    </a:lnTo>
                    <a:lnTo>
                      <a:pt x="98" y="264"/>
                    </a:lnTo>
                    <a:lnTo>
                      <a:pt x="96" y="265"/>
                    </a:lnTo>
                    <a:lnTo>
                      <a:pt x="98" y="267"/>
                    </a:lnTo>
                    <a:lnTo>
                      <a:pt x="95" y="267"/>
                    </a:lnTo>
                    <a:lnTo>
                      <a:pt x="95" y="264"/>
                    </a:lnTo>
                    <a:lnTo>
                      <a:pt x="94" y="264"/>
                    </a:lnTo>
                    <a:lnTo>
                      <a:pt x="91" y="263"/>
                    </a:lnTo>
                    <a:lnTo>
                      <a:pt x="90" y="264"/>
                    </a:lnTo>
                    <a:lnTo>
                      <a:pt x="87" y="263"/>
                    </a:lnTo>
                    <a:lnTo>
                      <a:pt x="85" y="265"/>
                    </a:lnTo>
                    <a:lnTo>
                      <a:pt x="82" y="263"/>
                    </a:lnTo>
                    <a:lnTo>
                      <a:pt x="81" y="265"/>
                    </a:lnTo>
                    <a:lnTo>
                      <a:pt x="78" y="267"/>
                    </a:lnTo>
                    <a:lnTo>
                      <a:pt x="77" y="267"/>
                    </a:lnTo>
                    <a:lnTo>
                      <a:pt x="76" y="269"/>
                    </a:lnTo>
                    <a:lnTo>
                      <a:pt x="78" y="270"/>
                    </a:lnTo>
                    <a:lnTo>
                      <a:pt x="78" y="271"/>
                    </a:lnTo>
                    <a:lnTo>
                      <a:pt x="77" y="271"/>
                    </a:lnTo>
                    <a:lnTo>
                      <a:pt x="77" y="272"/>
                    </a:lnTo>
                    <a:lnTo>
                      <a:pt x="75" y="272"/>
                    </a:lnTo>
                    <a:lnTo>
                      <a:pt x="74" y="275"/>
                    </a:lnTo>
                    <a:lnTo>
                      <a:pt x="71" y="277"/>
                    </a:lnTo>
                    <a:lnTo>
                      <a:pt x="66" y="276"/>
                    </a:lnTo>
                    <a:lnTo>
                      <a:pt x="64" y="275"/>
                    </a:lnTo>
                    <a:lnTo>
                      <a:pt x="64" y="276"/>
                    </a:lnTo>
                    <a:lnTo>
                      <a:pt x="64" y="280"/>
                    </a:lnTo>
                    <a:lnTo>
                      <a:pt x="63" y="282"/>
                    </a:lnTo>
                    <a:lnTo>
                      <a:pt x="60" y="280"/>
                    </a:lnTo>
                    <a:lnTo>
                      <a:pt x="59" y="283"/>
                    </a:lnTo>
                    <a:lnTo>
                      <a:pt x="58" y="282"/>
                    </a:lnTo>
                    <a:lnTo>
                      <a:pt x="58" y="283"/>
                    </a:lnTo>
                    <a:lnTo>
                      <a:pt x="58" y="284"/>
                    </a:lnTo>
                    <a:lnTo>
                      <a:pt x="59" y="284"/>
                    </a:lnTo>
                    <a:lnTo>
                      <a:pt x="58" y="286"/>
                    </a:lnTo>
                    <a:lnTo>
                      <a:pt x="58" y="288"/>
                    </a:lnTo>
                    <a:lnTo>
                      <a:pt x="56" y="288"/>
                    </a:lnTo>
                    <a:lnTo>
                      <a:pt x="55" y="289"/>
                    </a:lnTo>
                    <a:lnTo>
                      <a:pt x="54" y="287"/>
                    </a:lnTo>
                    <a:lnTo>
                      <a:pt x="52" y="285"/>
                    </a:lnTo>
                    <a:lnTo>
                      <a:pt x="52" y="283"/>
                    </a:lnTo>
                    <a:lnTo>
                      <a:pt x="49" y="280"/>
                    </a:lnTo>
                    <a:lnTo>
                      <a:pt x="49" y="279"/>
                    </a:lnTo>
                    <a:lnTo>
                      <a:pt x="46" y="279"/>
                    </a:lnTo>
                    <a:lnTo>
                      <a:pt x="43" y="281"/>
                    </a:lnTo>
                    <a:lnTo>
                      <a:pt x="42" y="282"/>
                    </a:lnTo>
                    <a:lnTo>
                      <a:pt x="42" y="280"/>
                    </a:lnTo>
                    <a:lnTo>
                      <a:pt x="40" y="280"/>
                    </a:lnTo>
                    <a:lnTo>
                      <a:pt x="39" y="279"/>
                    </a:lnTo>
                    <a:lnTo>
                      <a:pt x="38" y="279"/>
                    </a:lnTo>
                    <a:lnTo>
                      <a:pt x="36" y="280"/>
                    </a:lnTo>
                    <a:lnTo>
                      <a:pt x="38" y="284"/>
                    </a:lnTo>
                    <a:lnTo>
                      <a:pt x="37" y="284"/>
                    </a:lnTo>
                    <a:lnTo>
                      <a:pt x="35" y="285"/>
                    </a:lnTo>
                    <a:lnTo>
                      <a:pt x="35" y="287"/>
                    </a:lnTo>
                    <a:lnTo>
                      <a:pt x="33" y="287"/>
                    </a:lnTo>
                    <a:lnTo>
                      <a:pt x="33" y="288"/>
                    </a:lnTo>
                    <a:lnTo>
                      <a:pt x="33" y="289"/>
                    </a:lnTo>
                    <a:lnTo>
                      <a:pt x="31" y="291"/>
                    </a:lnTo>
                    <a:lnTo>
                      <a:pt x="30" y="291"/>
                    </a:lnTo>
                    <a:lnTo>
                      <a:pt x="30" y="288"/>
                    </a:lnTo>
                    <a:lnTo>
                      <a:pt x="28" y="289"/>
                    </a:lnTo>
                    <a:lnTo>
                      <a:pt x="27" y="289"/>
                    </a:lnTo>
                    <a:lnTo>
                      <a:pt x="25" y="287"/>
                    </a:lnTo>
                    <a:lnTo>
                      <a:pt x="25" y="286"/>
                    </a:lnTo>
                    <a:lnTo>
                      <a:pt x="26" y="284"/>
                    </a:lnTo>
                    <a:lnTo>
                      <a:pt x="25" y="283"/>
                    </a:lnTo>
                    <a:lnTo>
                      <a:pt x="24" y="281"/>
                    </a:lnTo>
                    <a:lnTo>
                      <a:pt x="23" y="280"/>
                    </a:lnTo>
                    <a:lnTo>
                      <a:pt x="20" y="280"/>
                    </a:lnTo>
                    <a:lnTo>
                      <a:pt x="21" y="284"/>
                    </a:lnTo>
                    <a:lnTo>
                      <a:pt x="17" y="280"/>
                    </a:lnTo>
                    <a:lnTo>
                      <a:pt x="14" y="280"/>
                    </a:lnTo>
                    <a:lnTo>
                      <a:pt x="15" y="281"/>
                    </a:lnTo>
                    <a:lnTo>
                      <a:pt x="17" y="281"/>
                    </a:lnTo>
                    <a:lnTo>
                      <a:pt x="17" y="282"/>
                    </a:lnTo>
                    <a:lnTo>
                      <a:pt x="18" y="282"/>
                    </a:lnTo>
                    <a:lnTo>
                      <a:pt x="15" y="284"/>
                    </a:lnTo>
                    <a:lnTo>
                      <a:pt x="14" y="285"/>
                    </a:lnTo>
                    <a:lnTo>
                      <a:pt x="14" y="286"/>
                    </a:lnTo>
                    <a:lnTo>
                      <a:pt x="13" y="287"/>
                    </a:lnTo>
                    <a:lnTo>
                      <a:pt x="12" y="287"/>
                    </a:lnTo>
                    <a:lnTo>
                      <a:pt x="10" y="286"/>
                    </a:lnTo>
                    <a:lnTo>
                      <a:pt x="10" y="284"/>
                    </a:lnTo>
                    <a:lnTo>
                      <a:pt x="8" y="284"/>
                    </a:lnTo>
                    <a:lnTo>
                      <a:pt x="7" y="286"/>
                    </a:lnTo>
                    <a:lnTo>
                      <a:pt x="8" y="287"/>
                    </a:lnTo>
                    <a:lnTo>
                      <a:pt x="9" y="287"/>
                    </a:lnTo>
                    <a:lnTo>
                      <a:pt x="10" y="288"/>
                    </a:lnTo>
                    <a:lnTo>
                      <a:pt x="11" y="289"/>
                    </a:lnTo>
                    <a:lnTo>
                      <a:pt x="10" y="291"/>
                    </a:lnTo>
                    <a:lnTo>
                      <a:pt x="9" y="290"/>
                    </a:lnTo>
                    <a:lnTo>
                      <a:pt x="7" y="291"/>
                    </a:lnTo>
                    <a:lnTo>
                      <a:pt x="7" y="292"/>
                    </a:lnTo>
                    <a:lnTo>
                      <a:pt x="10" y="293"/>
                    </a:lnTo>
                    <a:lnTo>
                      <a:pt x="8" y="294"/>
                    </a:lnTo>
                    <a:lnTo>
                      <a:pt x="7" y="295"/>
                    </a:lnTo>
                    <a:lnTo>
                      <a:pt x="5" y="294"/>
                    </a:lnTo>
                    <a:lnTo>
                      <a:pt x="4" y="294"/>
                    </a:lnTo>
                    <a:lnTo>
                      <a:pt x="4" y="297"/>
                    </a:lnTo>
                    <a:lnTo>
                      <a:pt x="0" y="301"/>
                    </a:lnTo>
                    <a:lnTo>
                      <a:pt x="5" y="303"/>
                    </a:lnTo>
                    <a:lnTo>
                      <a:pt x="11" y="308"/>
                    </a:lnTo>
                    <a:lnTo>
                      <a:pt x="17" y="308"/>
                    </a:lnTo>
                    <a:lnTo>
                      <a:pt x="19" y="309"/>
                    </a:lnTo>
                    <a:lnTo>
                      <a:pt x="20" y="308"/>
                    </a:lnTo>
                    <a:lnTo>
                      <a:pt x="22" y="310"/>
                    </a:lnTo>
                    <a:lnTo>
                      <a:pt x="25" y="315"/>
                    </a:lnTo>
                    <a:lnTo>
                      <a:pt x="27" y="315"/>
                    </a:lnTo>
                    <a:lnTo>
                      <a:pt x="26" y="314"/>
                    </a:lnTo>
                    <a:lnTo>
                      <a:pt x="31" y="318"/>
                    </a:lnTo>
                    <a:lnTo>
                      <a:pt x="34" y="322"/>
                    </a:lnTo>
                    <a:lnTo>
                      <a:pt x="35" y="325"/>
                    </a:lnTo>
                    <a:lnTo>
                      <a:pt x="38" y="328"/>
                    </a:lnTo>
                    <a:lnTo>
                      <a:pt x="39" y="331"/>
                    </a:lnTo>
                    <a:lnTo>
                      <a:pt x="40" y="331"/>
                    </a:lnTo>
                    <a:lnTo>
                      <a:pt x="42" y="330"/>
                    </a:lnTo>
                    <a:lnTo>
                      <a:pt x="45" y="330"/>
                    </a:lnTo>
                    <a:lnTo>
                      <a:pt x="46" y="330"/>
                    </a:lnTo>
                    <a:lnTo>
                      <a:pt x="46" y="331"/>
                    </a:lnTo>
                    <a:lnTo>
                      <a:pt x="53" y="333"/>
                    </a:lnTo>
                    <a:lnTo>
                      <a:pt x="57" y="335"/>
                    </a:lnTo>
                    <a:lnTo>
                      <a:pt x="62" y="331"/>
                    </a:lnTo>
                    <a:lnTo>
                      <a:pt x="64" y="328"/>
                    </a:lnTo>
                    <a:lnTo>
                      <a:pt x="65" y="325"/>
                    </a:lnTo>
                    <a:lnTo>
                      <a:pt x="69" y="326"/>
                    </a:lnTo>
                    <a:lnTo>
                      <a:pt x="72" y="328"/>
                    </a:lnTo>
                    <a:lnTo>
                      <a:pt x="77" y="328"/>
                    </a:lnTo>
                    <a:lnTo>
                      <a:pt x="78" y="329"/>
                    </a:lnTo>
                    <a:lnTo>
                      <a:pt x="79" y="329"/>
                    </a:lnTo>
                    <a:lnTo>
                      <a:pt x="82" y="326"/>
                    </a:lnTo>
                    <a:lnTo>
                      <a:pt x="82" y="328"/>
                    </a:lnTo>
                    <a:lnTo>
                      <a:pt x="84" y="331"/>
                    </a:lnTo>
                    <a:lnTo>
                      <a:pt x="84" y="332"/>
                    </a:lnTo>
                    <a:lnTo>
                      <a:pt x="82" y="333"/>
                    </a:lnTo>
                    <a:lnTo>
                      <a:pt x="82" y="335"/>
                    </a:lnTo>
                    <a:lnTo>
                      <a:pt x="85" y="337"/>
                    </a:lnTo>
                    <a:lnTo>
                      <a:pt x="87" y="339"/>
                    </a:lnTo>
                    <a:lnTo>
                      <a:pt x="90" y="338"/>
                    </a:lnTo>
                    <a:lnTo>
                      <a:pt x="90" y="337"/>
                    </a:lnTo>
                    <a:lnTo>
                      <a:pt x="90" y="336"/>
                    </a:lnTo>
                    <a:lnTo>
                      <a:pt x="91" y="336"/>
                    </a:lnTo>
                    <a:lnTo>
                      <a:pt x="92" y="337"/>
                    </a:lnTo>
                    <a:lnTo>
                      <a:pt x="92" y="338"/>
                    </a:lnTo>
                    <a:lnTo>
                      <a:pt x="91" y="342"/>
                    </a:lnTo>
                    <a:lnTo>
                      <a:pt x="92" y="345"/>
                    </a:lnTo>
                    <a:lnTo>
                      <a:pt x="93" y="345"/>
                    </a:lnTo>
                    <a:lnTo>
                      <a:pt x="96" y="342"/>
                    </a:lnTo>
                    <a:lnTo>
                      <a:pt x="97" y="345"/>
                    </a:lnTo>
                    <a:lnTo>
                      <a:pt x="97" y="347"/>
                    </a:lnTo>
                    <a:lnTo>
                      <a:pt x="96" y="347"/>
                    </a:lnTo>
                    <a:lnTo>
                      <a:pt x="95" y="346"/>
                    </a:lnTo>
                    <a:lnTo>
                      <a:pt x="95" y="344"/>
                    </a:lnTo>
                    <a:lnTo>
                      <a:pt x="95" y="345"/>
                    </a:lnTo>
                    <a:lnTo>
                      <a:pt x="94" y="346"/>
                    </a:lnTo>
                    <a:lnTo>
                      <a:pt x="95" y="348"/>
                    </a:lnTo>
                    <a:lnTo>
                      <a:pt x="98" y="348"/>
                    </a:lnTo>
                    <a:lnTo>
                      <a:pt x="101" y="347"/>
                    </a:lnTo>
                    <a:lnTo>
                      <a:pt x="102" y="349"/>
                    </a:lnTo>
                    <a:lnTo>
                      <a:pt x="104" y="349"/>
                    </a:lnTo>
                    <a:lnTo>
                      <a:pt x="102" y="354"/>
                    </a:lnTo>
                    <a:lnTo>
                      <a:pt x="103" y="355"/>
                    </a:lnTo>
                    <a:lnTo>
                      <a:pt x="104" y="358"/>
                    </a:lnTo>
                    <a:lnTo>
                      <a:pt x="106" y="358"/>
                    </a:lnTo>
                    <a:lnTo>
                      <a:pt x="107" y="357"/>
                    </a:lnTo>
                    <a:lnTo>
                      <a:pt x="107" y="354"/>
                    </a:lnTo>
                    <a:lnTo>
                      <a:pt x="108" y="354"/>
                    </a:lnTo>
                    <a:lnTo>
                      <a:pt x="109" y="354"/>
                    </a:lnTo>
                    <a:lnTo>
                      <a:pt x="108" y="356"/>
                    </a:lnTo>
                    <a:lnTo>
                      <a:pt x="112" y="356"/>
                    </a:lnTo>
                    <a:lnTo>
                      <a:pt x="112" y="358"/>
                    </a:lnTo>
                    <a:lnTo>
                      <a:pt x="109" y="360"/>
                    </a:lnTo>
                    <a:lnTo>
                      <a:pt x="108" y="365"/>
                    </a:lnTo>
                    <a:lnTo>
                      <a:pt x="112" y="368"/>
                    </a:lnTo>
                    <a:lnTo>
                      <a:pt x="118" y="375"/>
                    </a:lnTo>
                    <a:lnTo>
                      <a:pt x="120" y="378"/>
                    </a:lnTo>
                    <a:lnTo>
                      <a:pt x="134" y="388"/>
                    </a:lnTo>
                    <a:lnTo>
                      <a:pt x="138" y="392"/>
                    </a:lnTo>
                    <a:lnTo>
                      <a:pt x="142" y="395"/>
                    </a:lnTo>
                    <a:lnTo>
                      <a:pt x="146" y="397"/>
                    </a:lnTo>
                    <a:lnTo>
                      <a:pt x="149" y="398"/>
                    </a:lnTo>
                    <a:lnTo>
                      <a:pt x="150" y="398"/>
                    </a:lnTo>
                    <a:lnTo>
                      <a:pt x="150" y="397"/>
                    </a:lnTo>
                    <a:lnTo>
                      <a:pt x="152" y="397"/>
                    </a:lnTo>
                    <a:lnTo>
                      <a:pt x="152" y="398"/>
                    </a:lnTo>
                    <a:lnTo>
                      <a:pt x="157" y="400"/>
                    </a:lnTo>
                    <a:lnTo>
                      <a:pt x="158" y="399"/>
                    </a:lnTo>
                    <a:lnTo>
                      <a:pt x="160" y="399"/>
                    </a:lnTo>
                    <a:lnTo>
                      <a:pt x="160" y="400"/>
                    </a:lnTo>
                    <a:lnTo>
                      <a:pt x="161" y="399"/>
                    </a:lnTo>
                    <a:lnTo>
                      <a:pt x="161" y="398"/>
                    </a:lnTo>
                    <a:lnTo>
                      <a:pt x="173" y="402"/>
                    </a:lnTo>
                    <a:lnTo>
                      <a:pt x="187" y="405"/>
                    </a:lnTo>
                    <a:lnTo>
                      <a:pt x="191" y="407"/>
                    </a:lnTo>
                    <a:lnTo>
                      <a:pt x="193" y="406"/>
                    </a:lnTo>
                    <a:lnTo>
                      <a:pt x="196" y="406"/>
                    </a:lnTo>
                    <a:lnTo>
                      <a:pt x="201" y="408"/>
                    </a:lnTo>
                    <a:lnTo>
                      <a:pt x="202" y="407"/>
                    </a:lnTo>
                    <a:lnTo>
                      <a:pt x="205" y="410"/>
                    </a:lnTo>
                    <a:lnTo>
                      <a:pt x="210" y="412"/>
                    </a:lnTo>
                    <a:lnTo>
                      <a:pt x="212" y="410"/>
                    </a:lnTo>
                    <a:lnTo>
                      <a:pt x="213" y="408"/>
                    </a:lnTo>
                    <a:lnTo>
                      <a:pt x="214" y="407"/>
                    </a:lnTo>
                    <a:lnTo>
                      <a:pt x="214" y="406"/>
                    </a:lnTo>
                    <a:lnTo>
                      <a:pt x="214" y="409"/>
                    </a:lnTo>
                    <a:lnTo>
                      <a:pt x="216" y="408"/>
                    </a:lnTo>
                    <a:lnTo>
                      <a:pt x="217" y="409"/>
                    </a:lnTo>
                    <a:lnTo>
                      <a:pt x="218" y="410"/>
                    </a:lnTo>
                    <a:lnTo>
                      <a:pt x="216" y="412"/>
                    </a:lnTo>
                    <a:lnTo>
                      <a:pt x="218" y="414"/>
                    </a:lnTo>
                    <a:lnTo>
                      <a:pt x="218" y="413"/>
                    </a:lnTo>
                    <a:lnTo>
                      <a:pt x="218" y="414"/>
                    </a:lnTo>
                    <a:lnTo>
                      <a:pt x="222" y="414"/>
                    </a:lnTo>
                    <a:lnTo>
                      <a:pt x="222" y="415"/>
                    </a:lnTo>
                    <a:lnTo>
                      <a:pt x="224" y="415"/>
                    </a:lnTo>
                    <a:lnTo>
                      <a:pt x="225" y="414"/>
                    </a:lnTo>
                    <a:lnTo>
                      <a:pt x="226" y="412"/>
                    </a:lnTo>
                    <a:lnTo>
                      <a:pt x="227" y="410"/>
                    </a:lnTo>
                    <a:lnTo>
                      <a:pt x="228" y="412"/>
                    </a:lnTo>
                    <a:lnTo>
                      <a:pt x="230" y="410"/>
                    </a:lnTo>
                    <a:lnTo>
                      <a:pt x="231" y="410"/>
                    </a:lnTo>
                    <a:lnTo>
                      <a:pt x="232" y="410"/>
                    </a:lnTo>
                    <a:lnTo>
                      <a:pt x="234" y="406"/>
                    </a:lnTo>
                    <a:lnTo>
                      <a:pt x="235" y="404"/>
                    </a:lnTo>
                    <a:lnTo>
                      <a:pt x="237" y="401"/>
                    </a:lnTo>
                    <a:lnTo>
                      <a:pt x="240" y="401"/>
                    </a:lnTo>
                    <a:lnTo>
                      <a:pt x="242" y="399"/>
                    </a:lnTo>
                    <a:lnTo>
                      <a:pt x="242" y="396"/>
                    </a:lnTo>
                    <a:lnTo>
                      <a:pt x="242" y="395"/>
                    </a:lnTo>
                    <a:lnTo>
                      <a:pt x="243" y="392"/>
                    </a:lnTo>
                    <a:lnTo>
                      <a:pt x="245" y="388"/>
                    </a:lnTo>
                    <a:lnTo>
                      <a:pt x="245" y="386"/>
                    </a:lnTo>
                    <a:lnTo>
                      <a:pt x="246" y="384"/>
                    </a:lnTo>
                    <a:lnTo>
                      <a:pt x="250" y="382"/>
                    </a:lnTo>
                    <a:lnTo>
                      <a:pt x="250" y="381"/>
                    </a:lnTo>
                    <a:lnTo>
                      <a:pt x="249" y="380"/>
                    </a:lnTo>
                    <a:lnTo>
                      <a:pt x="250" y="380"/>
                    </a:lnTo>
                    <a:lnTo>
                      <a:pt x="254" y="384"/>
                    </a:lnTo>
                    <a:lnTo>
                      <a:pt x="260" y="386"/>
                    </a:lnTo>
                    <a:lnTo>
                      <a:pt x="264" y="385"/>
                    </a:lnTo>
                    <a:lnTo>
                      <a:pt x="265" y="387"/>
                    </a:lnTo>
                    <a:lnTo>
                      <a:pt x="267" y="386"/>
                    </a:lnTo>
                    <a:lnTo>
                      <a:pt x="269" y="383"/>
                    </a:lnTo>
                    <a:lnTo>
                      <a:pt x="271" y="381"/>
                    </a:lnTo>
                    <a:lnTo>
                      <a:pt x="275" y="386"/>
                    </a:lnTo>
                    <a:lnTo>
                      <a:pt x="275" y="387"/>
                    </a:lnTo>
                    <a:lnTo>
                      <a:pt x="278" y="391"/>
                    </a:lnTo>
                    <a:lnTo>
                      <a:pt x="283" y="392"/>
                    </a:lnTo>
                    <a:lnTo>
                      <a:pt x="286" y="395"/>
                    </a:lnTo>
                    <a:lnTo>
                      <a:pt x="285" y="397"/>
                    </a:lnTo>
                    <a:lnTo>
                      <a:pt x="289" y="399"/>
                    </a:lnTo>
                    <a:lnTo>
                      <a:pt x="291" y="399"/>
                    </a:lnTo>
                    <a:lnTo>
                      <a:pt x="295" y="399"/>
                    </a:lnTo>
                    <a:lnTo>
                      <a:pt x="296" y="397"/>
                    </a:lnTo>
                    <a:lnTo>
                      <a:pt x="299" y="397"/>
                    </a:lnTo>
                    <a:lnTo>
                      <a:pt x="302" y="399"/>
                    </a:lnTo>
                    <a:lnTo>
                      <a:pt x="304" y="400"/>
                    </a:lnTo>
                    <a:lnTo>
                      <a:pt x="305" y="403"/>
                    </a:lnTo>
                    <a:lnTo>
                      <a:pt x="307" y="406"/>
                    </a:lnTo>
                    <a:lnTo>
                      <a:pt x="308" y="412"/>
                    </a:lnTo>
                    <a:lnTo>
                      <a:pt x="308" y="415"/>
                    </a:lnTo>
                    <a:lnTo>
                      <a:pt x="305" y="418"/>
                    </a:lnTo>
                    <a:lnTo>
                      <a:pt x="305" y="420"/>
                    </a:lnTo>
                    <a:lnTo>
                      <a:pt x="307" y="423"/>
                    </a:lnTo>
                    <a:lnTo>
                      <a:pt x="307" y="426"/>
                    </a:lnTo>
                    <a:lnTo>
                      <a:pt x="308" y="426"/>
                    </a:lnTo>
                    <a:lnTo>
                      <a:pt x="313" y="423"/>
                    </a:lnTo>
                    <a:lnTo>
                      <a:pt x="314" y="422"/>
                    </a:lnTo>
                    <a:lnTo>
                      <a:pt x="317" y="422"/>
                    </a:lnTo>
                    <a:lnTo>
                      <a:pt x="319" y="423"/>
                    </a:lnTo>
                    <a:lnTo>
                      <a:pt x="321" y="423"/>
                    </a:lnTo>
                    <a:lnTo>
                      <a:pt x="320" y="424"/>
                    </a:lnTo>
                    <a:lnTo>
                      <a:pt x="320" y="425"/>
                    </a:lnTo>
                    <a:lnTo>
                      <a:pt x="321" y="425"/>
                    </a:lnTo>
                    <a:lnTo>
                      <a:pt x="322" y="426"/>
                    </a:lnTo>
                    <a:lnTo>
                      <a:pt x="322" y="427"/>
                    </a:lnTo>
                    <a:lnTo>
                      <a:pt x="325" y="426"/>
                    </a:lnTo>
                    <a:lnTo>
                      <a:pt x="327" y="429"/>
                    </a:lnTo>
                    <a:lnTo>
                      <a:pt x="327" y="431"/>
                    </a:lnTo>
                    <a:lnTo>
                      <a:pt x="328" y="433"/>
                    </a:lnTo>
                    <a:lnTo>
                      <a:pt x="329" y="433"/>
                    </a:lnTo>
                    <a:lnTo>
                      <a:pt x="332" y="436"/>
                    </a:lnTo>
                    <a:lnTo>
                      <a:pt x="333" y="435"/>
                    </a:lnTo>
                    <a:lnTo>
                      <a:pt x="334" y="436"/>
                    </a:lnTo>
                    <a:lnTo>
                      <a:pt x="336" y="436"/>
                    </a:lnTo>
                    <a:lnTo>
                      <a:pt x="338" y="438"/>
                    </a:lnTo>
                    <a:lnTo>
                      <a:pt x="339" y="440"/>
                    </a:lnTo>
                    <a:lnTo>
                      <a:pt x="341" y="437"/>
                    </a:lnTo>
                    <a:lnTo>
                      <a:pt x="343" y="438"/>
                    </a:lnTo>
                    <a:lnTo>
                      <a:pt x="346" y="439"/>
                    </a:lnTo>
                    <a:lnTo>
                      <a:pt x="349" y="436"/>
                    </a:lnTo>
                    <a:lnTo>
                      <a:pt x="351" y="439"/>
                    </a:lnTo>
                    <a:lnTo>
                      <a:pt x="358" y="439"/>
                    </a:lnTo>
                    <a:lnTo>
                      <a:pt x="361" y="435"/>
                    </a:lnTo>
                    <a:lnTo>
                      <a:pt x="362" y="438"/>
                    </a:lnTo>
                    <a:lnTo>
                      <a:pt x="366" y="439"/>
                    </a:lnTo>
                    <a:lnTo>
                      <a:pt x="367" y="438"/>
                    </a:lnTo>
                    <a:lnTo>
                      <a:pt x="368" y="439"/>
                    </a:lnTo>
                    <a:lnTo>
                      <a:pt x="367" y="439"/>
                    </a:lnTo>
                    <a:lnTo>
                      <a:pt x="368" y="441"/>
                    </a:lnTo>
                    <a:lnTo>
                      <a:pt x="369" y="443"/>
                    </a:lnTo>
                    <a:lnTo>
                      <a:pt x="368" y="444"/>
                    </a:lnTo>
                    <a:lnTo>
                      <a:pt x="370" y="446"/>
                    </a:lnTo>
                    <a:lnTo>
                      <a:pt x="370" y="448"/>
                    </a:lnTo>
                    <a:lnTo>
                      <a:pt x="370" y="450"/>
                    </a:lnTo>
                    <a:lnTo>
                      <a:pt x="370" y="451"/>
                    </a:lnTo>
                    <a:lnTo>
                      <a:pt x="370" y="452"/>
                    </a:lnTo>
                    <a:lnTo>
                      <a:pt x="370" y="454"/>
                    </a:lnTo>
                    <a:lnTo>
                      <a:pt x="369" y="454"/>
                    </a:lnTo>
                    <a:lnTo>
                      <a:pt x="368" y="456"/>
                    </a:lnTo>
                    <a:lnTo>
                      <a:pt x="368" y="458"/>
                    </a:lnTo>
                    <a:lnTo>
                      <a:pt x="370" y="460"/>
                    </a:lnTo>
                    <a:lnTo>
                      <a:pt x="371" y="461"/>
                    </a:lnTo>
                    <a:lnTo>
                      <a:pt x="370" y="462"/>
                    </a:lnTo>
                    <a:lnTo>
                      <a:pt x="371" y="463"/>
                    </a:lnTo>
                    <a:lnTo>
                      <a:pt x="370" y="463"/>
                    </a:lnTo>
                    <a:lnTo>
                      <a:pt x="371" y="465"/>
                    </a:lnTo>
                    <a:lnTo>
                      <a:pt x="370" y="467"/>
                    </a:lnTo>
                    <a:lnTo>
                      <a:pt x="369" y="468"/>
                    </a:lnTo>
                    <a:lnTo>
                      <a:pt x="370" y="471"/>
                    </a:lnTo>
                    <a:lnTo>
                      <a:pt x="369" y="471"/>
                    </a:lnTo>
                    <a:lnTo>
                      <a:pt x="370" y="473"/>
                    </a:lnTo>
                    <a:lnTo>
                      <a:pt x="371" y="473"/>
                    </a:lnTo>
                    <a:lnTo>
                      <a:pt x="371" y="475"/>
                    </a:lnTo>
                    <a:lnTo>
                      <a:pt x="370" y="476"/>
                    </a:lnTo>
                    <a:lnTo>
                      <a:pt x="370" y="478"/>
                    </a:lnTo>
                    <a:lnTo>
                      <a:pt x="368" y="481"/>
                    </a:lnTo>
                    <a:lnTo>
                      <a:pt x="368" y="483"/>
                    </a:lnTo>
                    <a:lnTo>
                      <a:pt x="370" y="484"/>
                    </a:lnTo>
                    <a:lnTo>
                      <a:pt x="373" y="486"/>
                    </a:lnTo>
                    <a:lnTo>
                      <a:pt x="375" y="487"/>
                    </a:lnTo>
                    <a:lnTo>
                      <a:pt x="375" y="485"/>
                    </a:lnTo>
                    <a:lnTo>
                      <a:pt x="376" y="486"/>
                    </a:lnTo>
                    <a:lnTo>
                      <a:pt x="377" y="486"/>
                    </a:lnTo>
                    <a:lnTo>
                      <a:pt x="376" y="485"/>
                    </a:lnTo>
                    <a:lnTo>
                      <a:pt x="376" y="484"/>
                    </a:lnTo>
                    <a:lnTo>
                      <a:pt x="378" y="484"/>
                    </a:lnTo>
                    <a:lnTo>
                      <a:pt x="378" y="481"/>
                    </a:lnTo>
                    <a:lnTo>
                      <a:pt x="379" y="483"/>
                    </a:lnTo>
                    <a:lnTo>
                      <a:pt x="379" y="481"/>
                    </a:lnTo>
                    <a:lnTo>
                      <a:pt x="381" y="483"/>
                    </a:lnTo>
                    <a:lnTo>
                      <a:pt x="382" y="482"/>
                    </a:lnTo>
                    <a:lnTo>
                      <a:pt x="380" y="480"/>
                    </a:lnTo>
                    <a:lnTo>
                      <a:pt x="382" y="480"/>
                    </a:lnTo>
                    <a:lnTo>
                      <a:pt x="380" y="477"/>
                    </a:lnTo>
                    <a:lnTo>
                      <a:pt x="380" y="476"/>
                    </a:lnTo>
                    <a:lnTo>
                      <a:pt x="382" y="478"/>
                    </a:lnTo>
                    <a:lnTo>
                      <a:pt x="382" y="476"/>
                    </a:lnTo>
                    <a:lnTo>
                      <a:pt x="383" y="475"/>
                    </a:lnTo>
                    <a:lnTo>
                      <a:pt x="382" y="473"/>
                    </a:lnTo>
                    <a:lnTo>
                      <a:pt x="384" y="473"/>
                    </a:lnTo>
                    <a:lnTo>
                      <a:pt x="383" y="471"/>
                    </a:lnTo>
                    <a:lnTo>
                      <a:pt x="383" y="464"/>
                    </a:lnTo>
                    <a:lnTo>
                      <a:pt x="385" y="463"/>
                    </a:lnTo>
                    <a:lnTo>
                      <a:pt x="384" y="461"/>
                    </a:lnTo>
                    <a:lnTo>
                      <a:pt x="384" y="460"/>
                    </a:lnTo>
                    <a:lnTo>
                      <a:pt x="385" y="462"/>
                    </a:lnTo>
                    <a:lnTo>
                      <a:pt x="386" y="461"/>
                    </a:lnTo>
                    <a:lnTo>
                      <a:pt x="386" y="459"/>
                    </a:lnTo>
                    <a:lnTo>
                      <a:pt x="387" y="459"/>
                    </a:lnTo>
                    <a:lnTo>
                      <a:pt x="387" y="457"/>
                    </a:lnTo>
                    <a:lnTo>
                      <a:pt x="388" y="456"/>
                    </a:lnTo>
                    <a:lnTo>
                      <a:pt x="388" y="454"/>
                    </a:lnTo>
                    <a:lnTo>
                      <a:pt x="389" y="453"/>
                    </a:lnTo>
                    <a:lnTo>
                      <a:pt x="390" y="454"/>
                    </a:lnTo>
                    <a:lnTo>
                      <a:pt x="391" y="454"/>
                    </a:lnTo>
                    <a:lnTo>
                      <a:pt x="392" y="452"/>
                    </a:lnTo>
                    <a:lnTo>
                      <a:pt x="393" y="454"/>
                    </a:lnTo>
                    <a:lnTo>
                      <a:pt x="394" y="452"/>
                    </a:lnTo>
                    <a:lnTo>
                      <a:pt x="392" y="452"/>
                    </a:lnTo>
                    <a:lnTo>
                      <a:pt x="393" y="451"/>
                    </a:lnTo>
                    <a:lnTo>
                      <a:pt x="392" y="450"/>
                    </a:lnTo>
                    <a:lnTo>
                      <a:pt x="396" y="450"/>
                    </a:lnTo>
                    <a:lnTo>
                      <a:pt x="394" y="448"/>
                    </a:lnTo>
                    <a:lnTo>
                      <a:pt x="395" y="447"/>
                    </a:lnTo>
                    <a:lnTo>
                      <a:pt x="394" y="448"/>
                    </a:lnTo>
                    <a:lnTo>
                      <a:pt x="393" y="447"/>
                    </a:lnTo>
                    <a:lnTo>
                      <a:pt x="394" y="446"/>
                    </a:lnTo>
                    <a:lnTo>
                      <a:pt x="395" y="446"/>
                    </a:lnTo>
                    <a:lnTo>
                      <a:pt x="394" y="446"/>
                    </a:lnTo>
                    <a:lnTo>
                      <a:pt x="395" y="444"/>
                    </a:lnTo>
                    <a:lnTo>
                      <a:pt x="396" y="444"/>
                    </a:lnTo>
                    <a:lnTo>
                      <a:pt x="395" y="443"/>
                    </a:lnTo>
                    <a:lnTo>
                      <a:pt x="395" y="441"/>
                    </a:lnTo>
                    <a:lnTo>
                      <a:pt x="397" y="440"/>
                    </a:lnTo>
                    <a:lnTo>
                      <a:pt x="395" y="440"/>
                    </a:lnTo>
                    <a:lnTo>
                      <a:pt x="395" y="439"/>
                    </a:lnTo>
                    <a:lnTo>
                      <a:pt x="394" y="439"/>
                    </a:lnTo>
                    <a:lnTo>
                      <a:pt x="396" y="437"/>
                    </a:lnTo>
                    <a:lnTo>
                      <a:pt x="397" y="438"/>
                    </a:lnTo>
                    <a:lnTo>
                      <a:pt x="397" y="437"/>
                    </a:lnTo>
                    <a:lnTo>
                      <a:pt x="398" y="437"/>
                    </a:lnTo>
                    <a:lnTo>
                      <a:pt x="399" y="436"/>
                    </a:lnTo>
                    <a:lnTo>
                      <a:pt x="400" y="434"/>
                    </a:lnTo>
                    <a:lnTo>
                      <a:pt x="400" y="435"/>
                    </a:lnTo>
                    <a:lnTo>
                      <a:pt x="400" y="433"/>
                    </a:lnTo>
                    <a:lnTo>
                      <a:pt x="403" y="433"/>
                    </a:lnTo>
                    <a:lnTo>
                      <a:pt x="403" y="430"/>
                    </a:lnTo>
                    <a:lnTo>
                      <a:pt x="404" y="427"/>
                    </a:lnTo>
                    <a:lnTo>
                      <a:pt x="406" y="426"/>
                    </a:lnTo>
                    <a:lnTo>
                      <a:pt x="408" y="424"/>
                    </a:lnTo>
                    <a:lnTo>
                      <a:pt x="409" y="423"/>
                    </a:lnTo>
                    <a:lnTo>
                      <a:pt x="409" y="422"/>
                    </a:lnTo>
                    <a:lnTo>
                      <a:pt x="408" y="423"/>
                    </a:lnTo>
                    <a:lnTo>
                      <a:pt x="409" y="418"/>
                    </a:lnTo>
                    <a:lnTo>
                      <a:pt x="411" y="419"/>
                    </a:lnTo>
                    <a:lnTo>
                      <a:pt x="412" y="418"/>
                    </a:lnTo>
                    <a:lnTo>
                      <a:pt x="413" y="418"/>
                    </a:lnTo>
                    <a:lnTo>
                      <a:pt x="413" y="417"/>
                    </a:lnTo>
                    <a:lnTo>
                      <a:pt x="414" y="418"/>
                    </a:lnTo>
                    <a:lnTo>
                      <a:pt x="416" y="417"/>
                    </a:lnTo>
                    <a:lnTo>
                      <a:pt x="414" y="416"/>
                    </a:lnTo>
                    <a:lnTo>
                      <a:pt x="414" y="415"/>
                    </a:lnTo>
                    <a:lnTo>
                      <a:pt x="414" y="416"/>
                    </a:lnTo>
                    <a:lnTo>
                      <a:pt x="416" y="416"/>
                    </a:lnTo>
                    <a:lnTo>
                      <a:pt x="416" y="414"/>
                    </a:lnTo>
                    <a:lnTo>
                      <a:pt x="417" y="414"/>
                    </a:lnTo>
                    <a:lnTo>
                      <a:pt x="417" y="413"/>
                    </a:lnTo>
                    <a:lnTo>
                      <a:pt x="418" y="413"/>
                    </a:lnTo>
                    <a:lnTo>
                      <a:pt x="420" y="412"/>
                    </a:lnTo>
                    <a:lnTo>
                      <a:pt x="421" y="413"/>
                    </a:lnTo>
                    <a:lnTo>
                      <a:pt x="424" y="410"/>
                    </a:lnTo>
                    <a:lnTo>
                      <a:pt x="422" y="409"/>
                    </a:lnTo>
                    <a:lnTo>
                      <a:pt x="423" y="406"/>
                    </a:lnTo>
                    <a:lnTo>
                      <a:pt x="424" y="405"/>
                    </a:lnTo>
                    <a:lnTo>
                      <a:pt x="425" y="405"/>
                    </a:lnTo>
                    <a:lnTo>
                      <a:pt x="424" y="404"/>
                    </a:lnTo>
                    <a:lnTo>
                      <a:pt x="425" y="404"/>
                    </a:lnTo>
                    <a:lnTo>
                      <a:pt x="425" y="403"/>
                    </a:lnTo>
                    <a:lnTo>
                      <a:pt x="427" y="403"/>
                    </a:lnTo>
                    <a:lnTo>
                      <a:pt x="427" y="401"/>
                    </a:lnTo>
                    <a:lnTo>
                      <a:pt x="428" y="400"/>
                    </a:lnTo>
                    <a:lnTo>
                      <a:pt x="429" y="398"/>
                    </a:lnTo>
                    <a:lnTo>
                      <a:pt x="428" y="395"/>
                    </a:lnTo>
                    <a:lnTo>
                      <a:pt x="429" y="392"/>
                    </a:lnTo>
                    <a:lnTo>
                      <a:pt x="429" y="391"/>
                    </a:lnTo>
                    <a:lnTo>
                      <a:pt x="430" y="389"/>
                    </a:lnTo>
                    <a:lnTo>
                      <a:pt x="430" y="388"/>
                    </a:lnTo>
                    <a:lnTo>
                      <a:pt x="431" y="388"/>
                    </a:lnTo>
                    <a:lnTo>
                      <a:pt x="432" y="386"/>
                    </a:lnTo>
                    <a:lnTo>
                      <a:pt x="437" y="389"/>
                    </a:lnTo>
                    <a:lnTo>
                      <a:pt x="440" y="389"/>
                    </a:lnTo>
                    <a:lnTo>
                      <a:pt x="441" y="389"/>
                    </a:lnTo>
                    <a:lnTo>
                      <a:pt x="442" y="387"/>
                    </a:lnTo>
                    <a:lnTo>
                      <a:pt x="443" y="386"/>
                    </a:lnTo>
                    <a:lnTo>
                      <a:pt x="442" y="386"/>
                    </a:lnTo>
                    <a:lnTo>
                      <a:pt x="442" y="384"/>
                    </a:lnTo>
                    <a:lnTo>
                      <a:pt x="443" y="385"/>
                    </a:lnTo>
                    <a:lnTo>
                      <a:pt x="445" y="384"/>
                    </a:lnTo>
                    <a:lnTo>
                      <a:pt x="444" y="383"/>
                    </a:lnTo>
                    <a:lnTo>
                      <a:pt x="446" y="384"/>
                    </a:lnTo>
                    <a:lnTo>
                      <a:pt x="446" y="383"/>
                    </a:lnTo>
                    <a:lnTo>
                      <a:pt x="445" y="382"/>
                    </a:lnTo>
                    <a:lnTo>
                      <a:pt x="447" y="382"/>
                    </a:lnTo>
                    <a:lnTo>
                      <a:pt x="448" y="381"/>
                    </a:lnTo>
                    <a:lnTo>
                      <a:pt x="447" y="380"/>
                    </a:lnTo>
                    <a:lnTo>
                      <a:pt x="449" y="379"/>
                    </a:lnTo>
                    <a:lnTo>
                      <a:pt x="449" y="381"/>
                    </a:lnTo>
                    <a:lnTo>
                      <a:pt x="450" y="381"/>
                    </a:lnTo>
                    <a:lnTo>
                      <a:pt x="450" y="380"/>
                    </a:lnTo>
                    <a:lnTo>
                      <a:pt x="449" y="378"/>
                    </a:lnTo>
                    <a:lnTo>
                      <a:pt x="449" y="376"/>
                    </a:lnTo>
                    <a:lnTo>
                      <a:pt x="450" y="376"/>
                    </a:lnTo>
                    <a:lnTo>
                      <a:pt x="452" y="377"/>
                    </a:lnTo>
                    <a:lnTo>
                      <a:pt x="452" y="375"/>
                    </a:lnTo>
                    <a:lnTo>
                      <a:pt x="455" y="373"/>
                    </a:lnTo>
                    <a:lnTo>
                      <a:pt x="456" y="373"/>
                    </a:lnTo>
                    <a:lnTo>
                      <a:pt x="457" y="373"/>
                    </a:lnTo>
                    <a:lnTo>
                      <a:pt x="458" y="373"/>
                    </a:lnTo>
                    <a:lnTo>
                      <a:pt x="458" y="374"/>
                    </a:lnTo>
                    <a:lnTo>
                      <a:pt x="458" y="375"/>
                    </a:lnTo>
                    <a:lnTo>
                      <a:pt x="459" y="374"/>
                    </a:lnTo>
                    <a:lnTo>
                      <a:pt x="461" y="375"/>
                    </a:lnTo>
                    <a:lnTo>
                      <a:pt x="463" y="374"/>
                    </a:lnTo>
                    <a:lnTo>
                      <a:pt x="463" y="376"/>
                    </a:lnTo>
                    <a:lnTo>
                      <a:pt x="465" y="376"/>
                    </a:lnTo>
                    <a:lnTo>
                      <a:pt x="466" y="378"/>
                    </a:lnTo>
                    <a:lnTo>
                      <a:pt x="469" y="378"/>
                    </a:lnTo>
                    <a:lnTo>
                      <a:pt x="470" y="380"/>
                    </a:lnTo>
                    <a:lnTo>
                      <a:pt x="473" y="382"/>
                    </a:lnTo>
                    <a:lnTo>
                      <a:pt x="475" y="382"/>
                    </a:lnTo>
                    <a:lnTo>
                      <a:pt x="478" y="382"/>
                    </a:lnTo>
                    <a:lnTo>
                      <a:pt x="478" y="385"/>
                    </a:lnTo>
                    <a:lnTo>
                      <a:pt x="482" y="388"/>
                    </a:lnTo>
                    <a:lnTo>
                      <a:pt x="484" y="391"/>
                    </a:lnTo>
                    <a:lnTo>
                      <a:pt x="486" y="392"/>
                    </a:lnTo>
                    <a:lnTo>
                      <a:pt x="488" y="391"/>
                    </a:lnTo>
                    <a:lnTo>
                      <a:pt x="489" y="392"/>
                    </a:lnTo>
                    <a:lnTo>
                      <a:pt x="490" y="394"/>
                    </a:lnTo>
                    <a:lnTo>
                      <a:pt x="491" y="397"/>
                    </a:lnTo>
                    <a:lnTo>
                      <a:pt x="495" y="401"/>
                    </a:lnTo>
                    <a:lnTo>
                      <a:pt x="496" y="403"/>
                    </a:lnTo>
                    <a:lnTo>
                      <a:pt x="497" y="403"/>
                    </a:lnTo>
                    <a:lnTo>
                      <a:pt x="499" y="407"/>
                    </a:lnTo>
                    <a:lnTo>
                      <a:pt x="504" y="405"/>
                    </a:lnTo>
                    <a:lnTo>
                      <a:pt x="506" y="406"/>
                    </a:lnTo>
                    <a:lnTo>
                      <a:pt x="507" y="406"/>
                    </a:lnTo>
                    <a:lnTo>
                      <a:pt x="508" y="408"/>
                    </a:lnTo>
                    <a:lnTo>
                      <a:pt x="510" y="405"/>
                    </a:lnTo>
                    <a:lnTo>
                      <a:pt x="514" y="403"/>
                    </a:lnTo>
                    <a:lnTo>
                      <a:pt x="515" y="402"/>
                    </a:lnTo>
                    <a:lnTo>
                      <a:pt x="517" y="403"/>
                    </a:lnTo>
                    <a:lnTo>
                      <a:pt x="518" y="401"/>
                    </a:lnTo>
                    <a:lnTo>
                      <a:pt x="520" y="397"/>
                    </a:lnTo>
                    <a:lnTo>
                      <a:pt x="522" y="399"/>
                    </a:lnTo>
                    <a:lnTo>
                      <a:pt x="522" y="397"/>
                    </a:lnTo>
                    <a:lnTo>
                      <a:pt x="525" y="394"/>
                    </a:lnTo>
                    <a:lnTo>
                      <a:pt x="531" y="397"/>
                    </a:lnTo>
                    <a:lnTo>
                      <a:pt x="533" y="399"/>
                    </a:lnTo>
                    <a:lnTo>
                      <a:pt x="536" y="404"/>
                    </a:lnTo>
                    <a:lnTo>
                      <a:pt x="539" y="409"/>
                    </a:lnTo>
                    <a:lnTo>
                      <a:pt x="539" y="410"/>
                    </a:lnTo>
                    <a:lnTo>
                      <a:pt x="542" y="412"/>
                    </a:lnTo>
                    <a:lnTo>
                      <a:pt x="545" y="412"/>
                    </a:lnTo>
                    <a:lnTo>
                      <a:pt x="548" y="410"/>
                    </a:lnTo>
                    <a:lnTo>
                      <a:pt x="551" y="411"/>
                    </a:lnTo>
                    <a:lnTo>
                      <a:pt x="554" y="407"/>
                    </a:lnTo>
                    <a:lnTo>
                      <a:pt x="557" y="409"/>
                    </a:lnTo>
                    <a:lnTo>
                      <a:pt x="559" y="408"/>
                    </a:lnTo>
                    <a:lnTo>
                      <a:pt x="562" y="409"/>
                    </a:lnTo>
                    <a:lnTo>
                      <a:pt x="564" y="407"/>
                    </a:lnTo>
                    <a:lnTo>
                      <a:pt x="565" y="403"/>
                    </a:lnTo>
                    <a:lnTo>
                      <a:pt x="566" y="401"/>
                    </a:lnTo>
                    <a:lnTo>
                      <a:pt x="571" y="401"/>
                    </a:lnTo>
                    <a:lnTo>
                      <a:pt x="572" y="399"/>
                    </a:lnTo>
                    <a:lnTo>
                      <a:pt x="574" y="396"/>
                    </a:lnTo>
                    <a:lnTo>
                      <a:pt x="577" y="396"/>
                    </a:lnTo>
                    <a:lnTo>
                      <a:pt x="579" y="397"/>
                    </a:lnTo>
                    <a:lnTo>
                      <a:pt x="577" y="389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86" name="Group 125">
              <a:extLst>
                <a:ext uri="{FF2B5EF4-FFF2-40B4-BE49-F238E27FC236}">
                  <a16:creationId xmlns:a16="http://schemas.microsoft.com/office/drawing/2014/main" id="{092E236A-1358-4E0D-8853-C10293E96E6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81" y="2725"/>
              <a:ext cx="335" cy="268"/>
              <a:chOff x="1081" y="2725"/>
              <a:chExt cx="335" cy="268"/>
            </a:xfrm>
          </p:grpSpPr>
          <p:sp>
            <p:nvSpPr>
              <p:cNvPr id="487" name="Freeform 123">
                <a:extLst>
                  <a:ext uri="{FF2B5EF4-FFF2-40B4-BE49-F238E27FC236}">
                    <a16:creationId xmlns:a16="http://schemas.microsoft.com/office/drawing/2014/main" id="{8204C1C1-5323-4A71-AC02-B0EB13A006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1" y="2725"/>
                <a:ext cx="335" cy="268"/>
              </a:xfrm>
              <a:custGeom>
                <a:avLst/>
                <a:gdLst>
                  <a:gd name="T0" fmla="*/ 328 w 335"/>
                  <a:gd name="T1" fmla="*/ 238 h 268"/>
                  <a:gd name="T2" fmla="*/ 328 w 335"/>
                  <a:gd name="T3" fmla="*/ 207 h 268"/>
                  <a:gd name="T4" fmla="*/ 325 w 335"/>
                  <a:gd name="T5" fmla="*/ 172 h 268"/>
                  <a:gd name="T6" fmla="*/ 319 w 335"/>
                  <a:gd name="T7" fmla="*/ 134 h 268"/>
                  <a:gd name="T8" fmla="*/ 289 w 335"/>
                  <a:gd name="T9" fmla="*/ 125 h 268"/>
                  <a:gd name="T10" fmla="*/ 278 w 335"/>
                  <a:gd name="T11" fmla="*/ 116 h 268"/>
                  <a:gd name="T12" fmla="*/ 276 w 335"/>
                  <a:gd name="T13" fmla="*/ 91 h 268"/>
                  <a:gd name="T14" fmla="*/ 262 w 335"/>
                  <a:gd name="T15" fmla="*/ 77 h 268"/>
                  <a:gd name="T16" fmla="*/ 266 w 335"/>
                  <a:gd name="T17" fmla="*/ 43 h 268"/>
                  <a:gd name="T18" fmla="*/ 254 w 335"/>
                  <a:gd name="T19" fmla="*/ 21 h 268"/>
                  <a:gd name="T20" fmla="*/ 238 w 335"/>
                  <a:gd name="T21" fmla="*/ 22 h 268"/>
                  <a:gd name="T22" fmla="*/ 229 w 335"/>
                  <a:gd name="T23" fmla="*/ 20 h 268"/>
                  <a:gd name="T24" fmla="*/ 213 w 335"/>
                  <a:gd name="T25" fmla="*/ 7 h 268"/>
                  <a:gd name="T26" fmla="*/ 202 w 335"/>
                  <a:gd name="T27" fmla="*/ 1 h 268"/>
                  <a:gd name="T28" fmla="*/ 188 w 335"/>
                  <a:gd name="T29" fmla="*/ 20 h 268"/>
                  <a:gd name="T30" fmla="*/ 188 w 335"/>
                  <a:gd name="T31" fmla="*/ 43 h 268"/>
                  <a:gd name="T32" fmla="*/ 186 w 335"/>
                  <a:gd name="T33" fmla="*/ 68 h 268"/>
                  <a:gd name="T34" fmla="*/ 150 w 335"/>
                  <a:gd name="T35" fmla="*/ 62 h 268"/>
                  <a:gd name="T36" fmla="*/ 130 w 335"/>
                  <a:gd name="T37" fmla="*/ 84 h 268"/>
                  <a:gd name="T38" fmla="*/ 113 w 335"/>
                  <a:gd name="T39" fmla="*/ 79 h 268"/>
                  <a:gd name="T40" fmla="*/ 87 w 335"/>
                  <a:gd name="T41" fmla="*/ 63 h 268"/>
                  <a:gd name="T42" fmla="*/ 66 w 335"/>
                  <a:gd name="T43" fmla="*/ 79 h 268"/>
                  <a:gd name="T44" fmla="*/ 51 w 335"/>
                  <a:gd name="T45" fmla="*/ 81 h 268"/>
                  <a:gd name="T46" fmla="*/ 39 w 335"/>
                  <a:gd name="T47" fmla="*/ 78 h 268"/>
                  <a:gd name="T48" fmla="*/ 36 w 335"/>
                  <a:gd name="T49" fmla="*/ 82 h 268"/>
                  <a:gd name="T50" fmla="*/ 32 w 335"/>
                  <a:gd name="T51" fmla="*/ 94 h 268"/>
                  <a:gd name="T52" fmla="*/ 23 w 335"/>
                  <a:gd name="T53" fmla="*/ 112 h 268"/>
                  <a:gd name="T54" fmla="*/ 8 w 335"/>
                  <a:gd name="T55" fmla="*/ 126 h 268"/>
                  <a:gd name="T56" fmla="*/ 3 w 335"/>
                  <a:gd name="T57" fmla="*/ 148 h 268"/>
                  <a:gd name="T58" fmla="*/ 8 w 335"/>
                  <a:gd name="T59" fmla="*/ 172 h 268"/>
                  <a:gd name="T60" fmla="*/ 14 w 335"/>
                  <a:gd name="T61" fmla="*/ 188 h 268"/>
                  <a:gd name="T62" fmla="*/ 18 w 335"/>
                  <a:gd name="T63" fmla="*/ 202 h 268"/>
                  <a:gd name="T64" fmla="*/ 23 w 335"/>
                  <a:gd name="T65" fmla="*/ 209 h 268"/>
                  <a:gd name="T66" fmla="*/ 29 w 335"/>
                  <a:gd name="T67" fmla="*/ 224 h 268"/>
                  <a:gd name="T68" fmla="*/ 41 w 335"/>
                  <a:gd name="T69" fmla="*/ 226 h 268"/>
                  <a:gd name="T70" fmla="*/ 54 w 335"/>
                  <a:gd name="T71" fmla="*/ 222 h 268"/>
                  <a:gd name="T72" fmla="*/ 55 w 335"/>
                  <a:gd name="T73" fmla="*/ 238 h 268"/>
                  <a:gd name="T74" fmla="*/ 63 w 335"/>
                  <a:gd name="T75" fmla="*/ 236 h 268"/>
                  <a:gd name="T76" fmla="*/ 78 w 335"/>
                  <a:gd name="T77" fmla="*/ 237 h 268"/>
                  <a:gd name="T78" fmla="*/ 93 w 335"/>
                  <a:gd name="T79" fmla="*/ 224 h 268"/>
                  <a:gd name="T80" fmla="*/ 131 w 335"/>
                  <a:gd name="T81" fmla="*/ 211 h 268"/>
                  <a:gd name="T82" fmla="*/ 140 w 335"/>
                  <a:gd name="T83" fmla="*/ 202 h 268"/>
                  <a:gd name="T84" fmla="*/ 148 w 335"/>
                  <a:gd name="T85" fmla="*/ 190 h 268"/>
                  <a:gd name="T86" fmla="*/ 155 w 335"/>
                  <a:gd name="T87" fmla="*/ 191 h 268"/>
                  <a:gd name="T88" fmla="*/ 165 w 335"/>
                  <a:gd name="T89" fmla="*/ 193 h 268"/>
                  <a:gd name="T90" fmla="*/ 173 w 335"/>
                  <a:gd name="T91" fmla="*/ 198 h 268"/>
                  <a:gd name="T92" fmla="*/ 180 w 335"/>
                  <a:gd name="T93" fmla="*/ 214 h 268"/>
                  <a:gd name="T94" fmla="*/ 192 w 335"/>
                  <a:gd name="T95" fmla="*/ 224 h 268"/>
                  <a:gd name="T96" fmla="*/ 202 w 335"/>
                  <a:gd name="T97" fmla="*/ 234 h 268"/>
                  <a:gd name="T98" fmla="*/ 213 w 335"/>
                  <a:gd name="T99" fmla="*/ 246 h 268"/>
                  <a:gd name="T100" fmla="*/ 231 w 335"/>
                  <a:gd name="T101" fmla="*/ 249 h 268"/>
                  <a:gd name="T102" fmla="*/ 242 w 335"/>
                  <a:gd name="T103" fmla="*/ 243 h 268"/>
                  <a:gd name="T104" fmla="*/ 256 w 335"/>
                  <a:gd name="T105" fmla="*/ 250 h 268"/>
                  <a:gd name="T106" fmla="*/ 268 w 335"/>
                  <a:gd name="T107" fmla="*/ 259 h 268"/>
                  <a:gd name="T108" fmla="*/ 268 w 335"/>
                  <a:gd name="T109" fmla="*/ 267 h 268"/>
                  <a:gd name="T110" fmla="*/ 279 w 335"/>
                  <a:gd name="T111" fmla="*/ 263 h 268"/>
                  <a:gd name="T112" fmla="*/ 282 w 335"/>
                  <a:gd name="T113" fmla="*/ 252 h 268"/>
                  <a:gd name="T114" fmla="*/ 295 w 335"/>
                  <a:gd name="T115" fmla="*/ 241 h 268"/>
                  <a:gd name="T116" fmla="*/ 305 w 335"/>
                  <a:gd name="T117" fmla="*/ 255 h 268"/>
                  <a:gd name="T118" fmla="*/ 319 w 335"/>
                  <a:gd name="T119" fmla="*/ 253 h 268"/>
                  <a:gd name="T120" fmla="*/ 326 w 335"/>
                  <a:gd name="T121" fmla="*/ 256 h 26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35"/>
                  <a:gd name="T184" fmla="*/ 0 h 268"/>
                  <a:gd name="T185" fmla="*/ 335 w 335"/>
                  <a:gd name="T186" fmla="*/ 268 h 26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35" h="268">
                    <a:moveTo>
                      <a:pt x="334" y="252"/>
                    </a:moveTo>
                    <a:lnTo>
                      <a:pt x="334" y="249"/>
                    </a:lnTo>
                    <a:lnTo>
                      <a:pt x="333" y="249"/>
                    </a:lnTo>
                    <a:lnTo>
                      <a:pt x="332" y="246"/>
                    </a:lnTo>
                    <a:lnTo>
                      <a:pt x="331" y="245"/>
                    </a:lnTo>
                    <a:lnTo>
                      <a:pt x="331" y="244"/>
                    </a:lnTo>
                    <a:lnTo>
                      <a:pt x="329" y="242"/>
                    </a:lnTo>
                    <a:lnTo>
                      <a:pt x="328" y="239"/>
                    </a:lnTo>
                    <a:lnTo>
                      <a:pt x="326" y="238"/>
                    </a:lnTo>
                    <a:lnTo>
                      <a:pt x="328" y="238"/>
                    </a:lnTo>
                    <a:lnTo>
                      <a:pt x="324" y="233"/>
                    </a:lnTo>
                    <a:lnTo>
                      <a:pt x="326" y="232"/>
                    </a:lnTo>
                    <a:lnTo>
                      <a:pt x="327" y="231"/>
                    </a:lnTo>
                    <a:lnTo>
                      <a:pt x="323" y="230"/>
                    </a:lnTo>
                    <a:lnTo>
                      <a:pt x="321" y="228"/>
                    </a:lnTo>
                    <a:lnTo>
                      <a:pt x="326" y="220"/>
                    </a:lnTo>
                    <a:lnTo>
                      <a:pt x="325" y="218"/>
                    </a:lnTo>
                    <a:lnTo>
                      <a:pt x="328" y="214"/>
                    </a:lnTo>
                    <a:lnTo>
                      <a:pt x="331" y="212"/>
                    </a:lnTo>
                    <a:lnTo>
                      <a:pt x="328" y="210"/>
                    </a:lnTo>
                    <a:lnTo>
                      <a:pt x="328" y="207"/>
                    </a:lnTo>
                    <a:lnTo>
                      <a:pt x="327" y="204"/>
                    </a:lnTo>
                    <a:lnTo>
                      <a:pt x="323" y="201"/>
                    </a:lnTo>
                    <a:lnTo>
                      <a:pt x="323" y="200"/>
                    </a:lnTo>
                    <a:lnTo>
                      <a:pt x="325" y="196"/>
                    </a:lnTo>
                    <a:lnTo>
                      <a:pt x="328" y="194"/>
                    </a:lnTo>
                    <a:lnTo>
                      <a:pt x="326" y="191"/>
                    </a:lnTo>
                    <a:lnTo>
                      <a:pt x="325" y="180"/>
                    </a:lnTo>
                    <a:lnTo>
                      <a:pt x="324" y="180"/>
                    </a:lnTo>
                    <a:lnTo>
                      <a:pt x="324" y="178"/>
                    </a:lnTo>
                    <a:lnTo>
                      <a:pt x="326" y="174"/>
                    </a:lnTo>
                    <a:lnTo>
                      <a:pt x="325" y="172"/>
                    </a:lnTo>
                    <a:lnTo>
                      <a:pt x="327" y="167"/>
                    </a:lnTo>
                    <a:lnTo>
                      <a:pt x="324" y="165"/>
                    </a:lnTo>
                    <a:lnTo>
                      <a:pt x="325" y="164"/>
                    </a:lnTo>
                    <a:lnTo>
                      <a:pt x="328" y="158"/>
                    </a:lnTo>
                    <a:lnTo>
                      <a:pt x="330" y="155"/>
                    </a:lnTo>
                    <a:lnTo>
                      <a:pt x="328" y="150"/>
                    </a:lnTo>
                    <a:lnTo>
                      <a:pt x="323" y="145"/>
                    </a:lnTo>
                    <a:lnTo>
                      <a:pt x="322" y="142"/>
                    </a:lnTo>
                    <a:lnTo>
                      <a:pt x="322" y="139"/>
                    </a:lnTo>
                    <a:lnTo>
                      <a:pt x="322" y="133"/>
                    </a:lnTo>
                    <a:lnTo>
                      <a:pt x="319" y="134"/>
                    </a:lnTo>
                    <a:lnTo>
                      <a:pt x="316" y="127"/>
                    </a:lnTo>
                    <a:lnTo>
                      <a:pt x="313" y="127"/>
                    </a:lnTo>
                    <a:lnTo>
                      <a:pt x="308" y="125"/>
                    </a:lnTo>
                    <a:lnTo>
                      <a:pt x="306" y="123"/>
                    </a:lnTo>
                    <a:lnTo>
                      <a:pt x="304" y="120"/>
                    </a:lnTo>
                    <a:lnTo>
                      <a:pt x="301" y="119"/>
                    </a:lnTo>
                    <a:lnTo>
                      <a:pt x="300" y="117"/>
                    </a:lnTo>
                    <a:lnTo>
                      <a:pt x="298" y="116"/>
                    </a:lnTo>
                    <a:lnTo>
                      <a:pt x="296" y="116"/>
                    </a:lnTo>
                    <a:lnTo>
                      <a:pt x="294" y="116"/>
                    </a:lnTo>
                    <a:lnTo>
                      <a:pt x="289" y="125"/>
                    </a:lnTo>
                    <a:lnTo>
                      <a:pt x="284" y="129"/>
                    </a:lnTo>
                    <a:lnTo>
                      <a:pt x="282" y="129"/>
                    </a:lnTo>
                    <a:lnTo>
                      <a:pt x="281" y="128"/>
                    </a:lnTo>
                    <a:lnTo>
                      <a:pt x="279" y="128"/>
                    </a:lnTo>
                    <a:lnTo>
                      <a:pt x="278" y="126"/>
                    </a:lnTo>
                    <a:lnTo>
                      <a:pt x="279" y="125"/>
                    </a:lnTo>
                    <a:lnTo>
                      <a:pt x="279" y="124"/>
                    </a:lnTo>
                    <a:lnTo>
                      <a:pt x="280" y="122"/>
                    </a:lnTo>
                    <a:lnTo>
                      <a:pt x="279" y="121"/>
                    </a:lnTo>
                    <a:lnTo>
                      <a:pt x="279" y="120"/>
                    </a:lnTo>
                    <a:lnTo>
                      <a:pt x="278" y="116"/>
                    </a:lnTo>
                    <a:lnTo>
                      <a:pt x="281" y="114"/>
                    </a:lnTo>
                    <a:lnTo>
                      <a:pt x="280" y="113"/>
                    </a:lnTo>
                    <a:lnTo>
                      <a:pt x="281" y="112"/>
                    </a:lnTo>
                    <a:lnTo>
                      <a:pt x="280" y="110"/>
                    </a:lnTo>
                    <a:lnTo>
                      <a:pt x="282" y="107"/>
                    </a:lnTo>
                    <a:lnTo>
                      <a:pt x="281" y="107"/>
                    </a:lnTo>
                    <a:lnTo>
                      <a:pt x="281" y="99"/>
                    </a:lnTo>
                    <a:lnTo>
                      <a:pt x="279" y="96"/>
                    </a:lnTo>
                    <a:lnTo>
                      <a:pt x="278" y="92"/>
                    </a:lnTo>
                    <a:lnTo>
                      <a:pt x="277" y="92"/>
                    </a:lnTo>
                    <a:lnTo>
                      <a:pt x="276" y="91"/>
                    </a:lnTo>
                    <a:lnTo>
                      <a:pt x="275" y="91"/>
                    </a:lnTo>
                    <a:lnTo>
                      <a:pt x="275" y="90"/>
                    </a:lnTo>
                    <a:lnTo>
                      <a:pt x="274" y="91"/>
                    </a:lnTo>
                    <a:lnTo>
                      <a:pt x="274" y="90"/>
                    </a:lnTo>
                    <a:lnTo>
                      <a:pt x="271" y="90"/>
                    </a:lnTo>
                    <a:lnTo>
                      <a:pt x="271" y="88"/>
                    </a:lnTo>
                    <a:lnTo>
                      <a:pt x="268" y="87"/>
                    </a:lnTo>
                    <a:lnTo>
                      <a:pt x="266" y="86"/>
                    </a:lnTo>
                    <a:lnTo>
                      <a:pt x="262" y="79"/>
                    </a:lnTo>
                    <a:lnTo>
                      <a:pt x="262" y="77"/>
                    </a:lnTo>
                    <a:lnTo>
                      <a:pt x="260" y="73"/>
                    </a:lnTo>
                    <a:lnTo>
                      <a:pt x="259" y="71"/>
                    </a:lnTo>
                    <a:lnTo>
                      <a:pt x="259" y="60"/>
                    </a:lnTo>
                    <a:lnTo>
                      <a:pt x="258" y="57"/>
                    </a:lnTo>
                    <a:lnTo>
                      <a:pt x="259" y="54"/>
                    </a:lnTo>
                    <a:lnTo>
                      <a:pt x="259" y="52"/>
                    </a:lnTo>
                    <a:lnTo>
                      <a:pt x="260" y="50"/>
                    </a:lnTo>
                    <a:lnTo>
                      <a:pt x="262" y="49"/>
                    </a:lnTo>
                    <a:lnTo>
                      <a:pt x="262" y="48"/>
                    </a:lnTo>
                    <a:lnTo>
                      <a:pt x="266" y="46"/>
                    </a:lnTo>
                    <a:lnTo>
                      <a:pt x="266" y="43"/>
                    </a:lnTo>
                    <a:lnTo>
                      <a:pt x="265" y="39"/>
                    </a:lnTo>
                    <a:lnTo>
                      <a:pt x="262" y="38"/>
                    </a:lnTo>
                    <a:lnTo>
                      <a:pt x="264" y="33"/>
                    </a:lnTo>
                    <a:lnTo>
                      <a:pt x="264" y="30"/>
                    </a:lnTo>
                    <a:lnTo>
                      <a:pt x="258" y="28"/>
                    </a:lnTo>
                    <a:lnTo>
                      <a:pt x="257" y="28"/>
                    </a:lnTo>
                    <a:lnTo>
                      <a:pt x="256" y="29"/>
                    </a:lnTo>
                    <a:lnTo>
                      <a:pt x="254" y="26"/>
                    </a:lnTo>
                    <a:lnTo>
                      <a:pt x="256" y="25"/>
                    </a:lnTo>
                    <a:lnTo>
                      <a:pt x="255" y="23"/>
                    </a:lnTo>
                    <a:lnTo>
                      <a:pt x="254" y="21"/>
                    </a:lnTo>
                    <a:lnTo>
                      <a:pt x="256" y="20"/>
                    </a:lnTo>
                    <a:lnTo>
                      <a:pt x="255" y="20"/>
                    </a:lnTo>
                    <a:lnTo>
                      <a:pt x="250" y="20"/>
                    </a:lnTo>
                    <a:lnTo>
                      <a:pt x="247" y="22"/>
                    </a:lnTo>
                    <a:lnTo>
                      <a:pt x="245" y="21"/>
                    </a:lnTo>
                    <a:lnTo>
                      <a:pt x="243" y="23"/>
                    </a:lnTo>
                    <a:lnTo>
                      <a:pt x="243" y="26"/>
                    </a:lnTo>
                    <a:lnTo>
                      <a:pt x="241" y="26"/>
                    </a:lnTo>
                    <a:lnTo>
                      <a:pt x="238" y="23"/>
                    </a:lnTo>
                    <a:lnTo>
                      <a:pt x="237" y="23"/>
                    </a:lnTo>
                    <a:lnTo>
                      <a:pt x="238" y="22"/>
                    </a:lnTo>
                    <a:lnTo>
                      <a:pt x="238" y="20"/>
                    </a:lnTo>
                    <a:lnTo>
                      <a:pt x="238" y="18"/>
                    </a:lnTo>
                    <a:lnTo>
                      <a:pt x="239" y="12"/>
                    </a:lnTo>
                    <a:lnTo>
                      <a:pt x="238" y="7"/>
                    </a:lnTo>
                    <a:lnTo>
                      <a:pt x="234" y="9"/>
                    </a:lnTo>
                    <a:lnTo>
                      <a:pt x="230" y="9"/>
                    </a:lnTo>
                    <a:lnTo>
                      <a:pt x="230" y="12"/>
                    </a:lnTo>
                    <a:lnTo>
                      <a:pt x="227" y="15"/>
                    </a:lnTo>
                    <a:lnTo>
                      <a:pt x="227" y="18"/>
                    </a:lnTo>
                    <a:lnTo>
                      <a:pt x="228" y="18"/>
                    </a:lnTo>
                    <a:lnTo>
                      <a:pt x="229" y="20"/>
                    </a:lnTo>
                    <a:lnTo>
                      <a:pt x="227" y="19"/>
                    </a:lnTo>
                    <a:lnTo>
                      <a:pt x="225" y="20"/>
                    </a:lnTo>
                    <a:lnTo>
                      <a:pt x="224" y="18"/>
                    </a:lnTo>
                    <a:lnTo>
                      <a:pt x="221" y="18"/>
                    </a:lnTo>
                    <a:lnTo>
                      <a:pt x="219" y="18"/>
                    </a:lnTo>
                    <a:lnTo>
                      <a:pt x="218" y="14"/>
                    </a:lnTo>
                    <a:lnTo>
                      <a:pt x="218" y="13"/>
                    </a:lnTo>
                    <a:lnTo>
                      <a:pt x="221" y="10"/>
                    </a:lnTo>
                    <a:lnTo>
                      <a:pt x="220" y="8"/>
                    </a:lnTo>
                    <a:lnTo>
                      <a:pt x="215" y="7"/>
                    </a:lnTo>
                    <a:lnTo>
                      <a:pt x="213" y="7"/>
                    </a:lnTo>
                    <a:lnTo>
                      <a:pt x="213" y="5"/>
                    </a:lnTo>
                    <a:lnTo>
                      <a:pt x="211" y="4"/>
                    </a:lnTo>
                    <a:lnTo>
                      <a:pt x="211" y="3"/>
                    </a:lnTo>
                    <a:lnTo>
                      <a:pt x="209" y="1"/>
                    </a:lnTo>
                    <a:lnTo>
                      <a:pt x="208" y="6"/>
                    </a:lnTo>
                    <a:lnTo>
                      <a:pt x="205" y="7"/>
                    </a:lnTo>
                    <a:lnTo>
                      <a:pt x="202" y="5"/>
                    </a:lnTo>
                    <a:lnTo>
                      <a:pt x="202" y="4"/>
                    </a:lnTo>
                    <a:lnTo>
                      <a:pt x="202" y="3"/>
                    </a:lnTo>
                    <a:lnTo>
                      <a:pt x="202" y="1"/>
                    </a:lnTo>
                    <a:lnTo>
                      <a:pt x="199" y="0"/>
                    </a:lnTo>
                    <a:lnTo>
                      <a:pt x="197" y="0"/>
                    </a:lnTo>
                    <a:lnTo>
                      <a:pt x="197" y="3"/>
                    </a:lnTo>
                    <a:lnTo>
                      <a:pt x="196" y="3"/>
                    </a:lnTo>
                    <a:lnTo>
                      <a:pt x="193" y="5"/>
                    </a:lnTo>
                    <a:lnTo>
                      <a:pt x="191" y="5"/>
                    </a:lnTo>
                    <a:lnTo>
                      <a:pt x="189" y="5"/>
                    </a:lnTo>
                    <a:lnTo>
                      <a:pt x="188" y="7"/>
                    </a:lnTo>
                    <a:lnTo>
                      <a:pt x="183" y="13"/>
                    </a:lnTo>
                    <a:lnTo>
                      <a:pt x="185" y="15"/>
                    </a:lnTo>
                    <a:lnTo>
                      <a:pt x="188" y="20"/>
                    </a:lnTo>
                    <a:lnTo>
                      <a:pt x="189" y="18"/>
                    </a:lnTo>
                    <a:lnTo>
                      <a:pt x="193" y="17"/>
                    </a:lnTo>
                    <a:lnTo>
                      <a:pt x="193" y="18"/>
                    </a:lnTo>
                    <a:lnTo>
                      <a:pt x="194" y="23"/>
                    </a:lnTo>
                    <a:lnTo>
                      <a:pt x="196" y="27"/>
                    </a:lnTo>
                    <a:lnTo>
                      <a:pt x="195" y="26"/>
                    </a:lnTo>
                    <a:lnTo>
                      <a:pt x="193" y="28"/>
                    </a:lnTo>
                    <a:lnTo>
                      <a:pt x="193" y="34"/>
                    </a:lnTo>
                    <a:lnTo>
                      <a:pt x="192" y="37"/>
                    </a:lnTo>
                    <a:lnTo>
                      <a:pt x="193" y="38"/>
                    </a:lnTo>
                    <a:lnTo>
                      <a:pt x="188" y="43"/>
                    </a:lnTo>
                    <a:lnTo>
                      <a:pt x="187" y="44"/>
                    </a:lnTo>
                    <a:lnTo>
                      <a:pt x="185" y="46"/>
                    </a:lnTo>
                    <a:lnTo>
                      <a:pt x="186" y="48"/>
                    </a:lnTo>
                    <a:lnTo>
                      <a:pt x="187" y="51"/>
                    </a:lnTo>
                    <a:lnTo>
                      <a:pt x="187" y="54"/>
                    </a:lnTo>
                    <a:lnTo>
                      <a:pt x="189" y="54"/>
                    </a:lnTo>
                    <a:lnTo>
                      <a:pt x="186" y="56"/>
                    </a:lnTo>
                    <a:lnTo>
                      <a:pt x="186" y="59"/>
                    </a:lnTo>
                    <a:lnTo>
                      <a:pt x="185" y="60"/>
                    </a:lnTo>
                    <a:lnTo>
                      <a:pt x="186" y="61"/>
                    </a:lnTo>
                    <a:lnTo>
                      <a:pt x="186" y="68"/>
                    </a:lnTo>
                    <a:lnTo>
                      <a:pt x="186" y="71"/>
                    </a:lnTo>
                    <a:lnTo>
                      <a:pt x="185" y="71"/>
                    </a:lnTo>
                    <a:lnTo>
                      <a:pt x="179" y="71"/>
                    </a:lnTo>
                    <a:lnTo>
                      <a:pt x="177" y="73"/>
                    </a:lnTo>
                    <a:lnTo>
                      <a:pt x="174" y="73"/>
                    </a:lnTo>
                    <a:lnTo>
                      <a:pt x="171" y="71"/>
                    </a:lnTo>
                    <a:lnTo>
                      <a:pt x="169" y="69"/>
                    </a:lnTo>
                    <a:lnTo>
                      <a:pt x="159" y="64"/>
                    </a:lnTo>
                    <a:lnTo>
                      <a:pt x="158" y="68"/>
                    </a:lnTo>
                    <a:lnTo>
                      <a:pt x="152" y="62"/>
                    </a:lnTo>
                    <a:lnTo>
                      <a:pt x="150" y="62"/>
                    </a:lnTo>
                    <a:lnTo>
                      <a:pt x="149" y="65"/>
                    </a:lnTo>
                    <a:lnTo>
                      <a:pt x="147" y="65"/>
                    </a:lnTo>
                    <a:lnTo>
                      <a:pt x="145" y="65"/>
                    </a:lnTo>
                    <a:lnTo>
                      <a:pt x="143" y="65"/>
                    </a:lnTo>
                    <a:lnTo>
                      <a:pt x="140" y="63"/>
                    </a:lnTo>
                    <a:lnTo>
                      <a:pt x="139" y="63"/>
                    </a:lnTo>
                    <a:lnTo>
                      <a:pt x="139" y="65"/>
                    </a:lnTo>
                    <a:lnTo>
                      <a:pt x="137" y="69"/>
                    </a:lnTo>
                    <a:lnTo>
                      <a:pt x="134" y="72"/>
                    </a:lnTo>
                    <a:lnTo>
                      <a:pt x="131" y="78"/>
                    </a:lnTo>
                    <a:lnTo>
                      <a:pt x="130" y="84"/>
                    </a:lnTo>
                    <a:lnTo>
                      <a:pt x="128" y="86"/>
                    </a:lnTo>
                    <a:lnTo>
                      <a:pt x="128" y="84"/>
                    </a:lnTo>
                    <a:lnTo>
                      <a:pt x="124" y="86"/>
                    </a:lnTo>
                    <a:lnTo>
                      <a:pt x="121" y="85"/>
                    </a:lnTo>
                    <a:lnTo>
                      <a:pt x="121" y="84"/>
                    </a:lnTo>
                    <a:lnTo>
                      <a:pt x="120" y="84"/>
                    </a:lnTo>
                    <a:lnTo>
                      <a:pt x="119" y="82"/>
                    </a:lnTo>
                    <a:lnTo>
                      <a:pt x="117" y="82"/>
                    </a:lnTo>
                    <a:lnTo>
                      <a:pt x="115" y="80"/>
                    </a:lnTo>
                    <a:lnTo>
                      <a:pt x="113" y="79"/>
                    </a:lnTo>
                    <a:lnTo>
                      <a:pt x="112" y="81"/>
                    </a:lnTo>
                    <a:lnTo>
                      <a:pt x="109" y="82"/>
                    </a:lnTo>
                    <a:lnTo>
                      <a:pt x="107" y="81"/>
                    </a:lnTo>
                    <a:lnTo>
                      <a:pt x="107" y="80"/>
                    </a:lnTo>
                    <a:lnTo>
                      <a:pt x="109" y="77"/>
                    </a:lnTo>
                    <a:lnTo>
                      <a:pt x="106" y="73"/>
                    </a:lnTo>
                    <a:lnTo>
                      <a:pt x="101" y="73"/>
                    </a:lnTo>
                    <a:lnTo>
                      <a:pt x="99" y="71"/>
                    </a:lnTo>
                    <a:lnTo>
                      <a:pt x="95" y="67"/>
                    </a:lnTo>
                    <a:lnTo>
                      <a:pt x="91" y="67"/>
                    </a:lnTo>
                    <a:lnTo>
                      <a:pt x="87" y="63"/>
                    </a:lnTo>
                    <a:lnTo>
                      <a:pt x="83" y="61"/>
                    </a:lnTo>
                    <a:lnTo>
                      <a:pt x="80" y="68"/>
                    </a:lnTo>
                    <a:lnTo>
                      <a:pt x="79" y="69"/>
                    </a:lnTo>
                    <a:lnTo>
                      <a:pt x="77" y="69"/>
                    </a:lnTo>
                    <a:lnTo>
                      <a:pt x="75" y="70"/>
                    </a:lnTo>
                    <a:lnTo>
                      <a:pt x="69" y="68"/>
                    </a:lnTo>
                    <a:lnTo>
                      <a:pt x="69" y="69"/>
                    </a:lnTo>
                    <a:lnTo>
                      <a:pt x="69" y="73"/>
                    </a:lnTo>
                    <a:lnTo>
                      <a:pt x="67" y="74"/>
                    </a:lnTo>
                    <a:lnTo>
                      <a:pt x="67" y="77"/>
                    </a:lnTo>
                    <a:lnTo>
                      <a:pt x="66" y="79"/>
                    </a:lnTo>
                    <a:lnTo>
                      <a:pt x="66" y="83"/>
                    </a:lnTo>
                    <a:lnTo>
                      <a:pt x="65" y="86"/>
                    </a:lnTo>
                    <a:lnTo>
                      <a:pt x="62" y="87"/>
                    </a:lnTo>
                    <a:lnTo>
                      <a:pt x="60" y="87"/>
                    </a:lnTo>
                    <a:lnTo>
                      <a:pt x="60" y="86"/>
                    </a:lnTo>
                    <a:lnTo>
                      <a:pt x="59" y="88"/>
                    </a:lnTo>
                    <a:lnTo>
                      <a:pt x="58" y="86"/>
                    </a:lnTo>
                    <a:lnTo>
                      <a:pt x="55" y="86"/>
                    </a:lnTo>
                    <a:lnTo>
                      <a:pt x="55" y="85"/>
                    </a:lnTo>
                    <a:lnTo>
                      <a:pt x="52" y="84"/>
                    </a:lnTo>
                    <a:lnTo>
                      <a:pt x="51" y="81"/>
                    </a:lnTo>
                    <a:lnTo>
                      <a:pt x="48" y="78"/>
                    </a:lnTo>
                    <a:lnTo>
                      <a:pt x="47" y="78"/>
                    </a:lnTo>
                    <a:lnTo>
                      <a:pt x="46" y="79"/>
                    </a:lnTo>
                    <a:lnTo>
                      <a:pt x="46" y="78"/>
                    </a:lnTo>
                    <a:lnTo>
                      <a:pt x="44" y="79"/>
                    </a:lnTo>
                    <a:lnTo>
                      <a:pt x="45" y="78"/>
                    </a:lnTo>
                    <a:lnTo>
                      <a:pt x="46" y="76"/>
                    </a:lnTo>
                    <a:lnTo>
                      <a:pt x="44" y="76"/>
                    </a:lnTo>
                    <a:lnTo>
                      <a:pt x="44" y="75"/>
                    </a:lnTo>
                    <a:lnTo>
                      <a:pt x="41" y="76"/>
                    </a:lnTo>
                    <a:lnTo>
                      <a:pt x="39" y="78"/>
                    </a:lnTo>
                    <a:lnTo>
                      <a:pt x="37" y="75"/>
                    </a:lnTo>
                    <a:lnTo>
                      <a:pt x="34" y="76"/>
                    </a:lnTo>
                    <a:lnTo>
                      <a:pt x="36" y="78"/>
                    </a:lnTo>
                    <a:lnTo>
                      <a:pt x="35" y="78"/>
                    </a:lnTo>
                    <a:lnTo>
                      <a:pt x="36" y="79"/>
                    </a:lnTo>
                    <a:lnTo>
                      <a:pt x="37" y="78"/>
                    </a:lnTo>
                    <a:lnTo>
                      <a:pt x="38" y="79"/>
                    </a:lnTo>
                    <a:lnTo>
                      <a:pt x="38" y="80"/>
                    </a:lnTo>
                    <a:lnTo>
                      <a:pt x="37" y="79"/>
                    </a:lnTo>
                    <a:lnTo>
                      <a:pt x="36" y="81"/>
                    </a:lnTo>
                    <a:lnTo>
                      <a:pt x="36" y="82"/>
                    </a:lnTo>
                    <a:lnTo>
                      <a:pt x="36" y="84"/>
                    </a:lnTo>
                    <a:lnTo>
                      <a:pt x="37" y="84"/>
                    </a:lnTo>
                    <a:lnTo>
                      <a:pt x="38" y="85"/>
                    </a:lnTo>
                    <a:lnTo>
                      <a:pt x="38" y="86"/>
                    </a:lnTo>
                    <a:lnTo>
                      <a:pt x="35" y="87"/>
                    </a:lnTo>
                    <a:lnTo>
                      <a:pt x="34" y="89"/>
                    </a:lnTo>
                    <a:lnTo>
                      <a:pt x="36" y="91"/>
                    </a:lnTo>
                    <a:lnTo>
                      <a:pt x="34" y="95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28" y="97"/>
                    </a:lnTo>
                    <a:lnTo>
                      <a:pt x="26" y="102"/>
                    </a:lnTo>
                    <a:lnTo>
                      <a:pt x="26" y="104"/>
                    </a:lnTo>
                    <a:lnTo>
                      <a:pt x="25" y="104"/>
                    </a:lnTo>
                    <a:lnTo>
                      <a:pt x="24" y="107"/>
                    </a:lnTo>
                    <a:lnTo>
                      <a:pt x="27" y="110"/>
                    </a:lnTo>
                    <a:lnTo>
                      <a:pt x="26" y="112"/>
                    </a:lnTo>
                    <a:lnTo>
                      <a:pt x="23" y="112"/>
                    </a:lnTo>
                    <a:lnTo>
                      <a:pt x="23" y="110"/>
                    </a:lnTo>
                    <a:lnTo>
                      <a:pt x="23" y="108"/>
                    </a:lnTo>
                    <a:lnTo>
                      <a:pt x="22" y="110"/>
                    </a:lnTo>
                    <a:lnTo>
                      <a:pt x="20" y="114"/>
                    </a:lnTo>
                    <a:lnTo>
                      <a:pt x="16" y="115"/>
                    </a:lnTo>
                    <a:lnTo>
                      <a:pt x="12" y="116"/>
                    </a:lnTo>
                    <a:lnTo>
                      <a:pt x="10" y="118"/>
                    </a:lnTo>
                    <a:lnTo>
                      <a:pt x="10" y="121"/>
                    </a:lnTo>
                    <a:lnTo>
                      <a:pt x="9" y="123"/>
                    </a:lnTo>
                    <a:lnTo>
                      <a:pt x="8" y="126"/>
                    </a:lnTo>
                    <a:lnTo>
                      <a:pt x="10" y="128"/>
                    </a:lnTo>
                    <a:lnTo>
                      <a:pt x="10" y="130"/>
                    </a:lnTo>
                    <a:lnTo>
                      <a:pt x="4" y="135"/>
                    </a:lnTo>
                    <a:lnTo>
                      <a:pt x="3" y="134"/>
                    </a:lnTo>
                    <a:lnTo>
                      <a:pt x="0" y="139"/>
                    </a:lnTo>
                    <a:lnTo>
                      <a:pt x="0" y="144"/>
                    </a:lnTo>
                    <a:lnTo>
                      <a:pt x="2" y="144"/>
                    </a:lnTo>
                    <a:lnTo>
                      <a:pt x="3" y="144"/>
                    </a:lnTo>
                    <a:lnTo>
                      <a:pt x="4" y="144"/>
                    </a:lnTo>
                    <a:lnTo>
                      <a:pt x="3" y="147"/>
                    </a:lnTo>
                    <a:lnTo>
                      <a:pt x="3" y="148"/>
                    </a:lnTo>
                    <a:lnTo>
                      <a:pt x="3" y="149"/>
                    </a:lnTo>
                    <a:lnTo>
                      <a:pt x="4" y="153"/>
                    </a:lnTo>
                    <a:lnTo>
                      <a:pt x="4" y="154"/>
                    </a:lnTo>
                    <a:lnTo>
                      <a:pt x="2" y="158"/>
                    </a:lnTo>
                    <a:lnTo>
                      <a:pt x="5" y="161"/>
                    </a:lnTo>
                    <a:lnTo>
                      <a:pt x="4" y="161"/>
                    </a:lnTo>
                    <a:lnTo>
                      <a:pt x="4" y="163"/>
                    </a:lnTo>
                    <a:lnTo>
                      <a:pt x="6" y="165"/>
                    </a:lnTo>
                    <a:lnTo>
                      <a:pt x="7" y="170"/>
                    </a:lnTo>
                    <a:lnTo>
                      <a:pt x="6" y="172"/>
                    </a:lnTo>
                    <a:lnTo>
                      <a:pt x="8" y="172"/>
                    </a:lnTo>
                    <a:lnTo>
                      <a:pt x="9" y="175"/>
                    </a:lnTo>
                    <a:lnTo>
                      <a:pt x="9" y="176"/>
                    </a:lnTo>
                    <a:lnTo>
                      <a:pt x="12" y="178"/>
                    </a:lnTo>
                    <a:lnTo>
                      <a:pt x="12" y="181"/>
                    </a:lnTo>
                    <a:lnTo>
                      <a:pt x="12" y="182"/>
                    </a:lnTo>
                    <a:lnTo>
                      <a:pt x="13" y="182"/>
                    </a:lnTo>
                    <a:lnTo>
                      <a:pt x="13" y="185"/>
                    </a:lnTo>
                    <a:lnTo>
                      <a:pt x="14" y="185"/>
                    </a:lnTo>
                    <a:lnTo>
                      <a:pt x="14" y="187"/>
                    </a:lnTo>
                    <a:lnTo>
                      <a:pt x="14" y="188"/>
                    </a:lnTo>
                    <a:lnTo>
                      <a:pt x="14" y="192"/>
                    </a:lnTo>
                    <a:lnTo>
                      <a:pt x="14" y="194"/>
                    </a:lnTo>
                    <a:lnTo>
                      <a:pt x="16" y="195"/>
                    </a:lnTo>
                    <a:lnTo>
                      <a:pt x="17" y="199"/>
                    </a:lnTo>
                    <a:lnTo>
                      <a:pt x="18" y="199"/>
                    </a:lnTo>
                    <a:lnTo>
                      <a:pt x="17" y="201"/>
                    </a:lnTo>
                    <a:lnTo>
                      <a:pt x="18" y="201"/>
                    </a:lnTo>
                    <a:lnTo>
                      <a:pt x="17" y="202"/>
                    </a:lnTo>
                    <a:lnTo>
                      <a:pt x="18" y="202"/>
                    </a:lnTo>
                    <a:lnTo>
                      <a:pt x="18" y="205"/>
                    </a:lnTo>
                    <a:lnTo>
                      <a:pt x="18" y="206"/>
                    </a:lnTo>
                    <a:lnTo>
                      <a:pt x="19" y="205"/>
                    </a:lnTo>
                    <a:lnTo>
                      <a:pt x="18" y="208"/>
                    </a:lnTo>
                    <a:lnTo>
                      <a:pt x="22" y="209"/>
                    </a:lnTo>
                    <a:lnTo>
                      <a:pt x="22" y="208"/>
                    </a:lnTo>
                    <a:lnTo>
                      <a:pt x="22" y="209"/>
                    </a:lnTo>
                    <a:lnTo>
                      <a:pt x="23" y="210"/>
                    </a:lnTo>
                    <a:lnTo>
                      <a:pt x="23" y="209"/>
                    </a:lnTo>
                    <a:lnTo>
                      <a:pt x="25" y="210"/>
                    </a:lnTo>
                    <a:lnTo>
                      <a:pt x="26" y="210"/>
                    </a:lnTo>
                    <a:lnTo>
                      <a:pt x="26" y="211"/>
                    </a:lnTo>
                    <a:lnTo>
                      <a:pt x="25" y="211"/>
                    </a:lnTo>
                    <a:lnTo>
                      <a:pt x="27" y="212"/>
                    </a:lnTo>
                    <a:lnTo>
                      <a:pt x="26" y="215"/>
                    </a:lnTo>
                    <a:lnTo>
                      <a:pt x="28" y="216"/>
                    </a:lnTo>
                    <a:lnTo>
                      <a:pt x="28" y="218"/>
                    </a:lnTo>
                    <a:lnTo>
                      <a:pt x="29" y="221"/>
                    </a:lnTo>
                    <a:lnTo>
                      <a:pt x="30" y="221"/>
                    </a:lnTo>
                    <a:lnTo>
                      <a:pt x="29" y="224"/>
                    </a:lnTo>
                    <a:lnTo>
                      <a:pt x="31" y="224"/>
                    </a:lnTo>
                    <a:lnTo>
                      <a:pt x="31" y="225"/>
                    </a:lnTo>
                    <a:lnTo>
                      <a:pt x="32" y="227"/>
                    </a:lnTo>
                    <a:lnTo>
                      <a:pt x="33" y="224"/>
                    </a:lnTo>
                    <a:lnTo>
                      <a:pt x="35" y="219"/>
                    </a:lnTo>
                    <a:lnTo>
                      <a:pt x="39" y="219"/>
                    </a:lnTo>
                    <a:lnTo>
                      <a:pt x="38" y="220"/>
                    </a:lnTo>
                    <a:lnTo>
                      <a:pt x="39" y="222"/>
                    </a:lnTo>
                    <a:lnTo>
                      <a:pt x="40" y="225"/>
                    </a:lnTo>
                    <a:lnTo>
                      <a:pt x="41" y="226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7" y="226"/>
                    </a:lnTo>
                    <a:lnTo>
                      <a:pt x="45" y="224"/>
                    </a:lnTo>
                    <a:lnTo>
                      <a:pt x="45" y="223"/>
                    </a:lnTo>
                    <a:lnTo>
                      <a:pt x="49" y="224"/>
                    </a:lnTo>
                    <a:lnTo>
                      <a:pt x="49" y="223"/>
                    </a:lnTo>
                    <a:lnTo>
                      <a:pt x="51" y="221"/>
                    </a:lnTo>
                    <a:lnTo>
                      <a:pt x="53" y="221"/>
                    </a:lnTo>
                    <a:lnTo>
                      <a:pt x="54" y="221"/>
                    </a:lnTo>
                    <a:lnTo>
                      <a:pt x="54" y="222"/>
                    </a:lnTo>
                    <a:lnTo>
                      <a:pt x="53" y="223"/>
                    </a:lnTo>
                    <a:lnTo>
                      <a:pt x="53" y="225"/>
                    </a:lnTo>
                    <a:lnTo>
                      <a:pt x="52" y="225"/>
                    </a:lnTo>
                    <a:lnTo>
                      <a:pt x="54" y="228"/>
                    </a:lnTo>
                    <a:lnTo>
                      <a:pt x="52" y="229"/>
                    </a:lnTo>
                    <a:lnTo>
                      <a:pt x="52" y="231"/>
                    </a:lnTo>
                    <a:lnTo>
                      <a:pt x="52" y="236"/>
                    </a:lnTo>
                    <a:lnTo>
                      <a:pt x="54" y="238"/>
                    </a:lnTo>
                    <a:lnTo>
                      <a:pt x="55" y="238"/>
                    </a:lnTo>
                    <a:lnTo>
                      <a:pt x="55" y="236"/>
                    </a:lnTo>
                    <a:lnTo>
                      <a:pt x="56" y="238"/>
                    </a:lnTo>
                    <a:lnTo>
                      <a:pt x="57" y="237"/>
                    </a:lnTo>
                    <a:lnTo>
                      <a:pt x="57" y="238"/>
                    </a:lnTo>
                    <a:lnTo>
                      <a:pt x="58" y="238"/>
                    </a:lnTo>
                    <a:lnTo>
                      <a:pt x="57" y="238"/>
                    </a:lnTo>
                    <a:lnTo>
                      <a:pt x="59" y="240"/>
                    </a:lnTo>
                    <a:lnTo>
                      <a:pt x="60" y="241"/>
                    </a:lnTo>
                    <a:lnTo>
                      <a:pt x="61" y="240"/>
                    </a:lnTo>
                    <a:lnTo>
                      <a:pt x="61" y="238"/>
                    </a:lnTo>
                    <a:lnTo>
                      <a:pt x="63" y="236"/>
                    </a:lnTo>
                    <a:lnTo>
                      <a:pt x="63" y="237"/>
                    </a:lnTo>
                    <a:lnTo>
                      <a:pt x="65" y="238"/>
                    </a:lnTo>
                    <a:lnTo>
                      <a:pt x="66" y="238"/>
                    </a:lnTo>
                    <a:lnTo>
                      <a:pt x="66" y="235"/>
                    </a:lnTo>
                    <a:lnTo>
                      <a:pt x="68" y="236"/>
                    </a:lnTo>
                    <a:lnTo>
                      <a:pt x="69" y="238"/>
                    </a:lnTo>
                    <a:lnTo>
                      <a:pt x="71" y="238"/>
                    </a:lnTo>
                    <a:lnTo>
                      <a:pt x="71" y="236"/>
                    </a:lnTo>
                    <a:lnTo>
                      <a:pt x="75" y="237"/>
                    </a:lnTo>
                    <a:lnTo>
                      <a:pt x="78" y="237"/>
                    </a:lnTo>
                    <a:lnTo>
                      <a:pt x="78" y="236"/>
                    </a:lnTo>
                    <a:lnTo>
                      <a:pt x="82" y="240"/>
                    </a:lnTo>
                    <a:lnTo>
                      <a:pt x="82" y="239"/>
                    </a:lnTo>
                    <a:lnTo>
                      <a:pt x="82" y="235"/>
                    </a:lnTo>
                    <a:lnTo>
                      <a:pt x="84" y="234"/>
                    </a:lnTo>
                    <a:lnTo>
                      <a:pt x="84" y="233"/>
                    </a:lnTo>
                    <a:lnTo>
                      <a:pt x="88" y="234"/>
                    </a:lnTo>
                    <a:lnTo>
                      <a:pt x="89" y="232"/>
                    </a:lnTo>
                    <a:lnTo>
                      <a:pt x="90" y="233"/>
                    </a:lnTo>
                    <a:lnTo>
                      <a:pt x="93" y="225"/>
                    </a:lnTo>
                    <a:lnTo>
                      <a:pt x="93" y="224"/>
                    </a:lnTo>
                    <a:lnTo>
                      <a:pt x="100" y="226"/>
                    </a:lnTo>
                    <a:lnTo>
                      <a:pt x="101" y="225"/>
                    </a:lnTo>
                    <a:lnTo>
                      <a:pt x="102" y="221"/>
                    </a:lnTo>
                    <a:lnTo>
                      <a:pt x="101" y="212"/>
                    </a:lnTo>
                    <a:lnTo>
                      <a:pt x="101" y="207"/>
                    </a:lnTo>
                    <a:lnTo>
                      <a:pt x="115" y="212"/>
                    </a:lnTo>
                    <a:lnTo>
                      <a:pt x="121" y="218"/>
                    </a:lnTo>
                    <a:lnTo>
                      <a:pt x="128" y="213"/>
                    </a:lnTo>
                    <a:lnTo>
                      <a:pt x="129" y="213"/>
                    </a:lnTo>
                    <a:lnTo>
                      <a:pt x="130" y="212"/>
                    </a:lnTo>
                    <a:lnTo>
                      <a:pt x="131" y="211"/>
                    </a:lnTo>
                    <a:lnTo>
                      <a:pt x="130" y="209"/>
                    </a:lnTo>
                    <a:lnTo>
                      <a:pt x="128" y="207"/>
                    </a:lnTo>
                    <a:lnTo>
                      <a:pt x="129" y="205"/>
                    </a:lnTo>
                    <a:lnTo>
                      <a:pt x="128" y="204"/>
                    </a:lnTo>
                    <a:lnTo>
                      <a:pt x="133" y="203"/>
                    </a:lnTo>
                    <a:lnTo>
                      <a:pt x="133" y="202"/>
                    </a:lnTo>
                    <a:lnTo>
                      <a:pt x="136" y="201"/>
                    </a:lnTo>
                    <a:lnTo>
                      <a:pt x="138" y="201"/>
                    </a:lnTo>
                    <a:lnTo>
                      <a:pt x="139" y="201"/>
                    </a:lnTo>
                    <a:lnTo>
                      <a:pt x="140" y="200"/>
                    </a:lnTo>
                    <a:lnTo>
                      <a:pt x="140" y="202"/>
                    </a:lnTo>
                    <a:lnTo>
                      <a:pt x="143" y="200"/>
                    </a:lnTo>
                    <a:lnTo>
                      <a:pt x="145" y="199"/>
                    </a:lnTo>
                    <a:lnTo>
                      <a:pt x="144" y="195"/>
                    </a:lnTo>
                    <a:lnTo>
                      <a:pt x="145" y="195"/>
                    </a:lnTo>
                    <a:lnTo>
                      <a:pt x="144" y="191"/>
                    </a:lnTo>
                    <a:lnTo>
                      <a:pt x="142" y="191"/>
                    </a:lnTo>
                    <a:lnTo>
                      <a:pt x="145" y="191"/>
                    </a:lnTo>
                    <a:lnTo>
                      <a:pt x="145" y="190"/>
                    </a:lnTo>
                    <a:lnTo>
                      <a:pt x="147" y="191"/>
                    </a:lnTo>
                    <a:lnTo>
                      <a:pt x="147" y="190"/>
                    </a:lnTo>
                    <a:lnTo>
                      <a:pt x="148" y="190"/>
                    </a:lnTo>
                    <a:lnTo>
                      <a:pt x="148" y="191"/>
                    </a:lnTo>
                    <a:lnTo>
                      <a:pt x="147" y="185"/>
                    </a:lnTo>
                    <a:lnTo>
                      <a:pt x="148" y="184"/>
                    </a:lnTo>
                    <a:lnTo>
                      <a:pt x="153" y="185"/>
                    </a:lnTo>
                    <a:lnTo>
                      <a:pt x="153" y="186"/>
                    </a:lnTo>
                    <a:lnTo>
                      <a:pt x="153" y="189"/>
                    </a:lnTo>
                    <a:lnTo>
                      <a:pt x="152" y="189"/>
                    </a:lnTo>
                    <a:lnTo>
                      <a:pt x="153" y="191"/>
                    </a:lnTo>
                    <a:lnTo>
                      <a:pt x="154" y="191"/>
                    </a:lnTo>
                    <a:lnTo>
                      <a:pt x="155" y="192"/>
                    </a:lnTo>
                    <a:lnTo>
                      <a:pt x="155" y="191"/>
                    </a:lnTo>
                    <a:lnTo>
                      <a:pt x="157" y="191"/>
                    </a:lnTo>
                    <a:lnTo>
                      <a:pt x="158" y="195"/>
                    </a:lnTo>
                    <a:lnTo>
                      <a:pt x="156" y="195"/>
                    </a:lnTo>
                    <a:lnTo>
                      <a:pt x="158" y="196"/>
                    </a:lnTo>
                    <a:lnTo>
                      <a:pt x="158" y="197"/>
                    </a:lnTo>
                    <a:lnTo>
                      <a:pt x="161" y="197"/>
                    </a:lnTo>
                    <a:lnTo>
                      <a:pt x="162" y="199"/>
                    </a:lnTo>
                    <a:lnTo>
                      <a:pt x="162" y="196"/>
                    </a:lnTo>
                    <a:lnTo>
                      <a:pt x="164" y="196"/>
                    </a:lnTo>
                    <a:lnTo>
                      <a:pt x="164" y="194"/>
                    </a:lnTo>
                    <a:lnTo>
                      <a:pt x="165" y="193"/>
                    </a:lnTo>
                    <a:lnTo>
                      <a:pt x="166" y="194"/>
                    </a:lnTo>
                    <a:lnTo>
                      <a:pt x="165" y="194"/>
                    </a:lnTo>
                    <a:lnTo>
                      <a:pt x="165" y="195"/>
                    </a:lnTo>
                    <a:lnTo>
                      <a:pt x="167" y="195"/>
                    </a:lnTo>
                    <a:lnTo>
                      <a:pt x="167" y="196"/>
                    </a:lnTo>
                    <a:lnTo>
                      <a:pt x="169" y="196"/>
                    </a:lnTo>
                    <a:lnTo>
                      <a:pt x="170" y="196"/>
                    </a:lnTo>
                    <a:lnTo>
                      <a:pt x="173" y="195"/>
                    </a:lnTo>
                    <a:lnTo>
                      <a:pt x="173" y="196"/>
                    </a:lnTo>
                    <a:lnTo>
                      <a:pt x="172" y="197"/>
                    </a:lnTo>
                    <a:lnTo>
                      <a:pt x="173" y="198"/>
                    </a:lnTo>
                    <a:lnTo>
                      <a:pt x="175" y="204"/>
                    </a:lnTo>
                    <a:lnTo>
                      <a:pt x="176" y="204"/>
                    </a:lnTo>
                    <a:lnTo>
                      <a:pt x="178" y="205"/>
                    </a:lnTo>
                    <a:lnTo>
                      <a:pt x="178" y="208"/>
                    </a:lnTo>
                    <a:lnTo>
                      <a:pt x="178" y="207"/>
                    </a:lnTo>
                    <a:lnTo>
                      <a:pt x="180" y="207"/>
                    </a:lnTo>
                    <a:lnTo>
                      <a:pt x="180" y="208"/>
                    </a:lnTo>
                    <a:lnTo>
                      <a:pt x="179" y="210"/>
                    </a:lnTo>
                    <a:lnTo>
                      <a:pt x="180" y="212"/>
                    </a:lnTo>
                    <a:lnTo>
                      <a:pt x="180" y="214"/>
                    </a:lnTo>
                    <a:lnTo>
                      <a:pt x="181" y="212"/>
                    </a:lnTo>
                    <a:lnTo>
                      <a:pt x="182" y="213"/>
                    </a:lnTo>
                    <a:lnTo>
                      <a:pt x="184" y="212"/>
                    </a:lnTo>
                    <a:lnTo>
                      <a:pt x="186" y="212"/>
                    </a:lnTo>
                    <a:lnTo>
                      <a:pt x="187" y="216"/>
                    </a:lnTo>
                    <a:lnTo>
                      <a:pt x="189" y="217"/>
                    </a:lnTo>
                    <a:lnTo>
                      <a:pt x="188" y="218"/>
                    </a:lnTo>
                    <a:lnTo>
                      <a:pt x="190" y="218"/>
                    </a:lnTo>
                    <a:lnTo>
                      <a:pt x="193" y="221"/>
                    </a:lnTo>
                    <a:lnTo>
                      <a:pt x="192" y="223"/>
                    </a:lnTo>
                    <a:lnTo>
                      <a:pt x="192" y="224"/>
                    </a:lnTo>
                    <a:lnTo>
                      <a:pt x="193" y="223"/>
                    </a:lnTo>
                    <a:lnTo>
                      <a:pt x="193" y="225"/>
                    </a:lnTo>
                    <a:lnTo>
                      <a:pt x="193" y="231"/>
                    </a:lnTo>
                    <a:lnTo>
                      <a:pt x="194" y="231"/>
                    </a:lnTo>
                    <a:lnTo>
                      <a:pt x="194" y="232"/>
                    </a:lnTo>
                    <a:lnTo>
                      <a:pt x="197" y="232"/>
                    </a:lnTo>
                    <a:lnTo>
                      <a:pt x="197" y="233"/>
                    </a:lnTo>
                    <a:lnTo>
                      <a:pt x="198" y="233"/>
                    </a:lnTo>
                    <a:lnTo>
                      <a:pt x="198" y="234"/>
                    </a:lnTo>
                    <a:lnTo>
                      <a:pt x="200" y="233"/>
                    </a:lnTo>
                    <a:lnTo>
                      <a:pt x="202" y="234"/>
                    </a:lnTo>
                    <a:lnTo>
                      <a:pt x="204" y="236"/>
                    </a:lnTo>
                    <a:lnTo>
                      <a:pt x="203" y="236"/>
                    </a:lnTo>
                    <a:lnTo>
                      <a:pt x="204" y="236"/>
                    </a:lnTo>
                    <a:lnTo>
                      <a:pt x="204" y="238"/>
                    </a:lnTo>
                    <a:lnTo>
                      <a:pt x="205" y="238"/>
                    </a:lnTo>
                    <a:lnTo>
                      <a:pt x="205" y="239"/>
                    </a:lnTo>
                    <a:lnTo>
                      <a:pt x="205" y="241"/>
                    </a:lnTo>
                    <a:lnTo>
                      <a:pt x="207" y="242"/>
                    </a:lnTo>
                    <a:lnTo>
                      <a:pt x="208" y="241"/>
                    </a:lnTo>
                    <a:lnTo>
                      <a:pt x="212" y="244"/>
                    </a:lnTo>
                    <a:lnTo>
                      <a:pt x="213" y="246"/>
                    </a:lnTo>
                    <a:lnTo>
                      <a:pt x="215" y="248"/>
                    </a:lnTo>
                    <a:lnTo>
                      <a:pt x="218" y="249"/>
                    </a:lnTo>
                    <a:lnTo>
                      <a:pt x="221" y="251"/>
                    </a:lnTo>
                    <a:lnTo>
                      <a:pt x="224" y="255"/>
                    </a:lnTo>
                    <a:lnTo>
                      <a:pt x="226" y="254"/>
                    </a:lnTo>
                    <a:lnTo>
                      <a:pt x="227" y="254"/>
                    </a:lnTo>
                    <a:lnTo>
                      <a:pt x="229" y="254"/>
                    </a:lnTo>
                    <a:lnTo>
                      <a:pt x="229" y="253"/>
                    </a:lnTo>
                    <a:lnTo>
                      <a:pt x="230" y="250"/>
                    </a:lnTo>
                    <a:lnTo>
                      <a:pt x="229" y="249"/>
                    </a:lnTo>
                    <a:lnTo>
                      <a:pt x="231" y="249"/>
                    </a:lnTo>
                    <a:lnTo>
                      <a:pt x="231" y="247"/>
                    </a:lnTo>
                    <a:lnTo>
                      <a:pt x="234" y="246"/>
                    </a:lnTo>
                    <a:lnTo>
                      <a:pt x="235" y="244"/>
                    </a:lnTo>
                    <a:lnTo>
                      <a:pt x="236" y="243"/>
                    </a:lnTo>
                    <a:lnTo>
                      <a:pt x="237" y="243"/>
                    </a:lnTo>
                    <a:lnTo>
                      <a:pt x="238" y="242"/>
                    </a:lnTo>
                    <a:lnTo>
                      <a:pt x="239" y="244"/>
                    </a:lnTo>
                    <a:lnTo>
                      <a:pt x="240" y="243"/>
                    </a:lnTo>
                    <a:lnTo>
                      <a:pt x="242" y="243"/>
                    </a:lnTo>
                    <a:lnTo>
                      <a:pt x="243" y="244"/>
                    </a:lnTo>
                    <a:lnTo>
                      <a:pt x="246" y="246"/>
                    </a:lnTo>
                    <a:lnTo>
                      <a:pt x="246" y="248"/>
                    </a:lnTo>
                    <a:lnTo>
                      <a:pt x="249" y="249"/>
                    </a:lnTo>
                    <a:lnTo>
                      <a:pt x="250" y="250"/>
                    </a:lnTo>
                    <a:lnTo>
                      <a:pt x="251" y="248"/>
                    </a:lnTo>
                    <a:lnTo>
                      <a:pt x="252" y="250"/>
                    </a:lnTo>
                    <a:lnTo>
                      <a:pt x="253" y="250"/>
                    </a:lnTo>
                    <a:lnTo>
                      <a:pt x="253" y="249"/>
                    </a:lnTo>
                    <a:lnTo>
                      <a:pt x="256" y="250"/>
                    </a:lnTo>
                    <a:lnTo>
                      <a:pt x="256" y="252"/>
                    </a:lnTo>
                    <a:lnTo>
                      <a:pt x="257" y="255"/>
                    </a:lnTo>
                    <a:lnTo>
                      <a:pt x="258" y="255"/>
                    </a:lnTo>
                    <a:lnTo>
                      <a:pt x="260" y="256"/>
                    </a:lnTo>
                    <a:lnTo>
                      <a:pt x="261" y="258"/>
                    </a:lnTo>
                    <a:lnTo>
                      <a:pt x="263" y="260"/>
                    </a:lnTo>
                    <a:lnTo>
                      <a:pt x="264" y="255"/>
                    </a:lnTo>
                    <a:lnTo>
                      <a:pt x="266" y="254"/>
                    </a:lnTo>
                    <a:lnTo>
                      <a:pt x="268" y="255"/>
                    </a:lnTo>
                    <a:lnTo>
                      <a:pt x="267" y="256"/>
                    </a:lnTo>
                    <a:lnTo>
                      <a:pt x="268" y="259"/>
                    </a:lnTo>
                    <a:lnTo>
                      <a:pt x="267" y="259"/>
                    </a:lnTo>
                    <a:lnTo>
                      <a:pt x="268" y="261"/>
                    </a:lnTo>
                    <a:lnTo>
                      <a:pt x="269" y="262"/>
                    </a:lnTo>
                    <a:lnTo>
                      <a:pt x="269" y="263"/>
                    </a:lnTo>
                    <a:lnTo>
                      <a:pt x="266" y="262"/>
                    </a:lnTo>
                    <a:lnTo>
                      <a:pt x="266" y="263"/>
                    </a:lnTo>
                    <a:lnTo>
                      <a:pt x="268" y="263"/>
                    </a:lnTo>
                    <a:lnTo>
                      <a:pt x="268" y="265"/>
                    </a:lnTo>
                    <a:lnTo>
                      <a:pt x="267" y="265"/>
                    </a:lnTo>
                    <a:lnTo>
                      <a:pt x="268" y="265"/>
                    </a:lnTo>
                    <a:lnTo>
                      <a:pt x="268" y="267"/>
                    </a:lnTo>
                    <a:lnTo>
                      <a:pt x="271" y="268"/>
                    </a:lnTo>
                    <a:lnTo>
                      <a:pt x="273" y="267"/>
                    </a:lnTo>
                    <a:lnTo>
                      <a:pt x="274" y="268"/>
                    </a:lnTo>
                    <a:lnTo>
                      <a:pt x="275" y="266"/>
                    </a:lnTo>
                    <a:lnTo>
                      <a:pt x="277" y="268"/>
                    </a:lnTo>
                    <a:lnTo>
                      <a:pt x="277" y="267"/>
                    </a:lnTo>
                    <a:lnTo>
                      <a:pt x="278" y="268"/>
                    </a:lnTo>
                    <a:lnTo>
                      <a:pt x="278" y="267"/>
                    </a:lnTo>
                    <a:lnTo>
                      <a:pt x="277" y="265"/>
                    </a:lnTo>
                    <a:lnTo>
                      <a:pt x="278" y="264"/>
                    </a:lnTo>
                    <a:lnTo>
                      <a:pt x="279" y="263"/>
                    </a:lnTo>
                    <a:lnTo>
                      <a:pt x="280" y="266"/>
                    </a:lnTo>
                    <a:lnTo>
                      <a:pt x="282" y="266"/>
                    </a:lnTo>
                    <a:lnTo>
                      <a:pt x="282" y="265"/>
                    </a:lnTo>
                    <a:lnTo>
                      <a:pt x="284" y="263"/>
                    </a:lnTo>
                    <a:lnTo>
                      <a:pt x="283" y="262"/>
                    </a:lnTo>
                    <a:lnTo>
                      <a:pt x="285" y="262"/>
                    </a:lnTo>
                    <a:lnTo>
                      <a:pt x="286" y="260"/>
                    </a:lnTo>
                    <a:lnTo>
                      <a:pt x="283" y="258"/>
                    </a:lnTo>
                    <a:lnTo>
                      <a:pt x="283" y="254"/>
                    </a:lnTo>
                    <a:lnTo>
                      <a:pt x="282" y="252"/>
                    </a:lnTo>
                    <a:lnTo>
                      <a:pt x="283" y="249"/>
                    </a:lnTo>
                    <a:lnTo>
                      <a:pt x="287" y="249"/>
                    </a:lnTo>
                    <a:lnTo>
                      <a:pt x="290" y="249"/>
                    </a:lnTo>
                    <a:lnTo>
                      <a:pt x="291" y="244"/>
                    </a:lnTo>
                    <a:lnTo>
                      <a:pt x="293" y="246"/>
                    </a:lnTo>
                    <a:lnTo>
                      <a:pt x="294" y="246"/>
                    </a:lnTo>
                    <a:lnTo>
                      <a:pt x="295" y="244"/>
                    </a:lnTo>
                    <a:lnTo>
                      <a:pt x="294" y="242"/>
                    </a:lnTo>
                    <a:lnTo>
                      <a:pt x="295" y="241"/>
                    </a:lnTo>
                    <a:lnTo>
                      <a:pt x="294" y="241"/>
                    </a:lnTo>
                    <a:lnTo>
                      <a:pt x="294" y="239"/>
                    </a:lnTo>
                    <a:lnTo>
                      <a:pt x="299" y="242"/>
                    </a:lnTo>
                    <a:lnTo>
                      <a:pt x="300" y="243"/>
                    </a:lnTo>
                    <a:lnTo>
                      <a:pt x="300" y="244"/>
                    </a:lnTo>
                    <a:lnTo>
                      <a:pt x="299" y="244"/>
                    </a:lnTo>
                    <a:lnTo>
                      <a:pt x="298" y="246"/>
                    </a:lnTo>
                    <a:lnTo>
                      <a:pt x="302" y="252"/>
                    </a:lnTo>
                    <a:lnTo>
                      <a:pt x="302" y="254"/>
                    </a:lnTo>
                    <a:lnTo>
                      <a:pt x="305" y="254"/>
                    </a:lnTo>
                    <a:lnTo>
                      <a:pt x="305" y="255"/>
                    </a:lnTo>
                    <a:lnTo>
                      <a:pt x="307" y="255"/>
                    </a:lnTo>
                    <a:lnTo>
                      <a:pt x="308" y="257"/>
                    </a:lnTo>
                    <a:lnTo>
                      <a:pt x="311" y="257"/>
                    </a:lnTo>
                    <a:lnTo>
                      <a:pt x="311" y="253"/>
                    </a:lnTo>
                    <a:lnTo>
                      <a:pt x="312" y="254"/>
                    </a:lnTo>
                    <a:lnTo>
                      <a:pt x="314" y="253"/>
                    </a:lnTo>
                    <a:lnTo>
                      <a:pt x="315" y="253"/>
                    </a:lnTo>
                    <a:lnTo>
                      <a:pt x="317" y="252"/>
                    </a:lnTo>
                    <a:lnTo>
                      <a:pt x="318" y="252"/>
                    </a:lnTo>
                    <a:lnTo>
                      <a:pt x="318" y="253"/>
                    </a:lnTo>
                    <a:lnTo>
                      <a:pt x="319" y="253"/>
                    </a:lnTo>
                    <a:lnTo>
                      <a:pt x="319" y="254"/>
                    </a:lnTo>
                    <a:lnTo>
                      <a:pt x="320" y="255"/>
                    </a:lnTo>
                    <a:lnTo>
                      <a:pt x="320" y="254"/>
                    </a:lnTo>
                    <a:lnTo>
                      <a:pt x="321" y="254"/>
                    </a:lnTo>
                    <a:lnTo>
                      <a:pt x="321" y="258"/>
                    </a:lnTo>
                    <a:lnTo>
                      <a:pt x="322" y="258"/>
                    </a:lnTo>
                    <a:lnTo>
                      <a:pt x="322" y="257"/>
                    </a:lnTo>
                    <a:lnTo>
                      <a:pt x="323" y="255"/>
                    </a:lnTo>
                    <a:lnTo>
                      <a:pt x="323" y="258"/>
                    </a:lnTo>
                    <a:lnTo>
                      <a:pt x="324" y="257"/>
                    </a:lnTo>
                    <a:lnTo>
                      <a:pt x="326" y="256"/>
                    </a:lnTo>
                    <a:lnTo>
                      <a:pt x="335" y="256"/>
                    </a:lnTo>
                    <a:lnTo>
                      <a:pt x="335" y="255"/>
                    </a:lnTo>
                    <a:lnTo>
                      <a:pt x="334" y="25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8" name="Freeform 124">
                <a:extLst>
                  <a:ext uri="{FF2B5EF4-FFF2-40B4-BE49-F238E27FC236}">
                    <a16:creationId xmlns:a16="http://schemas.microsoft.com/office/drawing/2014/main" id="{DBBE7EFB-288D-47F0-9C0C-42A670CD0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1" y="2725"/>
                <a:ext cx="335" cy="268"/>
              </a:xfrm>
              <a:custGeom>
                <a:avLst/>
                <a:gdLst>
                  <a:gd name="T0" fmla="*/ 328 w 335"/>
                  <a:gd name="T1" fmla="*/ 238 h 268"/>
                  <a:gd name="T2" fmla="*/ 328 w 335"/>
                  <a:gd name="T3" fmla="*/ 207 h 268"/>
                  <a:gd name="T4" fmla="*/ 325 w 335"/>
                  <a:gd name="T5" fmla="*/ 172 h 268"/>
                  <a:gd name="T6" fmla="*/ 319 w 335"/>
                  <a:gd name="T7" fmla="*/ 134 h 268"/>
                  <a:gd name="T8" fmla="*/ 289 w 335"/>
                  <a:gd name="T9" fmla="*/ 125 h 268"/>
                  <a:gd name="T10" fmla="*/ 278 w 335"/>
                  <a:gd name="T11" fmla="*/ 116 h 268"/>
                  <a:gd name="T12" fmla="*/ 276 w 335"/>
                  <a:gd name="T13" fmla="*/ 91 h 268"/>
                  <a:gd name="T14" fmla="*/ 262 w 335"/>
                  <a:gd name="T15" fmla="*/ 77 h 268"/>
                  <a:gd name="T16" fmla="*/ 266 w 335"/>
                  <a:gd name="T17" fmla="*/ 43 h 268"/>
                  <a:gd name="T18" fmla="*/ 254 w 335"/>
                  <a:gd name="T19" fmla="*/ 21 h 268"/>
                  <a:gd name="T20" fmla="*/ 238 w 335"/>
                  <a:gd name="T21" fmla="*/ 22 h 268"/>
                  <a:gd name="T22" fmla="*/ 229 w 335"/>
                  <a:gd name="T23" fmla="*/ 20 h 268"/>
                  <a:gd name="T24" fmla="*/ 213 w 335"/>
                  <a:gd name="T25" fmla="*/ 7 h 268"/>
                  <a:gd name="T26" fmla="*/ 202 w 335"/>
                  <a:gd name="T27" fmla="*/ 1 h 268"/>
                  <a:gd name="T28" fmla="*/ 188 w 335"/>
                  <a:gd name="T29" fmla="*/ 20 h 268"/>
                  <a:gd name="T30" fmla="*/ 188 w 335"/>
                  <a:gd name="T31" fmla="*/ 43 h 268"/>
                  <a:gd name="T32" fmla="*/ 186 w 335"/>
                  <a:gd name="T33" fmla="*/ 68 h 268"/>
                  <a:gd name="T34" fmla="*/ 150 w 335"/>
                  <a:gd name="T35" fmla="*/ 62 h 268"/>
                  <a:gd name="T36" fmla="*/ 130 w 335"/>
                  <a:gd name="T37" fmla="*/ 84 h 268"/>
                  <a:gd name="T38" fmla="*/ 113 w 335"/>
                  <a:gd name="T39" fmla="*/ 79 h 268"/>
                  <a:gd name="T40" fmla="*/ 87 w 335"/>
                  <a:gd name="T41" fmla="*/ 63 h 268"/>
                  <a:gd name="T42" fmla="*/ 66 w 335"/>
                  <a:gd name="T43" fmla="*/ 79 h 268"/>
                  <a:gd name="T44" fmla="*/ 51 w 335"/>
                  <a:gd name="T45" fmla="*/ 81 h 268"/>
                  <a:gd name="T46" fmla="*/ 39 w 335"/>
                  <a:gd name="T47" fmla="*/ 78 h 268"/>
                  <a:gd name="T48" fmla="*/ 36 w 335"/>
                  <a:gd name="T49" fmla="*/ 82 h 268"/>
                  <a:gd name="T50" fmla="*/ 32 w 335"/>
                  <a:gd name="T51" fmla="*/ 94 h 268"/>
                  <a:gd name="T52" fmla="*/ 23 w 335"/>
                  <a:gd name="T53" fmla="*/ 112 h 268"/>
                  <a:gd name="T54" fmla="*/ 8 w 335"/>
                  <a:gd name="T55" fmla="*/ 126 h 268"/>
                  <a:gd name="T56" fmla="*/ 3 w 335"/>
                  <a:gd name="T57" fmla="*/ 148 h 268"/>
                  <a:gd name="T58" fmla="*/ 8 w 335"/>
                  <a:gd name="T59" fmla="*/ 172 h 268"/>
                  <a:gd name="T60" fmla="*/ 14 w 335"/>
                  <a:gd name="T61" fmla="*/ 188 h 268"/>
                  <a:gd name="T62" fmla="*/ 18 w 335"/>
                  <a:gd name="T63" fmla="*/ 202 h 268"/>
                  <a:gd name="T64" fmla="*/ 23 w 335"/>
                  <a:gd name="T65" fmla="*/ 209 h 268"/>
                  <a:gd name="T66" fmla="*/ 29 w 335"/>
                  <a:gd name="T67" fmla="*/ 224 h 268"/>
                  <a:gd name="T68" fmla="*/ 41 w 335"/>
                  <a:gd name="T69" fmla="*/ 226 h 268"/>
                  <a:gd name="T70" fmla="*/ 54 w 335"/>
                  <a:gd name="T71" fmla="*/ 222 h 268"/>
                  <a:gd name="T72" fmla="*/ 55 w 335"/>
                  <a:gd name="T73" fmla="*/ 238 h 268"/>
                  <a:gd name="T74" fmla="*/ 63 w 335"/>
                  <a:gd name="T75" fmla="*/ 236 h 268"/>
                  <a:gd name="T76" fmla="*/ 78 w 335"/>
                  <a:gd name="T77" fmla="*/ 237 h 268"/>
                  <a:gd name="T78" fmla="*/ 93 w 335"/>
                  <a:gd name="T79" fmla="*/ 224 h 268"/>
                  <a:gd name="T80" fmla="*/ 131 w 335"/>
                  <a:gd name="T81" fmla="*/ 211 h 268"/>
                  <a:gd name="T82" fmla="*/ 140 w 335"/>
                  <a:gd name="T83" fmla="*/ 202 h 268"/>
                  <a:gd name="T84" fmla="*/ 148 w 335"/>
                  <a:gd name="T85" fmla="*/ 190 h 268"/>
                  <a:gd name="T86" fmla="*/ 155 w 335"/>
                  <a:gd name="T87" fmla="*/ 191 h 268"/>
                  <a:gd name="T88" fmla="*/ 165 w 335"/>
                  <a:gd name="T89" fmla="*/ 193 h 268"/>
                  <a:gd name="T90" fmla="*/ 173 w 335"/>
                  <a:gd name="T91" fmla="*/ 198 h 268"/>
                  <a:gd name="T92" fmla="*/ 180 w 335"/>
                  <a:gd name="T93" fmla="*/ 214 h 268"/>
                  <a:gd name="T94" fmla="*/ 192 w 335"/>
                  <a:gd name="T95" fmla="*/ 224 h 268"/>
                  <a:gd name="T96" fmla="*/ 202 w 335"/>
                  <a:gd name="T97" fmla="*/ 234 h 268"/>
                  <a:gd name="T98" fmla="*/ 213 w 335"/>
                  <a:gd name="T99" fmla="*/ 246 h 268"/>
                  <a:gd name="T100" fmla="*/ 231 w 335"/>
                  <a:gd name="T101" fmla="*/ 249 h 268"/>
                  <a:gd name="T102" fmla="*/ 242 w 335"/>
                  <a:gd name="T103" fmla="*/ 243 h 268"/>
                  <a:gd name="T104" fmla="*/ 256 w 335"/>
                  <a:gd name="T105" fmla="*/ 250 h 268"/>
                  <a:gd name="T106" fmla="*/ 268 w 335"/>
                  <a:gd name="T107" fmla="*/ 259 h 268"/>
                  <a:gd name="T108" fmla="*/ 268 w 335"/>
                  <a:gd name="T109" fmla="*/ 267 h 268"/>
                  <a:gd name="T110" fmla="*/ 279 w 335"/>
                  <a:gd name="T111" fmla="*/ 263 h 268"/>
                  <a:gd name="T112" fmla="*/ 282 w 335"/>
                  <a:gd name="T113" fmla="*/ 252 h 268"/>
                  <a:gd name="T114" fmla="*/ 295 w 335"/>
                  <a:gd name="T115" fmla="*/ 241 h 268"/>
                  <a:gd name="T116" fmla="*/ 305 w 335"/>
                  <a:gd name="T117" fmla="*/ 255 h 268"/>
                  <a:gd name="T118" fmla="*/ 319 w 335"/>
                  <a:gd name="T119" fmla="*/ 253 h 268"/>
                  <a:gd name="T120" fmla="*/ 326 w 335"/>
                  <a:gd name="T121" fmla="*/ 256 h 26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35"/>
                  <a:gd name="T184" fmla="*/ 0 h 268"/>
                  <a:gd name="T185" fmla="*/ 335 w 335"/>
                  <a:gd name="T186" fmla="*/ 268 h 26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35" h="268">
                    <a:moveTo>
                      <a:pt x="334" y="252"/>
                    </a:moveTo>
                    <a:lnTo>
                      <a:pt x="334" y="249"/>
                    </a:lnTo>
                    <a:lnTo>
                      <a:pt x="333" y="249"/>
                    </a:lnTo>
                    <a:lnTo>
                      <a:pt x="332" y="246"/>
                    </a:lnTo>
                    <a:lnTo>
                      <a:pt x="331" y="245"/>
                    </a:lnTo>
                    <a:lnTo>
                      <a:pt x="331" y="244"/>
                    </a:lnTo>
                    <a:lnTo>
                      <a:pt x="329" y="242"/>
                    </a:lnTo>
                    <a:lnTo>
                      <a:pt x="328" y="239"/>
                    </a:lnTo>
                    <a:lnTo>
                      <a:pt x="326" y="238"/>
                    </a:lnTo>
                    <a:lnTo>
                      <a:pt x="328" y="238"/>
                    </a:lnTo>
                    <a:lnTo>
                      <a:pt x="324" y="233"/>
                    </a:lnTo>
                    <a:lnTo>
                      <a:pt x="326" y="232"/>
                    </a:lnTo>
                    <a:lnTo>
                      <a:pt x="327" y="231"/>
                    </a:lnTo>
                    <a:lnTo>
                      <a:pt x="323" y="230"/>
                    </a:lnTo>
                    <a:lnTo>
                      <a:pt x="321" y="228"/>
                    </a:lnTo>
                    <a:lnTo>
                      <a:pt x="326" y="220"/>
                    </a:lnTo>
                    <a:lnTo>
                      <a:pt x="325" y="218"/>
                    </a:lnTo>
                    <a:lnTo>
                      <a:pt x="328" y="214"/>
                    </a:lnTo>
                    <a:lnTo>
                      <a:pt x="331" y="212"/>
                    </a:lnTo>
                    <a:lnTo>
                      <a:pt x="328" y="210"/>
                    </a:lnTo>
                    <a:lnTo>
                      <a:pt x="328" y="207"/>
                    </a:lnTo>
                    <a:lnTo>
                      <a:pt x="327" y="204"/>
                    </a:lnTo>
                    <a:lnTo>
                      <a:pt x="323" y="201"/>
                    </a:lnTo>
                    <a:lnTo>
                      <a:pt x="323" y="200"/>
                    </a:lnTo>
                    <a:lnTo>
                      <a:pt x="325" y="196"/>
                    </a:lnTo>
                    <a:lnTo>
                      <a:pt x="328" y="194"/>
                    </a:lnTo>
                    <a:lnTo>
                      <a:pt x="326" y="191"/>
                    </a:lnTo>
                    <a:lnTo>
                      <a:pt x="325" y="180"/>
                    </a:lnTo>
                    <a:lnTo>
                      <a:pt x="324" y="180"/>
                    </a:lnTo>
                    <a:lnTo>
                      <a:pt x="324" y="178"/>
                    </a:lnTo>
                    <a:lnTo>
                      <a:pt x="326" y="174"/>
                    </a:lnTo>
                    <a:lnTo>
                      <a:pt x="325" y="172"/>
                    </a:lnTo>
                    <a:lnTo>
                      <a:pt x="327" y="167"/>
                    </a:lnTo>
                    <a:lnTo>
                      <a:pt x="324" y="165"/>
                    </a:lnTo>
                    <a:lnTo>
                      <a:pt x="325" y="164"/>
                    </a:lnTo>
                    <a:lnTo>
                      <a:pt x="328" y="158"/>
                    </a:lnTo>
                    <a:lnTo>
                      <a:pt x="330" y="155"/>
                    </a:lnTo>
                    <a:lnTo>
                      <a:pt x="328" y="150"/>
                    </a:lnTo>
                    <a:lnTo>
                      <a:pt x="323" y="145"/>
                    </a:lnTo>
                    <a:lnTo>
                      <a:pt x="322" y="142"/>
                    </a:lnTo>
                    <a:lnTo>
                      <a:pt x="322" y="139"/>
                    </a:lnTo>
                    <a:lnTo>
                      <a:pt x="322" y="133"/>
                    </a:lnTo>
                    <a:lnTo>
                      <a:pt x="319" y="134"/>
                    </a:lnTo>
                    <a:lnTo>
                      <a:pt x="316" y="127"/>
                    </a:lnTo>
                    <a:lnTo>
                      <a:pt x="313" y="127"/>
                    </a:lnTo>
                    <a:lnTo>
                      <a:pt x="308" y="125"/>
                    </a:lnTo>
                    <a:lnTo>
                      <a:pt x="306" y="123"/>
                    </a:lnTo>
                    <a:lnTo>
                      <a:pt x="304" y="120"/>
                    </a:lnTo>
                    <a:lnTo>
                      <a:pt x="301" y="119"/>
                    </a:lnTo>
                    <a:lnTo>
                      <a:pt x="300" y="117"/>
                    </a:lnTo>
                    <a:lnTo>
                      <a:pt x="298" y="116"/>
                    </a:lnTo>
                    <a:lnTo>
                      <a:pt x="296" y="116"/>
                    </a:lnTo>
                    <a:lnTo>
                      <a:pt x="294" y="116"/>
                    </a:lnTo>
                    <a:lnTo>
                      <a:pt x="289" y="125"/>
                    </a:lnTo>
                    <a:lnTo>
                      <a:pt x="284" y="129"/>
                    </a:lnTo>
                    <a:lnTo>
                      <a:pt x="282" y="129"/>
                    </a:lnTo>
                    <a:lnTo>
                      <a:pt x="281" y="128"/>
                    </a:lnTo>
                    <a:lnTo>
                      <a:pt x="279" y="128"/>
                    </a:lnTo>
                    <a:lnTo>
                      <a:pt x="278" y="126"/>
                    </a:lnTo>
                    <a:lnTo>
                      <a:pt x="279" y="125"/>
                    </a:lnTo>
                    <a:lnTo>
                      <a:pt x="279" y="124"/>
                    </a:lnTo>
                    <a:lnTo>
                      <a:pt x="280" y="122"/>
                    </a:lnTo>
                    <a:lnTo>
                      <a:pt x="279" y="121"/>
                    </a:lnTo>
                    <a:lnTo>
                      <a:pt x="279" y="120"/>
                    </a:lnTo>
                    <a:lnTo>
                      <a:pt x="278" y="116"/>
                    </a:lnTo>
                    <a:lnTo>
                      <a:pt x="281" y="114"/>
                    </a:lnTo>
                    <a:lnTo>
                      <a:pt x="280" y="113"/>
                    </a:lnTo>
                    <a:lnTo>
                      <a:pt x="281" y="112"/>
                    </a:lnTo>
                    <a:lnTo>
                      <a:pt x="280" y="110"/>
                    </a:lnTo>
                    <a:lnTo>
                      <a:pt x="282" y="107"/>
                    </a:lnTo>
                    <a:lnTo>
                      <a:pt x="281" y="107"/>
                    </a:lnTo>
                    <a:lnTo>
                      <a:pt x="281" y="99"/>
                    </a:lnTo>
                    <a:lnTo>
                      <a:pt x="279" y="96"/>
                    </a:lnTo>
                    <a:lnTo>
                      <a:pt x="278" y="92"/>
                    </a:lnTo>
                    <a:lnTo>
                      <a:pt x="277" y="92"/>
                    </a:lnTo>
                    <a:lnTo>
                      <a:pt x="276" y="91"/>
                    </a:lnTo>
                    <a:lnTo>
                      <a:pt x="275" y="91"/>
                    </a:lnTo>
                    <a:lnTo>
                      <a:pt x="275" y="90"/>
                    </a:lnTo>
                    <a:lnTo>
                      <a:pt x="274" y="91"/>
                    </a:lnTo>
                    <a:lnTo>
                      <a:pt x="274" y="90"/>
                    </a:lnTo>
                    <a:lnTo>
                      <a:pt x="271" y="90"/>
                    </a:lnTo>
                    <a:lnTo>
                      <a:pt x="271" y="88"/>
                    </a:lnTo>
                    <a:lnTo>
                      <a:pt x="268" y="87"/>
                    </a:lnTo>
                    <a:lnTo>
                      <a:pt x="266" y="86"/>
                    </a:lnTo>
                    <a:lnTo>
                      <a:pt x="262" y="79"/>
                    </a:lnTo>
                    <a:lnTo>
                      <a:pt x="262" y="77"/>
                    </a:lnTo>
                    <a:lnTo>
                      <a:pt x="260" y="73"/>
                    </a:lnTo>
                    <a:lnTo>
                      <a:pt x="259" y="71"/>
                    </a:lnTo>
                    <a:lnTo>
                      <a:pt x="259" y="60"/>
                    </a:lnTo>
                    <a:lnTo>
                      <a:pt x="258" y="57"/>
                    </a:lnTo>
                    <a:lnTo>
                      <a:pt x="259" y="54"/>
                    </a:lnTo>
                    <a:lnTo>
                      <a:pt x="259" y="52"/>
                    </a:lnTo>
                    <a:lnTo>
                      <a:pt x="260" y="50"/>
                    </a:lnTo>
                    <a:lnTo>
                      <a:pt x="262" y="49"/>
                    </a:lnTo>
                    <a:lnTo>
                      <a:pt x="262" y="48"/>
                    </a:lnTo>
                    <a:lnTo>
                      <a:pt x="266" y="46"/>
                    </a:lnTo>
                    <a:lnTo>
                      <a:pt x="266" y="43"/>
                    </a:lnTo>
                    <a:lnTo>
                      <a:pt x="265" y="39"/>
                    </a:lnTo>
                    <a:lnTo>
                      <a:pt x="262" y="38"/>
                    </a:lnTo>
                    <a:lnTo>
                      <a:pt x="264" y="33"/>
                    </a:lnTo>
                    <a:lnTo>
                      <a:pt x="264" y="30"/>
                    </a:lnTo>
                    <a:lnTo>
                      <a:pt x="258" y="28"/>
                    </a:lnTo>
                    <a:lnTo>
                      <a:pt x="257" y="28"/>
                    </a:lnTo>
                    <a:lnTo>
                      <a:pt x="256" y="29"/>
                    </a:lnTo>
                    <a:lnTo>
                      <a:pt x="254" y="26"/>
                    </a:lnTo>
                    <a:lnTo>
                      <a:pt x="256" y="25"/>
                    </a:lnTo>
                    <a:lnTo>
                      <a:pt x="255" y="23"/>
                    </a:lnTo>
                    <a:lnTo>
                      <a:pt x="254" y="21"/>
                    </a:lnTo>
                    <a:lnTo>
                      <a:pt x="256" y="20"/>
                    </a:lnTo>
                    <a:lnTo>
                      <a:pt x="255" y="20"/>
                    </a:lnTo>
                    <a:lnTo>
                      <a:pt x="250" y="20"/>
                    </a:lnTo>
                    <a:lnTo>
                      <a:pt x="247" y="22"/>
                    </a:lnTo>
                    <a:lnTo>
                      <a:pt x="245" y="21"/>
                    </a:lnTo>
                    <a:lnTo>
                      <a:pt x="243" y="23"/>
                    </a:lnTo>
                    <a:lnTo>
                      <a:pt x="243" y="26"/>
                    </a:lnTo>
                    <a:lnTo>
                      <a:pt x="241" y="26"/>
                    </a:lnTo>
                    <a:lnTo>
                      <a:pt x="238" y="23"/>
                    </a:lnTo>
                    <a:lnTo>
                      <a:pt x="237" y="23"/>
                    </a:lnTo>
                    <a:lnTo>
                      <a:pt x="238" y="22"/>
                    </a:lnTo>
                    <a:lnTo>
                      <a:pt x="238" y="20"/>
                    </a:lnTo>
                    <a:lnTo>
                      <a:pt x="238" y="18"/>
                    </a:lnTo>
                    <a:lnTo>
                      <a:pt x="239" y="12"/>
                    </a:lnTo>
                    <a:lnTo>
                      <a:pt x="238" y="7"/>
                    </a:lnTo>
                    <a:lnTo>
                      <a:pt x="234" y="9"/>
                    </a:lnTo>
                    <a:lnTo>
                      <a:pt x="230" y="9"/>
                    </a:lnTo>
                    <a:lnTo>
                      <a:pt x="230" y="12"/>
                    </a:lnTo>
                    <a:lnTo>
                      <a:pt x="227" y="15"/>
                    </a:lnTo>
                    <a:lnTo>
                      <a:pt x="227" y="18"/>
                    </a:lnTo>
                    <a:lnTo>
                      <a:pt x="228" y="18"/>
                    </a:lnTo>
                    <a:lnTo>
                      <a:pt x="229" y="20"/>
                    </a:lnTo>
                    <a:lnTo>
                      <a:pt x="227" y="19"/>
                    </a:lnTo>
                    <a:lnTo>
                      <a:pt x="225" y="20"/>
                    </a:lnTo>
                    <a:lnTo>
                      <a:pt x="224" y="18"/>
                    </a:lnTo>
                    <a:lnTo>
                      <a:pt x="221" y="18"/>
                    </a:lnTo>
                    <a:lnTo>
                      <a:pt x="219" y="18"/>
                    </a:lnTo>
                    <a:lnTo>
                      <a:pt x="218" y="14"/>
                    </a:lnTo>
                    <a:lnTo>
                      <a:pt x="218" y="13"/>
                    </a:lnTo>
                    <a:lnTo>
                      <a:pt x="221" y="10"/>
                    </a:lnTo>
                    <a:lnTo>
                      <a:pt x="220" y="8"/>
                    </a:lnTo>
                    <a:lnTo>
                      <a:pt x="215" y="7"/>
                    </a:lnTo>
                    <a:lnTo>
                      <a:pt x="213" y="7"/>
                    </a:lnTo>
                    <a:lnTo>
                      <a:pt x="213" y="5"/>
                    </a:lnTo>
                    <a:lnTo>
                      <a:pt x="211" y="4"/>
                    </a:lnTo>
                    <a:lnTo>
                      <a:pt x="211" y="3"/>
                    </a:lnTo>
                    <a:lnTo>
                      <a:pt x="209" y="1"/>
                    </a:lnTo>
                    <a:lnTo>
                      <a:pt x="208" y="6"/>
                    </a:lnTo>
                    <a:lnTo>
                      <a:pt x="205" y="7"/>
                    </a:lnTo>
                    <a:lnTo>
                      <a:pt x="202" y="5"/>
                    </a:lnTo>
                    <a:lnTo>
                      <a:pt x="202" y="4"/>
                    </a:lnTo>
                    <a:lnTo>
                      <a:pt x="202" y="3"/>
                    </a:lnTo>
                    <a:lnTo>
                      <a:pt x="202" y="1"/>
                    </a:lnTo>
                    <a:lnTo>
                      <a:pt x="199" y="0"/>
                    </a:lnTo>
                    <a:lnTo>
                      <a:pt x="197" y="0"/>
                    </a:lnTo>
                    <a:lnTo>
                      <a:pt x="197" y="3"/>
                    </a:lnTo>
                    <a:lnTo>
                      <a:pt x="196" y="3"/>
                    </a:lnTo>
                    <a:lnTo>
                      <a:pt x="193" y="5"/>
                    </a:lnTo>
                    <a:lnTo>
                      <a:pt x="191" y="5"/>
                    </a:lnTo>
                    <a:lnTo>
                      <a:pt x="189" y="5"/>
                    </a:lnTo>
                    <a:lnTo>
                      <a:pt x="188" y="7"/>
                    </a:lnTo>
                    <a:lnTo>
                      <a:pt x="183" y="13"/>
                    </a:lnTo>
                    <a:lnTo>
                      <a:pt x="185" y="15"/>
                    </a:lnTo>
                    <a:lnTo>
                      <a:pt x="188" y="20"/>
                    </a:lnTo>
                    <a:lnTo>
                      <a:pt x="189" y="18"/>
                    </a:lnTo>
                    <a:lnTo>
                      <a:pt x="193" y="17"/>
                    </a:lnTo>
                    <a:lnTo>
                      <a:pt x="193" y="18"/>
                    </a:lnTo>
                    <a:lnTo>
                      <a:pt x="194" y="23"/>
                    </a:lnTo>
                    <a:lnTo>
                      <a:pt x="196" y="27"/>
                    </a:lnTo>
                    <a:lnTo>
                      <a:pt x="195" y="26"/>
                    </a:lnTo>
                    <a:lnTo>
                      <a:pt x="193" y="28"/>
                    </a:lnTo>
                    <a:lnTo>
                      <a:pt x="193" y="34"/>
                    </a:lnTo>
                    <a:lnTo>
                      <a:pt x="192" y="37"/>
                    </a:lnTo>
                    <a:lnTo>
                      <a:pt x="193" y="38"/>
                    </a:lnTo>
                    <a:lnTo>
                      <a:pt x="188" y="43"/>
                    </a:lnTo>
                    <a:lnTo>
                      <a:pt x="187" y="44"/>
                    </a:lnTo>
                    <a:lnTo>
                      <a:pt x="185" y="46"/>
                    </a:lnTo>
                    <a:lnTo>
                      <a:pt x="186" y="48"/>
                    </a:lnTo>
                    <a:lnTo>
                      <a:pt x="187" y="51"/>
                    </a:lnTo>
                    <a:lnTo>
                      <a:pt x="187" y="54"/>
                    </a:lnTo>
                    <a:lnTo>
                      <a:pt x="189" y="54"/>
                    </a:lnTo>
                    <a:lnTo>
                      <a:pt x="186" y="56"/>
                    </a:lnTo>
                    <a:lnTo>
                      <a:pt x="186" y="59"/>
                    </a:lnTo>
                    <a:lnTo>
                      <a:pt x="185" y="60"/>
                    </a:lnTo>
                    <a:lnTo>
                      <a:pt x="186" y="61"/>
                    </a:lnTo>
                    <a:lnTo>
                      <a:pt x="186" y="68"/>
                    </a:lnTo>
                    <a:lnTo>
                      <a:pt x="186" y="71"/>
                    </a:lnTo>
                    <a:lnTo>
                      <a:pt x="185" y="71"/>
                    </a:lnTo>
                    <a:lnTo>
                      <a:pt x="179" y="71"/>
                    </a:lnTo>
                    <a:lnTo>
                      <a:pt x="177" y="73"/>
                    </a:lnTo>
                    <a:lnTo>
                      <a:pt x="174" y="73"/>
                    </a:lnTo>
                    <a:lnTo>
                      <a:pt x="171" y="71"/>
                    </a:lnTo>
                    <a:lnTo>
                      <a:pt x="169" y="69"/>
                    </a:lnTo>
                    <a:lnTo>
                      <a:pt x="159" y="64"/>
                    </a:lnTo>
                    <a:lnTo>
                      <a:pt x="158" y="68"/>
                    </a:lnTo>
                    <a:lnTo>
                      <a:pt x="152" y="62"/>
                    </a:lnTo>
                    <a:lnTo>
                      <a:pt x="150" y="62"/>
                    </a:lnTo>
                    <a:lnTo>
                      <a:pt x="149" y="65"/>
                    </a:lnTo>
                    <a:lnTo>
                      <a:pt x="147" y="65"/>
                    </a:lnTo>
                    <a:lnTo>
                      <a:pt x="145" y="65"/>
                    </a:lnTo>
                    <a:lnTo>
                      <a:pt x="143" y="65"/>
                    </a:lnTo>
                    <a:lnTo>
                      <a:pt x="140" y="63"/>
                    </a:lnTo>
                    <a:lnTo>
                      <a:pt x="139" y="63"/>
                    </a:lnTo>
                    <a:lnTo>
                      <a:pt x="139" y="65"/>
                    </a:lnTo>
                    <a:lnTo>
                      <a:pt x="137" y="69"/>
                    </a:lnTo>
                    <a:lnTo>
                      <a:pt x="134" y="72"/>
                    </a:lnTo>
                    <a:lnTo>
                      <a:pt x="131" y="78"/>
                    </a:lnTo>
                    <a:lnTo>
                      <a:pt x="130" y="84"/>
                    </a:lnTo>
                    <a:lnTo>
                      <a:pt x="128" y="86"/>
                    </a:lnTo>
                    <a:lnTo>
                      <a:pt x="128" y="84"/>
                    </a:lnTo>
                    <a:lnTo>
                      <a:pt x="124" y="86"/>
                    </a:lnTo>
                    <a:lnTo>
                      <a:pt x="121" y="85"/>
                    </a:lnTo>
                    <a:lnTo>
                      <a:pt x="121" y="84"/>
                    </a:lnTo>
                    <a:lnTo>
                      <a:pt x="120" y="84"/>
                    </a:lnTo>
                    <a:lnTo>
                      <a:pt x="119" y="82"/>
                    </a:lnTo>
                    <a:lnTo>
                      <a:pt x="117" y="82"/>
                    </a:lnTo>
                    <a:lnTo>
                      <a:pt x="115" y="80"/>
                    </a:lnTo>
                    <a:lnTo>
                      <a:pt x="113" y="79"/>
                    </a:lnTo>
                    <a:lnTo>
                      <a:pt x="112" y="81"/>
                    </a:lnTo>
                    <a:lnTo>
                      <a:pt x="109" y="82"/>
                    </a:lnTo>
                    <a:lnTo>
                      <a:pt x="107" y="81"/>
                    </a:lnTo>
                    <a:lnTo>
                      <a:pt x="107" y="80"/>
                    </a:lnTo>
                    <a:lnTo>
                      <a:pt x="109" y="77"/>
                    </a:lnTo>
                    <a:lnTo>
                      <a:pt x="106" y="73"/>
                    </a:lnTo>
                    <a:lnTo>
                      <a:pt x="101" y="73"/>
                    </a:lnTo>
                    <a:lnTo>
                      <a:pt x="99" y="71"/>
                    </a:lnTo>
                    <a:lnTo>
                      <a:pt x="95" y="67"/>
                    </a:lnTo>
                    <a:lnTo>
                      <a:pt x="91" y="67"/>
                    </a:lnTo>
                    <a:lnTo>
                      <a:pt x="87" y="63"/>
                    </a:lnTo>
                    <a:lnTo>
                      <a:pt x="83" y="61"/>
                    </a:lnTo>
                    <a:lnTo>
                      <a:pt x="80" y="68"/>
                    </a:lnTo>
                    <a:lnTo>
                      <a:pt x="79" y="69"/>
                    </a:lnTo>
                    <a:lnTo>
                      <a:pt x="77" y="69"/>
                    </a:lnTo>
                    <a:lnTo>
                      <a:pt x="75" y="70"/>
                    </a:lnTo>
                    <a:lnTo>
                      <a:pt x="69" y="68"/>
                    </a:lnTo>
                    <a:lnTo>
                      <a:pt x="69" y="69"/>
                    </a:lnTo>
                    <a:lnTo>
                      <a:pt x="69" y="73"/>
                    </a:lnTo>
                    <a:lnTo>
                      <a:pt x="67" y="74"/>
                    </a:lnTo>
                    <a:lnTo>
                      <a:pt x="67" y="77"/>
                    </a:lnTo>
                    <a:lnTo>
                      <a:pt x="66" y="79"/>
                    </a:lnTo>
                    <a:lnTo>
                      <a:pt x="66" y="83"/>
                    </a:lnTo>
                    <a:lnTo>
                      <a:pt x="65" y="86"/>
                    </a:lnTo>
                    <a:lnTo>
                      <a:pt x="62" y="87"/>
                    </a:lnTo>
                    <a:lnTo>
                      <a:pt x="60" y="87"/>
                    </a:lnTo>
                    <a:lnTo>
                      <a:pt x="60" y="86"/>
                    </a:lnTo>
                    <a:lnTo>
                      <a:pt x="59" y="88"/>
                    </a:lnTo>
                    <a:lnTo>
                      <a:pt x="58" y="86"/>
                    </a:lnTo>
                    <a:lnTo>
                      <a:pt x="55" y="86"/>
                    </a:lnTo>
                    <a:lnTo>
                      <a:pt x="55" y="85"/>
                    </a:lnTo>
                    <a:lnTo>
                      <a:pt x="52" y="84"/>
                    </a:lnTo>
                    <a:lnTo>
                      <a:pt x="51" y="81"/>
                    </a:lnTo>
                    <a:lnTo>
                      <a:pt x="48" y="78"/>
                    </a:lnTo>
                    <a:lnTo>
                      <a:pt x="47" y="78"/>
                    </a:lnTo>
                    <a:lnTo>
                      <a:pt x="46" y="79"/>
                    </a:lnTo>
                    <a:lnTo>
                      <a:pt x="46" y="78"/>
                    </a:lnTo>
                    <a:lnTo>
                      <a:pt x="44" y="79"/>
                    </a:lnTo>
                    <a:lnTo>
                      <a:pt x="45" y="78"/>
                    </a:lnTo>
                    <a:lnTo>
                      <a:pt x="46" y="76"/>
                    </a:lnTo>
                    <a:lnTo>
                      <a:pt x="44" y="76"/>
                    </a:lnTo>
                    <a:lnTo>
                      <a:pt x="44" y="75"/>
                    </a:lnTo>
                    <a:lnTo>
                      <a:pt x="41" y="76"/>
                    </a:lnTo>
                    <a:lnTo>
                      <a:pt x="39" y="78"/>
                    </a:lnTo>
                    <a:lnTo>
                      <a:pt x="37" y="75"/>
                    </a:lnTo>
                    <a:lnTo>
                      <a:pt x="34" y="76"/>
                    </a:lnTo>
                    <a:lnTo>
                      <a:pt x="36" y="78"/>
                    </a:lnTo>
                    <a:lnTo>
                      <a:pt x="35" y="78"/>
                    </a:lnTo>
                    <a:lnTo>
                      <a:pt x="36" y="79"/>
                    </a:lnTo>
                    <a:lnTo>
                      <a:pt x="37" y="78"/>
                    </a:lnTo>
                    <a:lnTo>
                      <a:pt x="38" y="79"/>
                    </a:lnTo>
                    <a:lnTo>
                      <a:pt x="38" y="80"/>
                    </a:lnTo>
                    <a:lnTo>
                      <a:pt x="37" y="79"/>
                    </a:lnTo>
                    <a:lnTo>
                      <a:pt x="36" y="81"/>
                    </a:lnTo>
                    <a:lnTo>
                      <a:pt x="36" y="82"/>
                    </a:lnTo>
                    <a:lnTo>
                      <a:pt x="36" y="84"/>
                    </a:lnTo>
                    <a:lnTo>
                      <a:pt x="37" y="84"/>
                    </a:lnTo>
                    <a:lnTo>
                      <a:pt x="38" y="85"/>
                    </a:lnTo>
                    <a:lnTo>
                      <a:pt x="38" y="86"/>
                    </a:lnTo>
                    <a:lnTo>
                      <a:pt x="35" y="87"/>
                    </a:lnTo>
                    <a:lnTo>
                      <a:pt x="34" y="89"/>
                    </a:lnTo>
                    <a:lnTo>
                      <a:pt x="36" y="91"/>
                    </a:lnTo>
                    <a:lnTo>
                      <a:pt x="34" y="95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28" y="97"/>
                    </a:lnTo>
                    <a:lnTo>
                      <a:pt x="26" y="102"/>
                    </a:lnTo>
                    <a:lnTo>
                      <a:pt x="26" y="104"/>
                    </a:lnTo>
                    <a:lnTo>
                      <a:pt x="25" y="104"/>
                    </a:lnTo>
                    <a:lnTo>
                      <a:pt x="24" y="107"/>
                    </a:lnTo>
                    <a:lnTo>
                      <a:pt x="27" y="110"/>
                    </a:lnTo>
                    <a:lnTo>
                      <a:pt x="26" y="112"/>
                    </a:lnTo>
                    <a:lnTo>
                      <a:pt x="23" y="112"/>
                    </a:lnTo>
                    <a:lnTo>
                      <a:pt x="23" y="110"/>
                    </a:lnTo>
                    <a:lnTo>
                      <a:pt x="23" y="108"/>
                    </a:lnTo>
                    <a:lnTo>
                      <a:pt x="22" y="110"/>
                    </a:lnTo>
                    <a:lnTo>
                      <a:pt x="20" y="114"/>
                    </a:lnTo>
                    <a:lnTo>
                      <a:pt x="16" y="115"/>
                    </a:lnTo>
                    <a:lnTo>
                      <a:pt x="12" y="116"/>
                    </a:lnTo>
                    <a:lnTo>
                      <a:pt x="10" y="118"/>
                    </a:lnTo>
                    <a:lnTo>
                      <a:pt x="10" y="121"/>
                    </a:lnTo>
                    <a:lnTo>
                      <a:pt x="9" y="123"/>
                    </a:lnTo>
                    <a:lnTo>
                      <a:pt x="8" y="126"/>
                    </a:lnTo>
                    <a:lnTo>
                      <a:pt x="10" y="128"/>
                    </a:lnTo>
                    <a:lnTo>
                      <a:pt x="10" y="130"/>
                    </a:lnTo>
                    <a:lnTo>
                      <a:pt x="4" y="135"/>
                    </a:lnTo>
                    <a:lnTo>
                      <a:pt x="3" y="134"/>
                    </a:lnTo>
                    <a:lnTo>
                      <a:pt x="0" y="139"/>
                    </a:lnTo>
                    <a:lnTo>
                      <a:pt x="0" y="144"/>
                    </a:lnTo>
                    <a:lnTo>
                      <a:pt x="2" y="144"/>
                    </a:lnTo>
                    <a:lnTo>
                      <a:pt x="3" y="144"/>
                    </a:lnTo>
                    <a:lnTo>
                      <a:pt x="4" y="144"/>
                    </a:lnTo>
                    <a:lnTo>
                      <a:pt x="3" y="147"/>
                    </a:lnTo>
                    <a:lnTo>
                      <a:pt x="3" y="148"/>
                    </a:lnTo>
                    <a:lnTo>
                      <a:pt x="3" y="149"/>
                    </a:lnTo>
                    <a:lnTo>
                      <a:pt x="4" y="153"/>
                    </a:lnTo>
                    <a:lnTo>
                      <a:pt x="4" y="154"/>
                    </a:lnTo>
                    <a:lnTo>
                      <a:pt x="2" y="158"/>
                    </a:lnTo>
                    <a:lnTo>
                      <a:pt x="5" y="161"/>
                    </a:lnTo>
                    <a:lnTo>
                      <a:pt x="4" y="161"/>
                    </a:lnTo>
                    <a:lnTo>
                      <a:pt x="4" y="163"/>
                    </a:lnTo>
                    <a:lnTo>
                      <a:pt x="6" y="165"/>
                    </a:lnTo>
                    <a:lnTo>
                      <a:pt x="7" y="170"/>
                    </a:lnTo>
                    <a:lnTo>
                      <a:pt x="6" y="172"/>
                    </a:lnTo>
                    <a:lnTo>
                      <a:pt x="8" y="172"/>
                    </a:lnTo>
                    <a:lnTo>
                      <a:pt x="9" y="175"/>
                    </a:lnTo>
                    <a:lnTo>
                      <a:pt x="9" y="176"/>
                    </a:lnTo>
                    <a:lnTo>
                      <a:pt x="12" y="178"/>
                    </a:lnTo>
                    <a:lnTo>
                      <a:pt x="12" y="181"/>
                    </a:lnTo>
                    <a:lnTo>
                      <a:pt x="12" y="182"/>
                    </a:lnTo>
                    <a:lnTo>
                      <a:pt x="13" y="182"/>
                    </a:lnTo>
                    <a:lnTo>
                      <a:pt x="13" y="185"/>
                    </a:lnTo>
                    <a:lnTo>
                      <a:pt x="14" y="185"/>
                    </a:lnTo>
                    <a:lnTo>
                      <a:pt x="14" y="187"/>
                    </a:lnTo>
                    <a:lnTo>
                      <a:pt x="14" y="188"/>
                    </a:lnTo>
                    <a:lnTo>
                      <a:pt x="14" y="192"/>
                    </a:lnTo>
                    <a:lnTo>
                      <a:pt x="14" y="194"/>
                    </a:lnTo>
                    <a:lnTo>
                      <a:pt x="16" y="195"/>
                    </a:lnTo>
                    <a:lnTo>
                      <a:pt x="17" y="199"/>
                    </a:lnTo>
                    <a:lnTo>
                      <a:pt x="18" y="199"/>
                    </a:lnTo>
                    <a:lnTo>
                      <a:pt x="17" y="201"/>
                    </a:lnTo>
                    <a:lnTo>
                      <a:pt x="18" y="201"/>
                    </a:lnTo>
                    <a:lnTo>
                      <a:pt x="17" y="202"/>
                    </a:lnTo>
                    <a:lnTo>
                      <a:pt x="18" y="202"/>
                    </a:lnTo>
                    <a:lnTo>
                      <a:pt x="18" y="205"/>
                    </a:lnTo>
                    <a:lnTo>
                      <a:pt x="18" y="206"/>
                    </a:lnTo>
                    <a:lnTo>
                      <a:pt x="19" y="205"/>
                    </a:lnTo>
                    <a:lnTo>
                      <a:pt x="18" y="208"/>
                    </a:lnTo>
                    <a:lnTo>
                      <a:pt x="22" y="209"/>
                    </a:lnTo>
                    <a:lnTo>
                      <a:pt x="22" y="208"/>
                    </a:lnTo>
                    <a:lnTo>
                      <a:pt x="22" y="209"/>
                    </a:lnTo>
                    <a:lnTo>
                      <a:pt x="23" y="210"/>
                    </a:lnTo>
                    <a:lnTo>
                      <a:pt x="23" y="209"/>
                    </a:lnTo>
                    <a:lnTo>
                      <a:pt x="25" y="210"/>
                    </a:lnTo>
                    <a:lnTo>
                      <a:pt x="26" y="210"/>
                    </a:lnTo>
                    <a:lnTo>
                      <a:pt x="26" y="211"/>
                    </a:lnTo>
                    <a:lnTo>
                      <a:pt x="25" y="211"/>
                    </a:lnTo>
                    <a:lnTo>
                      <a:pt x="27" y="212"/>
                    </a:lnTo>
                    <a:lnTo>
                      <a:pt x="26" y="215"/>
                    </a:lnTo>
                    <a:lnTo>
                      <a:pt x="28" y="216"/>
                    </a:lnTo>
                    <a:lnTo>
                      <a:pt x="28" y="218"/>
                    </a:lnTo>
                    <a:lnTo>
                      <a:pt x="29" y="221"/>
                    </a:lnTo>
                    <a:lnTo>
                      <a:pt x="30" y="221"/>
                    </a:lnTo>
                    <a:lnTo>
                      <a:pt x="29" y="224"/>
                    </a:lnTo>
                    <a:lnTo>
                      <a:pt x="31" y="224"/>
                    </a:lnTo>
                    <a:lnTo>
                      <a:pt x="31" y="225"/>
                    </a:lnTo>
                    <a:lnTo>
                      <a:pt x="32" y="227"/>
                    </a:lnTo>
                    <a:lnTo>
                      <a:pt x="33" y="224"/>
                    </a:lnTo>
                    <a:lnTo>
                      <a:pt x="35" y="219"/>
                    </a:lnTo>
                    <a:lnTo>
                      <a:pt x="39" y="219"/>
                    </a:lnTo>
                    <a:lnTo>
                      <a:pt x="38" y="220"/>
                    </a:lnTo>
                    <a:lnTo>
                      <a:pt x="39" y="222"/>
                    </a:lnTo>
                    <a:lnTo>
                      <a:pt x="40" y="225"/>
                    </a:lnTo>
                    <a:lnTo>
                      <a:pt x="41" y="226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7" y="226"/>
                    </a:lnTo>
                    <a:lnTo>
                      <a:pt x="45" y="224"/>
                    </a:lnTo>
                    <a:lnTo>
                      <a:pt x="45" y="223"/>
                    </a:lnTo>
                    <a:lnTo>
                      <a:pt x="49" y="224"/>
                    </a:lnTo>
                    <a:lnTo>
                      <a:pt x="49" y="223"/>
                    </a:lnTo>
                    <a:lnTo>
                      <a:pt x="51" y="221"/>
                    </a:lnTo>
                    <a:lnTo>
                      <a:pt x="53" y="221"/>
                    </a:lnTo>
                    <a:lnTo>
                      <a:pt x="54" y="221"/>
                    </a:lnTo>
                    <a:lnTo>
                      <a:pt x="54" y="222"/>
                    </a:lnTo>
                    <a:lnTo>
                      <a:pt x="53" y="223"/>
                    </a:lnTo>
                    <a:lnTo>
                      <a:pt x="53" y="225"/>
                    </a:lnTo>
                    <a:lnTo>
                      <a:pt x="52" y="225"/>
                    </a:lnTo>
                    <a:lnTo>
                      <a:pt x="54" y="228"/>
                    </a:lnTo>
                    <a:lnTo>
                      <a:pt x="52" y="229"/>
                    </a:lnTo>
                    <a:lnTo>
                      <a:pt x="52" y="231"/>
                    </a:lnTo>
                    <a:lnTo>
                      <a:pt x="52" y="236"/>
                    </a:lnTo>
                    <a:lnTo>
                      <a:pt x="54" y="238"/>
                    </a:lnTo>
                    <a:lnTo>
                      <a:pt x="55" y="238"/>
                    </a:lnTo>
                    <a:lnTo>
                      <a:pt x="55" y="236"/>
                    </a:lnTo>
                    <a:lnTo>
                      <a:pt x="56" y="238"/>
                    </a:lnTo>
                    <a:lnTo>
                      <a:pt x="57" y="237"/>
                    </a:lnTo>
                    <a:lnTo>
                      <a:pt x="57" y="238"/>
                    </a:lnTo>
                    <a:lnTo>
                      <a:pt x="58" y="238"/>
                    </a:lnTo>
                    <a:lnTo>
                      <a:pt x="57" y="238"/>
                    </a:lnTo>
                    <a:lnTo>
                      <a:pt x="59" y="240"/>
                    </a:lnTo>
                    <a:lnTo>
                      <a:pt x="60" y="241"/>
                    </a:lnTo>
                    <a:lnTo>
                      <a:pt x="61" y="240"/>
                    </a:lnTo>
                    <a:lnTo>
                      <a:pt x="61" y="238"/>
                    </a:lnTo>
                    <a:lnTo>
                      <a:pt x="63" y="236"/>
                    </a:lnTo>
                    <a:lnTo>
                      <a:pt x="63" y="237"/>
                    </a:lnTo>
                    <a:lnTo>
                      <a:pt x="65" y="238"/>
                    </a:lnTo>
                    <a:lnTo>
                      <a:pt x="66" y="238"/>
                    </a:lnTo>
                    <a:lnTo>
                      <a:pt x="66" y="235"/>
                    </a:lnTo>
                    <a:lnTo>
                      <a:pt x="68" y="236"/>
                    </a:lnTo>
                    <a:lnTo>
                      <a:pt x="69" y="238"/>
                    </a:lnTo>
                    <a:lnTo>
                      <a:pt x="71" y="238"/>
                    </a:lnTo>
                    <a:lnTo>
                      <a:pt x="71" y="236"/>
                    </a:lnTo>
                    <a:lnTo>
                      <a:pt x="75" y="237"/>
                    </a:lnTo>
                    <a:lnTo>
                      <a:pt x="78" y="237"/>
                    </a:lnTo>
                    <a:lnTo>
                      <a:pt x="78" y="236"/>
                    </a:lnTo>
                    <a:lnTo>
                      <a:pt x="82" y="240"/>
                    </a:lnTo>
                    <a:lnTo>
                      <a:pt x="82" y="239"/>
                    </a:lnTo>
                    <a:lnTo>
                      <a:pt x="82" y="235"/>
                    </a:lnTo>
                    <a:lnTo>
                      <a:pt x="84" y="234"/>
                    </a:lnTo>
                    <a:lnTo>
                      <a:pt x="84" y="233"/>
                    </a:lnTo>
                    <a:lnTo>
                      <a:pt x="88" y="234"/>
                    </a:lnTo>
                    <a:lnTo>
                      <a:pt x="89" y="232"/>
                    </a:lnTo>
                    <a:lnTo>
                      <a:pt x="90" y="233"/>
                    </a:lnTo>
                    <a:lnTo>
                      <a:pt x="93" y="225"/>
                    </a:lnTo>
                    <a:lnTo>
                      <a:pt x="93" y="224"/>
                    </a:lnTo>
                    <a:lnTo>
                      <a:pt x="100" y="226"/>
                    </a:lnTo>
                    <a:lnTo>
                      <a:pt x="101" y="225"/>
                    </a:lnTo>
                    <a:lnTo>
                      <a:pt x="102" y="221"/>
                    </a:lnTo>
                    <a:lnTo>
                      <a:pt x="101" y="212"/>
                    </a:lnTo>
                    <a:lnTo>
                      <a:pt x="101" y="207"/>
                    </a:lnTo>
                    <a:lnTo>
                      <a:pt x="115" y="212"/>
                    </a:lnTo>
                    <a:lnTo>
                      <a:pt x="121" y="218"/>
                    </a:lnTo>
                    <a:lnTo>
                      <a:pt x="128" y="213"/>
                    </a:lnTo>
                    <a:lnTo>
                      <a:pt x="129" y="213"/>
                    </a:lnTo>
                    <a:lnTo>
                      <a:pt x="130" y="212"/>
                    </a:lnTo>
                    <a:lnTo>
                      <a:pt x="131" y="211"/>
                    </a:lnTo>
                    <a:lnTo>
                      <a:pt x="130" y="209"/>
                    </a:lnTo>
                    <a:lnTo>
                      <a:pt x="128" y="207"/>
                    </a:lnTo>
                    <a:lnTo>
                      <a:pt x="129" y="205"/>
                    </a:lnTo>
                    <a:lnTo>
                      <a:pt x="128" y="204"/>
                    </a:lnTo>
                    <a:lnTo>
                      <a:pt x="133" y="203"/>
                    </a:lnTo>
                    <a:lnTo>
                      <a:pt x="133" y="202"/>
                    </a:lnTo>
                    <a:lnTo>
                      <a:pt x="136" y="201"/>
                    </a:lnTo>
                    <a:lnTo>
                      <a:pt x="138" y="201"/>
                    </a:lnTo>
                    <a:lnTo>
                      <a:pt x="139" y="201"/>
                    </a:lnTo>
                    <a:lnTo>
                      <a:pt x="140" y="200"/>
                    </a:lnTo>
                    <a:lnTo>
                      <a:pt x="140" y="202"/>
                    </a:lnTo>
                    <a:lnTo>
                      <a:pt x="143" y="200"/>
                    </a:lnTo>
                    <a:lnTo>
                      <a:pt x="145" y="199"/>
                    </a:lnTo>
                    <a:lnTo>
                      <a:pt x="144" y="195"/>
                    </a:lnTo>
                    <a:lnTo>
                      <a:pt x="145" y="195"/>
                    </a:lnTo>
                    <a:lnTo>
                      <a:pt x="144" y="191"/>
                    </a:lnTo>
                    <a:lnTo>
                      <a:pt x="142" y="191"/>
                    </a:lnTo>
                    <a:lnTo>
                      <a:pt x="145" y="191"/>
                    </a:lnTo>
                    <a:lnTo>
                      <a:pt x="145" y="190"/>
                    </a:lnTo>
                    <a:lnTo>
                      <a:pt x="147" y="191"/>
                    </a:lnTo>
                    <a:lnTo>
                      <a:pt x="147" y="190"/>
                    </a:lnTo>
                    <a:lnTo>
                      <a:pt x="148" y="190"/>
                    </a:lnTo>
                    <a:lnTo>
                      <a:pt x="148" y="191"/>
                    </a:lnTo>
                    <a:lnTo>
                      <a:pt x="147" y="185"/>
                    </a:lnTo>
                    <a:lnTo>
                      <a:pt x="148" y="184"/>
                    </a:lnTo>
                    <a:lnTo>
                      <a:pt x="153" y="185"/>
                    </a:lnTo>
                    <a:lnTo>
                      <a:pt x="153" y="186"/>
                    </a:lnTo>
                    <a:lnTo>
                      <a:pt x="153" y="189"/>
                    </a:lnTo>
                    <a:lnTo>
                      <a:pt x="152" y="189"/>
                    </a:lnTo>
                    <a:lnTo>
                      <a:pt x="153" y="191"/>
                    </a:lnTo>
                    <a:lnTo>
                      <a:pt x="154" y="191"/>
                    </a:lnTo>
                    <a:lnTo>
                      <a:pt x="155" y="192"/>
                    </a:lnTo>
                    <a:lnTo>
                      <a:pt x="155" y="191"/>
                    </a:lnTo>
                    <a:lnTo>
                      <a:pt x="157" y="191"/>
                    </a:lnTo>
                    <a:lnTo>
                      <a:pt x="158" y="195"/>
                    </a:lnTo>
                    <a:lnTo>
                      <a:pt x="156" y="195"/>
                    </a:lnTo>
                    <a:lnTo>
                      <a:pt x="158" y="196"/>
                    </a:lnTo>
                    <a:lnTo>
                      <a:pt x="158" y="197"/>
                    </a:lnTo>
                    <a:lnTo>
                      <a:pt x="161" y="197"/>
                    </a:lnTo>
                    <a:lnTo>
                      <a:pt x="162" y="199"/>
                    </a:lnTo>
                    <a:lnTo>
                      <a:pt x="162" y="196"/>
                    </a:lnTo>
                    <a:lnTo>
                      <a:pt x="164" y="196"/>
                    </a:lnTo>
                    <a:lnTo>
                      <a:pt x="164" y="194"/>
                    </a:lnTo>
                    <a:lnTo>
                      <a:pt x="165" y="193"/>
                    </a:lnTo>
                    <a:lnTo>
                      <a:pt x="166" y="194"/>
                    </a:lnTo>
                    <a:lnTo>
                      <a:pt x="165" y="194"/>
                    </a:lnTo>
                    <a:lnTo>
                      <a:pt x="165" y="195"/>
                    </a:lnTo>
                    <a:lnTo>
                      <a:pt x="167" y="195"/>
                    </a:lnTo>
                    <a:lnTo>
                      <a:pt x="167" y="196"/>
                    </a:lnTo>
                    <a:lnTo>
                      <a:pt x="169" y="196"/>
                    </a:lnTo>
                    <a:lnTo>
                      <a:pt x="170" y="196"/>
                    </a:lnTo>
                    <a:lnTo>
                      <a:pt x="173" y="195"/>
                    </a:lnTo>
                    <a:lnTo>
                      <a:pt x="173" y="196"/>
                    </a:lnTo>
                    <a:lnTo>
                      <a:pt x="172" y="197"/>
                    </a:lnTo>
                    <a:lnTo>
                      <a:pt x="173" y="198"/>
                    </a:lnTo>
                    <a:lnTo>
                      <a:pt x="175" y="204"/>
                    </a:lnTo>
                    <a:lnTo>
                      <a:pt x="176" y="204"/>
                    </a:lnTo>
                    <a:lnTo>
                      <a:pt x="178" y="205"/>
                    </a:lnTo>
                    <a:lnTo>
                      <a:pt x="178" y="208"/>
                    </a:lnTo>
                    <a:lnTo>
                      <a:pt x="178" y="207"/>
                    </a:lnTo>
                    <a:lnTo>
                      <a:pt x="180" y="207"/>
                    </a:lnTo>
                    <a:lnTo>
                      <a:pt x="180" y="208"/>
                    </a:lnTo>
                    <a:lnTo>
                      <a:pt x="179" y="210"/>
                    </a:lnTo>
                    <a:lnTo>
                      <a:pt x="180" y="212"/>
                    </a:lnTo>
                    <a:lnTo>
                      <a:pt x="180" y="214"/>
                    </a:lnTo>
                    <a:lnTo>
                      <a:pt x="181" y="212"/>
                    </a:lnTo>
                    <a:lnTo>
                      <a:pt x="182" y="213"/>
                    </a:lnTo>
                    <a:lnTo>
                      <a:pt x="184" y="212"/>
                    </a:lnTo>
                    <a:lnTo>
                      <a:pt x="186" y="212"/>
                    </a:lnTo>
                    <a:lnTo>
                      <a:pt x="187" y="216"/>
                    </a:lnTo>
                    <a:lnTo>
                      <a:pt x="189" y="217"/>
                    </a:lnTo>
                    <a:lnTo>
                      <a:pt x="188" y="218"/>
                    </a:lnTo>
                    <a:lnTo>
                      <a:pt x="190" y="218"/>
                    </a:lnTo>
                    <a:lnTo>
                      <a:pt x="193" y="221"/>
                    </a:lnTo>
                    <a:lnTo>
                      <a:pt x="192" y="223"/>
                    </a:lnTo>
                    <a:lnTo>
                      <a:pt x="192" y="224"/>
                    </a:lnTo>
                    <a:lnTo>
                      <a:pt x="193" y="223"/>
                    </a:lnTo>
                    <a:lnTo>
                      <a:pt x="193" y="225"/>
                    </a:lnTo>
                    <a:lnTo>
                      <a:pt x="193" y="231"/>
                    </a:lnTo>
                    <a:lnTo>
                      <a:pt x="194" y="231"/>
                    </a:lnTo>
                    <a:lnTo>
                      <a:pt x="194" y="232"/>
                    </a:lnTo>
                    <a:lnTo>
                      <a:pt x="197" y="232"/>
                    </a:lnTo>
                    <a:lnTo>
                      <a:pt x="197" y="233"/>
                    </a:lnTo>
                    <a:lnTo>
                      <a:pt x="198" y="233"/>
                    </a:lnTo>
                    <a:lnTo>
                      <a:pt x="198" y="234"/>
                    </a:lnTo>
                    <a:lnTo>
                      <a:pt x="200" y="233"/>
                    </a:lnTo>
                    <a:lnTo>
                      <a:pt x="202" y="234"/>
                    </a:lnTo>
                    <a:lnTo>
                      <a:pt x="204" y="236"/>
                    </a:lnTo>
                    <a:lnTo>
                      <a:pt x="203" y="236"/>
                    </a:lnTo>
                    <a:lnTo>
                      <a:pt x="204" y="236"/>
                    </a:lnTo>
                    <a:lnTo>
                      <a:pt x="204" y="238"/>
                    </a:lnTo>
                    <a:lnTo>
                      <a:pt x="205" y="238"/>
                    </a:lnTo>
                    <a:lnTo>
                      <a:pt x="205" y="239"/>
                    </a:lnTo>
                    <a:lnTo>
                      <a:pt x="205" y="241"/>
                    </a:lnTo>
                    <a:lnTo>
                      <a:pt x="207" y="242"/>
                    </a:lnTo>
                    <a:lnTo>
                      <a:pt x="208" y="241"/>
                    </a:lnTo>
                    <a:lnTo>
                      <a:pt x="212" y="244"/>
                    </a:lnTo>
                    <a:lnTo>
                      <a:pt x="213" y="246"/>
                    </a:lnTo>
                    <a:lnTo>
                      <a:pt x="215" y="248"/>
                    </a:lnTo>
                    <a:lnTo>
                      <a:pt x="218" y="249"/>
                    </a:lnTo>
                    <a:lnTo>
                      <a:pt x="221" y="251"/>
                    </a:lnTo>
                    <a:lnTo>
                      <a:pt x="224" y="255"/>
                    </a:lnTo>
                    <a:lnTo>
                      <a:pt x="226" y="254"/>
                    </a:lnTo>
                    <a:lnTo>
                      <a:pt x="227" y="254"/>
                    </a:lnTo>
                    <a:lnTo>
                      <a:pt x="229" y="254"/>
                    </a:lnTo>
                    <a:lnTo>
                      <a:pt x="229" y="253"/>
                    </a:lnTo>
                    <a:lnTo>
                      <a:pt x="230" y="250"/>
                    </a:lnTo>
                    <a:lnTo>
                      <a:pt x="229" y="249"/>
                    </a:lnTo>
                    <a:lnTo>
                      <a:pt x="231" y="249"/>
                    </a:lnTo>
                    <a:lnTo>
                      <a:pt x="231" y="247"/>
                    </a:lnTo>
                    <a:lnTo>
                      <a:pt x="234" y="246"/>
                    </a:lnTo>
                    <a:lnTo>
                      <a:pt x="235" y="244"/>
                    </a:lnTo>
                    <a:lnTo>
                      <a:pt x="236" y="243"/>
                    </a:lnTo>
                    <a:lnTo>
                      <a:pt x="237" y="243"/>
                    </a:lnTo>
                    <a:lnTo>
                      <a:pt x="238" y="242"/>
                    </a:lnTo>
                    <a:lnTo>
                      <a:pt x="239" y="244"/>
                    </a:lnTo>
                    <a:lnTo>
                      <a:pt x="240" y="243"/>
                    </a:lnTo>
                    <a:lnTo>
                      <a:pt x="242" y="243"/>
                    </a:lnTo>
                    <a:lnTo>
                      <a:pt x="243" y="244"/>
                    </a:lnTo>
                    <a:lnTo>
                      <a:pt x="246" y="246"/>
                    </a:lnTo>
                    <a:lnTo>
                      <a:pt x="246" y="248"/>
                    </a:lnTo>
                    <a:lnTo>
                      <a:pt x="249" y="249"/>
                    </a:lnTo>
                    <a:lnTo>
                      <a:pt x="250" y="250"/>
                    </a:lnTo>
                    <a:lnTo>
                      <a:pt x="251" y="248"/>
                    </a:lnTo>
                    <a:lnTo>
                      <a:pt x="252" y="250"/>
                    </a:lnTo>
                    <a:lnTo>
                      <a:pt x="253" y="250"/>
                    </a:lnTo>
                    <a:lnTo>
                      <a:pt x="253" y="249"/>
                    </a:lnTo>
                    <a:lnTo>
                      <a:pt x="256" y="250"/>
                    </a:lnTo>
                    <a:lnTo>
                      <a:pt x="256" y="252"/>
                    </a:lnTo>
                    <a:lnTo>
                      <a:pt x="257" y="255"/>
                    </a:lnTo>
                    <a:lnTo>
                      <a:pt x="258" y="255"/>
                    </a:lnTo>
                    <a:lnTo>
                      <a:pt x="260" y="256"/>
                    </a:lnTo>
                    <a:lnTo>
                      <a:pt x="261" y="258"/>
                    </a:lnTo>
                    <a:lnTo>
                      <a:pt x="263" y="260"/>
                    </a:lnTo>
                    <a:lnTo>
                      <a:pt x="264" y="255"/>
                    </a:lnTo>
                    <a:lnTo>
                      <a:pt x="266" y="254"/>
                    </a:lnTo>
                    <a:lnTo>
                      <a:pt x="268" y="255"/>
                    </a:lnTo>
                    <a:lnTo>
                      <a:pt x="267" y="256"/>
                    </a:lnTo>
                    <a:lnTo>
                      <a:pt x="268" y="259"/>
                    </a:lnTo>
                    <a:lnTo>
                      <a:pt x="267" y="259"/>
                    </a:lnTo>
                    <a:lnTo>
                      <a:pt x="268" y="261"/>
                    </a:lnTo>
                    <a:lnTo>
                      <a:pt x="269" y="262"/>
                    </a:lnTo>
                    <a:lnTo>
                      <a:pt x="269" y="263"/>
                    </a:lnTo>
                    <a:lnTo>
                      <a:pt x="266" y="262"/>
                    </a:lnTo>
                    <a:lnTo>
                      <a:pt x="266" y="263"/>
                    </a:lnTo>
                    <a:lnTo>
                      <a:pt x="268" y="263"/>
                    </a:lnTo>
                    <a:lnTo>
                      <a:pt x="268" y="265"/>
                    </a:lnTo>
                    <a:lnTo>
                      <a:pt x="267" y="265"/>
                    </a:lnTo>
                    <a:lnTo>
                      <a:pt x="268" y="265"/>
                    </a:lnTo>
                    <a:lnTo>
                      <a:pt x="268" y="267"/>
                    </a:lnTo>
                    <a:lnTo>
                      <a:pt x="271" y="268"/>
                    </a:lnTo>
                    <a:lnTo>
                      <a:pt x="273" y="267"/>
                    </a:lnTo>
                    <a:lnTo>
                      <a:pt x="274" y="268"/>
                    </a:lnTo>
                    <a:lnTo>
                      <a:pt x="275" y="266"/>
                    </a:lnTo>
                    <a:lnTo>
                      <a:pt x="277" y="268"/>
                    </a:lnTo>
                    <a:lnTo>
                      <a:pt x="277" y="267"/>
                    </a:lnTo>
                    <a:lnTo>
                      <a:pt x="278" y="268"/>
                    </a:lnTo>
                    <a:lnTo>
                      <a:pt x="278" y="267"/>
                    </a:lnTo>
                    <a:lnTo>
                      <a:pt x="277" y="265"/>
                    </a:lnTo>
                    <a:lnTo>
                      <a:pt x="278" y="264"/>
                    </a:lnTo>
                    <a:lnTo>
                      <a:pt x="279" y="263"/>
                    </a:lnTo>
                    <a:lnTo>
                      <a:pt x="280" y="266"/>
                    </a:lnTo>
                    <a:lnTo>
                      <a:pt x="282" y="266"/>
                    </a:lnTo>
                    <a:lnTo>
                      <a:pt x="282" y="265"/>
                    </a:lnTo>
                    <a:lnTo>
                      <a:pt x="284" y="263"/>
                    </a:lnTo>
                    <a:lnTo>
                      <a:pt x="283" y="262"/>
                    </a:lnTo>
                    <a:lnTo>
                      <a:pt x="285" y="262"/>
                    </a:lnTo>
                    <a:lnTo>
                      <a:pt x="286" y="260"/>
                    </a:lnTo>
                    <a:lnTo>
                      <a:pt x="283" y="258"/>
                    </a:lnTo>
                    <a:lnTo>
                      <a:pt x="283" y="254"/>
                    </a:lnTo>
                    <a:lnTo>
                      <a:pt x="282" y="252"/>
                    </a:lnTo>
                    <a:lnTo>
                      <a:pt x="283" y="249"/>
                    </a:lnTo>
                    <a:lnTo>
                      <a:pt x="287" y="249"/>
                    </a:lnTo>
                    <a:lnTo>
                      <a:pt x="290" y="249"/>
                    </a:lnTo>
                    <a:lnTo>
                      <a:pt x="291" y="244"/>
                    </a:lnTo>
                    <a:lnTo>
                      <a:pt x="293" y="246"/>
                    </a:lnTo>
                    <a:lnTo>
                      <a:pt x="294" y="246"/>
                    </a:lnTo>
                    <a:lnTo>
                      <a:pt x="295" y="244"/>
                    </a:lnTo>
                    <a:lnTo>
                      <a:pt x="294" y="242"/>
                    </a:lnTo>
                    <a:lnTo>
                      <a:pt x="295" y="241"/>
                    </a:lnTo>
                    <a:lnTo>
                      <a:pt x="294" y="241"/>
                    </a:lnTo>
                    <a:lnTo>
                      <a:pt x="294" y="239"/>
                    </a:lnTo>
                    <a:lnTo>
                      <a:pt x="299" y="242"/>
                    </a:lnTo>
                    <a:lnTo>
                      <a:pt x="300" y="243"/>
                    </a:lnTo>
                    <a:lnTo>
                      <a:pt x="300" y="244"/>
                    </a:lnTo>
                    <a:lnTo>
                      <a:pt x="299" y="244"/>
                    </a:lnTo>
                    <a:lnTo>
                      <a:pt x="298" y="246"/>
                    </a:lnTo>
                    <a:lnTo>
                      <a:pt x="302" y="252"/>
                    </a:lnTo>
                    <a:lnTo>
                      <a:pt x="302" y="254"/>
                    </a:lnTo>
                    <a:lnTo>
                      <a:pt x="305" y="254"/>
                    </a:lnTo>
                    <a:lnTo>
                      <a:pt x="305" y="255"/>
                    </a:lnTo>
                    <a:lnTo>
                      <a:pt x="307" y="255"/>
                    </a:lnTo>
                    <a:lnTo>
                      <a:pt x="308" y="257"/>
                    </a:lnTo>
                    <a:lnTo>
                      <a:pt x="311" y="257"/>
                    </a:lnTo>
                    <a:lnTo>
                      <a:pt x="311" y="253"/>
                    </a:lnTo>
                    <a:lnTo>
                      <a:pt x="312" y="254"/>
                    </a:lnTo>
                    <a:lnTo>
                      <a:pt x="314" y="253"/>
                    </a:lnTo>
                    <a:lnTo>
                      <a:pt x="315" y="253"/>
                    </a:lnTo>
                    <a:lnTo>
                      <a:pt x="317" y="252"/>
                    </a:lnTo>
                    <a:lnTo>
                      <a:pt x="318" y="252"/>
                    </a:lnTo>
                    <a:lnTo>
                      <a:pt x="318" y="253"/>
                    </a:lnTo>
                    <a:lnTo>
                      <a:pt x="319" y="253"/>
                    </a:lnTo>
                    <a:lnTo>
                      <a:pt x="319" y="254"/>
                    </a:lnTo>
                    <a:lnTo>
                      <a:pt x="320" y="255"/>
                    </a:lnTo>
                    <a:lnTo>
                      <a:pt x="320" y="254"/>
                    </a:lnTo>
                    <a:lnTo>
                      <a:pt x="321" y="254"/>
                    </a:lnTo>
                    <a:lnTo>
                      <a:pt x="321" y="258"/>
                    </a:lnTo>
                    <a:lnTo>
                      <a:pt x="322" y="258"/>
                    </a:lnTo>
                    <a:lnTo>
                      <a:pt x="322" y="257"/>
                    </a:lnTo>
                    <a:lnTo>
                      <a:pt x="323" y="255"/>
                    </a:lnTo>
                    <a:lnTo>
                      <a:pt x="323" y="258"/>
                    </a:lnTo>
                    <a:lnTo>
                      <a:pt x="324" y="257"/>
                    </a:lnTo>
                    <a:lnTo>
                      <a:pt x="326" y="256"/>
                    </a:lnTo>
                    <a:lnTo>
                      <a:pt x="335" y="256"/>
                    </a:lnTo>
                    <a:lnTo>
                      <a:pt x="335" y="255"/>
                    </a:lnTo>
                    <a:lnTo>
                      <a:pt x="334" y="252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87" name="Group 128">
              <a:extLst>
                <a:ext uri="{FF2B5EF4-FFF2-40B4-BE49-F238E27FC236}">
                  <a16:creationId xmlns:a16="http://schemas.microsoft.com/office/drawing/2014/main" id="{BFA35163-96AF-47C4-BD6A-F75EA272B52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1" y="2910"/>
              <a:ext cx="569" cy="509"/>
              <a:chOff x="791" y="2910"/>
              <a:chExt cx="569" cy="509"/>
            </a:xfrm>
          </p:grpSpPr>
          <p:sp>
            <p:nvSpPr>
              <p:cNvPr id="485" name="Freeform 126">
                <a:extLst>
                  <a:ext uri="{FF2B5EF4-FFF2-40B4-BE49-F238E27FC236}">
                    <a16:creationId xmlns:a16="http://schemas.microsoft.com/office/drawing/2014/main" id="{3D964F6A-22FD-44B6-B939-64023E3F87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" y="2910"/>
                <a:ext cx="569" cy="509"/>
              </a:xfrm>
              <a:custGeom>
                <a:avLst/>
                <a:gdLst>
                  <a:gd name="T0" fmla="*/ 128 w 569"/>
                  <a:gd name="T1" fmla="*/ 470 h 509"/>
                  <a:gd name="T2" fmla="*/ 100 w 569"/>
                  <a:gd name="T3" fmla="*/ 473 h 509"/>
                  <a:gd name="T4" fmla="*/ 79 w 569"/>
                  <a:gd name="T5" fmla="*/ 467 h 509"/>
                  <a:gd name="T6" fmla="*/ 69 w 569"/>
                  <a:gd name="T7" fmla="*/ 420 h 509"/>
                  <a:gd name="T8" fmla="*/ 60 w 569"/>
                  <a:gd name="T9" fmla="*/ 397 h 509"/>
                  <a:gd name="T10" fmla="*/ 56 w 569"/>
                  <a:gd name="T11" fmla="*/ 386 h 509"/>
                  <a:gd name="T12" fmla="*/ 81 w 569"/>
                  <a:gd name="T13" fmla="*/ 368 h 509"/>
                  <a:gd name="T14" fmla="*/ 91 w 569"/>
                  <a:gd name="T15" fmla="*/ 338 h 509"/>
                  <a:gd name="T16" fmla="*/ 106 w 569"/>
                  <a:gd name="T17" fmla="*/ 306 h 509"/>
                  <a:gd name="T18" fmla="*/ 89 w 569"/>
                  <a:gd name="T19" fmla="*/ 267 h 509"/>
                  <a:gd name="T20" fmla="*/ 60 w 569"/>
                  <a:gd name="T21" fmla="*/ 236 h 509"/>
                  <a:gd name="T22" fmla="*/ 33 w 569"/>
                  <a:gd name="T23" fmla="*/ 210 h 509"/>
                  <a:gd name="T24" fmla="*/ 6 w 569"/>
                  <a:gd name="T25" fmla="*/ 198 h 509"/>
                  <a:gd name="T26" fmla="*/ 25 w 569"/>
                  <a:gd name="T27" fmla="*/ 175 h 509"/>
                  <a:gd name="T28" fmla="*/ 41 w 569"/>
                  <a:gd name="T29" fmla="*/ 146 h 509"/>
                  <a:gd name="T30" fmla="*/ 85 w 569"/>
                  <a:gd name="T31" fmla="*/ 126 h 509"/>
                  <a:gd name="T32" fmla="*/ 128 w 569"/>
                  <a:gd name="T33" fmla="*/ 122 h 509"/>
                  <a:gd name="T34" fmla="*/ 164 w 569"/>
                  <a:gd name="T35" fmla="*/ 107 h 509"/>
                  <a:gd name="T36" fmla="*/ 188 w 569"/>
                  <a:gd name="T37" fmla="*/ 92 h 509"/>
                  <a:gd name="T38" fmla="*/ 237 w 569"/>
                  <a:gd name="T39" fmla="*/ 103 h 509"/>
                  <a:gd name="T40" fmla="*/ 273 w 569"/>
                  <a:gd name="T41" fmla="*/ 101 h 509"/>
                  <a:gd name="T42" fmla="*/ 282 w 569"/>
                  <a:gd name="T43" fmla="*/ 78 h 509"/>
                  <a:gd name="T44" fmla="*/ 295 w 569"/>
                  <a:gd name="T45" fmla="*/ 68 h 509"/>
                  <a:gd name="T46" fmla="*/ 321 w 569"/>
                  <a:gd name="T47" fmla="*/ 39 h 509"/>
                  <a:gd name="T48" fmla="*/ 343 w 569"/>
                  <a:gd name="T49" fmla="*/ 44 h 509"/>
                  <a:gd name="T50" fmla="*/ 368 w 569"/>
                  <a:gd name="T51" fmla="*/ 52 h 509"/>
                  <a:gd name="T52" fmla="*/ 423 w 569"/>
                  <a:gd name="T53" fmla="*/ 18 h 509"/>
                  <a:gd name="T54" fmla="*/ 446 w 569"/>
                  <a:gd name="T55" fmla="*/ 7 h 509"/>
                  <a:gd name="T56" fmla="*/ 468 w 569"/>
                  <a:gd name="T57" fmla="*/ 20 h 509"/>
                  <a:gd name="T58" fmla="*/ 488 w 569"/>
                  <a:gd name="T59" fmla="*/ 49 h 509"/>
                  <a:gd name="T60" fmla="*/ 491 w 569"/>
                  <a:gd name="T61" fmla="*/ 77 h 509"/>
                  <a:gd name="T62" fmla="*/ 489 w 569"/>
                  <a:gd name="T63" fmla="*/ 109 h 509"/>
                  <a:gd name="T64" fmla="*/ 483 w 569"/>
                  <a:gd name="T65" fmla="*/ 137 h 509"/>
                  <a:gd name="T66" fmla="*/ 499 w 569"/>
                  <a:gd name="T67" fmla="*/ 161 h 509"/>
                  <a:gd name="T68" fmla="*/ 528 w 569"/>
                  <a:gd name="T69" fmla="*/ 171 h 509"/>
                  <a:gd name="T70" fmla="*/ 541 w 569"/>
                  <a:gd name="T71" fmla="*/ 189 h 509"/>
                  <a:gd name="T72" fmla="*/ 539 w 569"/>
                  <a:gd name="T73" fmla="*/ 225 h 509"/>
                  <a:gd name="T74" fmla="*/ 552 w 569"/>
                  <a:gd name="T75" fmla="*/ 249 h 509"/>
                  <a:gd name="T76" fmla="*/ 542 w 569"/>
                  <a:gd name="T77" fmla="*/ 279 h 509"/>
                  <a:gd name="T78" fmla="*/ 530 w 569"/>
                  <a:gd name="T79" fmla="*/ 288 h 509"/>
                  <a:gd name="T80" fmla="*/ 548 w 569"/>
                  <a:gd name="T81" fmla="*/ 306 h 509"/>
                  <a:gd name="T82" fmla="*/ 567 w 569"/>
                  <a:gd name="T83" fmla="*/ 330 h 509"/>
                  <a:gd name="T84" fmla="*/ 557 w 569"/>
                  <a:gd name="T85" fmla="*/ 360 h 509"/>
                  <a:gd name="T86" fmla="*/ 544 w 569"/>
                  <a:gd name="T87" fmla="*/ 384 h 509"/>
                  <a:gd name="T88" fmla="*/ 524 w 569"/>
                  <a:gd name="T89" fmla="*/ 401 h 509"/>
                  <a:gd name="T90" fmla="*/ 495 w 569"/>
                  <a:gd name="T91" fmla="*/ 412 h 509"/>
                  <a:gd name="T92" fmla="*/ 475 w 569"/>
                  <a:gd name="T93" fmla="*/ 420 h 509"/>
                  <a:gd name="T94" fmla="*/ 469 w 569"/>
                  <a:gd name="T95" fmla="*/ 456 h 509"/>
                  <a:gd name="T96" fmla="*/ 457 w 569"/>
                  <a:gd name="T97" fmla="*/ 480 h 509"/>
                  <a:gd name="T98" fmla="*/ 438 w 569"/>
                  <a:gd name="T99" fmla="*/ 480 h 509"/>
                  <a:gd name="T100" fmla="*/ 411 w 569"/>
                  <a:gd name="T101" fmla="*/ 478 h 509"/>
                  <a:gd name="T102" fmla="*/ 386 w 569"/>
                  <a:gd name="T103" fmla="*/ 495 h 509"/>
                  <a:gd name="T104" fmla="*/ 372 w 569"/>
                  <a:gd name="T105" fmla="*/ 480 h 509"/>
                  <a:gd name="T106" fmla="*/ 340 w 569"/>
                  <a:gd name="T107" fmla="*/ 465 h 509"/>
                  <a:gd name="T108" fmla="*/ 330 w 569"/>
                  <a:gd name="T109" fmla="*/ 486 h 509"/>
                  <a:gd name="T110" fmla="*/ 312 w 569"/>
                  <a:gd name="T111" fmla="*/ 499 h 509"/>
                  <a:gd name="T112" fmla="*/ 291 w 569"/>
                  <a:gd name="T113" fmla="*/ 488 h 509"/>
                  <a:gd name="T114" fmla="*/ 269 w 569"/>
                  <a:gd name="T115" fmla="*/ 484 h 509"/>
                  <a:gd name="T116" fmla="*/ 243 w 569"/>
                  <a:gd name="T117" fmla="*/ 476 h 509"/>
                  <a:gd name="T118" fmla="*/ 233 w 569"/>
                  <a:gd name="T119" fmla="*/ 484 h 509"/>
                  <a:gd name="T120" fmla="*/ 216 w 569"/>
                  <a:gd name="T121" fmla="*/ 473 h 509"/>
                  <a:gd name="T122" fmla="*/ 190 w 569"/>
                  <a:gd name="T123" fmla="*/ 474 h 509"/>
                  <a:gd name="T124" fmla="*/ 158 w 569"/>
                  <a:gd name="T125" fmla="*/ 475 h 5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9"/>
                  <a:gd name="T190" fmla="*/ 0 h 509"/>
                  <a:gd name="T191" fmla="*/ 569 w 569"/>
                  <a:gd name="T192" fmla="*/ 509 h 5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9" h="509">
                    <a:moveTo>
                      <a:pt x="144" y="458"/>
                    </a:moveTo>
                    <a:lnTo>
                      <a:pt x="142" y="460"/>
                    </a:lnTo>
                    <a:lnTo>
                      <a:pt x="142" y="459"/>
                    </a:lnTo>
                    <a:lnTo>
                      <a:pt x="139" y="461"/>
                    </a:lnTo>
                    <a:lnTo>
                      <a:pt x="138" y="461"/>
                    </a:lnTo>
                    <a:lnTo>
                      <a:pt x="136" y="460"/>
                    </a:lnTo>
                    <a:lnTo>
                      <a:pt x="135" y="463"/>
                    </a:lnTo>
                    <a:lnTo>
                      <a:pt x="136" y="465"/>
                    </a:lnTo>
                    <a:lnTo>
                      <a:pt x="135" y="467"/>
                    </a:lnTo>
                    <a:lnTo>
                      <a:pt x="135" y="465"/>
                    </a:lnTo>
                    <a:lnTo>
                      <a:pt x="134" y="468"/>
                    </a:lnTo>
                    <a:lnTo>
                      <a:pt x="134" y="469"/>
                    </a:lnTo>
                    <a:lnTo>
                      <a:pt x="134" y="470"/>
                    </a:lnTo>
                    <a:lnTo>
                      <a:pt x="133" y="470"/>
                    </a:lnTo>
                    <a:lnTo>
                      <a:pt x="133" y="471"/>
                    </a:lnTo>
                    <a:lnTo>
                      <a:pt x="132" y="469"/>
                    </a:lnTo>
                    <a:lnTo>
                      <a:pt x="131" y="469"/>
                    </a:lnTo>
                    <a:lnTo>
                      <a:pt x="131" y="471"/>
                    </a:lnTo>
                    <a:lnTo>
                      <a:pt x="132" y="473"/>
                    </a:lnTo>
                    <a:lnTo>
                      <a:pt x="131" y="473"/>
                    </a:lnTo>
                    <a:lnTo>
                      <a:pt x="131" y="475"/>
                    </a:lnTo>
                    <a:lnTo>
                      <a:pt x="130" y="475"/>
                    </a:lnTo>
                    <a:lnTo>
                      <a:pt x="130" y="472"/>
                    </a:lnTo>
                    <a:lnTo>
                      <a:pt x="128" y="472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6" y="473"/>
                    </a:lnTo>
                    <a:lnTo>
                      <a:pt x="125" y="475"/>
                    </a:lnTo>
                    <a:lnTo>
                      <a:pt x="125" y="476"/>
                    </a:lnTo>
                    <a:lnTo>
                      <a:pt x="125" y="477"/>
                    </a:lnTo>
                    <a:lnTo>
                      <a:pt x="121" y="476"/>
                    </a:lnTo>
                    <a:lnTo>
                      <a:pt x="118" y="475"/>
                    </a:lnTo>
                    <a:lnTo>
                      <a:pt x="118" y="473"/>
                    </a:lnTo>
                    <a:lnTo>
                      <a:pt x="117" y="472"/>
                    </a:lnTo>
                    <a:lnTo>
                      <a:pt x="114" y="475"/>
                    </a:lnTo>
                    <a:lnTo>
                      <a:pt x="114" y="478"/>
                    </a:lnTo>
                    <a:lnTo>
                      <a:pt x="113" y="478"/>
                    </a:lnTo>
                    <a:lnTo>
                      <a:pt x="111" y="480"/>
                    </a:lnTo>
                    <a:lnTo>
                      <a:pt x="111" y="478"/>
                    </a:lnTo>
                    <a:lnTo>
                      <a:pt x="107" y="479"/>
                    </a:lnTo>
                    <a:lnTo>
                      <a:pt x="107" y="478"/>
                    </a:lnTo>
                    <a:lnTo>
                      <a:pt x="105" y="478"/>
                    </a:lnTo>
                    <a:lnTo>
                      <a:pt x="105" y="476"/>
                    </a:lnTo>
                    <a:lnTo>
                      <a:pt x="104" y="475"/>
                    </a:lnTo>
                    <a:lnTo>
                      <a:pt x="103" y="476"/>
                    </a:lnTo>
                    <a:lnTo>
                      <a:pt x="100" y="476"/>
                    </a:lnTo>
                    <a:lnTo>
                      <a:pt x="102" y="475"/>
                    </a:lnTo>
                    <a:lnTo>
                      <a:pt x="102" y="473"/>
                    </a:lnTo>
                    <a:lnTo>
                      <a:pt x="104" y="472"/>
                    </a:lnTo>
                    <a:lnTo>
                      <a:pt x="100" y="472"/>
                    </a:lnTo>
                    <a:lnTo>
                      <a:pt x="100" y="473"/>
                    </a:lnTo>
                    <a:lnTo>
                      <a:pt x="98" y="472"/>
                    </a:lnTo>
                    <a:lnTo>
                      <a:pt x="98" y="470"/>
                    </a:lnTo>
                    <a:lnTo>
                      <a:pt x="98" y="468"/>
                    </a:lnTo>
                    <a:lnTo>
                      <a:pt x="95" y="465"/>
                    </a:lnTo>
                    <a:lnTo>
                      <a:pt x="93" y="466"/>
                    </a:lnTo>
                    <a:lnTo>
                      <a:pt x="93" y="467"/>
                    </a:lnTo>
                    <a:lnTo>
                      <a:pt x="94" y="468"/>
                    </a:lnTo>
                    <a:lnTo>
                      <a:pt x="92" y="468"/>
                    </a:lnTo>
                    <a:lnTo>
                      <a:pt x="90" y="471"/>
                    </a:lnTo>
                    <a:lnTo>
                      <a:pt x="89" y="471"/>
                    </a:lnTo>
                    <a:lnTo>
                      <a:pt x="87" y="472"/>
                    </a:lnTo>
                    <a:lnTo>
                      <a:pt x="87" y="471"/>
                    </a:lnTo>
                    <a:lnTo>
                      <a:pt x="87" y="470"/>
                    </a:lnTo>
                    <a:lnTo>
                      <a:pt x="86" y="471"/>
                    </a:lnTo>
                    <a:lnTo>
                      <a:pt x="85" y="471"/>
                    </a:lnTo>
                    <a:lnTo>
                      <a:pt x="85" y="467"/>
                    </a:lnTo>
                    <a:lnTo>
                      <a:pt x="85" y="468"/>
                    </a:lnTo>
                    <a:lnTo>
                      <a:pt x="84" y="467"/>
                    </a:lnTo>
                    <a:lnTo>
                      <a:pt x="84" y="463"/>
                    </a:lnTo>
                    <a:lnTo>
                      <a:pt x="82" y="463"/>
                    </a:lnTo>
                    <a:lnTo>
                      <a:pt x="83" y="464"/>
                    </a:lnTo>
                    <a:lnTo>
                      <a:pt x="81" y="464"/>
                    </a:lnTo>
                    <a:lnTo>
                      <a:pt x="81" y="467"/>
                    </a:lnTo>
                    <a:lnTo>
                      <a:pt x="79" y="467"/>
                    </a:lnTo>
                    <a:lnTo>
                      <a:pt x="79" y="468"/>
                    </a:lnTo>
                    <a:lnTo>
                      <a:pt x="76" y="466"/>
                    </a:lnTo>
                    <a:lnTo>
                      <a:pt x="74" y="465"/>
                    </a:lnTo>
                    <a:lnTo>
                      <a:pt x="72" y="469"/>
                    </a:lnTo>
                    <a:lnTo>
                      <a:pt x="71" y="469"/>
                    </a:lnTo>
                    <a:lnTo>
                      <a:pt x="68" y="468"/>
                    </a:lnTo>
                    <a:lnTo>
                      <a:pt x="67" y="468"/>
                    </a:lnTo>
                    <a:lnTo>
                      <a:pt x="68" y="465"/>
                    </a:lnTo>
                    <a:lnTo>
                      <a:pt x="68" y="464"/>
                    </a:lnTo>
                    <a:lnTo>
                      <a:pt x="69" y="459"/>
                    </a:lnTo>
                    <a:lnTo>
                      <a:pt x="70" y="456"/>
                    </a:lnTo>
                    <a:lnTo>
                      <a:pt x="68" y="455"/>
                    </a:lnTo>
                    <a:lnTo>
                      <a:pt x="69" y="452"/>
                    </a:lnTo>
                    <a:lnTo>
                      <a:pt x="65" y="448"/>
                    </a:lnTo>
                    <a:lnTo>
                      <a:pt x="64" y="448"/>
                    </a:lnTo>
                    <a:lnTo>
                      <a:pt x="61" y="452"/>
                    </a:lnTo>
                    <a:lnTo>
                      <a:pt x="61" y="451"/>
                    </a:lnTo>
                    <a:lnTo>
                      <a:pt x="63" y="450"/>
                    </a:lnTo>
                    <a:lnTo>
                      <a:pt x="64" y="445"/>
                    </a:lnTo>
                    <a:lnTo>
                      <a:pt x="63" y="444"/>
                    </a:lnTo>
                    <a:lnTo>
                      <a:pt x="63" y="443"/>
                    </a:lnTo>
                    <a:lnTo>
                      <a:pt x="65" y="437"/>
                    </a:lnTo>
                    <a:lnTo>
                      <a:pt x="64" y="433"/>
                    </a:lnTo>
                    <a:lnTo>
                      <a:pt x="66" y="431"/>
                    </a:lnTo>
                    <a:lnTo>
                      <a:pt x="68" y="428"/>
                    </a:lnTo>
                    <a:lnTo>
                      <a:pt x="68" y="421"/>
                    </a:lnTo>
                    <a:lnTo>
                      <a:pt x="69" y="420"/>
                    </a:lnTo>
                    <a:lnTo>
                      <a:pt x="70" y="417"/>
                    </a:lnTo>
                    <a:lnTo>
                      <a:pt x="69" y="415"/>
                    </a:lnTo>
                    <a:lnTo>
                      <a:pt x="67" y="416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3" y="411"/>
                    </a:lnTo>
                    <a:lnTo>
                      <a:pt x="61" y="412"/>
                    </a:lnTo>
                    <a:lnTo>
                      <a:pt x="58" y="411"/>
                    </a:lnTo>
                    <a:lnTo>
                      <a:pt x="58" y="409"/>
                    </a:lnTo>
                    <a:lnTo>
                      <a:pt x="60" y="409"/>
                    </a:lnTo>
                    <a:lnTo>
                      <a:pt x="60" y="408"/>
                    </a:lnTo>
                    <a:lnTo>
                      <a:pt x="57" y="407"/>
                    </a:lnTo>
                    <a:lnTo>
                      <a:pt x="57" y="406"/>
                    </a:lnTo>
                    <a:lnTo>
                      <a:pt x="55" y="406"/>
                    </a:lnTo>
                    <a:lnTo>
                      <a:pt x="53" y="405"/>
                    </a:lnTo>
                    <a:lnTo>
                      <a:pt x="52" y="405"/>
                    </a:lnTo>
                    <a:lnTo>
                      <a:pt x="52" y="402"/>
                    </a:lnTo>
                    <a:lnTo>
                      <a:pt x="50" y="401"/>
                    </a:lnTo>
                    <a:lnTo>
                      <a:pt x="53" y="402"/>
                    </a:lnTo>
                    <a:lnTo>
                      <a:pt x="56" y="405"/>
                    </a:lnTo>
                    <a:lnTo>
                      <a:pt x="59" y="405"/>
                    </a:lnTo>
                    <a:lnTo>
                      <a:pt x="60" y="404"/>
                    </a:lnTo>
                    <a:lnTo>
                      <a:pt x="61" y="404"/>
                    </a:lnTo>
                    <a:lnTo>
                      <a:pt x="63" y="403"/>
                    </a:lnTo>
                    <a:lnTo>
                      <a:pt x="61" y="403"/>
                    </a:lnTo>
                    <a:lnTo>
                      <a:pt x="60" y="397"/>
                    </a:lnTo>
                    <a:lnTo>
                      <a:pt x="56" y="396"/>
                    </a:lnTo>
                    <a:lnTo>
                      <a:pt x="55" y="394"/>
                    </a:lnTo>
                    <a:lnTo>
                      <a:pt x="56" y="392"/>
                    </a:lnTo>
                    <a:lnTo>
                      <a:pt x="55" y="391"/>
                    </a:lnTo>
                    <a:lnTo>
                      <a:pt x="56" y="390"/>
                    </a:lnTo>
                    <a:lnTo>
                      <a:pt x="57" y="391"/>
                    </a:lnTo>
                    <a:lnTo>
                      <a:pt x="57" y="392"/>
                    </a:lnTo>
                    <a:lnTo>
                      <a:pt x="58" y="391"/>
                    </a:lnTo>
                    <a:lnTo>
                      <a:pt x="59" y="391"/>
                    </a:lnTo>
                    <a:lnTo>
                      <a:pt x="60" y="391"/>
                    </a:lnTo>
                    <a:lnTo>
                      <a:pt x="63" y="390"/>
                    </a:lnTo>
                    <a:lnTo>
                      <a:pt x="64" y="391"/>
                    </a:lnTo>
                    <a:lnTo>
                      <a:pt x="67" y="388"/>
                    </a:lnTo>
                    <a:lnTo>
                      <a:pt x="65" y="388"/>
                    </a:lnTo>
                    <a:lnTo>
                      <a:pt x="65" y="386"/>
                    </a:lnTo>
                    <a:lnTo>
                      <a:pt x="63" y="386"/>
                    </a:lnTo>
                    <a:lnTo>
                      <a:pt x="62" y="385"/>
                    </a:lnTo>
                    <a:lnTo>
                      <a:pt x="60" y="386"/>
                    </a:lnTo>
                    <a:lnTo>
                      <a:pt x="61" y="384"/>
                    </a:lnTo>
                    <a:lnTo>
                      <a:pt x="60" y="384"/>
                    </a:lnTo>
                    <a:lnTo>
                      <a:pt x="58" y="385"/>
                    </a:lnTo>
                    <a:lnTo>
                      <a:pt x="58" y="384"/>
                    </a:lnTo>
                    <a:lnTo>
                      <a:pt x="57" y="384"/>
                    </a:lnTo>
                    <a:lnTo>
                      <a:pt x="56" y="386"/>
                    </a:lnTo>
                    <a:lnTo>
                      <a:pt x="55" y="386"/>
                    </a:lnTo>
                    <a:lnTo>
                      <a:pt x="55" y="388"/>
                    </a:lnTo>
                    <a:lnTo>
                      <a:pt x="53" y="387"/>
                    </a:lnTo>
                    <a:lnTo>
                      <a:pt x="52" y="383"/>
                    </a:lnTo>
                    <a:lnTo>
                      <a:pt x="53" y="384"/>
                    </a:lnTo>
                    <a:lnTo>
                      <a:pt x="53" y="383"/>
                    </a:lnTo>
                    <a:lnTo>
                      <a:pt x="52" y="382"/>
                    </a:lnTo>
                    <a:lnTo>
                      <a:pt x="54" y="380"/>
                    </a:lnTo>
                    <a:lnTo>
                      <a:pt x="53" y="378"/>
                    </a:lnTo>
                    <a:lnTo>
                      <a:pt x="54" y="376"/>
                    </a:lnTo>
                    <a:lnTo>
                      <a:pt x="58" y="374"/>
                    </a:lnTo>
                    <a:lnTo>
                      <a:pt x="61" y="368"/>
                    </a:lnTo>
                    <a:lnTo>
                      <a:pt x="71" y="365"/>
                    </a:lnTo>
                    <a:lnTo>
                      <a:pt x="73" y="364"/>
                    </a:lnTo>
                    <a:lnTo>
                      <a:pt x="75" y="364"/>
                    </a:lnTo>
                    <a:lnTo>
                      <a:pt x="74" y="364"/>
                    </a:lnTo>
                    <a:lnTo>
                      <a:pt x="74" y="367"/>
                    </a:lnTo>
                    <a:lnTo>
                      <a:pt x="76" y="368"/>
                    </a:lnTo>
                    <a:lnTo>
                      <a:pt x="77" y="370"/>
                    </a:lnTo>
                    <a:lnTo>
                      <a:pt x="77" y="371"/>
                    </a:lnTo>
                    <a:lnTo>
                      <a:pt x="79" y="371"/>
                    </a:lnTo>
                    <a:lnTo>
                      <a:pt x="80" y="371"/>
                    </a:lnTo>
                    <a:lnTo>
                      <a:pt x="81" y="369"/>
                    </a:lnTo>
                    <a:lnTo>
                      <a:pt x="81" y="368"/>
                    </a:lnTo>
                    <a:lnTo>
                      <a:pt x="82" y="367"/>
                    </a:lnTo>
                    <a:lnTo>
                      <a:pt x="82" y="365"/>
                    </a:lnTo>
                    <a:lnTo>
                      <a:pt x="84" y="364"/>
                    </a:lnTo>
                    <a:lnTo>
                      <a:pt x="85" y="361"/>
                    </a:lnTo>
                    <a:lnTo>
                      <a:pt x="86" y="361"/>
                    </a:lnTo>
                    <a:lnTo>
                      <a:pt x="89" y="361"/>
                    </a:lnTo>
                    <a:lnTo>
                      <a:pt x="89" y="360"/>
                    </a:lnTo>
                    <a:lnTo>
                      <a:pt x="90" y="360"/>
                    </a:lnTo>
                    <a:lnTo>
                      <a:pt x="91" y="360"/>
                    </a:lnTo>
                    <a:lnTo>
                      <a:pt x="93" y="358"/>
                    </a:lnTo>
                    <a:lnTo>
                      <a:pt x="93" y="359"/>
                    </a:lnTo>
                    <a:lnTo>
                      <a:pt x="95" y="356"/>
                    </a:lnTo>
                    <a:lnTo>
                      <a:pt x="95" y="354"/>
                    </a:lnTo>
                    <a:lnTo>
                      <a:pt x="93" y="353"/>
                    </a:lnTo>
                    <a:lnTo>
                      <a:pt x="92" y="352"/>
                    </a:lnTo>
                    <a:lnTo>
                      <a:pt x="91" y="351"/>
                    </a:lnTo>
                    <a:lnTo>
                      <a:pt x="90" y="352"/>
                    </a:lnTo>
                    <a:lnTo>
                      <a:pt x="89" y="352"/>
                    </a:lnTo>
                    <a:lnTo>
                      <a:pt x="87" y="354"/>
                    </a:lnTo>
                    <a:lnTo>
                      <a:pt x="86" y="353"/>
                    </a:lnTo>
                    <a:lnTo>
                      <a:pt x="87" y="350"/>
                    </a:lnTo>
                    <a:lnTo>
                      <a:pt x="90" y="349"/>
                    </a:lnTo>
                    <a:lnTo>
                      <a:pt x="92" y="344"/>
                    </a:lnTo>
                    <a:lnTo>
                      <a:pt x="92" y="341"/>
                    </a:lnTo>
                    <a:lnTo>
                      <a:pt x="91" y="339"/>
                    </a:lnTo>
                    <a:lnTo>
                      <a:pt x="91" y="338"/>
                    </a:lnTo>
                    <a:lnTo>
                      <a:pt x="90" y="335"/>
                    </a:lnTo>
                    <a:lnTo>
                      <a:pt x="91" y="333"/>
                    </a:lnTo>
                    <a:lnTo>
                      <a:pt x="95" y="333"/>
                    </a:lnTo>
                    <a:lnTo>
                      <a:pt x="95" y="331"/>
                    </a:lnTo>
                    <a:lnTo>
                      <a:pt x="97" y="330"/>
                    </a:lnTo>
                    <a:lnTo>
                      <a:pt x="96" y="330"/>
                    </a:lnTo>
                    <a:lnTo>
                      <a:pt x="97" y="326"/>
                    </a:lnTo>
                    <a:lnTo>
                      <a:pt x="95" y="324"/>
                    </a:lnTo>
                    <a:lnTo>
                      <a:pt x="95" y="321"/>
                    </a:lnTo>
                    <a:lnTo>
                      <a:pt x="98" y="318"/>
                    </a:lnTo>
                    <a:lnTo>
                      <a:pt x="97" y="316"/>
                    </a:lnTo>
                    <a:lnTo>
                      <a:pt x="96" y="314"/>
                    </a:lnTo>
                    <a:lnTo>
                      <a:pt x="97" y="313"/>
                    </a:lnTo>
                    <a:lnTo>
                      <a:pt x="98" y="314"/>
                    </a:lnTo>
                    <a:lnTo>
                      <a:pt x="100" y="310"/>
                    </a:lnTo>
                    <a:lnTo>
                      <a:pt x="99" y="308"/>
                    </a:lnTo>
                    <a:lnTo>
                      <a:pt x="100" y="308"/>
                    </a:lnTo>
                    <a:lnTo>
                      <a:pt x="100" y="304"/>
                    </a:lnTo>
                    <a:lnTo>
                      <a:pt x="101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4" y="304"/>
                    </a:lnTo>
                    <a:lnTo>
                      <a:pt x="105" y="304"/>
                    </a:lnTo>
                    <a:lnTo>
                      <a:pt x="106" y="304"/>
                    </a:lnTo>
                    <a:lnTo>
                      <a:pt x="106" y="306"/>
                    </a:lnTo>
                    <a:lnTo>
                      <a:pt x="107" y="305"/>
                    </a:lnTo>
                    <a:lnTo>
                      <a:pt x="107" y="299"/>
                    </a:lnTo>
                    <a:lnTo>
                      <a:pt x="107" y="293"/>
                    </a:lnTo>
                    <a:lnTo>
                      <a:pt x="106" y="291"/>
                    </a:lnTo>
                    <a:lnTo>
                      <a:pt x="107" y="289"/>
                    </a:lnTo>
                    <a:lnTo>
                      <a:pt x="107" y="287"/>
                    </a:lnTo>
                    <a:lnTo>
                      <a:pt x="106" y="287"/>
                    </a:lnTo>
                    <a:lnTo>
                      <a:pt x="105" y="286"/>
                    </a:lnTo>
                    <a:lnTo>
                      <a:pt x="106" y="284"/>
                    </a:lnTo>
                    <a:lnTo>
                      <a:pt x="107" y="283"/>
                    </a:lnTo>
                    <a:lnTo>
                      <a:pt x="107" y="280"/>
                    </a:lnTo>
                    <a:lnTo>
                      <a:pt x="106" y="280"/>
                    </a:lnTo>
                    <a:lnTo>
                      <a:pt x="107" y="278"/>
                    </a:lnTo>
                    <a:lnTo>
                      <a:pt x="110" y="277"/>
                    </a:lnTo>
                    <a:lnTo>
                      <a:pt x="106" y="277"/>
                    </a:lnTo>
                    <a:lnTo>
                      <a:pt x="104" y="276"/>
                    </a:lnTo>
                    <a:lnTo>
                      <a:pt x="100" y="272"/>
                    </a:lnTo>
                    <a:lnTo>
                      <a:pt x="98" y="269"/>
                    </a:lnTo>
                    <a:lnTo>
                      <a:pt x="93" y="268"/>
                    </a:lnTo>
                    <a:lnTo>
                      <a:pt x="92" y="267"/>
                    </a:lnTo>
                    <a:lnTo>
                      <a:pt x="89" y="268"/>
                    </a:lnTo>
                    <a:lnTo>
                      <a:pt x="87" y="267"/>
                    </a:lnTo>
                    <a:lnTo>
                      <a:pt x="87" y="266"/>
                    </a:lnTo>
                    <a:lnTo>
                      <a:pt x="89" y="267"/>
                    </a:lnTo>
                    <a:lnTo>
                      <a:pt x="90" y="262"/>
                    </a:lnTo>
                    <a:lnTo>
                      <a:pt x="90" y="260"/>
                    </a:lnTo>
                    <a:lnTo>
                      <a:pt x="90" y="259"/>
                    </a:lnTo>
                    <a:lnTo>
                      <a:pt x="90" y="256"/>
                    </a:lnTo>
                    <a:lnTo>
                      <a:pt x="87" y="256"/>
                    </a:lnTo>
                    <a:lnTo>
                      <a:pt x="85" y="255"/>
                    </a:lnTo>
                    <a:lnTo>
                      <a:pt x="83" y="254"/>
                    </a:lnTo>
                    <a:lnTo>
                      <a:pt x="79" y="254"/>
                    </a:lnTo>
                    <a:lnTo>
                      <a:pt x="77" y="255"/>
                    </a:lnTo>
                    <a:lnTo>
                      <a:pt x="77" y="252"/>
                    </a:lnTo>
                    <a:lnTo>
                      <a:pt x="76" y="248"/>
                    </a:lnTo>
                    <a:lnTo>
                      <a:pt x="74" y="247"/>
                    </a:lnTo>
                    <a:lnTo>
                      <a:pt x="73" y="248"/>
                    </a:lnTo>
                    <a:lnTo>
                      <a:pt x="73" y="247"/>
                    </a:lnTo>
                    <a:lnTo>
                      <a:pt x="71" y="244"/>
                    </a:lnTo>
                    <a:lnTo>
                      <a:pt x="70" y="244"/>
                    </a:lnTo>
                    <a:lnTo>
                      <a:pt x="70" y="238"/>
                    </a:lnTo>
                    <a:lnTo>
                      <a:pt x="68" y="237"/>
                    </a:lnTo>
                    <a:lnTo>
                      <a:pt x="67" y="235"/>
                    </a:lnTo>
                    <a:lnTo>
                      <a:pt x="66" y="235"/>
                    </a:lnTo>
                    <a:lnTo>
                      <a:pt x="65" y="234"/>
                    </a:lnTo>
                    <a:lnTo>
                      <a:pt x="63" y="236"/>
                    </a:lnTo>
                    <a:lnTo>
                      <a:pt x="62" y="236"/>
                    </a:lnTo>
                    <a:lnTo>
                      <a:pt x="61" y="235"/>
                    </a:lnTo>
                    <a:lnTo>
                      <a:pt x="60" y="236"/>
                    </a:lnTo>
                    <a:lnTo>
                      <a:pt x="61" y="237"/>
                    </a:lnTo>
                    <a:lnTo>
                      <a:pt x="53" y="237"/>
                    </a:lnTo>
                    <a:lnTo>
                      <a:pt x="52" y="236"/>
                    </a:lnTo>
                    <a:lnTo>
                      <a:pt x="43" y="234"/>
                    </a:lnTo>
                    <a:lnTo>
                      <a:pt x="43" y="233"/>
                    </a:lnTo>
                    <a:lnTo>
                      <a:pt x="42" y="232"/>
                    </a:lnTo>
                    <a:lnTo>
                      <a:pt x="42" y="231"/>
                    </a:lnTo>
                    <a:lnTo>
                      <a:pt x="40" y="229"/>
                    </a:lnTo>
                    <a:lnTo>
                      <a:pt x="41" y="228"/>
                    </a:lnTo>
                    <a:lnTo>
                      <a:pt x="40" y="227"/>
                    </a:lnTo>
                    <a:lnTo>
                      <a:pt x="38" y="226"/>
                    </a:lnTo>
                    <a:lnTo>
                      <a:pt x="37" y="224"/>
                    </a:lnTo>
                    <a:lnTo>
                      <a:pt x="36" y="224"/>
                    </a:lnTo>
                    <a:lnTo>
                      <a:pt x="35" y="223"/>
                    </a:lnTo>
                    <a:lnTo>
                      <a:pt x="32" y="223"/>
                    </a:lnTo>
                    <a:lnTo>
                      <a:pt x="31" y="220"/>
                    </a:lnTo>
                    <a:lnTo>
                      <a:pt x="29" y="220"/>
                    </a:lnTo>
                    <a:lnTo>
                      <a:pt x="27" y="219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5"/>
                    </a:lnTo>
                    <a:lnTo>
                      <a:pt x="34" y="215"/>
                    </a:lnTo>
                    <a:lnTo>
                      <a:pt x="37" y="217"/>
                    </a:lnTo>
                    <a:lnTo>
                      <a:pt x="37" y="216"/>
                    </a:lnTo>
                    <a:lnTo>
                      <a:pt x="35" y="215"/>
                    </a:lnTo>
                    <a:lnTo>
                      <a:pt x="34" y="215"/>
                    </a:lnTo>
                    <a:lnTo>
                      <a:pt x="33" y="210"/>
                    </a:lnTo>
                    <a:lnTo>
                      <a:pt x="32" y="210"/>
                    </a:lnTo>
                    <a:lnTo>
                      <a:pt x="27" y="210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22" y="209"/>
                    </a:lnTo>
                    <a:lnTo>
                      <a:pt x="21" y="209"/>
                    </a:lnTo>
                    <a:lnTo>
                      <a:pt x="20" y="207"/>
                    </a:lnTo>
                    <a:lnTo>
                      <a:pt x="19" y="209"/>
                    </a:lnTo>
                    <a:lnTo>
                      <a:pt x="13" y="207"/>
                    </a:lnTo>
                    <a:lnTo>
                      <a:pt x="12" y="210"/>
                    </a:lnTo>
                    <a:lnTo>
                      <a:pt x="11" y="210"/>
                    </a:lnTo>
                    <a:lnTo>
                      <a:pt x="9" y="212"/>
                    </a:lnTo>
                    <a:lnTo>
                      <a:pt x="7" y="212"/>
                    </a:lnTo>
                    <a:lnTo>
                      <a:pt x="7" y="209"/>
                    </a:lnTo>
                    <a:lnTo>
                      <a:pt x="3" y="209"/>
                    </a:lnTo>
                    <a:lnTo>
                      <a:pt x="1" y="209"/>
                    </a:lnTo>
                    <a:lnTo>
                      <a:pt x="0" y="209"/>
                    </a:lnTo>
                    <a:lnTo>
                      <a:pt x="0" y="207"/>
                    </a:lnTo>
                    <a:lnTo>
                      <a:pt x="2" y="205"/>
                    </a:lnTo>
                    <a:lnTo>
                      <a:pt x="2" y="203"/>
                    </a:lnTo>
                    <a:lnTo>
                      <a:pt x="4" y="202"/>
                    </a:lnTo>
                    <a:lnTo>
                      <a:pt x="5" y="202"/>
                    </a:lnTo>
                    <a:lnTo>
                      <a:pt x="4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8" y="197"/>
                    </a:lnTo>
                    <a:lnTo>
                      <a:pt x="11" y="197"/>
                    </a:lnTo>
                    <a:lnTo>
                      <a:pt x="11" y="193"/>
                    </a:lnTo>
                    <a:lnTo>
                      <a:pt x="11" y="190"/>
                    </a:lnTo>
                    <a:lnTo>
                      <a:pt x="9" y="189"/>
                    </a:lnTo>
                    <a:lnTo>
                      <a:pt x="8" y="186"/>
                    </a:lnTo>
                    <a:lnTo>
                      <a:pt x="6" y="188"/>
                    </a:lnTo>
                    <a:lnTo>
                      <a:pt x="6" y="186"/>
                    </a:lnTo>
                    <a:lnTo>
                      <a:pt x="6" y="183"/>
                    </a:lnTo>
                    <a:lnTo>
                      <a:pt x="7" y="180"/>
                    </a:lnTo>
                    <a:lnTo>
                      <a:pt x="6" y="179"/>
                    </a:lnTo>
                    <a:lnTo>
                      <a:pt x="8" y="178"/>
                    </a:lnTo>
                    <a:lnTo>
                      <a:pt x="9" y="179"/>
                    </a:lnTo>
                    <a:lnTo>
                      <a:pt x="11" y="177"/>
                    </a:lnTo>
                    <a:lnTo>
                      <a:pt x="12" y="177"/>
                    </a:lnTo>
                    <a:lnTo>
                      <a:pt x="12" y="175"/>
                    </a:lnTo>
                    <a:lnTo>
                      <a:pt x="16" y="175"/>
                    </a:lnTo>
                    <a:lnTo>
                      <a:pt x="16" y="176"/>
                    </a:lnTo>
                    <a:lnTo>
                      <a:pt x="20" y="178"/>
                    </a:lnTo>
                    <a:lnTo>
                      <a:pt x="22" y="178"/>
                    </a:lnTo>
                    <a:lnTo>
                      <a:pt x="22" y="176"/>
                    </a:lnTo>
                    <a:lnTo>
                      <a:pt x="22" y="175"/>
                    </a:lnTo>
                    <a:lnTo>
                      <a:pt x="22" y="174"/>
                    </a:lnTo>
                    <a:lnTo>
                      <a:pt x="23" y="175"/>
                    </a:lnTo>
                    <a:lnTo>
                      <a:pt x="25" y="175"/>
                    </a:lnTo>
                    <a:lnTo>
                      <a:pt x="25" y="171"/>
                    </a:lnTo>
                    <a:lnTo>
                      <a:pt x="25" y="170"/>
                    </a:lnTo>
                    <a:lnTo>
                      <a:pt x="25" y="166"/>
                    </a:lnTo>
                    <a:lnTo>
                      <a:pt x="25" y="167"/>
                    </a:lnTo>
                    <a:lnTo>
                      <a:pt x="26" y="167"/>
                    </a:lnTo>
                    <a:lnTo>
                      <a:pt x="27" y="169"/>
                    </a:lnTo>
                    <a:lnTo>
                      <a:pt x="28" y="169"/>
                    </a:lnTo>
                    <a:lnTo>
                      <a:pt x="30" y="170"/>
                    </a:lnTo>
                    <a:lnTo>
                      <a:pt x="31" y="168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29" y="162"/>
                    </a:lnTo>
                    <a:lnTo>
                      <a:pt x="33" y="162"/>
                    </a:lnTo>
                    <a:lnTo>
                      <a:pt x="33" y="159"/>
                    </a:lnTo>
                    <a:lnTo>
                      <a:pt x="32" y="155"/>
                    </a:lnTo>
                    <a:lnTo>
                      <a:pt x="33" y="154"/>
                    </a:lnTo>
                    <a:lnTo>
                      <a:pt x="33" y="150"/>
                    </a:lnTo>
                    <a:lnTo>
                      <a:pt x="34" y="152"/>
                    </a:lnTo>
                    <a:lnTo>
                      <a:pt x="37" y="152"/>
                    </a:lnTo>
                    <a:lnTo>
                      <a:pt x="38" y="151"/>
                    </a:lnTo>
                    <a:lnTo>
                      <a:pt x="38" y="150"/>
                    </a:lnTo>
                    <a:lnTo>
                      <a:pt x="40" y="150"/>
                    </a:lnTo>
                    <a:lnTo>
                      <a:pt x="40" y="149"/>
                    </a:lnTo>
                    <a:lnTo>
                      <a:pt x="41" y="149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43" y="146"/>
                    </a:lnTo>
                    <a:lnTo>
                      <a:pt x="43" y="145"/>
                    </a:lnTo>
                    <a:lnTo>
                      <a:pt x="46" y="145"/>
                    </a:lnTo>
                    <a:lnTo>
                      <a:pt x="47" y="142"/>
                    </a:lnTo>
                    <a:lnTo>
                      <a:pt x="50" y="142"/>
                    </a:lnTo>
                    <a:lnTo>
                      <a:pt x="52" y="142"/>
                    </a:lnTo>
                    <a:lnTo>
                      <a:pt x="52" y="141"/>
                    </a:lnTo>
                    <a:lnTo>
                      <a:pt x="53" y="141"/>
                    </a:lnTo>
                    <a:lnTo>
                      <a:pt x="55" y="145"/>
                    </a:lnTo>
                    <a:lnTo>
                      <a:pt x="57" y="146"/>
                    </a:lnTo>
                    <a:lnTo>
                      <a:pt x="58" y="145"/>
                    </a:lnTo>
                    <a:lnTo>
                      <a:pt x="61" y="145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71" y="140"/>
                    </a:lnTo>
                    <a:lnTo>
                      <a:pt x="70" y="137"/>
                    </a:lnTo>
                    <a:lnTo>
                      <a:pt x="73" y="138"/>
                    </a:lnTo>
                    <a:lnTo>
                      <a:pt x="74" y="137"/>
                    </a:lnTo>
                    <a:lnTo>
                      <a:pt x="76" y="134"/>
                    </a:lnTo>
                    <a:lnTo>
                      <a:pt x="76" y="133"/>
                    </a:lnTo>
                    <a:lnTo>
                      <a:pt x="78" y="133"/>
                    </a:lnTo>
                    <a:lnTo>
                      <a:pt x="80" y="132"/>
                    </a:lnTo>
                    <a:lnTo>
                      <a:pt x="85" y="126"/>
                    </a:lnTo>
                    <a:lnTo>
                      <a:pt x="86" y="127"/>
                    </a:lnTo>
                    <a:lnTo>
                      <a:pt x="85" y="128"/>
                    </a:lnTo>
                    <a:lnTo>
                      <a:pt x="85" y="133"/>
                    </a:lnTo>
                    <a:lnTo>
                      <a:pt x="89" y="132"/>
                    </a:lnTo>
                    <a:lnTo>
                      <a:pt x="90" y="133"/>
                    </a:lnTo>
                    <a:lnTo>
                      <a:pt x="92" y="135"/>
                    </a:lnTo>
                    <a:lnTo>
                      <a:pt x="93" y="135"/>
                    </a:lnTo>
                    <a:lnTo>
                      <a:pt x="97" y="133"/>
                    </a:lnTo>
                    <a:lnTo>
                      <a:pt x="104" y="135"/>
                    </a:lnTo>
                    <a:lnTo>
                      <a:pt x="106" y="136"/>
                    </a:lnTo>
                    <a:lnTo>
                      <a:pt x="107" y="133"/>
                    </a:lnTo>
                    <a:lnTo>
                      <a:pt x="108" y="131"/>
                    </a:lnTo>
                    <a:lnTo>
                      <a:pt x="109" y="132"/>
                    </a:lnTo>
                    <a:lnTo>
                      <a:pt x="110" y="129"/>
                    </a:lnTo>
                    <a:lnTo>
                      <a:pt x="111" y="130"/>
                    </a:lnTo>
                    <a:lnTo>
                      <a:pt x="110" y="133"/>
                    </a:lnTo>
                    <a:lnTo>
                      <a:pt x="112" y="133"/>
                    </a:lnTo>
                    <a:lnTo>
                      <a:pt x="113" y="131"/>
                    </a:lnTo>
                    <a:lnTo>
                      <a:pt x="114" y="131"/>
                    </a:lnTo>
                    <a:lnTo>
                      <a:pt x="118" y="127"/>
                    </a:lnTo>
                    <a:lnTo>
                      <a:pt x="120" y="124"/>
                    </a:lnTo>
                    <a:lnTo>
                      <a:pt x="122" y="122"/>
                    </a:lnTo>
                    <a:lnTo>
                      <a:pt x="123" y="122"/>
                    </a:lnTo>
                    <a:lnTo>
                      <a:pt x="125" y="120"/>
                    </a:lnTo>
                    <a:lnTo>
                      <a:pt x="126" y="120"/>
                    </a:lnTo>
                    <a:lnTo>
                      <a:pt x="128" y="123"/>
                    </a:lnTo>
                    <a:lnTo>
                      <a:pt x="128" y="122"/>
                    </a:lnTo>
                    <a:lnTo>
                      <a:pt x="129" y="122"/>
                    </a:lnTo>
                    <a:lnTo>
                      <a:pt x="131" y="128"/>
                    </a:lnTo>
                    <a:lnTo>
                      <a:pt x="130" y="131"/>
                    </a:lnTo>
                    <a:lnTo>
                      <a:pt x="131" y="132"/>
                    </a:lnTo>
                    <a:lnTo>
                      <a:pt x="138" y="132"/>
                    </a:lnTo>
                    <a:lnTo>
                      <a:pt x="138" y="128"/>
                    </a:lnTo>
                    <a:lnTo>
                      <a:pt x="139" y="127"/>
                    </a:lnTo>
                    <a:lnTo>
                      <a:pt x="139" y="124"/>
                    </a:lnTo>
                    <a:lnTo>
                      <a:pt x="141" y="122"/>
                    </a:lnTo>
                    <a:lnTo>
                      <a:pt x="143" y="120"/>
                    </a:lnTo>
                    <a:lnTo>
                      <a:pt x="146" y="120"/>
                    </a:lnTo>
                    <a:lnTo>
                      <a:pt x="152" y="119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6" y="119"/>
                    </a:lnTo>
                    <a:lnTo>
                      <a:pt x="157" y="118"/>
                    </a:lnTo>
                    <a:lnTo>
                      <a:pt x="158" y="118"/>
                    </a:lnTo>
                    <a:lnTo>
                      <a:pt x="161" y="117"/>
                    </a:lnTo>
                    <a:lnTo>
                      <a:pt x="161" y="115"/>
                    </a:lnTo>
                    <a:lnTo>
                      <a:pt x="162" y="115"/>
                    </a:lnTo>
                    <a:lnTo>
                      <a:pt x="162" y="114"/>
                    </a:lnTo>
                    <a:lnTo>
                      <a:pt x="164" y="115"/>
                    </a:lnTo>
                    <a:lnTo>
                      <a:pt x="165" y="113"/>
                    </a:lnTo>
                    <a:lnTo>
                      <a:pt x="166" y="112"/>
                    </a:lnTo>
                    <a:lnTo>
                      <a:pt x="166" y="108"/>
                    </a:lnTo>
                    <a:lnTo>
                      <a:pt x="166" y="107"/>
                    </a:lnTo>
                    <a:lnTo>
                      <a:pt x="164" y="107"/>
                    </a:lnTo>
                    <a:lnTo>
                      <a:pt x="165" y="107"/>
                    </a:lnTo>
                    <a:lnTo>
                      <a:pt x="165" y="106"/>
                    </a:lnTo>
                    <a:lnTo>
                      <a:pt x="167" y="107"/>
                    </a:lnTo>
                    <a:lnTo>
                      <a:pt x="170" y="107"/>
                    </a:lnTo>
                    <a:lnTo>
                      <a:pt x="170" y="109"/>
                    </a:lnTo>
                    <a:lnTo>
                      <a:pt x="175" y="109"/>
                    </a:lnTo>
                    <a:lnTo>
                      <a:pt x="176" y="109"/>
                    </a:lnTo>
                    <a:lnTo>
                      <a:pt x="175" y="107"/>
                    </a:lnTo>
                    <a:lnTo>
                      <a:pt x="176" y="107"/>
                    </a:lnTo>
                    <a:lnTo>
                      <a:pt x="175" y="106"/>
                    </a:lnTo>
                    <a:lnTo>
                      <a:pt x="177" y="103"/>
                    </a:lnTo>
                    <a:lnTo>
                      <a:pt x="175" y="101"/>
                    </a:lnTo>
                    <a:lnTo>
                      <a:pt x="174" y="101"/>
                    </a:lnTo>
                    <a:lnTo>
                      <a:pt x="174" y="95"/>
                    </a:lnTo>
                    <a:lnTo>
                      <a:pt x="177" y="94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1" y="92"/>
                    </a:lnTo>
                    <a:lnTo>
                      <a:pt x="182" y="90"/>
                    </a:lnTo>
                    <a:lnTo>
                      <a:pt x="185" y="90"/>
                    </a:lnTo>
                    <a:lnTo>
                      <a:pt x="187" y="93"/>
                    </a:lnTo>
                    <a:lnTo>
                      <a:pt x="188" y="94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90" y="91"/>
                    </a:lnTo>
                    <a:lnTo>
                      <a:pt x="194" y="94"/>
                    </a:lnTo>
                    <a:lnTo>
                      <a:pt x="198" y="95"/>
                    </a:lnTo>
                    <a:lnTo>
                      <a:pt x="198" y="97"/>
                    </a:lnTo>
                    <a:lnTo>
                      <a:pt x="199" y="97"/>
                    </a:lnTo>
                    <a:lnTo>
                      <a:pt x="199" y="98"/>
                    </a:lnTo>
                    <a:lnTo>
                      <a:pt x="200" y="98"/>
                    </a:lnTo>
                    <a:lnTo>
                      <a:pt x="205" y="99"/>
                    </a:lnTo>
                    <a:lnTo>
                      <a:pt x="211" y="99"/>
                    </a:lnTo>
                    <a:lnTo>
                      <a:pt x="211" y="101"/>
                    </a:lnTo>
                    <a:lnTo>
                      <a:pt x="213" y="101"/>
                    </a:lnTo>
                    <a:lnTo>
                      <a:pt x="217" y="102"/>
                    </a:lnTo>
                    <a:lnTo>
                      <a:pt x="218" y="103"/>
                    </a:lnTo>
                    <a:lnTo>
                      <a:pt x="218" y="102"/>
                    </a:lnTo>
                    <a:lnTo>
                      <a:pt x="224" y="102"/>
                    </a:lnTo>
                    <a:lnTo>
                      <a:pt x="225" y="101"/>
                    </a:lnTo>
                    <a:lnTo>
                      <a:pt x="228" y="103"/>
                    </a:lnTo>
                    <a:lnTo>
                      <a:pt x="229" y="100"/>
                    </a:lnTo>
                    <a:lnTo>
                      <a:pt x="229" y="98"/>
                    </a:lnTo>
                    <a:lnTo>
                      <a:pt x="232" y="100"/>
                    </a:lnTo>
                    <a:lnTo>
                      <a:pt x="232" y="101"/>
                    </a:lnTo>
                    <a:lnTo>
                      <a:pt x="233" y="103"/>
                    </a:lnTo>
                    <a:lnTo>
                      <a:pt x="234" y="102"/>
                    </a:lnTo>
                    <a:lnTo>
                      <a:pt x="236" y="104"/>
                    </a:lnTo>
                    <a:lnTo>
                      <a:pt x="236" y="103"/>
                    </a:lnTo>
                    <a:lnTo>
                      <a:pt x="237" y="103"/>
                    </a:lnTo>
                    <a:lnTo>
                      <a:pt x="238" y="101"/>
                    </a:lnTo>
                    <a:lnTo>
                      <a:pt x="243" y="106"/>
                    </a:lnTo>
                    <a:lnTo>
                      <a:pt x="245" y="107"/>
                    </a:lnTo>
                    <a:lnTo>
                      <a:pt x="245" y="108"/>
                    </a:lnTo>
                    <a:lnTo>
                      <a:pt x="246" y="109"/>
                    </a:lnTo>
                    <a:lnTo>
                      <a:pt x="248" y="105"/>
                    </a:lnTo>
                    <a:lnTo>
                      <a:pt x="250" y="103"/>
                    </a:lnTo>
                    <a:lnTo>
                      <a:pt x="250" y="102"/>
                    </a:lnTo>
                    <a:lnTo>
                      <a:pt x="252" y="99"/>
                    </a:lnTo>
                    <a:lnTo>
                      <a:pt x="253" y="99"/>
                    </a:lnTo>
                    <a:lnTo>
                      <a:pt x="255" y="98"/>
                    </a:lnTo>
                    <a:lnTo>
                      <a:pt x="257" y="100"/>
                    </a:lnTo>
                    <a:lnTo>
                      <a:pt x="259" y="101"/>
                    </a:lnTo>
                    <a:lnTo>
                      <a:pt x="260" y="100"/>
                    </a:lnTo>
                    <a:lnTo>
                      <a:pt x="260" y="99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99"/>
                    </a:lnTo>
                    <a:lnTo>
                      <a:pt x="267" y="100"/>
                    </a:lnTo>
                    <a:lnTo>
                      <a:pt x="267" y="98"/>
                    </a:lnTo>
                    <a:lnTo>
                      <a:pt x="268" y="99"/>
                    </a:lnTo>
                    <a:lnTo>
                      <a:pt x="269" y="98"/>
                    </a:lnTo>
                    <a:lnTo>
                      <a:pt x="272" y="99"/>
                    </a:lnTo>
                    <a:lnTo>
                      <a:pt x="273" y="100"/>
                    </a:lnTo>
                    <a:lnTo>
                      <a:pt x="273" y="101"/>
                    </a:lnTo>
                    <a:lnTo>
                      <a:pt x="274" y="101"/>
                    </a:lnTo>
                    <a:lnTo>
                      <a:pt x="274" y="103"/>
                    </a:lnTo>
                    <a:lnTo>
                      <a:pt x="275" y="102"/>
                    </a:lnTo>
                    <a:lnTo>
                      <a:pt x="276" y="103"/>
                    </a:lnTo>
                    <a:lnTo>
                      <a:pt x="275" y="101"/>
                    </a:lnTo>
                    <a:lnTo>
                      <a:pt x="276" y="101"/>
                    </a:lnTo>
                    <a:lnTo>
                      <a:pt x="276" y="102"/>
                    </a:lnTo>
                    <a:lnTo>
                      <a:pt x="276" y="103"/>
                    </a:lnTo>
                    <a:lnTo>
                      <a:pt x="278" y="102"/>
                    </a:lnTo>
                    <a:lnTo>
                      <a:pt x="281" y="98"/>
                    </a:lnTo>
                    <a:lnTo>
                      <a:pt x="280" y="98"/>
                    </a:lnTo>
                    <a:lnTo>
                      <a:pt x="281" y="96"/>
                    </a:lnTo>
                    <a:lnTo>
                      <a:pt x="280" y="96"/>
                    </a:lnTo>
                    <a:lnTo>
                      <a:pt x="281" y="95"/>
                    </a:lnTo>
                    <a:lnTo>
                      <a:pt x="280" y="95"/>
                    </a:lnTo>
                    <a:lnTo>
                      <a:pt x="280" y="94"/>
                    </a:lnTo>
                    <a:lnTo>
                      <a:pt x="280" y="90"/>
                    </a:lnTo>
                    <a:lnTo>
                      <a:pt x="283" y="92"/>
                    </a:lnTo>
                    <a:lnTo>
                      <a:pt x="283" y="86"/>
                    </a:lnTo>
                    <a:lnTo>
                      <a:pt x="283" y="84"/>
                    </a:lnTo>
                    <a:lnTo>
                      <a:pt x="284" y="84"/>
                    </a:lnTo>
                    <a:lnTo>
                      <a:pt x="284" y="82"/>
                    </a:lnTo>
                    <a:lnTo>
                      <a:pt x="283" y="81"/>
                    </a:lnTo>
                    <a:lnTo>
                      <a:pt x="282" y="81"/>
                    </a:lnTo>
                    <a:lnTo>
                      <a:pt x="282" y="78"/>
                    </a:lnTo>
                    <a:lnTo>
                      <a:pt x="281" y="77"/>
                    </a:lnTo>
                    <a:lnTo>
                      <a:pt x="281" y="76"/>
                    </a:lnTo>
                    <a:lnTo>
                      <a:pt x="283" y="75"/>
                    </a:lnTo>
                    <a:lnTo>
                      <a:pt x="283" y="76"/>
                    </a:lnTo>
                    <a:lnTo>
                      <a:pt x="284" y="75"/>
                    </a:lnTo>
                    <a:lnTo>
                      <a:pt x="283" y="74"/>
                    </a:lnTo>
                    <a:lnTo>
                      <a:pt x="283" y="73"/>
                    </a:lnTo>
                    <a:lnTo>
                      <a:pt x="282" y="71"/>
                    </a:lnTo>
                    <a:lnTo>
                      <a:pt x="283" y="70"/>
                    </a:lnTo>
                    <a:lnTo>
                      <a:pt x="283" y="71"/>
                    </a:lnTo>
                    <a:lnTo>
                      <a:pt x="283" y="69"/>
                    </a:lnTo>
                    <a:lnTo>
                      <a:pt x="283" y="68"/>
                    </a:lnTo>
                    <a:lnTo>
                      <a:pt x="281" y="67"/>
                    </a:lnTo>
                    <a:lnTo>
                      <a:pt x="281" y="66"/>
                    </a:lnTo>
                    <a:lnTo>
                      <a:pt x="283" y="65"/>
                    </a:lnTo>
                    <a:lnTo>
                      <a:pt x="284" y="65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90" y="69"/>
                    </a:lnTo>
                    <a:lnTo>
                      <a:pt x="296" y="72"/>
                    </a:lnTo>
                    <a:lnTo>
                      <a:pt x="296" y="71"/>
                    </a:lnTo>
                    <a:lnTo>
                      <a:pt x="297" y="71"/>
                    </a:lnTo>
                    <a:lnTo>
                      <a:pt x="296" y="70"/>
                    </a:lnTo>
                    <a:lnTo>
                      <a:pt x="297" y="69"/>
                    </a:lnTo>
                    <a:lnTo>
                      <a:pt x="297" y="68"/>
                    </a:lnTo>
                    <a:lnTo>
                      <a:pt x="295" y="68"/>
                    </a:lnTo>
                    <a:lnTo>
                      <a:pt x="294" y="67"/>
                    </a:lnTo>
                    <a:lnTo>
                      <a:pt x="296" y="65"/>
                    </a:lnTo>
                    <a:lnTo>
                      <a:pt x="297" y="67"/>
                    </a:lnTo>
                    <a:lnTo>
                      <a:pt x="298" y="65"/>
                    </a:lnTo>
                    <a:lnTo>
                      <a:pt x="297" y="65"/>
                    </a:lnTo>
                    <a:lnTo>
                      <a:pt x="299" y="64"/>
                    </a:lnTo>
                    <a:lnTo>
                      <a:pt x="299" y="58"/>
                    </a:lnTo>
                    <a:lnTo>
                      <a:pt x="303" y="61"/>
                    </a:lnTo>
                    <a:lnTo>
                      <a:pt x="306" y="61"/>
                    </a:lnTo>
                    <a:lnTo>
                      <a:pt x="306" y="58"/>
                    </a:lnTo>
                    <a:lnTo>
                      <a:pt x="309" y="61"/>
                    </a:lnTo>
                    <a:lnTo>
                      <a:pt x="312" y="61"/>
                    </a:lnTo>
                    <a:lnTo>
                      <a:pt x="312" y="57"/>
                    </a:lnTo>
                    <a:lnTo>
                      <a:pt x="313" y="56"/>
                    </a:lnTo>
                    <a:lnTo>
                      <a:pt x="313" y="54"/>
                    </a:lnTo>
                    <a:lnTo>
                      <a:pt x="313" y="52"/>
                    </a:lnTo>
                    <a:lnTo>
                      <a:pt x="312" y="52"/>
                    </a:lnTo>
                    <a:lnTo>
                      <a:pt x="313" y="52"/>
                    </a:lnTo>
                    <a:lnTo>
                      <a:pt x="313" y="48"/>
                    </a:lnTo>
                    <a:lnTo>
                      <a:pt x="310" y="39"/>
                    </a:lnTo>
                    <a:lnTo>
                      <a:pt x="315" y="38"/>
                    </a:lnTo>
                    <a:lnTo>
                      <a:pt x="315" y="34"/>
                    </a:lnTo>
                    <a:lnTo>
                      <a:pt x="319" y="36"/>
                    </a:lnTo>
                    <a:lnTo>
                      <a:pt x="320" y="36"/>
                    </a:lnTo>
                    <a:lnTo>
                      <a:pt x="319" y="39"/>
                    </a:lnTo>
                    <a:lnTo>
                      <a:pt x="321" y="39"/>
                    </a:lnTo>
                    <a:lnTo>
                      <a:pt x="321" y="40"/>
                    </a:lnTo>
                    <a:lnTo>
                      <a:pt x="322" y="42"/>
                    </a:lnTo>
                    <a:lnTo>
                      <a:pt x="323" y="39"/>
                    </a:lnTo>
                    <a:lnTo>
                      <a:pt x="325" y="35"/>
                    </a:lnTo>
                    <a:lnTo>
                      <a:pt x="330" y="35"/>
                    </a:lnTo>
                    <a:lnTo>
                      <a:pt x="329" y="35"/>
                    </a:lnTo>
                    <a:lnTo>
                      <a:pt x="330" y="37"/>
                    </a:lnTo>
                    <a:lnTo>
                      <a:pt x="330" y="41"/>
                    </a:lnTo>
                    <a:lnTo>
                      <a:pt x="331" y="41"/>
                    </a:lnTo>
                    <a:lnTo>
                      <a:pt x="334" y="43"/>
                    </a:lnTo>
                    <a:lnTo>
                      <a:pt x="336" y="43"/>
                    </a:lnTo>
                    <a:lnTo>
                      <a:pt x="337" y="41"/>
                    </a:lnTo>
                    <a:lnTo>
                      <a:pt x="335" y="39"/>
                    </a:lnTo>
                    <a:lnTo>
                      <a:pt x="335" y="38"/>
                    </a:lnTo>
                    <a:lnTo>
                      <a:pt x="339" y="39"/>
                    </a:lnTo>
                    <a:lnTo>
                      <a:pt x="340" y="38"/>
                    </a:lnTo>
                    <a:lnTo>
                      <a:pt x="341" y="36"/>
                    </a:lnTo>
                    <a:lnTo>
                      <a:pt x="343" y="37"/>
                    </a:lnTo>
                    <a:lnTo>
                      <a:pt x="344" y="37"/>
                    </a:lnTo>
                    <a:lnTo>
                      <a:pt x="343" y="38"/>
                    </a:lnTo>
                    <a:lnTo>
                      <a:pt x="343" y="40"/>
                    </a:lnTo>
                    <a:lnTo>
                      <a:pt x="343" y="41"/>
                    </a:lnTo>
                    <a:lnTo>
                      <a:pt x="345" y="43"/>
                    </a:lnTo>
                    <a:lnTo>
                      <a:pt x="344" y="43"/>
                    </a:lnTo>
                    <a:lnTo>
                      <a:pt x="343" y="44"/>
                    </a:lnTo>
                    <a:lnTo>
                      <a:pt x="342" y="46"/>
                    </a:lnTo>
                    <a:lnTo>
                      <a:pt x="343" y="47"/>
                    </a:lnTo>
                    <a:lnTo>
                      <a:pt x="343" y="51"/>
                    </a:lnTo>
                    <a:lnTo>
                      <a:pt x="345" y="54"/>
                    </a:lnTo>
                    <a:lnTo>
                      <a:pt x="346" y="52"/>
                    </a:lnTo>
                    <a:lnTo>
                      <a:pt x="346" y="53"/>
                    </a:lnTo>
                    <a:lnTo>
                      <a:pt x="347" y="52"/>
                    </a:lnTo>
                    <a:lnTo>
                      <a:pt x="347" y="53"/>
                    </a:lnTo>
                    <a:lnTo>
                      <a:pt x="348" y="53"/>
                    </a:lnTo>
                    <a:lnTo>
                      <a:pt x="348" y="54"/>
                    </a:lnTo>
                    <a:lnTo>
                      <a:pt x="349" y="55"/>
                    </a:lnTo>
                    <a:lnTo>
                      <a:pt x="350" y="56"/>
                    </a:lnTo>
                    <a:lnTo>
                      <a:pt x="351" y="55"/>
                    </a:lnTo>
                    <a:lnTo>
                      <a:pt x="351" y="53"/>
                    </a:lnTo>
                    <a:lnTo>
                      <a:pt x="353" y="51"/>
                    </a:lnTo>
                    <a:lnTo>
                      <a:pt x="353" y="52"/>
                    </a:lnTo>
                    <a:lnTo>
                      <a:pt x="355" y="53"/>
                    </a:lnTo>
                    <a:lnTo>
                      <a:pt x="356" y="53"/>
                    </a:lnTo>
                    <a:lnTo>
                      <a:pt x="356" y="51"/>
                    </a:lnTo>
                    <a:lnTo>
                      <a:pt x="358" y="51"/>
                    </a:lnTo>
                    <a:lnTo>
                      <a:pt x="359" y="53"/>
                    </a:lnTo>
                    <a:lnTo>
                      <a:pt x="361" y="54"/>
                    </a:lnTo>
                    <a:lnTo>
                      <a:pt x="361" y="52"/>
                    </a:lnTo>
                    <a:lnTo>
                      <a:pt x="361" y="51"/>
                    </a:lnTo>
                    <a:lnTo>
                      <a:pt x="365" y="52"/>
                    </a:lnTo>
                    <a:lnTo>
                      <a:pt x="368" y="52"/>
                    </a:lnTo>
                    <a:lnTo>
                      <a:pt x="372" y="55"/>
                    </a:lnTo>
                    <a:lnTo>
                      <a:pt x="372" y="54"/>
                    </a:lnTo>
                    <a:lnTo>
                      <a:pt x="372" y="50"/>
                    </a:lnTo>
                    <a:lnTo>
                      <a:pt x="374" y="49"/>
                    </a:lnTo>
                    <a:lnTo>
                      <a:pt x="374" y="48"/>
                    </a:lnTo>
                    <a:lnTo>
                      <a:pt x="378" y="49"/>
                    </a:lnTo>
                    <a:lnTo>
                      <a:pt x="379" y="48"/>
                    </a:lnTo>
                    <a:lnTo>
                      <a:pt x="381" y="48"/>
                    </a:lnTo>
                    <a:lnTo>
                      <a:pt x="383" y="40"/>
                    </a:lnTo>
                    <a:lnTo>
                      <a:pt x="383" y="39"/>
                    </a:lnTo>
                    <a:lnTo>
                      <a:pt x="390" y="41"/>
                    </a:lnTo>
                    <a:lnTo>
                      <a:pt x="391" y="40"/>
                    </a:lnTo>
                    <a:lnTo>
                      <a:pt x="392" y="36"/>
                    </a:lnTo>
                    <a:lnTo>
                      <a:pt x="391" y="27"/>
                    </a:lnTo>
                    <a:lnTo>
                      <a:pt x="392" y="22"/>
                    </a:lnTo>
                    <a:lnTo>
                      <a:pt x="405" y="27"/>
                    </a:lnTo>
                    <a:lnTo>
                      <a:pt x="411" y="34"/>
                    </a:lnTo>
                    <a:lnTo>
                      <a:pt x="418" y="28"/>
                    </a:lnTo>
                    <a:lnTo>
                      <a:pt x="419" y="28"/>
                    </a:lnTo>
                    <a:lnTo>
                      <a:pt x="420" y="27"/>
                    </a:lnTo>
                    <a:lnTo>
                      <a:pt x="421" y="26"/>
                    </a:lnTo>
                    <a:lnTo>
                      <a:pt x="420" y="24"/>
                    </a:lnTo>
                    <a:lnTo>
                      <a:pt x="418" y="22"/>
                    </a:lnTo>
                    <a:lnTo>
                      <a:pt x="419" y="20"/>
                    </a:lnTo>
                    <a:lnTo>
                      <a:pt x="418" y="19"/>
                    </a:lnTo>
                    <a:lnTo>
                      <a:pt x="423" y="18"/>
                    </a:lnTo>
                    <a:lnTo>
                      <a:pt x="426" y="17"/>
                    </a:lnTo>
                    <a:lnTo>
                      <a:pt x="428" y="17"/>
                    </a:lnTo>
                    <a:lnTo>
                      <a:pt x="429" y="17"/>
                    </a:lnTo>
                    <a:lnTo>
                      <a:pt x="430" y="15"/>
                    </a:lnTo>
                    <a:lnTo>
                      <a:pt x="430" y="17"/>
                    </a:lnTo>
                    <a:lnTo>
                      <a:pt x="433" y="15"/>
                    </a:lnTo>
                    <a:lnTo>
                      <a:pt x="435" y="14"/>
                    </a:lnTo>
                    <a:lnTo>
                      <a:pt x="434" y="11"/>
                    </a:lnTo>
                    <a:lnTo>
                      <a:pt x="435" y="11"/>
                    </a:lnTo>
                    <a:lnTo>
                      <a:pt x="434" y="7"/>
                    </a:lnTo>
                    <a:lnTo>
                      <a:pt x="432" y="7"/>
                    </a:lnTo>
                    <a:lnTo>
                      <a:pt x="435" y="6"/>
                    </a:lnTo>
                    <a:lnTo>
                      <a:pt x="435" y="5"/>
                    </a:lnTo>
                    <a:lnTo>
                      <a:pt x="437" y="6"/>
                    </a:lnTo>
                    <a:lnTo>
                      <a:pt x="437" y="5"/>
                    </a:lnTo>
                    <a:lnTo>
                      <a:pt x="438" y="5"/>
                    </a:lnTo>
                    <a:lnTo>
                      <a:pt x="439" y="6"/>
                    </a:lnTo>
                    <a:lnTo>
                      <a:pt x="437" y="0"/>
                    </a:lnTo>
                    <a:lnTo>
                      <a:pt x="439" y="0"/>
                    </a:lnTo>
                    <a:lnTo>
                      <a:pt x="444" y="1"/>
                    </a:lnTo>
                    <a:lnTo>
                      <a:pt x="443" y="1"/>
                    </a:lnTo>
                    <a:lnTo>
                      <a:pt x="444" y="4"/>
                    </a:lnTo>
                    <a:lnTo>
                      <a:pt x="442" y="5"/>
                    </a:lnTo>
                    <a:lnTo>
                      <a:pt x="443" y="6"/>
                    </a:lnTo>
                    <a:lnTo>
                      <a:pt x="444" y="6"/>
                    </a:lnTo>
                    <a:lnTo>
                      <a:pt x="446" y="7"/>
                    </a:lnTo>
                    <a:lnTo>
                      <a:pt x="446" y="6"/>
                    </a:lnTo>
                    <a:lnTo>
                      <a:pt x="447" y="7"/>
                    </a:lnTo>
                    <a:lnTo>
                      <a:pt x="449" y="11"/>
                    </a:lnTo>
                    <a:lnTo>
                      <a:pt x="447" y="11"/>
                    </a:lnTo>
                    <a:lnTo>
                      <a:pt x="448" y="11"/>
                    </a:lnTo>
                    <a:lnTo>
                      <a:pt x="449" y="13"/>
                    </a:lnTo>
                    <a:lnTo>
                      <a:pt x="451" y="13"/>
                    </a:lnTo>
                    <a:lnTo>
                      <a:pt x="452" y="14"/>
                    </a:lnTo>
                    <a:lnTo>
                      <a:pt x="452" y="11"/>
                    </a:lnTo>
                    <a:lnTo>
                      <a:pt x="454" y="11"/>
                    </a:lnTo>
                    <a:lnTo>
                      <a:pt x="454" y="9"/>
                    </a:lnTo>
                    <a:lnTo>
                      <a:pt x="455" y="8"/>
                    </a:lnTo>
                    <a:lnTo>
                      <a:pt x="456" y="9"/>
                    </a:lnTo>
                    <a:lnTo>
                      <a:pt x="455" y="9"/>
                    </a:lnTo>
                    <a:lnTo>
                      <a:pt x="455" y="10"/>
                    </a:lnTo>
                    <a:lnTo>
                      <a:pt x="457" y="10"/>
                    </a:lnTo>
                    <a:lnTo>
                      <a:pt x="457" y="11"/>
                    </a:lnTo>
                    <a:lnTo>
                      <a:pt x="459" y="11"/>
                    </a:lnTo>
                    <a:lnTo>
                      <a:pt x="460" y="11"/>
                    </a:lnTo>
                    <a:lnTo>
                      <a:pt x="463" y="10"/>
                    </a:lnTo>
                    <a:lnTo>
                      <a:pt x="463" y="11"/>
                    </a:lnTo>
                    <a:lnTo>
                      <a:pt x="462" y="13"/>
                    </a:lnTo>
                    <a:lnTo>
                      <a:pt x="463" y="13"/>
                    </a:lnTo>
                    <a:lnTo>
                      <a:pt x="465" y="19"/>
                    </a:lnTo>
                    <a:lnTo>
                      <a:pt x="466" y="19"/>
                    </a:lnTo>
                    <a:lnTo>
                      <a:pt x="468" y="20"/>
                    </a:lnTo>
                    <a:lnTo>
                      <a:pt x="468" y="23"/>
                    </a:lnTo>
                    <a:lnTo>
                      <a:pt x="468" y="22"/>
                    </a:lnTo>
                    <a:lnTo>
                      <a:pt x="470" y="22"/>
                    </a:lnTo>
                    <a:lnTo>
                      <a:pt x="470" y="23"/>
                    </a:lnTo>
                    <a:lnTo>
                      <a:pt x="469" y="25"/>
                    </a:lnTo>
                    <a:lnTo>
                      <a:pt x="470" y="27"/>
                    </a:lnTo>
                    <a:lnTo>
                      <a:pt x="470" y="29"/>
                    </a:lnTo>
                    <a:lnTo>
                      <a:pt x="471" y="28"/>
                    </a:lnTo>
                    <a:lnTo>
                      <a:pt x="472" y="28"/>
                    </a:lnTo>
                    <a:lnTo>
                      <a:pt x="474" y="28"/>
                    </a:lnTo>
                    <a:lnTo>
                      <a:pt x="476" y="28"/>
                    </a:lnTo>
                    <a:lnTo>
                      <a:pt x="477" y="31"/>
                    </a:lnTo>
                    <a:lnTo>
                      <a:pt x="479" y="32"/>
                    </a:lnTo>
                    <a:lnTo>
                      <a:pt x="478" y="34"/>
                    </a:lnTo>
                    <a:lnTo>
                      <a:pt x="480" y="34"/>
                    </a:lnTo>
                    <a:lnTo>
                      <a:pt x="483" y="37"/>
                    </a:lnTo>
                    <a:lnTo>
                      <a:pt x="482" y="38"/>
                    </a:lnTo>
                    <a:lnTo>
                      <a:pt x="482" y="39"/>
                    </a:lnTo>
                    <a:lnTo>
                      <a:pt x="483" y="38"/>
                    </a:lnTo>
                    <a:lnTo>
                      <a:pt x="483" y="40"/>
                    </a:lnTo>
                    <a:lnTo>
                      <a:pt x="483" y="46"/>
                    </a:lnTo>
                    <a:lnTo>
                      <a:pt x="484" y="47"/>
                    </a:lnTo>
                    <a:lnTo>
                      <a:pt x="484" y="48"/>
                    </a:lnTo>
                    <a:lnTo>
                      <a:pt x="487" y="47"/>
                    </a:lnTo>
                    <a:lnTo>
                      <a:pt x="487" y="48"/>
                    </a:lnTo>
                    <a:lnTo>
                      <a:pt x="488" y="48"/>
                    </a:lnTo>
                    <a:lnTo>
                      <a:pt x="488" y="49"/>
                    </a:lnTo>
                    <a:lnTo>
                      <a:pt x="490" y="48"/>
                    </a:lnTo>
                    <a:lnTo>
                      <a:pt x="492" y="49"/>
                    </a:lnTo>
                    <a:lnTo>
                      <a:pt x="494" y="51"/>
                    </a:lnTo>
                    <a:lnTo>
                      <a:pt x="493" y="52"/>
                    </a:lnTo>
                    <a:lnTo>
                      <a:pt x="494" y="52"/>
                    </a:lnTo>
                    <a:lnTo>
                      <a:pt x="494" y="53"/>
                    </a:lnTo>
                    <a:lnTo>
                      <a:pt x="495" y="53"/>
                    </a:lnTo>
                    <a:lnTo>
                      <a:pt x="495" y="54"/>
                    </a:lnTo>
                    <a:lnTo>
                      <a:pt x="494" y="54"/>
                    </a:lnTo>
                    <a:lnTo>
                      <a:pt x="494" y="56"/>
                    </a:lnTo>
                    <a:lnTo>
                      <a:pt x="493" y="56"/>
                    </a:lnTo>
                    <a:lnTo>
                      <a:pt x="493" y="58"/>
                    </a:lnTo>
                    <a:lnTo>
                      <a:pt x="491" y="57"/>
                    </a:lnTo>
                    <a:lnTo>
                      <a:pt x="491" y="58"/>
                    </a:lnTo>
                    <a:lnTo>
                      <a:pt x="487" y="58"/>
                    </a:lnTo>
                    <a:lnTo>
                      <a:pt x="486" y="60"/>
                    </a:lnTo>
                    <a:lnTo>
                      <a:pt x="486" y="63"/>
                    </a:lnTo>
                    <a:lnTo>
                      <a:pt x="486" y="64"/>
                    </a:lnTo>
                    <a:lnTo>
                      <a:pt x="487" y="65"/>
                    </a:lnTo>
                    <a:lnTo>
                      <a:pt x="490" y="69"/>
                    </a:lnTo>
                    <a:lnTo>
                      <a:pt x="490" y="71"/>
                    </a:lnTo>
                    <a:lnTo>
                      <a:pt x="489" y="72"/>
                    </a:lnTo>
                    <a:lnTo>
                      <a:pt x="489" y="73"/>
                    </a:lnTo>
                    <a:lnTo>
                      <a:pt x="490" y="73"/>
                    </a:lnTo>
                    <a:lnTo>
                      <a:pt x="492" y="75"/>
                    </a:lnTo>
                    <a:lnTo>
                      <a:pt x="491" y="76"/>
                    </a:lnTo>
                    <a:lnTo>
                      <a:pt x="491" y="77"/>
                    </a:lnTo>
                    <a:lnTo>
                      <a:pt x="490" y="77"/>
                    </a:lnTo>
                    <a:lnTo>
                      <a:pt x="489" y="77"/>
                    </a:lnTo>
                    <a:lnTo>
                      <a:pt x="490" y="77"/>
                    </a:lnTo>
                    <a:lnTo>
                      <a:pt x="490" y="78"/>
                    </a:lnTo>
                    <a:lnTo>
                      <a:pt x="489" y="80"/>
                    </a:lnTo>
                    <a:lnTo>
                      <a:pt x="490" y="80"/>
                    </a:lnTo>
                    <a:lnTo>
                      <a:pt x="489" y="82"/>
                    </a:lnTo>
                    <a:lnTo>
                      <a:pt x="489" y="84"/>
                    </a:lnTo>
                    <a:lnTo>
                      <a:pt x="487" y="86"/>
                    </a:lnTo>
                    <a:lnTo>
                      <a:pt x="487" y="88"/>
                    </a:lnTo>
                    <a:lnTo>
                      <a:pt x="489" y="88"/>
                    </a:lnTo>
                    <a:lnTo>
                      <a:pt x="489" y="89"/>
                    </a:lnTo>
                    <a:lnTo>
                      <a:pt x="491" y="88"/>
                    </a:lnTo>
                    <a:lnTo>
                      <a:pt x="491" y="89"/>
                    </a:lnTo>
                    <a:lnTo>
                      <a:pt x="493" y="93"/>
                    </a:lnTo>
                    <a:lnTo>
                      <a:pt x="493" y="94"/>
                    </a:lnTo>
                    <a:lnTo>
                      <a:pt x="491" y="94"/>
                    </a:lnTo>
                    <a:lnTo>
                      <a:pt x="491" y="96"/>
                    </a:lnTo>
                    <a:lnTo>
                      <a:pt x="492" y="97"/>
                    </a:lnTo>
                    <a:lnTo>
                      <a:pt x="492" y="98"/>
                    </a:lnTo>
                    <a:lnTo>
                      <a:pt x="495" y="99"/>
                    </a:lnTo>
                    <a:lnTo>
                      <a:pt x="491" y="108"/>
                    </a:lnTo>
                    <a:lnTo>
                      <a:pt x="491" y="107"/>
                    </a:lnTo>
                    <a:lnTo>
                      <a:pt x="490" y="109"/>
                    </a:lnTo>
                    <a:lnTo>
                      <a:pt x="489" y="107"/>
                    </a:lnTo>
                    <a:lnTo>
                      <a:pt x="489" y="109"/>
                    </a:lnTo>
                    <a:lnTo>
                      <a:pt x="486" y="109"/>
                    </a:lnTo>
                    <a:lnTo>
                      <a:pt x="486" y="111"/>
                    </a:lnTo>
                    <a:lnTo>
                      <a:pt x="487" y="111"/>
                    </a:lnTo>
                    <a:lnTo>
                      <a:pt x="487" y="112"/>
                    </a:lnTo>
                    <a:lnTo>
                      <a:pt x="486" y="113"/>
                    </a:lnTo>
                    <a:lnTo>
                      <a:pt x="487" y="115"/>
                    </a:lnTo>
                    <a:lnTo>
                      <a:pt x="487" y="116"/>
                    </a:lnTo>
                    <a:lnTo>
                      <a:pt x="486" y="116"/>
                    </a:lnTo>
                    <a:lnTo>
                      <a:pt x="485" y="117"/>
                    </a:lnTo>
                    <a:lnTo>
                      <a:pt x="484" y="117"/>
                    </a:lnTo>
                    <a:lnTo>
                      <a:pt x="485" y="116"/>
                    </a:lnTo>
                    <a:lnTo>
                      <a:pt x="484" y="116"/>
                    </a:lnTo>
                    <a:lnTo>
                      <a:pt x="483" y="116"/>
                    </a:lnTo>
                    <a:lnTo>
                      <a:pt x="482" y="116"/>
                    </a:lnTo>
                    <a:lnTo>
                      <a:pt x="481" y="115"/>
                    </a:lnTo>
                    <a:lnTo>
                      <a:pt x="479" y="117"/>
                    </a:lnTo>
                    <a:lnTo>
                      <a:pt x="476" y="120"/>
                    </a:lnTo>
                    <a:lnTo>
                      <a:pt x="478" y="123"/>
                    </a:lnTo>
                    <a:lnTo>
                      <a:pt x="479" y="126"/>
                    </a:lnTo>
                    <a:lnTo>
                      <a:pt x="481" y="126"/>
                    </a:lnTo>
                    <a:lnTo>
                      <a:pt x="483" y="128"/>
                    </a:lnTo>
                    <a:lnTo>
                      <a:pt x="482" y="128"/>
                    </a:lnTo>
                    <a:lnTo>
                      <a:pt x="480" y="129"/>
                    </a:lnTo>
                    <a:lnTo>
                      <a:pt x="481" y="133"/>
                    </a:lnTo>
                    <a:lnTo>
                      <a:pt x="481" y="135"/>
                    </a:lnTo>
                    <a:lnTo>
                      <a:pt x="483" y="137"/>
                    </a:lnTo>
                    <a:lnTo>
                      <a:pt x="485" y="139"/>
                    </a:lnTo>
                    <a:lnTo>
                      <a:pt x="487" y="140"/>
                    </a:lnTo>
                    <a:lnTo>
                      <a:pt x="489" y="139"/>
                    </a:lnTo>
                    <a:lnTo>
                      <a:pt x="491" y="136"/>
                    </a:lnTo>
                    <a:lnTo>
                      <a:pt x="492" y="139"/>
                    </a:lnTo>
                    <a:lnTo>
                      <a:pt x="496" y="141"/>
                    </a:lnTo>
                    <a:lnTo>
                      <a:pt x="497" y="141"/>
                    </a:lnTo>
                    <a:lnTo>
                      <a:pt x="496" y="142"/>
                    </a:lnTo>
                    <a:lnTo>
                      <a:pt x="495" y="142"/>
                    </a:lnTo>
                    <a:lnTo>
                      <a:pt x="495" y="146"/>
                    </a:lnTo>
                    <a:lnTo>
                      <a:pt x="496" y="146"/>
                    </a:lnTo>
                    <a:lnTo>
                      <a:pt x="498" y="145"/>
                    </a:lnTo>
                    <a:lnTo>
                      <a:pt x="498" y="146"/>
                    </a:lnTo>
                    <a:lnTo>
                      <a:pt x="499" y="148"/>
                    </a:lnTo>
                    <a:lnTo>
                      <a:pt x="500" y="148"/>
                    </a:lnTo>
                    <a:lnTo>
                      <a:pt x="501" y="150"/>
                    </a:lnTo>
                    <a:lnTo>
                      <a:pt x="502" y="150"/>
                    </a:lnTo>
                    <a:lnTo>
                      <a:pt x="503" y="152"/>
                    </a:lnTo>
                    <a:lnTo>
                      <a:pt x="503" y="154"/>
                    </a:lnTo>
                    <a:lnTo>
                      <a:pt x="502" y="153"/>
                    </a:lnTo>
                    <a:lnTo>
                      <a:pt x="499" y="155"/>
                    </a:lnTo>
                    <a:lnTo>
                      <a:pt x="499" y="156"/>
                    </a:lnTo>
                    <a:lnTo>
                      <a:pt x="501" y="157"/>
                    </a:lnTo>
                    <a:lnTo>
                      <a:pt x="501" y="159"/>
                    </a:lnTo>
                    <a:lnTo>
                      <a:pt x="499" y="161"/>
                    </a:lnTo>
                    <a:lnTo>
                      <a:pt x="501" y="162"/>
                    </a:lnTo>
                    <a:lnTo>
                      <a:pt x="504" y="165"/>
                    </a:lnTo>
                    <a:lnTo>
                      <a:pt x="504" y="166"/>
                    </a:lnTo>
                    <a:lnTo>
                      <a:pt x="505" y="167"/>
                    </a:lnTo>
                    <a:lnTo>
                      <a:pt x="506" y="165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8" y="167"/>
                    </a:lnTo>
                    <a:lnTo>
                      <a:pt x="508" y="165"/>
                    </a:lnTo>
                    <a:lnTo>
                      <a:pt x="512" y="166"/>
                    </a:lnTo>
                    <a:lnTo>
                      <a:pt x="514" y="164"/>
                    </a:lnTo>
                    <a:lnTo>
                      <a:pt x="515" y="164"/>
                    </a:lnTo>
                    <a:lnTo>
                      <a:pt x="515" y="165"/>
                    </a:lnTo>
                    <a:lnTo>
                      <a:pt x="517" y="167"/>
                    </a:lnTo>
                    <a:lnTo>
                      <a:pt x="518" y="167"/>
                    </a:lnTo>
                    <a:lnTo>
                      <a:pt x="519" y="168"/>
                    </a:lnTo>
                    <a:lnTo>
                      <a:pt x="520" y="167"/>
                    </a:lnTo>
                    <a:lnTo>
                      <a:pt x="522" y="169"/>
                    </a:lnTo>
                    <a:lnTo>
                      <a:pt x="525" y="171"/>
                    </a:lnTo>
                    <a:lnTo>
                      <a:pt x="524" y="171"/>
                    </a:lnTo>
                    <a:lnTo>
                      <a:pt x="525" y="173"/>
                    </a:lnTo>
                    <a:lnTo>
                      <a:pt x="526" y="172"/>
                    </a:lnTo>
                    <a:lnTo>
                      <a:pt x="528" y="171"/>
                    </a:lnTo>
                    <a:lnTo>
                      <a:pt x="529" y="168"/>
                    </a:lnTo>
                    <a:lnTo>
                      <a:pt x="532" y="169"/>
                    </a:lnTo>
                    <a:lnTo>
                      <a:pt x="533" y="167"/>
                    </a:lnTo>
                    <a:lnTo>
                      <a:pt x="535" y="167"/>
                    </a:lnTo>
                    <a:lnTo>
                      <a:pt x="536" y="167"/>
                    </a:lnTo>
                    <a:lnTo>
                      <a:pt x="538" y="167"/>
                    </a:lnTo>
                    <a:lnTo>
                      <a:pt x="538" y="165"/>
                    </a:lnTo>
                    <a:lnTo>
                      <a:pt x="538" y="167"/>
                    </a:lnTo>
                    <a:lnTo>
                      <a:pt x="539" y="167"/>
                    </a:lnTo>
                    <a:lnTo>
                      <a:pt x="539" y="170"/>
                    </a:lnTo>
                    <a:lnTo>
                      <a:pt x="540" y="170"/>
                    </a:lnTo>
                    <a:lnTo>
                      <a:pt x="540" y="171"/>
                    </a:lnTo>
                    <a:lnTo>
                      <a:pt x="541" y="171"/>
                    </a:lnTo>
                    <a:lnTo>
                      <a:pt x="543" y="172"/>
                    </a:lnTo>
                    <a:lnTo>
                      <a:pt x="543" y="173"/>
                    </a:lnTo>
                    <a:lnTo>
                      <a:pt x="544" y="173"/>
                    </a:lnTo>
                    <a:lnTo>
                      <a:pt x="545" y="175"/>
                    </a:lnTo>
                    <a:lnTo>
                      <a:pt x="543" y="176"/>
                    </a:lnTo>
                    <a:lnTo>
                      <a:pt x="544" y="178"/>
                    </a:lnTo>
                    <a:lnTo>
                      <a:pt x="544" y="179"/>
                    </a:lnTo>
                    <a:lnTo>
                      <a:pt x="543" y="179"/>
                    </a:lnTo>
                    <a:lnTo>
                      <a:pt x="544" y="182"/>
                    </a:lnTo>
                    <a:lnTo>
                      <a:pt x="543" y="185"/>
                    </a:lnTo>
                    <a:lnTo>
                      <a:pt x="544" y="185"/>
                    </a:lnTo>
                    <a:lnTo>
                      <a:pt x="545" y="188"/>
                    </a:lnTo>
                    <a:lnTo>
                      <a:pt x="543" y="189"/>
                    </a:lnTo>
                    <a:lnTo>
                      <a:pt x="541" y="189"/>
                    </a:lnTo>
                    <a:lnTo>
                      <a:pt x="540" y="190"/>
                    </a:lnTo>
                    <a:lnTo>
                      <a:pt x="541" y="191"/>
                    </a:lnTo>
                    <a:lnTo>
                      <a:pt x="541" y="197"/>
                    </a:lnTo>
                    <a:lnTo>
                      <a:pt x="540" y="200"/>
                    </a:lnTo>
                    <a:lnTo>
                      <a:pt x="542" y="201"/>
                    </a:lnTo>
                    <a:lnTo>
                      <a:pt x="542" y="203"/>
                    </a:lnTo>
                    <a:lnTo>
                      <a:pt x="543" y="203"/>
                    </a:lnTo>
                    <a:lnTo>
                      <a:pt x="545" y="205"/>
                    </a:lnTo>
                    <a:lnTo>
                      <a:pt x="544" y="209"/>
                    </a:lnTo>
                    <a:lnTo>
                      <a:pt x="545" y="207"/>
                    </a:lnTo>
                    <a:lnTo>
                      <a:pt x="545" y="209"/>
                    </a:lnTo>
                    <a:lnTo>
                      <a:pt x="546" y="209"/>
                    </a:lnTo>
                    <a:lnTo>
                      <a:pt x="544" y="211"/>
                    </a:lnTo>
                    <a:lnTo>
                      <a:pt x="547" y="210"/>
                    </a:lnTo>
                    <a:lnTo>
                      <a:pt x="545" y="212"/>
                    </a:lnTo>
                    <a:lnTo>
                      <a:pt x="545" y="215"/>
                    </a:lnTo>
                    <a:lnTo>
                      <a:pt x="544" y="217"/>
                    </a:lnTo>
                    <a:lnTo>
                      <a:pt x="543" y="216"/>
                    </a:lnTo>
                    <a:lnTo>
                      <a:pt x="542" y="218"/>
                    </a:lnTo>
                    <a:lnTo>
                      <a:pt x="543" y="219"/>
                    </a:lnTo>
                    <a:lnTo>
                      <a:pt x="543" y="220"/>
                    </a:lnTo>
                    <a:lnTo>
                      <a:pt x="542" y="222"/>
                    </a:lnTo>
                    <a:lnTo>
                      <a:pt x="541" y="221"/>
                    </a:lnTo>
                    <a:lnTo>
                      <a:pt x="541" y="222"/>
                    </a:lnTo>
                    <a:lnTo>
                      <a:pt x="540" y="223"/>
                    </a:lnTo>
                    <a:lnTo>
                      <a:pt x="539" y="225"/>
                    </a:lnTo>
                    <a:lnTo>
                      <a:pt x="537" y="224"/>
                    </a:lnTo>
                    <a:lnTo>
                      <a:pt x="536" y="227"/>
                    </a:lnTo>
                    <a:lnTo>
                      <a:pt x="536" y="226"/>
                    </a:lnTo>
                    <a:lnTo>
                      <a:pt x="535" y="226"/>
                    </a:lnTo>
                    <a:lnTo>
                      <a:pt x="535" y="228"/>
                    </a:lnTo>
                    <a:lnTo>
                      <a:pt x="534" y="228"/>
                    </a:lnTo>
                    <a:lnTo>
                      <a:pt x="533" y="227"/>
                    </a:lnTo>
                    <a:lnTo>
                      <a:pt x="532" y="229"/>
                    </a:lnTo>
                    <a:lnTo>
                      <a:pt x="534" y="229"/>
                    </a:lnTo>
                    <a:lnTo>
                      <a:pt x="537" y="232"/>
                    </a:lnTo>
                    <a:lnTo>
                      <a:pt x="537" y="233"/>
                    </a:lnTo>
                    <a:lnTo>
                      <a:pt x="533" y="236"/>
                    </a:lnTo>
                    <a:lnTo>
                      <a:pt x="530" y="237"/>
                    </a:lnTo>
                    <a:lnTo>
                      <a:pt x="534" y="239"/>
                    </a:lnTo>
                    <a:lnTo>
                      <a:pt x="538" y="238"/>
                    </a:lnTo>
                    <a:lnTo>
                      <a:pt x="540" y="241"/>
                    </a:lnTo>
                    <a:lnTo>
                      <a:pt x="541" y="243"/>
                    </a:lnTo>
                    <a:lnTo>
                      <a:pt x="543" y="244"/>
                    </a:lnTo>
                    <a:lnTo>
                      <a:pt x="544" y="243"/>
                    </a:lnTo>
                    <a:lnTo>
                      <a:pt x="544" y="241"/>
                    </a:lnTo>
                    <a:lnTo>
                      <a:pt x="545" y="243"/>
                    </a:lnTo>
                    <a:lnTo>
                      <a:pt x="546" y="243"/>
                    </a:lnTo>
                    <a:lnTo>
                      <a:pt x="546" y="244"/>
                    </a:lnTo>
                    <a:lnTo>
                      <a:pt x="550" y="248"/>
                    </a:lnTo>
                    <a:lnTo>
                      <a:pt x="552" y="249"/>
                    </a:lnTo>
                    <a:lnTo>
                      <a:pt x="553" y="249"/>
                    </a:lnTo>
                    <a:lnTo>
                      <a:pt x="555" y="250"/>
                    </a:lnTo>
                    <a:lnTo>
                      <a:pt x="552" y="254"/>
                    </a:lnTo>
                    <a:lnTo>
                      <a:pt x="552" y="257"/>
                    </a:lnTo>
                    <a:lnTo>
                      <a:pt x="551" y="256"/>
                    </a:lnTo>
                    <a:lnTo>
                      <a:pt x="550" y="256"/>
                    </a:lnTo>
                    <a:lnTo>
                      <a:pt x="551" y="260"/>
                    </a:lnTo>
                    <a:lnTo>
                      <a:pt x="548" y="262"/>
                    </a:lnTo>
                    <a:lnTo>
                      <a:pt x="546" y="260"/>
                    </a:lnTo>
                    <a:lnTo>
                      <a:pt x="546" y="258"/>
                    </a:lnTo>
                    <a:lnTo>
                      <a:pt x="545" y="257"/>
                    </a:lnTo>
                    <a:lnTo>
                      <a:pt x="543" y="258"/>
                    </a:lnTo>
                    <a:lnTo>
                      <a:pt x="541" y="262"/>
                    </a:lnTo>
                    <a:lnTo>
                      <a:pt x="543" y="265"/>
                    </a:lnTo>
                    <a:lnTo>
                      <a:pt x="545" y="263"/>
                    </a:lnTo>
                    <a:lnTo>
                      <a:pt x="546" y="267"/>
                    </a:lnTo>
                    <a:lnTo>
                      <a:pt x="548" y="267"/>
                    </a:lnTo>
                    <a:lnTo>
                      <a:pt x="546" y="267"/>
                    </a:lnTo>
                    <a:lnTo>
                      <a:pt x="544" y="266"/>
                    </a:lnTo>
                    <a:lnTo>
                      <a:pt x="543" y="267"/>
                    </a:lnTo>
                    <a:lnTo>
                      <a:pt x="542" y="267"/>
                    </a:lnTo>
                    <a:lnTo>
                      <a:pt x="541" y="267"/>
                    </a:lnTo>
                    <a:lnTo>
                      <a:pt x="542" y="271"/>
                    </a:lnTo>
                    <a:lnTo>
                      <a:pt x="543" y="273"/>
                    </a:lnTo>
                    <a:lnTo>
                      <a:pt x="542" y="279"/>
                    </a:lnTo>
                    <a:lnTo>
                      <a:pt x="540" y="278"/>
                    </a:lnTo>
                    <a:lnTo>
                      <a:pt x="538" y="279"/>
                    </a:lnTo>
                    <a:lnTo>
                      <a:pt x="537" y="278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5" y="279"/>
                    </a:lnTo>
                    <a:lnTo>
                      <a:pt x="534" y="278"/>
                    </a:lnTo>
                    <a:lnTo>
                      <a:pt x="533" y="279"/>
                    </a:lnTo>
                    <a:lnTo>
                      <a:pt x="532" y="280"/>
                    </a:lnTo>
                    <a:lnTo>
                      <a:pt x="533" y="282"/>
                    </a:lnTo>
                    <a:lnTo>
                      <a:pt x="538" y="283"/>
                    </a:lnTo>
                    <a:lnTo>
                      <a:pt x="537" y="284"/>
                    </a:lnTo>
                    <a:lnTo>
                      <a:pt x="539" y="283"/>
                    </a:lnTo>
                    <a:lnTo>
                      <a:pt x="539" y="285"/>
                    </a:lnTo>
                    <a:lnTo>
                      <a:pt x="538" y="286"/>
                    </a:lnTo>
                    <a:lnTo>
                      <a:pt x="538" y="285"/>
                    </a:lnTo>
                    <a:lnTo>
                      <a:pt x="537" y="286"/>
                    </a:lnTo>
                    <a:lnTo>
                      <a:pt x="535" y="284"/>
                    </a:lnTo>
                    <a:lnTo>
                      <a:pt x="535" y="285"/>
                    </a:lnTo>
                    <a:lnTo>
                      <a:pt x="536" y="286"/>
                    </a:lnTo>
                    <a:lnTo>
                      <a:pt x="534" y="284"/>
                    </a:lnTo>
                    <a:lnTo>
                      <a:pt x="533" y="284"/>
                    </a:lnTo>
                    <a:lnTo>
                      <a:pt x="530" y="286"/>
                    </a:lnTo>
                    <a:lnTo>
                      <a:pt x="528" y="286"/>
                    </a:lnTo>
                    <a:lnTo>
                      <a:pt x="530" y="288"/>
                    </a:lnTo>
                    <a:lnTo>
                      <a:pt x="530" y="290"/>
                    </a:lnTo>
                    <a:lnTo>
                      <a:pt x="530" y="292"/>
                    </a:lnTo>
                    <a:lnTo>
                      <a:pt x="532" y="293"/>
                    </a:lnTo>
                    <a:lnTo>
                      <a:pt x="532" y="294"/>
                    </a:lnTo>
                    <a:lnTo>
                      <a:pt x="533" y="294"/>
                    </a:lnTo>
                    <a:lnTo>
                      <a:pt x="533" y="296"/>
                    </a:lnTo>
                    <a:lnTo>
                      <a:pt x="535" y="297"/>
                    </a:lnTo>
                    <a:lnTo>
                      <a:pt x="536" y="298"/>
                    </a:lnTo>
                    <a:lnTo>
                      <a:pt x="537" y="299"/>
                    </a:lnTo>
                    <a:lnTo>
                      <a:pt x="539" y="297"/>
                    </a:lnTo>
                    <a:lnTo>
                      <a:pt x="542" y="298"/>
                    </a:lnTo>
                    <a:lnTo>
                      <a:pt x="541" y="299"/>
                    </a:lnTo>
                    <a:lnTo>
                      <a:pt x="541" y="298"/>
                    </a:lnTo>
                    <a:lnTo>
                      <a:pt x="542" y="300"/>
                    </a:lnTo>
                    <a:lnTo>
                      <a:pt x="543" y="300"/>
                    </a:lnTo>
                    <a:lnTo>
                      <a:pt x="545" y="301"/>
                    </a:lnTo>
                    <a:lnTo>
                      <a:pt x="543" y="302"/>
                    </a:lnTo>
                    <a:lnTo>
                      <a:pt x="542" y="302"/>
                    </a:lnTo>
                    <a:lnTo>
                      <a:pt x="543" y="303"/>
                    </a:lnTo>
                    <a:lnTo>
                      <a:pt x="544" y="304"/>
                    </a:lnTo>
                    <a:lnTo>
                      <a:pt x="545" y="304"/>
                    </a:lnTo>
                    <a:lnTo>
                      <a:pt x="546" y="304"/>
                    </a:lnTo>
                    <a:lnTo>
                      <a:pt x="548" y="306"/>
                    </a:lnTo>
                    <a:lnTo>
                      <a:pt x="552" y="304"/>
                    </a:lnTo>
                    <a:lnTo>
                      <a:pt x="552" y="306"/>
                    </a:lnTo>
                    <a:lnTo>
                      <a:pt x="553" y="307"/>
                    </a:lnTo>
                    <a:lnTo>
                      <a:pt x="552" y="307"/>
                    </a:lnTo>
                    <a:lnTo>
                      <a:pt x="552" y="310"/>
                    </a:lnTo>
                    <a:lnTo>
                      <a:pt x="553" y="310"/>
                    </a:lnTo>
                    <a:lnTo>
                      <a:pt x="555" y="306"/>
                    </a:lnTo>
                    <a:lnTo>
                      <a:pt x="555" y="307"/>
                    </a:lnTo>
                    <a:lnTo>
                      <a:pt x="555" y="309"/>
                    </a:lnTo>
                    <a:lnTo>
                      <a:pt x="556" y="309"/>
                    </a:lnTo>
                    <a:lnTo>
                      <a:pt x="555" y="310"/>
                    </a:lnTo>
                    <a:lnTo>
                      <a:pt x="555" y="313"/>
                    </a:lnTo>
                    <a:lnTo>
                      <a:pt x="552" y="314"/>
                    </a:lnTo>
                    <a:lnTo>
                      <a:pt x="552" y="315"/>
                    </a:lnTo>
                    <a:lnTo>
                      <a:pt x="552" y="316"/>
                    </a:lnTo>
                    <a:lnTo>
                      <a:pt x="555" y="319"/>
                    </a:lnTo>
                    <a:lnTo>
                      <a:pt x="562" y="326"/>
                    </a:lnTo>
                    <a:lnTo>
                      <a:pt x="563" y="325"/>
                    </a:lnTo>
                    <a:lnTo>
                      <a:pt x="564" y="325"/>
                    </a:lnTo>
                    <a:lnTo>
                      <a:pt x="564" y="327"/>
                    </a:lnTo>
                    <a:lnTo>
                      <a:pt x="565" y="326"/>
                    </a:lnTo>
                    <a:lnTo>
                      <a:pt x="566" y="327"/>
                    </a:lnTo>
                    <a:lnTo>
                      <a:pt x="566" y="329"/>
                    </a:lnTo>
                    <a:lnTo>
                      <a:pt x="567" y="330"/>
                    </a:lnTo>
                    <a:lnTo>
                      <a:pt x="568" y="328"/>
                    </a:lnTo>
                    <a:lnTo>
                      <a:pt x="569" y="331"/>
                    </a:lnTo>
                    <a:lnTo>
                      <a:pt x="568" y="333"/>
                    </a:lnTo>
                    <a:lnTo>
                      <a:pt x="569" y="333"/>
                    </a:lnTo>
                    <a:lnTo>
                      <a:pt x="568" y="335"/>
                    </a:lnTo>
                    <a:lnTo>
                      <a:pt x="569" y="337"/>
                    </a:lnTo>
                    <a:lnTo>
                      <a:pt x="568" y="336"/>
                    </a:lnTo>
                    <a:lnTo>
                      <a:pt x="566" y="337"/>
                    </a:lnTo>
                    <a:lnTo>
                      <a:pt x="564" y="339"/>
                    </a:lnTo>
                    <a:lnTo>
                      <a:pt x="567" y="344"/>
                    </a:lnTo>
                    <a:lnTo>
                      <a:pt x="568" y="344"/>
                    </a:lnTo>
                    <a:lnTo>
                      <a:pt x="568" y="345"/>
                    </a:lnTo>
                    <a:lnTo>
                      <a:pt x="568" y="347"/>
                    </a:lnTo>
                    <a:lnTo>
                      <a:pt x="568" y="348"/>
                    </a:lnTo>
                    <a:lnTo>
                      <a:pt x="567" y="348"/>
                    </a:lnTo>
                    <a:lnTo>
                      <a:pt x="566" y="347"/>
                    </a:lnTo>
                    <a:lnTo>
                      <a:pt x="566" y="350"/>
                    </a:lnTo>
                    <a:lnTo>
                      <a:pt x="565" y="350"/>
                    </a:lnTo>
                    <a:lnTo>
                      <a:pt x="564" y="352"/>
                    </a:lnTo>
                    <a:lnTo>
                      <a:pt x="564" y="353"/>
                    </a:lnTo>
                    <a:lnTo>
                      <a:pt x="561" y="356"/>
                    </a:lnTo>
                    <a:lnTo>
                      <a:pt x="563" y="357"/>
                    </a:lnTo>
                    <a:lnTo>
                      <a:pt x="561" y="358"/>
                    </a:lnTo>
                    <a:lnTo>
                      <a:pt x="558" y="359"/>
                    </a:lnTo>
                    <a:lnTo>
                      <a:pt x="557" y="359"/>
                    </a:lnTo>
                    <a:lnTo>
                      <a:pt x="557" y="360"/>
                    </a:lnTo>
                    <a:lnTo>
                      <a:pt x="556" y="361"/>
                    </a:lnTo>
                    <a:lnTo>
                      <a:pt x="558" y="363"/>
                    </a:lnTo>
                    <a:lnTo>
                      <a:pt x="558" y="365"/>
                    </a:lnTo>
                    <a:lnTo>
                      <a:pt x="557" y="367"/>
                    </a:lnTo>
                    <a:lnTo>
                      <a:pt x="558" y="368"/>
                    </a:lnTo>
                    <a:lnTo>
                      <a:pt x="557" y="371"/>
                    </a:lnTo>
                    <a:lnTo>
                      <a:pt x="556" y="371"/>
                    </a:lnTo>
                    <a:lnTo>
                      <a:pt x="556" y="369"/>
                    </a:lnTo>
                    <a:lnTo>
                      <a:pt x="555" y="371"/>
                    </a:lnTo>
                    <a:lnTo>
                      <a:pt x="556" y="373"/>
                    </a:lnTo>
                    <a:lnTo>
                      <a:pt x="556" y="375"/>
                    </a:lnTo>
                    <a:lnTo>
                      <a:pt x="555" y="375"/>
                    </a:lnTo>
                    <a:lnTo>
                      <a:pt x="554" y="376"/>
                    </a:lnTo>
                    <a:lnTo>
                      <a:pt x="554" y="378"/>
                    </a:lnTo>
                    <a:lnTo>
                      <a:pt x="552" y="380"/>
                    </a:lnTo>
                    <a:lnTo>
                      <a:pt x="551" y="378"/>
                    </a:lnTo>
                    <a:lnTo>
                      <a:pt x="548" y="379"/>
                    </a:lnTo>
                    <a:lnTo>
                      <a:pt x="548" y="380"/>
                    </a:lnTo>
                    <a:lnTo>
                      <a:pt x="548" y="382"/>
                    </a:lnTo>
                    <a:lnTo>
                      <a:pt x="546" y="383"/>
                    </a:lnTo>
                    <a:lnTo>
                      <a:pt x="544" y="383"/>
                    </a:lnTo>
                    <a:lnTo>
                      <a:pt x="544" y="384"/>
                    </a:lnTo>
                    <a:lnTo>
                      <a:pt x="543" y="382"/>
                    </a:lnTo>
                    <a:lnTo>
                      <a:pt x="541" y="380"/>
                    </a:lnTo>
                    <a:lnTo>
                      <a:pt x="540" y="381"/>
                    </a:lnTo>
                    <a:lnTo>
                      <a:pt x="535" y="385"/>
                    </a:lnTo>
                    <a:lnTo>
                      <a:pt x="535" y="386"/>
                    </a:lnTo>
                    <a:lnTo>
                      <a:pt x="533" y="386"/>
                    </a:lnTo>
                    <a:lnTo>
                      <a:pt x="532" y="388"/>
                    </a:lnTo>
                    <a:lnTo>
                      <a:pt x="530" y="390"/>
                    </a:lnTo>
                    <a:lnTo>
                      <a:pt x="530" y="392"/>
                    </a:lnTo>
                    <a:lnTo>
                      <a:pt x="531" y="394"/>
                    </a:lnTo>
                    <a:lnTo>
                      <a:pt x="533" y="394"/>
                    </a:lnTo>
                    <a:lnTo>
                      <a:pt x="534" y="394"/>
                    </a:lnTo>
                    <a:lnTo>
                      <a:pt x="533" y="395"/>
                    </a:lnTo>
                    <a:lnTo>
                      <a:pt x="535" y="397"/>
                    </a:lnTo>
                    <a:lnTo>
                      <a:pt x="534" y="399"/>
                    </a:lnTo>
                    <a:lnTo>
                      <a:pt x="536" y="400"/>
                    </a:lnTo>
                    <a:lnTo>
                      <a:pt x="535" y="401"/>
                    </a:lnTo>
                    <a:lnTo>
                      <a:pt x="535" y="402"/>
                    </a:lnTo>
                    <a:lnTo>
                      <a:pt x="533" y="403"/>
                    </a:lnTo>
                    <a:lnTo>
                      <a:pt x="532" y="403"/>
                    </a:lnTo>
                    <a:lnTo>
                      <a:pt x="531" y="405"/>
                    </a:lnTo>
                    <a:lnTo>
                      <a:pt x="530" y="404"/>
                    </a:lnTo>
                    <a:lnTo>
                      <a:pt x="529" y="404"/>
                    </a:lnTo>
                    <a:lnTo>
                      <a:pt x="528" y="403"/>
                    </a:lnTo>
                    <a:lnTo>
                      <a:pt x="527" y="404"/>
                    </a:lnTo>
                    <a:lnTo>
                      <a:pt x="524" y="401"/>
                    </a:lnTo>
                    <a:lnTo>
                      <a:pt x="524" y="403"/>
                    </a:lnTo>
                    <a:lnTo>
                      <a:pt x="523" y="403"/>
                    </a:lnTo>
                    <a:lnTo>
                      <a:pt x="522" y="402"/>
                    </a:lnTo>
                    <a:lnTo>
                      <a:pt x="522" y="399"/>
                    </a:lnTo>
                    <a:lnTo>
                      <a:pt x="521" y="400"/>
                    </a:lnTo>
                    <a:lnTo>
                      <a:pt x="520" y="399"/>
                    </a:lnTo>
                    <a:lnTo>
                      <a:pt x="519" y="402"/>
                    </a:lnTo>
                    <a:lnTo>
                      <a:pt x="517" y="404"/>
                    </a:lnTo>
                    <a:lnTo>
                      <a:pt x="516" y="407"/>
                    </a:lnTo>
                    <a:lnTo>
                      <a:pt x="517" y="407"/>
                    </a:lnTo>
                    <a:lnTo>
                      <a:pt x="515" y="408"/>
                    </a:lnTo>
                    <a:lnTo>
                      <a:pt x="515" y="411"/>
                    </a:lnTo>
                    <a:lnTo>
                      <a:pt x="515" y="409"/>
                    </a:lnTo>
                    <a:lnTo>
                      <a:pt x="513" y="408"/>
                    </a:lnTo>
                    <a:lnTo>
                      <a:pt x="510" y="412"/>
                    </a:lnTo>
                    <a:lnTo>
                      <a:pt x="507" y="409"/>
                    </a:lnTo>
                    <a:lnTo>
                      <a:pt x="504" y="411"/>
                    </a:lnTo>
                    <a:lnTo>
                      <a:pt x="501" y="413"/>
                    </a:lnTo>
                    <a:lnTo>
                      <a:pt x="500" y="412"/>
                    </a:lnTo>
                    <a:lnTo>
                      <a:pt x="499" y="413"/>
                    </a:lnTo>
                    <a:lnTo>
                      <a:pt x="498" y="412"/>
                    </a:lnTo>
                    <a:lnTo>
                      <a:pt x="496" y="412"/>
                    </a:lnTo>
                    <a:lnTo>
                      <a:pt x="496" y="411"/>
                    </a:lnTo>
                    <a:lnTo>
                      <a:pt x="496" y="413"/>
                    </a:lnTo>
                    <a:lnTo>
                      <a:pt x="496" y="412"/>
                    </a:lnTo>
                    <a:lnTo>
                      <a:pt x="495" y="412"/>
                    </a:lnTo>
                    <a:lnTo>
                      <a:pt x="492" y="412"/>
                    </a:lnTo>
                    <a:lnTo>
                      <a:pt x="492" y="415"/>
                    </a:lnTo>
                    <a:lnTo>
                      <a:pt x="491" y="414"/>
                    </a:lnTo>
                    <a:lnTo>
                      <a:pt x="490" y="414"/>
                    </a:lnTo>
                    <a:lnTo>
                      <a:pt x="491" y="416"/>
                    </a:lnTo>
                    <a:lnTo>
                      <a:pt x="487" y="417"/>
                    </a:lnTo>
                    <a:lnTo>
                      <a:pt x="487" y="416"/>
                    </a:lnTo>
                    <a:lnTo>
                      <a:pt x="486" y="418"/>
                    </a:lnTo>
                    <a:lnTo>
                      <a:pt x="486" y="416"/>
                    </a:lnTo>
                    <a:lnTo>
                      <a:pt x="484" y="417"/>
                    </a:lnTo>
                    <a:lnTo>
                      <a:pt x="484" y="416"/>
                    </a:lnTo>
                    <a:lnTo>
                      <a:pt x="482" y="416"/>
                    </a:lnTo>
                    <a:lnTo>
                      <a:pt x="484" y="413"/>
                    </a:lnTo>
                    <a:lnTo>
                      <a:pt x="484" y="412"/>
                    </a:lnTo>
                    <a:lnTo>
                      <a:pt x="483" y="412"/>
                    </a:lnTo>
                    <a:lnTo>
                      <a:pt x="481" y="413"/>
                    </a:lnTo>
                    <a:lnTo>
                      <a:pt x="480" y="412"/>
                    </a:lnTo>
                    <a:lnTo>
                      <a:pt x="479" y="414"/>
                    </a:lnTo>
                    <a:lnTo>
                      <a:pt x="477" y="414"/>
                    </a:lnTo>
                    <a:lnTo>
                      <a:pt x="476" y="414"/>
                    </a:lnTo>
                    <a:lnTo>
                      <a:pt x="475" y="416"/>
                    </a:lnTo>
                    <a:lnTo>
                      <a:pt x="474" y="416"/>
                    </a:lnTo>
                    <a:lnTo>
                      <a:pt x="474" y="418"/>
                    </a:lnTo>
                    <a:lnTo>
                      <a:pt x="475" y="418"/>
                    </a:lnTo>
                    <a:lnTo>
                      <a:pt x="475" y="419"/>
                    </a:lnTo>
                    <a:lnTo>
                      <a:pt x="475" y="420"/>
                    </a:lnTo>
                    <a:lnTo>
                      <a:pt x="472" y="421"/>
                    </a:lnTo>
                    <a:lnTo>
                      <a:pt x="472" y="425"/>
                    </a:lnTo>
                    <a:lnTo>
                      <a:pt x="472" y="428"/>
                    </a:lnTo>
                    <a:lnTo>
                      <a:pt x="467" y="429"/>
                    </a:lnTo>
                    <a:lnTo>
                      <a:pt x="467" y="431"/>
                    </a:lnTo>
                    <a:lnTo>
                      <a:pt x="465" y="434"/>
                    </a:lnTo>
                    <a:lnTo>
                      <a:pt x="464" y="434"/>
                    </a:lnTo>
                    <a:lnTo>
                      <a:pt x="464" y="433"/>
                    </a:lnTo>
                    <a:lnTo>
                      <a:pt x="463" y="433"/>
                    </a:lnTo>
                    <a:lnTo>
                      <a:pt x="462" y="433"/>
                    </a:lnTo>
                    <a:lnTo>
                      <a:pt x="463" y="434"/>
                    </a:lnTo>
                    <a:lnTo>
                      <a:pt x="462" y="434"/>
                    </a:lnTo>
                    <a:lnTo>
                      <a:pt x="462" y="435"/>
                    </a:lnTo>
                    <a:lnTo>
                      <a:pt x="461" y="437"/>
                    </a:lnTo>
                    <a:lnTo>
                      <a:pt x="460" y="438"/>
                    </a:lnTo>
                    <a:lnTo>
                      <a:pt x="460" y="440"/>
                    </a:lnTo>
                    <a:lnTo>
                      <a:pt x="460" y="442"/>
                    </a:lnTo>
                    <a:lnTo>
                      <a:pt x="459" y="446"/>
                    </a:lnTo>
                    <a:lnTo>
                      <a:pt x="460" y="448"/>
                    </a:lnTo>
                    <a:lnTo>
                      <a:pt x="459" y="450"/>
                    </a:lnTo>
                    <a:lnTo>
                      <a:pt x="460" y="451"/>
                    </a:lnTo>
                    <a:lnTo>
                      <a:pt x="460" y="454"/>
                    </a:lnTo>
                    <a:lnTo>
                      <a:pt x="462" y="454"/>
                    </a:lnTo>
                    <a:lnTo>
                      <a:pt x="463" y="452"/>
                    </a:lnTo>
                    <a:lnTo>
                      <a:pt x="466" y="457"/>
                    </a:lnTo>
                    <a:lnTo>
                      <a:pt x="469" y="456"/>
                    </a:lnTo>
                    <a:lnTo>
                      <a:pt x="473" y="457"/>
                    </a:lnTo>
                    <a:lnTo>
                      <a:pt x="473" y="459"/>
                    </a:lnTo>
                    <a:lnTo>
                      <a:pt x="474" y="463"/>
                    </a:lnTo>
                    <a:lnTo>
                      <a:pt x="476" y="468"/>
                    </a:lnTo>
                    <a:lnTo>
                      <a:pt x="476" y="469"/>
                    </a:lnTo>
                    <a:lnTo>
                      <a:pt x="475" y="470"/>
                    </a:lnTo>
                    <a:lnTo>
                      <a:pt x="475" y="471"/>
                    </a:lnTo>
                    <a:lnTo>
                      <a:pt x="476" y="473"/>
                    </a:lnTo>
                    <a:lnTo>
                      <a:pt x="474" y="476"/>
                    </a:lnTo>
                    <a:lnTo>
                      <a:pt x="473" y="475"/>
                    </a:lnTo>
                    <a:lnTo>
                      <a:pt x="473" y="477"/>
                    </a:lnTo>
                    <a:lnTo>
                      <a:pt x="472" y="476"/>
                    </a:lnTo>
                    <a:lnTo>
                      <a:pt x="472" y="477"/>
                    </a:lnTo>
                    <a:lnTo>
                      <a:pt x="471" y="477"/>
                    </a:lnTo>
                    <a:lnTo>
                      <a:pt x="470" y="478"/>
                    </a:lnTo>
                    <a:lnTo>
                      <a:pt x="470" y="480"/>
                    </a:lnTo>
                    <a:lnTo>
                      <a:pt x="467" y="481"/>
                    </a:lnTo>
                    <a:lnTo>
                      <a:pt x="467" y="480"/>
                    </a:lnTo>
                    <a:lnTo>
                      <a:pt x="466" y="480"/>
                    </a:lnTo>
                    <a:lnTo>
                      <a:pt x="464" y="481"/>
                    </a:lnTo>
                    <a:lnTo>
                      <a:pt x="463" y="480"/>
                    </a:lnTo>
                    <a:lnTo>
                      <a:pt x="462" y="481"/>
                    </a:lnTo>
                    <a:lnTo>
                      <a:pt x="462" y="478"/>
                    </a:lnTo>
                    <a:lnTo>
                      <a:pt x="459" y="476"/>
                    </a:lnTo>
                    <a:lnTo>
                      <a:pt x="459" y="478"/>
                    </a:lnTo>
                    <a:lnTo>
                      <a:pt x="457" y="477"/>
                    </a:lnTo>
                    <a:lnTo>
                      <a:pt x="457" y="480"/>
                    </a:lnTo>
                    <a:lnTo>
                      <a:pt x="455" y="481"/>
                    </a:lnTo>
                    <a:lnTo>
                      <a:pt x="454" y="480"/>
                    </a:lnTo>
                    <a:lnTo>
                      <a:pt x="455" y="478"/>
                    </a:lnTo>
                    <a:lnTo>
                      <a:pt x="453" y="478"/>
                    </a:lnTo>
                    <a:lnTo>
                      <a:pt x="453" y="480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2" y="483"/>
                    </a:lnTo>
                    <a:lnTo>
                      <a:pt x="452" y="484"/>
                    </a:lnTo>
                    <a:lnTo>
                      <a:pt x="451" y="485"/>
                    </a:lnTo>
                    <a:lnTo>
                      <a:pt x="451" y="486"/>
                    </a:lnTo>
                    <a:lnTo>
                      <a:pt x="451" y="488"/>
                    </a:lnTo>
                    <a:lnTo>
                      <a:pt x="451" y="489"/>
                    </a:lnTo>
                    <a:lnTo>
                      <a:pt x="447" y="488"/>
                    </a:lnTo>
                    <a:lnTo>
                      <a:pt x="447" y="486"/>
                    </a:lnTo>
                    <a:lnTo>
                      <a:pt x="447" y="484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2" y="483"/>
                    </a:lnTo>
                    <a:lnTo>
                      <a:pt x="441" y="483"/>
                    </a:lnTo>
                    <a:lnTo>
                      <a:pt x="440" y="482"/>
                    </a:lnTo>
                    <a:lnTo>
                      <a:pt x="439" y="481"/>
                    </a:lnTo>
                    <a:lnTo>
                      <a:pt x="439" y="480"/>
                    </a:lnTo>
                    <a:lnTo>
                      <a:pt x="438" y="480"/>
                    </a:lnTo>
                    <a:lnTo>
                      <a:pt x="438" y="478"/>
                    </a:lnTo>
                    <a:lnTo>
                      <a:pt x="439" y="478"/>
                    </a:lnTo>
                    <a:lnTo>
                      <a:pt x="438" y="478"/>
                    </a:lnTo>
                    <a:lnTo>
                      <a:pt x="437" y="479"/>
                    </a:lnTo>
                    <a:lnTo>
                      <a:pt x="436" y="478"/>
                    </a:lnTo>
                    <a:lnTo>
                      <a:pt x="435" y="478"/>
                    </a:lnTo>
                    <a:lnTo>
                      <a:pt x="435" y="482"/>
                    </a:lnTo>
                    <a:lnTo>
                      <a:pt x="433" y="480"/>
                    </a:lnTo>
                    <a:lnTo>
                      <a:pt x="430" y="481"/>
                    </a:lnTo>
                    <a:lnTo>
                      <a:pt x="429" y="481"/>
                    </a:lnTo>
                    <a:lnTo>
                      <a:pt x="429" y="482"/>
                    </a:lnTo>
                    <a:lnTo>
                      <a:pt x="428" y="482"/>
                    </a:lnTo>
                    <a:lnTo>
                      <a:pt x="427" y="481"/>
                    </a:lnTo>
                    <a:lnTo>
                      <a:pt x="426" y="482"/>
                    </a:lnTo>
                    <a:lnTo>
                      <a:pt x="425" y="482"/>
                    </a:lnTo>
                    <a:lnTo>
                      <a:pt x="424" y="482"/>
                    </a:lnTo>
                    <a:lnTo>
                      <a:pt x="421" y="483"/>
                    </a:lnTo>
                    <a:lnTo>
                      <a:pt x="419" y="480"/>
                    </a:lnTo>
                    <a:lnTo>
                      <a:pt x="417" y="480"/>
                    </a:lnTo>
                    <a:lnTo>
                      <a:pt x="416" y="478"/>
                    </a:lnTo>
                    <a:lnTo>
                      <a:pt x="414" y="479"/>
                    </a:lnTo>
                    <a:lnTo>
                      <a:pt x="413" y="480"/>
                    </a:lnTo>
                    <a:lnTo>
                      <a:pt x="412" y="480"/>
                    </a:lnTo>
                    <a:lnTo>
                      <a:pt x="411" y="478"/>
                    </a:lnTo>
                    <a:lnTo>
                      <a:pt x="411" y="479"/>
                    </a:lnTo>
                    <a:lnTo>
                      <a:pt x="409" y="478"/>
                    </a:lnTo>
                    <a:lnTo>
                      <a:pt x="410" y="477"/>
                    </a:lnTo>
                    <a:lnTo>
                      <a:pt x="408" y="475"/>
                    </a:lnTo>
                    <a:lnTo>
                      <a:pt x="403" y="475"/>
                    </a:lnTo>
                    <a:lnTo>
                      <a:pt x="400" y="475"/>
                    </a:lnTo>
                    <a:lnTo>
                      <a:pt x="398" y="479"/>
                    </a:lnTo>
                    <a:lnTo>
                      <a:pt x="399" y="480"/>
                    </a:lnTo>
                    <a:lnTo>
                      <a:pt x="401" y="481"/>
                    </a:lnTo>
                    <a:lnTo>
                      <a:pt x="402" y="484"/>
                    </a:lnTo>
                    <a:lnTo>
                      <a:pt x="402" y="486"/>
                    </a:lnTo>
                    <a:lnTo>
                      <a:pt x="402" y="487"/>
                    </a:lnTo>
                    <a:lnTo>
                      <a:pt x="399" y="488"/>
                    </a:lnTo>
                    <a:lnTo>
                      <a:pt x="395" y="486"/>
                    </a:lnTo>
                    <a:lnTo>
                      <a:pt x="394" y="488"/>
                    </a:lnTo>
                    <a:lnTo>
                      <a:pt x="391" y="486"/>
                    </a:lnTo>
                    <a:lnTo>
                      <a:pt x="389" y="486"/>
                    </a:lnTo>
                    <a:lnTo>
                      <a:pt x="388" y="487"/>
                    </a:lnTo>
                    <a:lnTo>
                      <a:pt x="388" y="489"/>
                    </a:lnTo>
                    <a:lnTo>
                      <a:pt x="387" y="490"/>
                    </a:lnTo>
                    <a:lnTo>
                      <a:pt x="387" y="491"/>
                    </a:lnTo>
                    <a:lnTo>
                      <a:pt x="388" y="492"/>
                    </a:lnTo>
                    <a:lnTo>
                      <a:pt x="389" y="495"/>
                    </a:lnTo>
                    <a:lnTo>
                      <a:pt x="388" y="495"/>
                    </a:lnTo>
                    <a:lnTo>
                      <a:pt x="386" y="495"/>
                    </a:lnTo>
                    <a:lnTo>
                      <a:pt x="386" y="496"/>
                    </a:lnTo>
                    <a:lnTo>
                      <a:pt x="386" y="499"/>
                    </a:lnTo>
                    <a:lnTo>
                      <a:pt x="384" y="499"/>
                    </a:lnTo>
                    <a:lnTo>
                      <a:pt x="383" y="501"/>
                    </a:lnTo>
                    <a:lnTo>
                      <a:pt x="382" y="501"/>
                    </a:lnTo>
                    <a:lnTo>
                      <a:pt x="381" y="499"/>
                    </a:lnTo>
                    <a:lnTo>
                      <a:pt x="379" y="501"/>
                    </a:lnTo>
                    <a:lnTo>
                      <a:pt x="377" y="501"/>
                    </a:lnTo>
                    <a:lnTo>
                      <a:pt x="377" y="498"/>
                    </a:lnTo>
                    <a:lnTo>
                      <a:pt x="374" y="495"/>
                    </a:lnTo>
                    <a:lnTo>
                      <a:pt x="376" y="494"/>
                    </a:lnTo>
                    <a:lnTo>
                      <a:pt x="374" y="493"/>
                    </a:lnTo>
                    <a:lnTo>
                      <a:pt x="373" y="492"/>
                    </a:lnTo>
                    <a:lnTo>
                      <a:pt x="374" y="491"/>
                    </a:lnTo>
                    <a:lnTo>
                      <a:pt x="373" y="490"/>
                    </a:lnTo>
                    <a:lnTo>
                      <a:pt x="373" y="489"/>
                    </a:lnTo>
                    <a:lnTo>
                      <a:pt x="373" y="485"/>
                    </a:lnTo>
                    <a:lnTo>
                      <a:pt x="371" y="486"/>
                    </a:lnTo>
                    <a:lnTo>
                      <a:pt x="372" y="485"/>
                    </a:lnTo>
                    <a:lnTo>
                      <a:pt x="372" y="484"/>
                    </a:lnTo>
                    <a:lnTo>
                      <a:pt x="371" y="484"/>
                    </a:lnTo>
                    <a:lnTo>
                      <a:pt x="372" y="483"/>
                    </a:lnTo>
                    <a:lnTo>
                      <a:pt x="372" y="481"/>
                    </a:lnTo>
                    <a:lnTo>
                      <a:pt x="370" y="480"/>
                    </a:lnTo>
                    <a:lnTo>
                      <a:pt x="371" y="480"/>
                    </a:lnTo>
                    <a:lnTo>
                      <a:pt x="372" y="480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69" y="479"/>
                    </a:lnTo>
                    <a:lnTo>
                      <a:pt x="368" y="479"/>
                    </a:lnTo>
                    <a:lnTo>
                      <a:pt x="367" y="478"/>
                    </a:lnTo>
                    <a:lnTo>
                      <a:pt x="366" y="478"/>
                    </a:lnTo>
                    <a:lnTo>
                      <a:pt x="364" y="482"/>
                    </a:lnTo>
                    <a:lnTo>
                      <a:pt x="365" y="483"/>
                    </a:lnTo>
                    <a:lnTo>
                      <a:pt x="364" y="484"/>
                    </a:lnTo>
                    <a:lnTo>
                      <a:pt x="363" y="483"/>
                    </a:lnTo>
                    <a:lnTo>
                      <a:pt x="363" y="481"/>
                    </a:lnTo>
                    <a:lnTo>
                      <a:pt x="362" y="479"/>
                    </a:lnTo>
                    <a:lnTo>
                      <a:pt x="361" y="479"/>
                    </a:lnTo>
                    <a:lnTo>
                      <a:pt x="359" y="478"/>
                    </a:lnTo>
                    <a:lnTo>
                      <a:pt x="357" y="475"/>
                    </a:lnTo>
                    <a:lnTo>
                      <a:pt x="356" y="470"/>
                    </a:lnTo>
                    <a:lnTo>
                      <a:pt x="355" y="470"/>
                    </a:lnTo>
                    <a:lnTo>
                      <a:pt x="354" y="470"/>
                    </a:lnTo>
                    <a:lnTo>
                      <a:pt x="348" y="468"/>
                    </a:lnTo>
                    <a:lnTo>
                      <a:pt x="347" y="465"/>
                    </a:lnTo>
                    <a:lnTo>
                      <a:pt x="344" y="460"/>
                    </a:lnTo>
                    <a:lnTo>
                      <a:pt x="345" y="459"/>
                    </a:lnTo>
                    <a:lnTo>
                      <a:pt x="344" y="459"/>
                    </a:lnTo>
                    <a:lnTo>
                      <a:pt x="343" y="461"/>
                    </a:lnTo>
                    <a:lnTo>
                      <a:pt x="343" y="464"/>
                    </a:lnTo>
                    <a:lnTo>
                      <a:pt x="340" y="464"/>
                    </a:lnTo>
                    <a:lnTo>
                      <a:pt x="340" y="465"/>
                    </a:lnTo>
                    <a:lnTo>
                      <a:pt x="338" y="465"/>
                    </a:lnTo>
                    <a:lnTo>
                      <a:pt x="338" y="466"/>
                    </a:lnTo>
                    <a:lnTo>
                      <a:pt x="338" y="465"/>
                    </a:lnTo>
                    <a:lnTo>
                      <a:pt x="337" y="467"/>
                    </a:lnTo>
                    <a:lnTo>
                      <a:pt x="337" y="468"/>
                    </a:lnTo>
                    <a:lnTo>
                      <a:pt x="338" y="468"/>
                    </a:lnTo>
                    <a:lnTo>
                      <a:pt x="337" y="471"/>
                    </a:lnTo>
                    <a:lnTo>
                      <a:pt x="333" y="469"/>
                    </a:lnTo>
                    <a:lnTo>
                      <a:pt x="333" y="470"/>
                    </a:lnTo>
                    <a:lnTo>
                      <a:pt x="333" y="471"/>
                    </a:lnTo>
                    <a:lnTo>
                      <a:pt x="332" y="471"/>
                    </a:lnTo>
                    <a:lnTo>
                      <a:pt x="333" y="472"/>
                    </a:lnTo>
                    <a:lnTo>
                      <a:pt x="332" y="472"/>
                    </a:lnTo>
                    <a:lnTo>
                      <a:pt x="333" y="473"/>
                    </a:lnTo>
                    <a:lnTo>
                      <a:pt x="332" y="475"/>
                    </a:lnTo>
                    <a:lnTo>
                      <a:pt x="333" y="476"/>
                    </a:lnTo>
                    <a:lnTo>
                      <a:pt x="332" y="476"/>
                    </a:lnTo>
                    <a:lnTo>
                      <a:pt x="331" y="477"/>
                    </a:lnTo>
                    <a:lnTo>
                      <a:pt x="330" y="477"/>
                    </a:lnTo>
                    <a:lnTo>
                      <a:pt x="330" y="480"/>
                    </a:lnTo>
                    <a:lnTo>
                      <a:pt x="329" y="480"/>
                    </a:lnTo>
                    <a:lnTo>
                      <a:pt x="329" y="481"/>
                    </a:lnTo>
                    <a:lnTo>
                      <a:pt x="329" y="482"/>
                    </a:lnTo>
                    <a:lnTo>
                      <a:pt x="331" y="483"/>
                    </a:lnTo>
                    <a:lnTo>
                      <a:pt x="330" y="486"/>
                    </a:lnTo>
                    <a:lnTo>
                      <a:pt x="330" y="487"/>
                    </a:lnTo>
                    <a:lnTo>
                      <a:pt x="332" y="486"/>
                    </a:lnTo>
                    <a:lnTo>
                      <a:pt x="332" y="488"/>
                    </a:lnTo>
                    <a:lnTo>
                      <a:pt x="331" y="488"/>
                    </a:lnTo>
                    <a:lnTo>
                      <a:pt x="333" y="489"/>
                    </a:lnTo>
                    <a:lnTo>
                      <a:pt x="333" y="490"/>
                    </a:lnTo>
                    <a:lnTo>
                      <a:pt x="331" y="491"/>
                    </a:lnTo>
                    <a:lnTo>
                      <a:pt x="333" y="491"/>
                    </a:lnTo>
                    <a:lnTo>
                      <a:pt x="332" y="492"/>
                    </a:lnTo>
                    <a:lnTo>
                      <a:pt x="330" y="492"/>
                    </a:lnTo>
                    <a:lnTo>
                      <a:pt x="329" y="492"/>
                    </a:lnTo>
                    <a:lnTo>
                      <a:pt x="329" y="493"/>
                    </a:lnTo>
                    <a:lnTo>
                      <a:pt x="325" y="493"/>
                    </a:lnTo>
                    <a:lnTo>
                      <a:pt x="325" y="494"/>
                    </a:lnTo>
                    <a:lnTo>
                      <a:pt x="324" y="494"/>
                    </a:lnTo>
                    <a:lnTo>
                      <a:pt x="324" y="493"/>
                    </a:lnTo>
                    <a:lnTo>
                      <a:pt x="321" y="493"/>
                    </a:lnTo>
                    <a:lnTo>
                      <a:pt x="320" y="492"/>
                    </a:lnTo>
                    <a:lnTo>
                      <a:pt x="320" y="493"/>
                    </a:lnTo>
                    <a:lnTo>
                      <a:pt x="320" y="494"/>
                    </a:lnTo>
                    <a:lnTo>
                      <a:pt x="318" y="494"/>
                    </a:lnTo>
                    <a:lnTo>
                      <a:pt x="317" y="494"/>
                    </a:lnTo>
                    <a:lnTo>
                      <a:pt x="316" y="496"/>
                    </a:lnTo>
                    <a:lnTo>
                      <a:pt x="313" y="499"/>
                    </a:lnTo>
                    <a:lnTo>
                      <a:pt x="312" y="498"/>
                    </a:lnTo>
                    <a:lnTo>
                      <a:pt x="312" y="499"/>
                    </a:lnTo>
                    <a:lnTo>
                      <a:pt x="310" y="499"/>
                    </a:lnTo>
                    <a:lnTo>
                      <a:pt x="308" y="500"/>
                    </a:lnTo>
                    <a:lnTo>
                      <a:pt x="308" y="501"/>
                    </a:lnTo>
                    <a:lnTo>
                      <a:pt x="307" y="501"/>
                    </a:lnTo>
                    <a:lnTo>
                      <a:pt x="308" y="505"/>
                    </a:lnTo>
                    <a:lnTo>
                      <a:pt x="307" y="506"/>
                    </a:lnTo>
                    <a:lnTo>
                      <a:pt x="307" y="509"/>
                    </a:lnTo>
                    <a:lnTo>
                      <a:pt x="306" y="509"/>
                    </a:lnTo>
                    <a:lnTo>
                      <a:pt x="304" y="509"/>
                    </a:lnTo>
                    <a:lnTo>
                      <a:pt x="303" y="507"/>
                    </a:lnTo>
                    <a:lnTo>
                      <a:pt x="304" y="506"/>
                    </a:lnTo>
                    <a:lnTo>
                      <a:pt x="303" y="502"/>
                    </a:lnTo>
                    <a:lnTo>
                      <a:pt x="301" y="501"/>
                    </a:lnTo>
                    <a:lnTo>
                      <a:pt x="296" y="498"/>
                    </a:lnTo>
                    <a:lnTo>
                      <a:pt x="291" y="499"/>
                    </a:lnTo>
                    <a:lnTo>
                      <a:pt x="289" y="499"/>
                    </a:lnTo>
                    <a:lnTo>
                      <a:pt x="289" y="498"/>
                    </a:lnTo>
                    <a:lnTo>
                      <a:pt x="287" y="498"/>
                    </a:lnTo>
                    <a:lnTo>
                      <a:pt x="287" y="496"/>
                    </a:lnTo>
                    <a:lnTo>
                      <a:pt x="288" y="495"/>
                    </a:lnTo>
                    <a:lnTo>
                      <a:pt x="289" y="495"/>
                    </a:lnTo>
                    <a:lnTo>
                      <a:pt x="290" y="493"/>
                    </a:lnTo>
                    <a:lnTo>
                      <a:pt x="291" y="492"/>
                    </a:lnTo>
                    <a:lnTo>
                      <a:pt x="292" y="489"/>
                    </a:lnTo>
                    <a:lnTo>
                      <a:pt x="292" y="488"/>
                    </a:lnTo>
                    <a:lnTo>
                      <a:pt x="291" y="488"/>
                    </a:lnTo>
                    <a:lnTo>
                      <a:pt x="290" y="490"/>
                    </a:lnTo>
                    <a:lnTo>
                      <a:pt x="289" y="491"/>
                    </a:lnTo>
                    <a:lnTo>
                      <a:pt x="287" y="490"/>
                    </a:lnTo>
                    <a:lnTo>
                      <a:pt x="287" y="492"/>
                    </a:lnTo>
                    <a:lnTo>
                      <a:pt x="286" y="492"/>
                    </a:lnTo>
                    <a:lnTo>
                      <a:pt x="286" y="489"/>
                    </a:lnTo>
                    <a:lnTo>
                      <a:pt x="284" y="493"/>
                    </a:lnTo>
                    <a:lnTo>
                      <a:pt x="282" y="492"/>
                    </a:lnTo>
                    <a:lnTo>
                      <a:pt x="283" y="492"/>
                    </a:lnTo>
                    <a:lnTo>
                      <a:pt x="282" y="492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0" y="492"/>
                    </a:lnTo>
                    <a:lnTo>
                      <a:pt x="280" y="491"/>
                    </a:lnTo>
                    <a:lnTo>
                      <a:pt x="278" y="490"/>
                    </a:lnTo>
                    <a:lnTo>
                      <a:pt x="277" y="489"/>
                    </a:lnTo>
                    <a:lnTo>
                      <a:pt x="276" y="489"/>
                    </a:lnTo>
                    <a:lnTo>
                      <a:pt x="275" y="491"/>
                    </a:lnTo>
                    <a:lnTo>
                      <a:pt x="274" y="489"/>
                    </a:lnTo>
                    <a:lnTo>
                      <a:pt x="273" y="489"/>
                    </a:lnTo>
                    <a:lnTo>
                      <a:pt x="273" y="488"/>
                    </a:lnTo>
                    <a:lnTo>
                      <a:pt x="272" y="489"/>
                    </a:lnTo>
                    <a:lnTo>
                      <a:pt x="272" y="488"/>
                    </a:lnTo>
                    <a:lnTo>
                      <a:pt x="270" y="488"/>
                    </a:lnTo>
                    <a:lnTo>
                      <a:pt x="272" y="485"/>
                    </a:lnTo>
                    <a:lnTo>
                      <a:pt x="271" y="484"/>
                    </a:lnTo>
                    <a:lnTo>
                      <a:pt x="269" y="484"/>
                    </a:lnTo>
                    <a:lnTo>
                      <a:pt x="268" y="486"/>
                    </a:lnTo>
                    <a:lnTo>
                      <a:pt x="266" y="485"/>
                    </a:lnTo>
                    <a:lnTo>
                      <a:pt x="263" y="482"/>
                    </a:lnTo>
                    <a:lnTo>
                      <a:pt x="261" y="482"/>
                    </a:lnTo>
                    <a:lnTo>
                      <a:pt x="261" y="483"/>
                    </a:lnTo>
                    <a:lnTo>
                      <a:pt x="260" y="486"/>
                    </a:lnTo>
                    <a:lnTo>
                      <a:pt x="258" y="486"/>
                    </a:lnTo>
                    <a:lnTo>
                      <a:pt x="258" y="488"/>
                    </a:lnTo>
                    <a:lnTo>
                      <a:pt x="260" y="488"/>
                    </a:lnTo>
                    <a:lnTo>
                      <a:pt x="259" y="488"/>
                    </a:lnTo>
                    <a:lnTo>
                      <a:pt x="258" y="488"/>
                    </a:lnTo>
                    <a:lnTo>
                      <a:pt x="257" y="486"/>
                    </a:lnTo>
                    <a:lnTo>
                      <a:pt x="256" y="488"/>
                    </a:lnTo>
                    <a:lnTo>
                      <a:pt x="255" y="486"/>
                    </a:lnTo>
                    <a:lnTo>
                      <a:pt x="255" y="485"/>
                    </a:lnTo>
                    <a:lnTo>
                      <a:pt x="254" y="483"/>
                    </a:lnTo>
                    <a:lnTo>
                      <a:pt x="252" y="483"/>
                    </a:lnTo>
                    <a:lnTo>
                      <a:pt x="252" y="480"/>
                    </a:lnTo>
                    <a:lnTo>
                      <a:pt x="250" y="480"/>
                    </a:lnTo>
                    <a:lnTo>
                      <a:pt x="249" y="481"/>
                    </a:lnTo>
                    <a:lnTo>
                      <a:pt x="248" y="481"/>
                    </a:lnTo>
                    <a:lnTo>
                      <a:pt x="245" y="475"/>
                    </a:lnTo>
                    <a:lnTo>
                      <a:pt x="244" y="475"/>
                    </a:lnTo>
                    <a:lnTo>
                      <a:pt x="243" y="473"/>
                    </a:lnTo>
                    <a:lnTo>
                      <a:pt x="243" y="476"/>
                    </a:lnTo>
                    <a:lnTo>
                      <a:pt x="242" y="475"/>
                    </a:lnTo>
                    <a:lnTo>
                      <a:pt x="241" y="475"/>
                    </a:lnTo>
                    <a:lnTo>
                      <a:pt x="242" y="475"/>
                    </a:lnTo>
                    <a:lnTo>
                      <a:pt x="243" y="479"/>
                    </a:lnTo>
                    <a:lnTo>
                      <a:pt x="242" y="480"/>
                    </a:lnTo>
                    <a:lnTo>
                      <a:pt x="243" y="480"/>
                    </a:lnTo>
                    <a:lnTo>
                      <a:pt x="242" y="482"/>
                    </a:lnTo>
                    <a:lnTo>
                      <a:pt x="242" y="483"/>
                    </a:lnTo>
                    <a:lnTo>
                      <a:pt x="244" y="483"/>
                    </a:lnTo>
                    <a:lnTo>
                      <a:pt x="243" y="484"/>
                    </a:lnTo>
                    <a:lnTo>
                      <a:pt x="242" y="483"/>
                    </a:lnTo>
                    <a:lnTo>
                      <a:pt x="242" y="484"/>
                    </a:lnTo>
                    <a:lnTo>
                      <a:pt x="241" y="481"/>
                    </a:lnTo>
                    <a:lnTo>
                      <a:pt x="240" y="481"/>
                    </a:lnTo>
                    <a:lnTo>
                      <a:pt x="239" y="480"/>
                    </a:lnTo>
                    <a:lnTo>
                      <a:pt x="237" y="480"/>
                    </a:lnTo>
                    <a:lnTo>
                      <a:pt x="236" y="481"/>
                    </a:lnTo>
                    <a:lnTo>
                      <a:pt x="235" y="480"/>
                    </a:lnTo>
                    <a:lnTo>
                      <a:pt x="235" y="481"/>
                    </a:lnTo>
                    <a:lnTo>
                      <a:pt x="234" y="481"/>
                    </a:lnTo>
                    <a:lnTo>
                      <a:pt x="235" y="482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3" y="484"/>
                    </a:lnTo>
                    <a:lnTo>
                      <a:pt x="232" y="482"/>
                    </a:lnTo>
                    <a:lnTo>
                      <a:pt x="232" y="483"/>
                    </a:lnTo>
                    <a:lnTo>
                      <a:pt x="231" y="486"/>
                    </a:lnTo>
                    <a:lnTo>
                      <a:pt x="230" y="486"/>
                    </a:lnTo>
                    <a:lnTo>
                      <a:pt x="231" y="484"/>
                    </a:lnTo>
                    <a:lnTo>
                      <a:pt x="229" y="484"/>
                    </a:lnTo>
                    <a:lnTo>
                      <a:pt x="228" y="485"/>
                    </a:lnTo>
                    <a:lnTo>
                      <a:pt x="227" y="487"/>
                    </a:lnTo>
                    <a:lnTo>
                      <a:pt x="227" y="485"/>
                    </a:lnTo>
                    <a:lnTo>
                      <a:pt x="226" y="485"/>
                    </a:lnTo>
                    <a:lnTo>
                      <a:pt x="226" y="484"/>
                    </a:lnTo>
                    <a:lnTo>
                      <a:pt x="224" y="483"/>
                    </a:lnTo>
                    <a:lnTo>
                      <a:pt x="221" y="485"/>
                    </a:lnTo>
                    <a:lnTo>
                      <a:pt x="220" y="484"/>
                    </a:lnTo>
                    <a:lnTo>
                      <a:pt x="219" y="484"/>
                    </a:lnTo>
                    <a:lnTo>
                      <a:pt x="221" y="484"/>
                    </a:lnTo>
                    <a:lnTo>
                      <a:pt x="221" y="483"/>
                    </a:lnTo>
                    <a:lnTo>
                      <a:pt x="221" y="481"/>
                    </a:lnTo>
                    <a:lnTo>
                      <a:pt x="222" y="480"/>
                    </a:lnTo>
                    <a:lnTo>
                      <a:pt x="222" y="478"/>
                    </a:lnTo>
                    <a:lnTo>
                      <a:pt x="221" y="478"/>
                    </a:lnTo>
                    <a:lnTo>
                      <a:pt x="220" y="478"/>
                    </a:lnTo>
                    <a:lnTo>
                      <a:pt x="219" y="477"/>
                    </a:lnTo>
                    <a:lnTo>
                      <a:pt x="219" y="475"/>
                    </a:lnTo>
                    <a:lnTo>
                      <a:pt x="218" y="476"/>
                    </a:lnTo>
                    <a:lnTo>
                      <a:pt x="216" y="473"/>
                    </a:lnTo>
                    <a:lnTo>
                      <a:pt x="213" y="475"/>
                    </a:lnTo>
                    <a:lnTo>
                      <a:pt x="212" y="473"/>
                    </a:lnTo>
                    <a:lnTo>
                      <a:pt x="212" y="474"/>
                    </a:lnTo>
                    <a:lnTo>
                      <a:pt x="212" y="473"/>
                    </a:lnTo>
                    <a:lnTo>
                      <a:pt x="211" y="472"/>
                    </a:lnTo>
                    <a:lnTo>
                      <a:pt x="212" y="469"/>
                    </a:lnTo>
                    <a:lnTo>
                      <a:pt x="211" y="467"/>
                    </a:lnTo>
                    <a:lnTo>
                      <a:pt x="208" y="466"/>
                    </a:lnTo>
                    <a:lnTo>
                      <a:pt x="208" y="465"/>
                    </a:lnTo>
                    <a:lnTo>
                      <a:pt x="206" y="465"/>
                    </a:lnTo>
                    <a:lnTo>
                      <a:pt x="206" y="463"/>
                    </a:lnTo>
                    <a:lnTo>
                      <a:pt x="203" y="465"/>
                    </a:lnTo>
                    <a:lnTo>
                      <a:pt x="202" y="465"/>
                    </a:lnTo>
                    <a:lnTo>
                      <a:pt x="198" y="465"/>
                    </a:lnTo>
                    <a:lnTo>
                      <a:pt x="197" y="463"/>
                    </a:lnTo>
                    <a:lnTo>
                      <a:pt x="196" y="465"/>
                    </a:lnTo>
                    <a:lnTo>
                      <a:pt x="195" y="465"/>
                    </a:lnTo>
                    <a:lnTo>
                      <a:pt x="194" y="465"/>
                    </a:lnTo>
                    <a:lnTo>
                      <a:pt x="194" y="467"/>
                    </a:lnTo>
                    <a:lnTo>
                      <a:pt x="194" y="470"/>
                    </a:lnTo>
                    <a:lnTo>
                      <a:pt x="192" y="471"/>
                    </a:lnTo>
                    <a:lnTo>
                      <a:pt x="192" y="472"/>
                    </a:lnTo>
                    <a:lnTo>
                      <a:pt x="190" y="473"/>
                    </a:lnTo>
                    <a:lnTo>
                      <a:pt x="189" y="473"/>
                    </a:lnTo>
                    <a:lnTo>
                      <a:pt x="189" y="475"/>
                    </a:lnTo>
                    <a:lnTo>
                      <a:pt x="190" y="474"/>
                    </a:lnTo>
                    <a:lnTo>
                      <a:pt x="188" y="476"/>
                    </a:lnTo>
                    <a:lnTo>
                      <a:pt x="188" y="478"/>
                    </a:lnTo>
                    <a:lnTo>
                      <a:pt x="186" y="477"/>
                    </a:lnTo>
                    <a:lnTo>
                      <a:pt x="186" y="476"/>
                    </a:lnTo>
                    <a:lnTo>
                      <a:pt x="187" y="475"/>
                    </a:lnTo>
                    <a:lnTo>
                      <a:pt x="184" y="475"/>
                    </a:lnTo>
                    <a:lnTo>
                      <a:pt x="181" y="475"/>
                    </a:lnTo>
                    <a:lnTo>
                      <a:pt x="180" y="476"/>
                    </a:lnTo>
                    <a:lnTo>
                      <a:pt x="178" y="475"/>
                    </a:lnTo>
                    <a:lnTo>
                      <a:pt x="177" y="475"/>
                    </a:lnTo>
                    <a:lnTo>
                      <a:pt x="174" y="475"/>
                    </a:lnTo>
                    <a:lnTo>
                      <a:pt x="173" y="475"/>
                    </a:lnTo>
                    <a:lnTo>
                      <a:pt x="172" y="476"/>
                    </a:lnTo>
                    <a:lnTo>
                      <a:pt x="170" y="473"/>
                    </a:lnTo>
                    <a:lnTo>
                      <a:pt x="168" y="473"/>
                    </a:lnTo>
                    <a:lnTo>
                      <a:pt x="165" y="472"/>
                    </a:lnTo>
                    <a:lnTo>
                      <a:pt x="165" y="476"/>
                    </a:lnTo>
                    <a:lnTo>
                      <a:pt x="163" y="475"/>
                    </a:lnTo>
                    <a:lnTo>
                      <a:pt x="161" y="475"/>
                    </a:lnTo>
                    <a:lnTo>
                      <a:pt x="161" y="473"/>
                    </a:lnTo>
                    <a:lnTo>
                      <a:pt x="161" y="472"/>
                    </a:lnTo>
                    <a:lnTo>
                      <a:pt x="161" y="471"/>
                    </a:lnTo>
                    <a:lnTo>
                      <a:pt x="159" y="471"/>
                    </a:lnTo>
                    <a:lnTo>
                      <a:pt x="159" y="473"/>
                    </a:lnTo>
                    <a:lnTo>
                      <a:pt x="158" y="475"/>
                    </a:lnTo>
                    <a:lnTo>
                      <a:pt x="156" y="474"/>
                    </a:lnTo>
                    <a:lnTo>
                      <a:pt x="155" y="475"/>
                    </a:lnTo>
                    <a:lnTo>
                      <a:pt x="155" y="473"/>
                    </a:lnTo>
                    <a:lnTo>
                      <a:pt x="152" y="473"/>
                    </a:lnTo>
                    <a:lnTo>
                      <a:pt x="152" y="472"/>
                    </a:lnTo>
                    <a:lnTo>
                      <a:pt x="151" y="473"/>
                    </a:lnTo>
                    <a:lnTo>
                      <a:pt x="150" y="472"/>
                    </a:lnTo>
                    <a:lnTo>
                      <a:pt x="149" y="469"/>
                    </a:lnTo>
                    <a:lnTo>
                      <a:pt x="150" y="468"/>
                    </a:lnTo>
                    <a:lnTo>
                      <a:pt x="150" y="467"/>
                    </a:lnTo>
                    <a:lnTo>
                      <a:pt x="150" y="464"/>
                    </a:lnTo>
                    <a:lnTo>
                      <a:pt x="150" y="463"/>
                    </a:lnTo>
                    <a:lnTo>
                      <a:pt x="151" y="462"/>
                    </a:lnTo>
                    <a:lnTo>
                      <a:pt x="151" y="461"/>
                    </a:lnTo>
                    <a:lnTo>
                      <a:pt x="153" y="461"/>
                    </a:lnTo>
                    <a:lnTo>
                      <a:pt x="151" y="460"/>
                    </a:lnTo>
                    <a:lnTo>
                      <a:pt x="149" y="458"/>
                    </a:lnTo>
                    <a:lnTo>
                      <a:pt x="145" y="458"/>
                    </a:lnTo>
                    <a:lnTo>
                      <a:pt x="144" y="45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6" name="Freeform 127">
                <a:extLst>
                  <a:ext uri="{FF2B5EF4-FFF2-40B4-BE49-F238E27FC236}">
                    <a16:creationId xmlns:a16="http://schemas.microsoft.com/office/drawing/2014/main" id="{51524378-DCE4-4528-93FD-72B69CB121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" y="2910"/>
                <a:ext cx="569" cy="509"/>
              </a:xfrm>
              <a:custGeom>
                <a:avLst/>
                <a:gdLst>
                  <a:gd name="T0" fmla="*/ 128 w 569"/>
                  <a:gd name="T1" fmla="*/ 470 h 509"/>
                  <a:gd name="T2" fmla="*/ 100 w 569"/>
                  <a:gd name="T3" fmla="*/ 473 h 509"/>
                  <a:gd name="T4" fmla="*/ 79 w 569"/>
                  <a:gd name="T5" fmla="*/ 467 h 509"/>
                  <a:gd name="T6" fmla="*/ 69 w 569"/>
                  <a:gd name="T7" fmla="*/ 420 h 509"/>
                  <a:gd name="T8" fmla="*/ 60 w 569"/>
                  <a:gd name="T9" fmla="*/ 397 h 509"/>
                  <a:gd name="T10" fmla="*/ 56 w 569"/>
                  <a:gd name="T11" fmla="*/ 386 h 509"/>
                  <a:gd name="T12" fmla="*/ 81 w 569"/>
                  <a:gd name="T13" fmla="*/ 368 h 509"/>
                  <a:gd name="T14" fmla="*/ 91 w 569"/>
                  <a:gd name="T15" fmla="*/ 338 h 509"/>
                  <a:gd name="T16" fmla="*/ 106 w 569"/>
                  <a:gd name="T17" fmla="*/ 306 h 509"/>
                  <a:gd name="T18" fmla="*/ 89 w 569"/>
                  <a:gd name="T19" fmla="*/ 267 h 509"/>
                  <a:gd name="T20" fmla="*/ 60 w 569"/>
                  <a:gd name="T21" fmla="*/ 236 h 509"/>
                  <a:gd name="T22" fmla="*/ 33 w 569"/>
                  <a:gd name="T23" fmla="*/ 210 h 509"/>
                  <a:gd name="T24" fmla="*/ 6 w 569"/>
                  <a:gd name="T25" fmla="*/ 198 h 509"/>
                  <a:gd name="T26" fmla="*/ 25 w 569"/>
                  <a:gd name="T27" fmla="*/ 175 h 509"/>
                  <a:gd name="T28" fmla="*/ 41 w 569"/>
                  <a:gd name="T29" fmla="*/ 146 h 509"/>
                  <a:gd name="T30" fmla="*/ 85 w 569"/>
                  <a:gd name="T31" fmla="*/ 126 h 509"/>
                  <a:gd name="T32" fmla="*/ 128 w 569"/>
                  <a:gd name="T33" fmla="*/ 122 h 509"/>
                  <a:gd name="T34" fmla="*/ 164 w 569"/>
                  <a:gd name="T35" fmla="*/ 107 h 509"/>
                  <a:gd name="T36" fmla="*/ 188 w 569"/>
                  <a:gd name="T37" fmla="*/ 92 h 509"/>
                  <a:gd name="T38" fmla="*/ 237 w 569"/>
                  <a:gd name="T39" fmla="*/ 103 h 509"/>
                  <a:gd name="T40" fmla="*/ 273 w 569"/>
                  <a:gd name="T41" fmla="*/ 101 h 509"/>
                  <a:gd name="T42" fmla="*/ 282 w 569"/>
                  <a:gd name="T43" fmla="*/ 78 h 509"/>
                  <a:gd name="T44" fmla="*/ 295 w 569"/>
                  <a:gd name="T45" fmla="*/ 68 h 509"/>
                  <a:gd name="T46" fmla="*/ 321 w 569"/>
                  <a:gd name="T47" fmla="*/ 39 h 509"/>
                  <a:gd name="T48" fmla="*/ 343 w 569"/>
                  <a:gd name="T49" fmla="*/ 44 h 509"/>
                  <a:gd name="T50" fmla="*/ 368 w 569"/>
                  <a:gd name="T51" fmla="*/ 52 h 509"/>
                  <a:gd name="T52" fmla="*/ 423 w 569"/>
                  <a:gd name="T53" fmla="*/ 18 h 509"/>
                  <a:gd name="T54" fmla="*/ 446 w 569"/>
                  <a:gd name="T55" fmla="*/ 7 h 509"/>
                  <a:gd name="T56" fmla="*/ 468 w 569"/>
                  <a:gd name="T57" fmla="*/ 20 h 509"/>
                  <a:gd name="T58" fmla="*/ 488 w 569"/>
                  <a:gd name="T59" fmla="*/ 49 h 509"/>
                  <a:gd name="T60" fmla="*/ 491 w 569"/>
                  <a:gd name="T61" fmla="*/ 77 h 509"/>
                  <a:gd name="T62" fmla="*/ 489 w 569"/>
                  <a:gd name="T63" fmla="*/ 109 h 509"/>
                  <a:gd name="T64" fmla="*/ 483 w 569"/>
                  <a:gd name="T65" fmla="*/ 137 h 509"/>
                  <a:gd name="T66" fmla="*/ 499 w 569"/>
                  <a:gd name="T67" fmla="*/ 161 h 509"/>
                  <a:gd name="T68" fmla="*/ 528 w 569"/>
                  <a:gd name="T69" fmla="*/ 171 h 509"/>
                  <a:gd name="T70" fmla="*/ 541 w 569"/>
                  <a:gd name="T71" fmla="*/ 189 h 509"/>
                  <a:gd name="T72" fmla="*/ 539 w 569"/>
                  <a:gd name="T73" fmla="*/ 225 h 509"/>
                  <a:gd name="T74" fmla="*/ 552 w 569"/>
                  <a:gd name="T75" fmla="*/ 249 h 509"/>
                  <a:gd name="T76" fmla="*/ 542 w 569"/>
                  <a:gd name="T77" fmla="*/ 279 h 509"/>
                  <a:gd name="T78" fmla="*/ 530 w 569"/>
                  <a:gd name="T79" fmla="*/ 288 h 509"/>
                  <a:gd name="T80" fmla="*/ 548 w 569"/>
                  <a:gd name="T81" fmla="*/ 306 h 509"/>
                  <a:gd name="T82" fmla="*/ 567 w 569"/>
                  <a:gd name="T83" fmla="*/ 330 h 509"/>
                  <a:gd name="T84" fmla="*/ 557 w 569"/>
                  <a:gd name="T85" fmla="*/ 360 h 509"/>
                  <a:gd name="T86" fmla="*/ 544 w 569"/>
                  <a:gd name="T87" fmla="*/ 384 h 509"/>
                  <a:gd name="T88" fmla="*/ 524 w 569"/>
                  <a:gd name="T89" fmla="*/ 401 h 509"/>
                  <a:gd name="T90" fmla="*/ 495 w 569"/>
                  <a:gd name="T91" fmla="*/ 412 h 509"/>
                  <a:gd name="T92" fmla="*/ 475 w 569"/>
                  <a:gd name="T93" fmla="*/ 420 h 509"/>
                  <a:gd name="T94" fmla="*/ 469 w 569"/>
                  <a:gd name="T95" fmla="*/ 456 h 509"/>
                  <a:gd name="T96" fmla="*/ 457 w 569"/>
                  <a:gd name="T97" fmla="*/ 480 h 509"/>
                  <a:gd name="T98" fmla="*/ 438 w 569"/>
                  <a:gd name="T99" fmla="*/ 480 h 509"/>
                  <a:gd name="T100" fmla="*/ 411 w 569"/>
                  <a:gd name="T101" fmla="*/ 478 h 509"/>
                  <a:gd name="T102" fmla="*/ 386 w 569"/>
                  <a:gd name="T103" fmla="*/ 495 h 509"/>
                  <a:gd name="T104" fmla="*/ 372 w 569"/>
                  <a:gd name="T105" fmla="*/ 480 h 509"/>
                  <a:gd name="T106" fmla="*/ 340 w 569"/>
                  <a:gd name="T107" fmla="*/ 465 h 509"/>
                  <a:gd name="T108" fmla="*/ 330 w 569"/>
                  <a:gd name="T109" fmla="*/ 486 h 509"/>
                  <a:gd name="T110" fmla="*/ 312 w 569"/>
                  <a:gd name="T111" fmla="*/ 499 h 509"/>
                  <a:gd name="T112" fmla="*/ 291 w 569"/>
                  <a:gd name="T113" fmla="*/ 488 h 509"/>
                  <a:gd name="T114" fmla="*/ 269 w 569"/>
                  <a:gd name="T115" fmla="*/ 484 h 509"/>
                  <a:gd name="T116" fmla="*/ 243 w 569"/>
                  <a:gd name="T117" fmla="*/ 476 h 509"/>
                  <a:gd name="T118" fmla="*/ 233 w 569"/>
                  <a:gd name="T119" fmla="*/ 484 h 509"/>
                  <a:gd name="T120" fmla="*/ 216 w 569"/>
                  <a:gd name="T121" fmla="*/ 473 h 509"/>
                  <a:gd name="T122" fmla="*/ 190 w 569"/>
                  <a:gd name="T123" fmla="*/ 474 h 509"/>
                  <a:gd name="T124" fmla="*/ 158 w 569"/>
                  <a:gd name="T125" fmla="*/ 475 h 5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9"/>
                  <a:gd name="T190" fmla="*/ 0 h 509"/>
                  <a:gd name="T191" fmla="*/ 569 w 569"/>
                  <a:gd name="T192" fmla="*/ 509 h 5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9" h="509">
                    <a:moveTo>
                      <a:pt x="144" y="458"/>
                    </a:moveTo>
                    <a:lnTo>
                      <a:pt x="142" y="460"/>
                    </a:lnTo>
                    <a:lnTo>
                      <a:pt x="142" y="459"/>
                    </a:lnTo>
                    <a:lnTo>
                      <a:pt x="139" y="461"/>
                    </a:lnTo>
                    <a:lnTo>
                      <a:pt x="138" y="461"/>
                    </a:lnTo>
                    <a:lnTo>
                      <a:pt x="136" y="460"/>
                    </a:lnTo>
                    <a:lnTo>
                      <a:pt x="135" y="463"/>
                    </a:lnTo>
                    <a:lnTo>
                      <a:pt x="136" y="465"/>
                    </a:lnTo>
                    <a:lnTo>
                      <a:pt x="135" y="467"/>
                    </a:lnTo>
                    <a:lnTo>
                      <a:pt x="135" y="465"/>
                    </a:lnTo>
                    <a:lnTo>
                      <a:pt x="134" y="468"/>
                    </a:lnTo>
                    <a:lnTo>
                      <a:pt x="134" y="469"/>
                    </a:lnTo>
                    <a:lnTo>
                      <a:pt x="134" y="470"/>
                    </a:lnTo>
                    <a:lnTo>
                      <a:pt x="133" y="470"/>
                    </a:lnTo>
                    <a:lnTo>
                      <a:pt x="133" y="471"/>
                    </a:lnTo>
                    <a:lnTo>
                      <a:pt x="132" y="469"/>
                    </a:lnTo>
                    <a:lnTo>
                      <a:pt x="131" y="469"/>
                    </a:lnTo>
                    <a:lnTo>
                      <a:pt x="131" y="471"/>
                    </a:lnTo>
                    <a:lnTo>
                      <a:pt x="132" y="473"/>
                    </a:lnTo>
                    <a:lnTo>
                      <a:pt x="131" y="473"/>
                    </a:lnTo>
                    <a:lnTo>
                      <a:pt x="131" y="475"/>
                    </a:lnTo>
                    <a:lnTo>
                      <a:pt x="130" y="475"/>
                    </a:lnTo>
                    <a:lnTo>
                      <a:pt x="130" y="472"/>
                    </a:lnTo>
                    <a:lnTo>
                      <a:pt x="128" y="472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6" y="473"/>
                    </a:lnTo>
                    <a:lnTo>
                      <a:pt x="125" y="475"/>
                    </a:lnTo>
                    <a:lnTo>
                      <a:pt x="125" y="476"/>
                    </a:lnTo>
                    <a:lnTo>
                      <a:pt x="125" y="477"/>
                    </a:lnTo>
                    <a:lnTo>
                      <a:pt x="121" y="476"/>
                    </a:lnTo>
                    <a:lnTo>
                      <a:pt x="118" y="475"/>
                    </a:lnTo>
                    <a:lnTo>
                      <a:pt x="118" y="473"/>
                    </a:lnTo>
                    <a:lnTo>
                      <a:pt x="117" y="472"/>
                    </a:lnTo>
                    <a:lnTo>
                      <a:pt x="114" y="475"/>
                    </a:lnTo>
                    <a:lnTo>
                      <a:pt x="114" y="478"/>
                    </a:lnTo>
                    <a:lnTo>
                      <a:pt x="113" y="478"/>
                    </a:lnTo>
                    <a:lnTo>
                      <a:pt x="111" y="480"/>
                    </a:lnTo>
                    <a:lnTo>
                      <a:pt x="111" y="478"/>
                    </a:lnTo>
                    <a:lnTo>
                      <a:pt x="107" y="479"/>
                    </a:lnTo>
                    <a:lnTo>
                      <a:pt x="107" y="478"/>
                    </a:lnTo>
                    <a:lnTo>
                      <a:pt x="105" y="478"/>
                    </a:lnTo>
                    <a:lnTo>
                      <a:pt x="105" y="476"/>
                    </a:lnTo>
                    <a:lnTo>
                      <a:pt x="104" y="475"/>
                    </a:lnTo>
                    <a:lnTo>
                      <a:pt x="103" y="476"/>
                    </a:lnTo>
                    <a:lnTo>
                      <a:pt x="100" y="476"/>
                    </a:lnTo>
                    <a:lnTo>
                      <a:pt x="102" y="475"/>
                    </a:lnTo>
                    <a:lnTo>
                      <a:pt x="102" y="473"/>
                    </a:lnTo>
                    <a:lnTo>
                      <a:pt x="104" y="472"/>
                    </a:lnTo>
                    <a:lnTo>
                      <a:pt x="100" y="472"/>
                    </a:lnTo>
                    <a:lnTo>
                      <a:pt x="100" y="473"/>
                    </a:lnTo>
                    <a:lnTo>
                      <a:pt x="98" y="472"/>
                    </a:lnTo>
                    <a:lnTo>
                      <a:pt x="98" y="470"/>
                    </a:lnTo>
                    <a:lnTo>
                      <a:pt x="98" y="468"/>
                    </a:lnTo>
                    <a:lnTo>
                      <a:pt x="95" y="465"/>
                    </a:lnTo>
                    <a:lnTo>
                      <a:pt x="93" y="466"/>
                    </a:lnTo>
                    <a:lnTo>
                      <a:pt x="93" y="467"/>
                    </a:lnTo>
                    <a:lnTo>
                      <a:pt x="94" y="468"/>
                    </a:lnTo>
                    <a:lnTo>
                      <a:pt x="92" y="468"/>
                    </a:lnTo>
                    <a:lnTo>
                      <a:pt x="90" y="471"/>
                    </a:lnTo>
                    <a:lnTo>
                      <a:pt x="89" y="471"/>
                    </a:lnTo>
                    <a:lnTo>
                      <a:pt x="87" y="472"/>
                    </a:lnTo>
                    <a:lnTo>
                      <a:pt x="87" y="471"/>
                    </a:lnTo>
                    <a:lnTo>
                      <a:pt x="87" y="470"/>
                    </a:lnTo>
                    <a:lnTo>
                      <a:pt x="86" y="471"/>
                    </a:lnTo>
                    <a:lnTo>
                      <a:pt x="85" y="471"/>
                    </a:lnTo>
                    <a:lnTo>
                      <a:pt x="85" y="467"/>
                    </a:lnTo>
                    <a:lnTo>
                      <a:pt x="85" y="468"/>
                    </a:lnTo>
                    <a:lnTo>
                      <a:pt x="84" y="467"/>
                    </a:lnTo>
                    <a:lnTo>
                      <a:pt x="84" y="463"/>
                    </a:lnTo>
                    <a:lnTo>
                      <a:pt x="82" y="463"/>
                    </a:lnTo>
                    <a:lnTo>
                      <a:pt x="83" y="464"/>
                    </a:lnTo>
                    <a:lnTo>
                      <a:pt x="81" y="464"/>
                    </a:lnTo>
                    <a:lnTo>
                      <a:pt x="81" y="467"/>
                    </a:lnTo>
                    <a:lnTo>
                      <a:pt x="79" y="467"/>
                    </a:lnTo>
                    <a:lnTo>
                      <a:pt x="79" y="468"/>
                    </a:lnTo>
                    <a:lnTo>
                      <a:pt x="76" y="466"/>
                    </a:lnTo>
                    <a:lnTo>
                      <a:pt x="74" y="465"/>
                    </a:lnTo>
                    <a:lnTo>
                      <a:pt x="72" y="469"/>
                    </a:lnTo>
                    <a:lnTo>
                      <a:pt x="71" y="469"/>
                    </a:lnTo>
                    <a:lnTo>
                      <a:pt x="68" y="468"/>
                    </a:lnTo>
                    <a:lnTo>
                      <a:pt x="67" y="468"/>
                    </a:lnTo>
                    <a:lnTo>
                      <a:pt x="68" y="465"/>
                    </a:lnTo>
                    <a:lnTo>
                      <a:pt x="68" y="464"/>
                    </a:lnTo>
                    <a:lnTo>
                      <a:pt x="69" y="459"/>
                    </a:lnTo>
                    <a:lnTo>
                      <a:pt x="70" y="456"/>
                    </a:lnTo>
                    <a:lnTo>
                      <a:pt x="68" y="455"/>
                    </a:lnTo>
                    <a:lnTo>
                      <a:pt x="69" y="452"/>
                    </a:lnTo>
                    <a:lnTo>
                      <a:pt x="65" y="448"/>
                    </a:lnTo>
                    <a:lnTo>
                      <a:pt x="64" y="448"/>
                    </a:lnTo>
                    <a:lnTo>
                      <a:pt x="61" y="452"/>
                    </a:lnTo>
                    <a:lnTo>
                      <a:pt x="61" y="451"/>
                    </a:lnTo>
                    <a:lnTo>
                      <a:pt x="63" y="450"/>
                    </a:lnTo>
                    <a:lnTo>
                      <a:pt x="64" y="445"/>
                    </a:lnTo>
                    <a:lnTo>
                      <a:pt x="63" y="444"/>
                    </a:lnTo>
                    <a:lnTo>
                      <a:pt x="63" y="443"/>
                    </a:lnTo>
                    <a:lnTo>
                      <a:pt x="65" y="437"/>
                    </a:lnTo>
                    <a:lnTo>
                      <a:pt x="64" y="433"/>
                    </a:lnTo>
                    <a:lnTo>
                      <a:pt x="66" y="431"/>
                    </a:lnTo>
                    <a:lnTo>
                      <a:pt x="68" y="428"/>
                    </a:lnTo>
                    <a:lnTo>
                      <a:pt x="68" y="421"/>
                    </a:lnTo>
                    <a:lnTo>
                      <a:pt x="69" y="420"/>
                    </a:lnTo>
                    <a:lnTo>
                      <a:pt x="70" y="417"/>
                    </a:lnTo>
                    <a:lnTo>
                      <a:pt x="69" y="415"/>
                    </a:lnTo>
                    <a:lnTo>
                      <a:pt x="67" y="416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3" y="411"/>
                    </a:lnTo>
                    <a:lnTo>
                      <a:pt x="61" y="412"/>
                    </a:lnTo>
                    <a:lnTo>
                      <a:pt x="58" y="411"/>
                    </a:lnTo>
                    <a:lnTo>
                      <a:pt x="58" y="409"/>
                    </a:lnTo>
                    <a:lnTo>
                      <a:pt x="60" y="409"/>
                    </a:lnTo>
                    <a:lnTo>
                      <a:pt x="60" y="408"/>
                    </a:lnTo>
                    <a:lnTo>
                      <a:pt x="57" y="407"/>
                    </a:lnTo>
                    <a:lnTo>
                      <a:pt x="57" y="406"/>
                    </a:lnTo>
                    <a:lnTo>
                      <a:pt x="55" y="406"/>
                    </a:lnTo>
                    <a:lnTo>
                      <a:pt x="53" y="405"/>
                    </a:lnTo>
                    <a:lnTo>
                      <a:pt x="52" y="405"/>
                    </a:lnTo>
                    <a:lnTo>
                      <a:pt x="52" y="402"/>
                    </a:lnTo>
                    <a:lnTo>
                      <a:pt x="50" y="401"/>
                    </a:lnTo>
                    <a:lnTo>
                      <a:pt x="53" y="402"/>
                    </a:lnTo>
                    <a:lnTo>
                      <a:pt x="56" y="405"/>
                    </a:lnTo>
                    <a:lnTo>
                      <a:pt x="59" y="405"/>
                    </a:lnTo>
                    <a:lnTo>
                      <a:pt x="60" y="404"/>
                    </a:lnTo>
                    <a:lnTo>
                      <a:pt x="61" y="404"/>
                    </a:lnTo>
                    <a:lnTo>
                      <a:pt x="63" y="403"/>
                    </a:lnTo>
                    <a:lnTo>
                      <a:pt x="61" y="403"/>
                    </a:lnTo>
                    <a:lnTo>
                      <a:pt x="60" y="397"/>
                    </a:lnTo>
                    <a:lnTo>
                      <a:pt x="56" y="396"/>
                    </a:lnTo>
                    <a:lnTo>
                      <a:pt x="55" y="394"/>
                    </a:lnTo>
                    <a:lnTo>
                      <a:pt x="56" y="392"/>
                    </a:lnTo>
                    <a:lnTo>
                      <a:pt x="55" y="391"/>
                    </a:lnTo>
                    <a:lnTo>
                      <a:pt x="56" y="390"/>
                    </a:lnTo>
                    <a:lnTo>
                      <a:pt x="57" y="391"/>
                    </a:lnTo>
                    <a:lnTo>
                      <a:pt x="57" y="392"/>
                    </a:lnTo>
                    <a:lnTo>
                      <a:pt x="58" y="391"/>
                    </a:lnTo>
                    <a:lnTo>
                      <a:pt x="59" y="391"/>
                    </a:lnTo>
                    <a:lnTo>
                      <a:pt x="60" y="391"/>
                    </a:lnTo>
                    <a:lnTo>
                      <a:pt x="63" y="390"/>
                    </a:lnTo>
                    <a:lnTo>
                      <a:pt x="64" y="391"/>
                    </a:lnTo>
                    <a:lnTo>
                      <a:pt x="67" y="388"/>
                    </a:lnTo>
                    <a:lnTo>
                      <a:pt x="65" y="388"/>
                    </a:lnTo>
                    <a:lnTo>
                      <a:pt x="65" y="386"/>
                    </a:lnTo>
                    <a:lnTo>
                      <a:pt x="63" y="386"/>
                    </a:lnTo>
                    <a:lnTo>
                      <a:pt x="62" y="385"/>
                    </a:lnTo>
                    <a:lnTo>
                      <a:pt x="60" y="386"/>
                    </a:lnTo>
                    <a:lnTo>
                      <a:pt x="61" y="384"/>
                    </a:lnTo>
                    <a:lnTo>
                      <a:pt x="60" y="384"/>
                    </a:lnTo>
                    <a:lnTo>
                      <a:pt x="58" y="385"/>
                    </a:lnTo>
                    <a:lnTo>
                      <a:pt x="58" y="384"/>
                    </a:lnTo>
                    <a:lnTo>
                      <a:pt x="57" y="384"/>
                    </a:lnTo>
                    <a:lnTo>
                      <a:pt x="56" y="386"/>
                    </a:lnTo>
                    <a:lnTo>
                      <a:pt x="55" y="386"/>
                    </a:lnTo>
                    <a:lnTo>
                      <a:pt x="55" y="388"/>
                    </a:lnTo>
                    <a:lnTo>
                      <a:pt x="53" y="387"/>
                    </a:lnTo>
                    <a:lnTo>
                      <a:pt x="52" y="383"/>
                    </a:lnTo>
                    <a:lnTo>
                      <a:pt x="53" y="384"/>
                    </a:lnTo>
                    <a:lnTo>
                      <a:pt x="53" y="383"/>
                    </a:lnTo>
                    <a:lnTo>
                      <a:pt x="52" y="382"/>
                    </a:lnTo>
                    <a:lnTo>
                      <a:pt x="54" y="380"/>
                    </a:lnTo>
                    <a:lnTo>
                      <a:pt x="53" y="378"/>
                    </a:lnTo>
                    <a:lnTo>
                      <a:pt x="54" y="376"/>
                    </a:lnTo>
                    <a:lnTo>
                      <a:pt x="58" y="374"/>
                    </a:lnTo>
                    <a:lnTo>
                      <a:pt x="61" y="368"/>
                    </a:lnTo>
                    <a:lnTo>
                      <a:pt x="71" y="365"/>
                    </a:lnTo>
                    <a:lnTo>
                      <a:pt x="73" y="364"/>
                    </a:lnTo>
                    <a:lnTo>
                      <a:pt x="75" y="364"/>
                    </a:lnTo>
                    <a:lnTo>
                      <a:pt x="74" y="364"/>
                    </a:lnTo>
                    <a:lnTo>
                      <a:pt x="74" y="367"/>
                    </a:lnTo>
                    <a:lnTo>
                      <a:pt x="76" y="368"/>
                    </a:lnTo>
                    <a:lnTo>
                      <a:pt x="77" y="370"/>
                    </a:lnTo>
                    <a:lnTo>
                      <a:pt x="77" y="371"/>
                    </a:lnTo>
                    <a:lnTo>
                      <a:pt x="79" y="371"/>
                    </a:lnTo>
                    <a:lnTo>
                      <a:pt x="80" y="371"/>
                    </a:lnTo>
                    <a:lnTo>
                      <a:pt x="81" y="369"/>
                    </a:lnTo>
                    <a:lnTo>
                      <a:pt x="81" y="368"/>
                    </a:lnTo>
                    <a:lnTo>
                      <a:pt x="82" y="367"/>
                    </a:lnTo>
                    <a:lnTo>
                      <a:pt x="82" y="365"/>
                    </a:lnTo>
                    <a:lnTo>
                      <a:pt x="84" y="364"/>
                    </a:lnTo>
                    <a:lnTo>
                      <a:pt x="85" y="361"/>
                    </a:lnTo>
                    <a:lnTo>
                      <a:pt x="86" y="361"/>
                    </a:lnTo>
                    <a:lnTo>
                      <a:pt x="89" y="361"/>
                    </a:lnTo>
                    <a:lnTo>
                      <a:pt x="89" y="360"/>
                    </a:lnTo>
                    <a:lnTo>
                      <a:pt x="90" y="360"/>
                    </a:lnTo>
                    <a:lnTo>
                      <a:pt x="91" y="360"/>
                    </a:lnTo>
                    <a:lnTo>
                      <a:pt x="93" y="358"/>
                    </a:lnTo>
                    <a:lnTo>
                      <a:pt x="93" y="359"/>
                    </a:lnTo>
                    <a:lnTo>
                      <a:pt x="95" y="356"/>
                    </a:lnTo>
                    <a:lnTo>
                      <a:pt x="95" y="354"/>
                    </a:lnTo>
                    <a:lnTo>
                      <a:pt x="93" y="353"/>
                    </a:lnTo>
                    <a:lnTo>
                      <a:pt x="92" y="352"/>
                    </a:lnTo>
                    <a:lnTo>
                      <a:pt x="91" y="351"/>
                    </a:lnTo>
                    <a:lnTo>
                      <a:pt x="90" y="352"/>
                    </a:lnTo>
                    <a:lnTo>
                      <a:pt x="89" y="352"/>
                    </a:lnTo>
                    <a:lnTo>
                      <a:pt x="87" y="354"/>
                    </a:lnTo>
                    <a:lnTo>
                      <a:pt x="86" y="353"/>
                    </a:lnTo>
                    <a:lnTo>
                      <a:pt x="87" y="350"/>
                    </a:lnTo>
                    <a:lnTo>
                      <a:pt x="90" y="349"/>
                    </a:lnTo>
                    <a:lnTo>
                      <a:pt x="92" y="344"/>
                    </a:lnTo>
                    <a:lnTo>
                      <a:pt x="92" y="341"/>
                    </a:lnTo>
                    <a:lnTo>
                      <a:pt x="91" y="339"/>
                    </a:lnTo>
                    <a:lnTo>
                      <a:pt x="91" y="338"/>
                    </a:lnTo>
                    <a:lnTo>
                      <a:pt x="90" y="335"/>
                    </a:lnTo>
                    <a:lnTo>
                      <a:pt x="91" y="333"/>
                    </a:lnTo>
                    <a:lnTo>
                      <a:pt x="95" y="333"/>
                    </a:lnTo>
                    <a:lnTo>
                      <a:pt x="95" y="331"/>
                    </a:lnTo>
                    <a:lnTo>
                      <a:pt x="97" y="330"/>
                    </a:lnTo>
                    <a:lnTo>
                      <a:pt x="96" y="330"/>
                    </a:lnTo>
                    <a:lnTo>
                      <a:pt x="97" y="326"/>
                    </a:lnTo>
                    <a:lnTo>
                      <a:pt x="95" y="324"/>
                    </a:lnTo>
                    <a:lnTo>
                      <a:pt x="95" y="321"/>
                    </a:lnTo>
                    <a:lnTo>
                      <a:pt x="98" y="318"/>
                    </a:lnTo>
                    <a:lnTo>
                      <a:pt x="97" y="316"/>
                    </a:lnTo>
                    <a:lnTo>
                      <a:pt x="96" y="314"/>
                    </a:lnTo>
                    <a:lnTo>
                      <a:pt x="97" y="313"/>
                    </a:lnTo>
                    <a:lnTo>
                      <a:pt x="98" y="314"/>
                    </a:lnTo>
                    <a:lnTo>
                      <a:pt x="100" y="310"/>
                    </a:lnTo>
                    <a:lnTo>
                      <a:pt x="99" y="308"/>
                    </a:lnTo>
                    <a:lnTo>
                      <a:pt x="100" y="308"/>
                    </a:lnTo>
                    <a:lnTo>
                      <a:pt x="100" y="304"/>
                    </a:lnTo>
                    <a:lnTo>
                      <a:pt x="101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4" y="304"/>
                    </a:lnTo>
                    <a:lnTo>
                      <a:pt x="105" y="304"/>
                    </a:lnTo>
                    <a:lnTo>
                      <a:pt x="106" y="304"/>
                    </a:lnTo>
                    <a:lnTo>
                      <a:pt x="106" y="306"/>
                    </a:lnTo>
                    <a:lnTo>
                      <a:pt x="107" y="305"/>
                    </a:lnTo>
                    <a:lnTo>
                      <a:pt x="107" y="299"/>
                    </a:lnTo>
                    <a:lnTo>
                      <a:pt x="107" y="293"/>
                    </a:lnTo>
                    <a:lnTo>
                      <a:pt x="106" y="291"/>
                    </a:lnTo>
                    <a:lnTo>
                      <a:pt x="107" y="289"/>
                    </a:lnTo>
                    <a:lnTo>
                      <a:pt x="107" y="287"/>
                    </a:lnTo>
                    <a:lnTo>
                      <a:pt x="106" y="287"/>
                    </a:lnTo>
                    <a:lnTo>
                      <a:pt x="105" y="286"/>
                    </a:lnTo>
                    <a:lnTo>
                      <a:pt x="106" y="284"/>
                    </a:lnTo>
                    <a:lnTo>
                      <a:pt x="107" y="283"/>
                    </a:lnTo>
                    <a:lnTo>
                      <a:pt x="107" y="280"/>
                    </a:lnTo>
                    <a:lnTo>
                      <a:pt x="106" y="280"/>
                    </a:lnTo>
                    <a:lnTo>
                      <a:pt x="107" y="278"/>
                    </a:lnTo>
                    <a:lnTo>
                      <a:pt x="110" y="277"/>
                    </a:lnTo>
                    <a:lnTo>
                      <a:pt x="106" y="277"/>
                    </a:lnTo>
                    <a:lnTo>
                      <a:pt x="104" y="276"/>
                    </a:lnTo>
                    <a:lnTo>
                      <a:pt x="100" y="272"/>
                    </a:lnTo>
                    <a:lnTo>
                      <a:pt x="98" y="269"/>
                    </a:lnTo>
                    <a:lnTo>
                      <a:pt x="93" y="268"/>
                    </a:lnTo>
                    <a:lnTo>
                      <a:pt x="92" y="267"/>
                    </a:lnTo>
                    <a:lnTo>
                      <a:pt x="89" y="268"/>
                    </a:lnTo>
                    <a:lnTo>
                      <a:pt x="87" y="267"/>
                    </a:lnTo>
                    <a:lnTo>
                      <a:pt x="87" y="266"/>
                    </a:lnTo>
                    <a:lnTo>
                      <a:pt x="89" y="267"/>
                    </a:lnTo>
                    <a:lnTo>
                      <a:pt x="90" y="262"/>
                    </a:lnTo>
                    <a:lnTo>
                      <a:pt x="90" y="260"/>
                    </a:lnTo>
                    <a:lnTo>
                      <a:pt x="90" y="259"/>
                    </a:lnTo>
                    <a:lnTo>
                      <a:pt x="90" y="256"/>
                    </a:lnTo>
                    <a:lnTo>
                      <a:pt x="87" y="256"/>
                    </a:lnTo>
                    <a:lnTo>
                      <a:pt x="85" y="255"/>
                    </a:lnTo>
                    <a:lnTo>
                      <a:pt x="83" y="254"/>
                    </a:lnTo>
                    <a:lnTo>
                      <a:pt x="79" y="254"/>
                    </a:lnTo>
                    <a:lnTo>
                      <a:pt x="77" y="255"/>
                    </a:lnTo>
                    <a:lnTo>
                      <a:pt x="77" y="252"/>
                    </a:lnTo>
                    <a:lnTo>
                      <a:pt x="76" y="248"/>
                    </a:lnTo>
                    <a:lnTo>
                      <a:pt x="74" y="247"/>
                    </a:lnTo>
                    <a:lnTo>
                      <a:pt x="73" y="248"/>
                    </a:lnTo>
                    <a:lnTo>
                      <a:pt x="73" y="247"/>
                    </a:lnTo>
                    <a:lnTo>
                      <a:pt x="71" y="244"/>
                    </a:lnTo>
                    <a:lnTo>
                      <a:pt x="70" y="244"/>
                    </a:lnTo>
                    <a:lnTo>
                      <a:pt x="70" y="238"/>
                    </a:lnTo>
                    <a:lnTo>
                      <a:pt x="68" y="237"/>
                    </a:lnTo>
                    <a:lnTo>
                      <a:pt x="67" y="235"/>
                    </a:lnTo>
                    <a:lnTo>
                      <a:pt x="66" y="235"/>
                    </a:lnTo>
                    <a:lnTo>
                      <a:pt x="65" y="234"/>
                    </a:lnTo>
                    <a:lnTo>
                      <a:pt x="63" y="236"/>
                    </a:lnTo>
                    <a:lnTo>
                      <a:pt x="62" y="236"/>
                    </a:lnTo>
                    <a:lnTo>
                      <a:pt x="61" y="235"/>
                    </a:lnTo>
                    <a:lnTo>
                      <a:pt x="60" y="236"/>
                    </a:lnTo>
                    <a:lnTo>
                      <a:pt x="61" y="237"/>
                    </a:lnTo>
                    <a:lnTo>
                      <a:pt x="53" y="237"/>
                    </a:lnTo>
                    <a:lnTo>
                      <a:pt x="52" y="236"/>
                    </a:lnTo>
                    <a:lnTo>
                      <a:pt x="43" y="234"/>
                    </a:lnTo>
                    <a:lnTo>
                      <a:pt x="43" y="233"/>
                    </a:lnTo>
                    <a:lnTo>
                      <a:pt x="42" y="232"/>
                    </a:lnTo>
                    <a:lnTo>
                      <a:pt x="42" y="231"/>
                    </a:lnTo>
                    <a:lnTo>
                      <a:pt x="40" y="229"/>
                    </a:lnTo>
                    <a:lnTo>
                      <a:pt x="41" y="228"/>
                    </a:lnTo>
                    <a:lnTo>
                      <a:pt x="40" y="227"/>
                    </a:lnTo>
                    <a:lnTo>
                      <a:pt x="38" y="226"/>
                    </a:lnTo>
                    <a:lnTo>
                      <a:pt x="37" y="224"/>
                    </a:lnTo>
                    <a:lnTo>
                      <a:pt x="36" y="224"/>
                    </a:lnTo>
                    <a:lnTo>
                      <a:pt x="35" y="223"/>
                    </a:lnTo>
                    <a:lnTo>
                      <a:pt x="32" y="223"/>
                    </a:lnTo>
                    <a:lnTo>
                      <a:pt x="31" y="220"/>
                    </a:lnTo>
                    <a:lnTo>
                      <a:pt x="29" y="220"/>
                    </a:lnTo>
                    <a:lnTo>
                      <a:pt x="27" y="219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5"/>
                    </a:lnTo>
                    <a:lnTo>
                      <a:pt x="34" y="215"/>
                    </a:lnTo>
                    <a:lnTo>
                      <a:pt x="37" y="217"/>
                    </a:lnTo>
                    <a:lnTo>
                      <a:pt x="37" y="216"/>
                    </a:lnTo>
                    <a:lnTo>
                      <a:pt x="35" y="215"/>
                    </a:lnTo>
                    <a:lnTo>
                      <a:pt x="34" y="215"/>
                    </a:lnTo>
                    <a:lnTo>
                      <a:pt x="33" y="210"/>
                    </a:lnTo>
                    <a:lnTo>
                      <a:pt x="32" y="210"/>
                    </a:lnTo>
                    <a:lnTo>
                      <a:pt x="27" y="210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22" y="209"/>
                    </a:lnTo>
                    <a:lnTo>
                      <a:pt x="21" y="209"/>
                    </a:lnTo>
                    <a:lnTo>
                      <a:pt x="20" y="207"/>
                    </a:lnTo>
                    <a:lnTo>
                      <a:pt x="19" y="209"/>
                    </a:lnTo>
                    <a:lnTo>
                      <a:pt x="13" y="207"/>
                    </a:lnTo>
                    <a:lnTo>
                      <a:pt x="12" y="210"/>
                    </a:lnTo>
                    <a:lnTo>
                      <a:pt x="11" y="210"/>
                    </a:lnTo>
                    <a:lnTo>
                      <a:pt x="9" y="212"/>
                    </a:lnTo>
                    <a:lnTo>
                      <a:pt x="7" y="212"/>
                    </a:lnTo>
                    <a:lnTo>
                      <a:pt x="7" y="209"/>
                    </a:lnTo>
                    <a:lnTo>
                      <a:pt x="3" y="209"/>
                    </a:lnTo>
                    <a:lnTo>
                      <a:pt x="1" y="209"/>
                    </a:lnTo>
                    <a:lnTo>
                      <a:pt x="0" y="209"/>
                    </a:lnTo>
                    <a:lnTo>
                      <a:pt x="0" y="207"/>
                    </a:lnTo>
                    <a:lnTo>
                      <a:pt x="2" y="205"/>
                    </a:lnTo>
                    <a:lnTo>
                      <a:pt x="2" y="203"/>
                    </a:lnTo>
                    <a:lnTo>
                      <a:pt x="4" y="202"/>
                    </a:lnTo>
                    <a:lnTo>
                      <a:pt x="5" y="202"/>
                    </a:lnTo>
                    <a:lnTo>
                      <a:pt x="4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8" y="197"/>
                    </a:lnTo>
                    <a:lnTo>
                      <a:pt x="11" y="197"/>
                    </a:lnTo>
                    <a:lnTo>
                      <a:pt x="11" y="193"/>
                    </a:lnTo>
                    <a:lnTo>
                      <a:pt x="11" y="190"/>
                    </a:lnTo>
                    <a:lnTo>
                      <a:pt x="9" y="189"/>
                    </a:lnTo>
                    <a:lnTo>
                      <a:pt x="8" y="186"/>
                    </a:lnTo>
                    <a:lnTo>
                      <a:pt x="6" y="188"/>
                    </a:lnTo>
                    <a:lnTo>
                      <a:pt x="6" y="186"/>
                    </a:lnTo>
                    <a:lnTo>
                      <a:pt x="6" y="183"/>
                    </a:lnTo>
                    <a:lnTo>
                      <a:pt x="7" y="180"/>
                    </a:lnTo>
                    <a:lnTo>
                      <a:pt x="6" y="179"/>
                    </a:lnTo>
                    <a:lnTo>
                      <a:pt x="8" y="178"/>
                    </a:lnTo>
                    <a:lnTo>
                      <a:pt x="9" y="179"/>
                    </a:lnTo>
                    <a:lnTo>
                      <a:pt x="11" y="177"/>
                    </a:lnTo>
                    <a:lnTo>
                      <a:pt x="12" y="177"/>
                    </a:lnTo>
                    <a:lnTo>
                      <a:pt x="12" y="175"/>
                    </a:lnTo>
                    <a:lnTo>
                      <a:pt x="16" y="175"/>
                    </a:lnTo>
                    <a:lnTo>
                      <a:pt x="16" y="176"/>
                    </a:lnTo>
                    <a:lnTo>
                      <a:pt x="20" y="178"/>
                    </a:lnTo>
                    <a:lnTo>
                      <a:pt x="22" y="178"/>
                    </a:lnTo>
                    <a:lnTo>
                      <a:pt x="22" y="176"/>
                    </a:lnTo>
                    <a:lnTo>
                      <a:pt x="22" y="175"/>
                    </a:lnTo>
                    <a:lnTo>
                      <a:pt x="22" y="174"/>
                    </a:lnTo>
                    <a:lnTo>
                      <a:pt x="23" y="175"/>
                    </a:lnTo>
                    <a:lnTo>
                      <a:pt x="25" y="175"/>
                    </a:lnTo>
                    <a:lnTo>
                      <a:pt x="25" y="171"/>
                    </a:lnTo>
                    <a:lnTo>
                      <a:pt x="25" y="170"/>
                    </a:lnTo>
                    <a:lnTo>
                      <a:pt x="25" y="166"/>
                    </a:lnTo>
                    <a:lnTo>
                      <a:pt x="25" y="167"/>
                    </a:lnTo>
                    <a:lnTo>
                      <a:pt x="26" y="167"/>
                    </a:lnTo>
                    <a:lnTo>
                      <a:pt x="27" y="169"/>
                    </a:lnTo>
                    <a:lnTo>
                      <a:pt x="28" y="169"/>
                    </a:lnTo>
                    <a:lnTo>
                      <a:pt x="30" y="170"/>
                    </a:lnTo>
                    <a:lnTo>
                      <a:pt x="31" y="168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29" y="162"/>
                    </a:lnTo>
                    <a:lnTo>
                      <a:pt x="33" y="162"/>
                    </a:lnTo>
                    <a:lnTo>
                      <a:pt x="33" y="159"/>
                    </a:lnTo>
                    <a:lnTo>
                      <a:pt x="32" y="155"/>
                    </a:lnTo>
                    <a:lnTo>
                      <a:pt x="33" y="154"/>
                    </a:lnTo>
                    <a:lnTo>
                      <a:pt x="33" y="150"/>
                    </a:lnTo>
                    <a:lnTo>
                      <a:pt x="34" y="152"/>
                    </a:lnTo>
                    <a:lnTo>
                      <a:pt x="37" y="152"/>
                    </a:lnTo>
                    <a:lnTo>
                      <a:pt x="38" y="151"/>
                    </a:lnTo>
                    <a:lnTo>
                      <a:pt x="38" y="150"/>
                    </a:lnTo>
                    <a:lnTo>
                      <a:pt x="40" y="150"/>
                    </a:lnTo>
                    <a:lnTo>
                      <a:pt x="40" y="149"/>
                    </a:lnTo>
                    <a:lnTo>
                      <a:pt x="41" y="149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43" y="146"/>
                    </a:lnTo>
                    <a:lnTo>
                      <a:pt x="43" y="145"/>
                    </a:lnTo>
                    <a:lnTo>
                      <a:pt x="46" y="145"/>
                    </a:lnTo>
                    <a:lnTo>
                      <a:pt x="47" y="142"/>
                    </a:lnTo>
                    <a:lnTo>
                      <a:pt x="50" y="142"/>
                    </a:lnTo>
                    <a:lnTo>
                      <a:pt x="52" y="142"/>
                    </a:lnTo>
                    <a:lnTo>
                      <a:pt x="52" y="141"/>
                    </a:lnTo>
                    <a:lnTo>
                      <a:pt x="53" y="141"/>
                    </a:lnTo>
                    <a:lnTo>
                      <a:pt x="55" y="145"/>
                    </a:lnTo>
                    <a:lnTo>
                      <a:pt x="57" y="146"/>
                    </a:lnTo>
                    <a:lnTo>
                      <a:pt x="58" y="145"/>
                    </a:lnTo>
                    <a:lnTo>
                      <a:pt x="61" y="145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71" y="140"/>
                    </a:lnTo>
                    <a:lnTo>
                      <a:pt x="70" y="137"/>
                    </a:lnTo>
                    <a:lnTo>
                      <a:pt x="73" y="138"/>
                    </a:lnTo>
                    <a:lnTo>
                      <a:pt x="74" y="137"/>
                    </a:lnTo>
                    <a:lnTo>
                      <a:pt x="76" y="134"/>
                    </a:lnTo>
                    <a:lnTo>
                      <a:pt x="76" y="133"/>
                    </a:lnTo>
                    <a:lnTo>
                      <a:pt x="78" y="133"/>
                    </a:lnTo>
                    <a:lnTo>
                      <a:pt x="80" y="132"/>
                    </a:lnTo>
                    <a:lnTo>
                      <a:pt x="85" y="126"/>
                    </a:lnTo>
                    <a:lnTo>
                      <a:pt x="86" y="127"/>
                    </a:lnTo>
                    <a:lnTo>
                      <a:pt x="85" y="128"/>
                    </a:lnTo>
                    <a:lnTo>
                      <a:pt x="85" y="133"/>
                    </a:lnTo>
                    <a:lnTo>
                      <a:pt x="89" y="132"/>
                    </a:lnTo>
                    <a:lnTo>
                      <a:pt x="90" y="133"/>
                    </a:lnTo>
                    <a:lnTo>
                      <a:pt x="92" y="135"/>
                    </a:lnTo>
                    <a:lnTo>
                      <a:pt x="93" y="135"/>
                    </a:lnTo>
                    <a:lnTo>
                      <a:pt x="97" y="133"/>
                    </a:lnTo>
                    <a:lnTo>
                      <a:pt x="104" y="135"/>
                    </a:lnTo>
                    <a:lnTo>
                      <a:pt x="106" y="136"/>
                    </a:lnTo>
                    <a:lnTo>
                      <a:pt x="107" y="133"/>
                    </a:lnTo>
                    <a:lnTo>
                      <a:pt x="108" y="131"/>
                    </a:lnTo>
                    <a:lnTo>
                      <a:pt x="109" y="132"/>
                    </a:lnTo>
                    <a:lnTo>
                      <a:pt x="110" y="129"/>
                    </a:lnTo>
                    <a:lnTo>
                      <a:pt x="111" y="130"/>
                    </a:lnTo>
                    <a:lnTo>
                      <a:pt x="110" y="133"/>
                    </a:lnTo>
                    <a:lnTo>
                      <a:pt x="112" y="133"/>
                    </a:lnTo>
                    <a:lnTo>
                      <a:pt x="113" y="131"/>
                    </a:lnTo>
                    <a:lnTo>
                      <a:pt x="114" y="131"/>
                    </a:lnTo>
                    <a:lnTo>
                      <a:pt x="118" y="127"/>
                    </a:lnTo>
                    <a:lnTo>
                      <a:pt x="120" y="124"/>
                    </a:lnTo>
                    <a:lnTo>
                      <a:pt x="122" y="122"/>
                    </a:lnTo>
                    <a:lnTo>
                      <a:pt x="123" y="122"/>
                    </a:lnTo>
                    <a:lnTo>
                      <a:pt x="125" y="120"/>
                    </a:lnTo>
                    <a:lnTo>
                      <a:pt x="126" y="120"/>
                    </a:lnTo>
                    <a:lnTo>
                      <a:pt x="128" y="123"/>
                    </a:lnTo>
                    <a:lnTo>
                      <a:pt x="128" y="122"/>
                    </a:lnTo>
                    <a:lnTo>
                      <a:pt x="129" y="122"/>
                    </a:lnTo>
                    <a:lnTo>
                      <a:pt x="131" y="128"/>
                    </a:lnTo>
                    <a:lnTo>
                      <a:pt x="130" y="131"/>
                    </a:lnTo>
                    <a:lnTo>
                      <a:pt x="131" y="132"/>
                    </a:lnTo>
                    <a:lnTo>
                      <a:pt x="138" y="132"/>
                    </a:lnTo>
                    <a:lnTo>
                      <a:pt x="138" y="128"/>
                    </a:lnTo>
                    <a:lnTo>
                      <a:pt x="139" y="127"/>
                    </a:lnTo>
                    <a:lnTo>
                      <a:pt x="139" y="124"/>
                    </a:lnTo>
                    <a:lnTo>
                      <a:pt x="141" y="122"/>
                    </a:lnTo>
                    <a:lnTo>
                      <a:pt x="143" y="120"/>
                    </a:lnTo>
                    <a:lnTo>
                      <a:pt x="146" y="120"/>
                    </a:lnTo>
                    <a:lnTo>
                      <a:pt x="152" y="119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6" y="119"/>
                    </a:lnTo>
                    <a:lnTo>
                      <a:pt x="157" y="118"/>
                    </a:lnTo>
                    <a:lnTo>
                      <a:pt x="158" y="118"/>
                    </a:lnTo>
                    <a:lnTo>
                      <a:pt x="161" y="117"/>
                    </a:lnTo>
                    <a:lnTo>
                      <a:pt x="161" y="115"/>
                    </a:lnTo>
                    <a:lnTo>
                      <a:pt x="162" y="115"/>
                    </a:lnTo>
                    <a:lnTo>
                      <a:pt x="162" y="114"/>
                    </a:lnTo>
                    <a:lnTo>
                      <a:pt x="164" y="115"/>
                    </a:lnTo>
                    <a:lnTo>
                      <a:pt x="165" y="113"/>
                    </a:lnTo>
                    <a:lnTo>
                      <a:pt x="166" y="112"/>
                    </a:lnTo>
                    <a:lnTo>
                      <a:pt x="166" y="108"/>
                    </a:lnTo>
                    <a:lnTo>
                      <a:pt x="166" y="107"/>
                    </a:lnTo>
                    <a:lnTo>
                      <a:pt x="164" y="107"/>
                    </a:lnTo>
                    <a:lnTo>
                      <a:pt x="165" y="107"/>
                    </a:lnTo>
                    <a:lnTo>
                      <a:pt x="165" y="106"/>
                    </a:lnTo>
                    <a:lnTo>
                      <a:pt x="167" y="107"/>
                    </a:lnTo>
                    <a:lnTo>
                      <a:pt x="170" y="107"/>
                    </a:lnTo>
                    <a:lnTo>
                      <a:pt x="170" y="109"/>
                    </a:lnTo>
                    <a:lnTo>
                      <a:pt x="175" y="109"/>
                    </a:lnTo>
                    <a:lnTo>
                      <a:pt x="176" y="109"/>
                    </a:lnTo>
                    <a:lnTo>
                      <a:pt x="175" y="107"/>
                    </a:lnTo>
                    <a:lnTo>
                      <a:pt x="176" y="107"/>
                    </a:lnTo>
                    <a:lnTo>
                      <a:pt x="175" y="106"/>
                    </a:lnTo>
                    <a:lnTo>
                      <a:pt x="177" y="103"/>
                    </a:lnTo>
                    <a:lnTo>
                      <a:pt x="175" y="101"/>
                    </a:lnTo>
                    <a:lnTo>
                      <a:pt x="174" y="101"/>
                    </a:lnTo>
                    <a:lnTo>
                      <a:pt x="174" y="95"/>
                    </a:lnTo>
                    <a:lnTo>
                      <a:pt x="177" y="94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1" y="92"/>
                    </a:lnTo>
                    <a:lnTo>
                      <a:pt x="182" y="90"/>
                    </a:lnTo>
                    <a:lnTo>
                      <a:pt x="185" y="90"/>
                    </a:lnTo>
                    <a:lnTo>
                      <a:pt x="187" y="93"/>
                    </a:lnTo>
                    <a:lnTo>
                      <a:pt x="188" y="94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90" y="91"/>
                    </a:lnTo>
                    <a:lnTo>
                      <a:pt x="194" y="94"/>
                    </a:lnTo>
                    <a:lnTo>
                      <a:pt x="198" y="95"/>
                    </a:lnTo>
                    <a:lnTo>
                      <a:pt x="198" y="97"/>
                    </a:lnTo>
                    <a:lnTo>
                      <a:pt x="199" y="97"/>
                    </a:lnTo>
                    <a:lnTo>
                      <a:pt x="199" y="98"/>
                    </a:lnTo>
                    <a:lnTo>
                      <a:pt x="200" y="98"/>
                    </a:lnTo>
                    <a:lnTo>
                      <a:pt x="205" y="99"/>
                    </a:lnTo>
                    <a:lnTo>
                      <a:pt x="211" y="99"/>
                    </a:lnTo>
                    <a:lnTo>
                      <a:pt x="211" y="101"/>
                    </a:lnTo>
                    <a:lnTo>
                      <a:pt x="213" y="101"/>
                    </a:lnTo>
                    <a:lnTo>
                      <a:pt x="217" y="102"/>
                    </a:lnTo>
                    <a:lnTo>
                      <a:pt x="218" y="103"/>
                    </a:lnTo>
                    <a:lnTo>
                      <a:pt x="218" y="102"/>
                    </a:lnTo>
                    <a:lnTo>
                      <a:pt x="224" y="102"/>
                    </a:lnTo>
                    <a:lnTo>
                      <a:pt x="225" y="101"/>
                    </a:lnTo>
                    <a:lnTo>
                      <a:pt x="228" y="103"/>
                    </a:lnTo>
                    <a:lnTo>
                      <a:pt x="229" y="100"/>
                    </a:lnTo>
                    <a:lnTo>
                      <a:pt x="229" y="98"/>
                    </a:lnTo>
                    <a:lnTo>
                      <a:pt x="232" y="100"/>
                    </a:lnTo>
                    <a:lnTo>
                      <a:pt x="232" y="101"/>
                    </a:lnTo>
                    <a:lnTo>
                      <a:pt x="233" y="103"/>
                    </a:lnTo>
                    <a:lnTo>
                      <a:pt x="234" y="102"/>
                    </a:lnTo>
                    <a:lnTo>
                      <a:pt x="236" y="104"/>
                    </a:lnTo>
                    <a:lnTo>
                      <a:pt x="236" y="103"/>
                    </a:lnTo>
                    <a:lnTo>
                      <a:pt x="237" y="103"/>
                    </a:lnTo>
                    <a:lnTo>
                      <a:pt x="238" y="101"/>
                    </a:lnTo>
                    <a:lnTo>
                      <a:pt x="243" y="106"/>
                    </a:lnTo>
                    <a:lnTo>
                      <a:pt x="245" y="107"/>
                    </a:lnTo>
                    <a:lnTo>
                      <a:pt x="245" y="108"/>
                    </a:lnTo>
                    <a:lnTo>
                      <a:pt x="246" y="109"/>
                    </a:lnTo>
                    <a:lnTo>
                      <a:pt x="248" y="105"/>
                    </a:lnTo>
                    <a:lnTo>
                      <a:pt x="250" y="103"/>
                    </a:lnTo>
                    <a:lnTo>
                      <a:pt x="250" y="102"/>
                    </a:lnTo>
                    <a:lnTo>
                      <a:pt x="252" y="99"/>
                    </a:lnTo>
                    <a:lnTo>
                      <a:pt x="253" y="99"/>
                    </a:lnTo>
                    <a:lnTo>
                      <a:pt x="255" y="98"/>
                    </a:lnTo>
                    <a:lnTo>
                      <a:pt x="257" y="100"/>
                    </a:lnTo>
                    <a:lnTo>
                      <a:pt x="259" y="101"/>
                    </a:lnTo>
                    <a:lnTo>
                      <a:pt x="260" y="100"/>
                    </a:lnTo>
                    <a:lnTo>
                      <a:pt x="260" y="99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99"/>
                    </a:lnTo>
                    <a:lnTo>
                      <a:pt x="267" y="100"/>
                    </a:lnTo>
                    <a:lnTo>
                      <a:pt x="267" y="98"/>
                    </a:lnTo>
                    <a:lnTo>
                      <a:pt x="268" y="99"/>
                    </a:lnTo>
                    <a:lnTo>
                      <a:pt x="269" y="98"/>
                    </a:lnTo>
                    <a:lnTo>
                      <a:pt x="272" y="99"/>
                    </a:lnTo>
                    <a:lnTo>
                      <a:pt x="273" y="100"/>
                    </a:lnTo>
                    <a:lnTo>
                      <a:pt x="273" y="101"/>
                    </a:lnTo>
                    <a:lnTo>
                      <a:pt x="274" y="101"/>
                    </a:lnTo>
                    <a:lnTo>
                      <a:pt x="274" y="103"/>
                    </a:lnTo>
                    <a:lnTo>
                      <a:pt x="275" y="102"/>
                    </a:lnTo>
                    <a:lnTo>
                      <a:pt x="276" y="103"/>
                    </a:lnTo>
                    <a:lnTo>
                      <a:pt x="275" y="101"/>
                    </a:lnTo>
                    <a:lnTo>
                      <a:pt x="276" y="101"/>
                    </a:lnTo>
                    <a:lnTo>
                      <a:pt x="276" y="102"/>
                    </a:lnTo>
                    <a:lnTo>
                      <a:pt x="276" y="103"/>
                    </a:lnTo>
                    <a:lnTo>
                      <a:pt x="278" y="102"/>
                    </a:lnTo>
                    <a:lnTo>
                      <a:pt x="281" y="98"/>
                    </a:lnTo>
                    <a:lnTo>
                      <a:pt x="280" y="98"/>
                    </a:lnTo>
                    <a:lnTo>
                      <a:pt x="281" y="96"/>
                    </a:lnTo>
                    <a:lnTo>
                      <a:pt x="280" y="96"/>
                    </a:lnTo>
                    <a:lnTo>
                      <a:pt x="281" y="95"/>
                    </a:lnTo>
                    <a:lnTo>
                      <a:pt x="280" y="95"/>
                    </a:lnTo>
                    <a:lnTo>
                      <a:pt x="280" y="94"/>
                    </a:lnTo>
                    <a:lnTo>
                      <a:pt x="280" y="90"/>
                    </a:lnTo>
                    <a:lnTo>
                      <a:pt x="283" y="92"/>
                    </a:lnTo>
                    <a:lnTo>
                      <a:pt x="283" y="86"/>
                    </a:lnTo>
                    <a:lnTo>
                      <a:pt x="283" y="84"/>
                    </a:lnTo>
                    <a:lnTo>
                      <a:pt x="284" y="84"/>
                    </a:lnTo>
                    <a:lnTo>
                      <a:pt x="284" y="82"/>
                    </a:lnTo>
                    <a:lnTo>
                      <a:pt x="283" y="81"/>
                    </a:lnTo>
                    <a:lnTo>
                      <a:pt x="282" y="81"/>
                    </a:lnTo>
                    <a:lnTo>
                      <a:pt x="282" y="78"/>
                    </a:lnTo>
                    <a:lnTo>
                      <a:pt x="281" y="77"/>
                    </a:lnTo>
                    <a:lnTo>
                      <a:pt x="281" y="76"/>
                    </a:lnTo>
                    <a:lnTo>
                      <a:pt x="283" y="75"/>
                    </a:lnTo>
                    <a:lnTo>
                      <a:pt x="283" y="76"/>
                    </a:lnTo>
                    <a:lnTo>
                      <a:pt x="284" y="75"/>
                    </a:lnTo>
                    <a:lnTo>
                      <a:pt x="283" y="74"/>
                    </a:lnTo>
                    <a:lnTo>
                      <a:pt x="283" y="73"/>
                    </a:lnTo>
                    <a:lnTo>
                      <a:pt x="282" y="71"/>
                    </a:lnTo>
                    <a:lnTo>
                      <a:pt x="283" y="70"/>
                    </a:lnTo>
                    <a:lnTo>
                      <a:pt x="283" y="71"/>
                    </a:lnTo>
                    <a:lnTo>
                      <a:pt x="283" y="69"/>
                    </a:lnTo>
                    <a:lnTo>
                      <a:pt x="283" y="68"/>
                    </a:lnTo>
                    <a:lnTo>
                      <a:pt x="281" y="67"/>
                    </a:lnTo>
                    <a:lnTo>
                      <a:pt x="281" y="66"/>
                    </a:lnTo>
                    <a:lnTo>
                      <a:pt x="283" y="65"/>
                    </a:lnTo>
                    <a:lnTo>
                      <a:pt x="284" y="65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90" y="69"/>
                    </a:lnTo>
                    <a:lnTo>
                      <a:pt x="296" y="72"/>
                    </a:lnTo>
                    <a:lnTo>
                      <a:pt x="296" y="71"/>
                    </a:lnTo>
                    <a:lnTo>
                      <a:pt x="297" y="71"/>
                    </a:lnTo>
                    <a:lnTo>
                      <a:pt x="296" y="70"/>
                    </a:lnTo>
                    <a:lnTo>
                      <a:pt x="297" y="69"/>
                    </a:lnTo>
                    <a:lnTo>
                      <a:pt x="297" y="68"/>
                    </a:lnTo>
                    <a:lnTo>
                      <a:pt x="295" y="68"/>
                    </a:lnTo>
                    <a:lnTo>
                      <a:pt x="294" y="67"/>
                    </a:lnTo>
                    <a:lnTo>
                      <a:pt x="296" y="65"/>
                    </a:lnTo>
                    <a:lnTo>
                      <a:pt x="297" y="67"/>
                    </a:lnTo>
                    <a:lnTo>
                      <a:pt x="298" y="65"/>
                    </a:lnTo>
                    <a:lnTo>
                      <a:pt x="297" y="65"/>
                    </a:lnTo>
                    <a:lnTo>
                      <a:pt x="299" y="64"/>
                    </a:lnTo>
                    <a:lnTo>
                      <a:pt x="299" y="58"/>
                    </a:lnTo>
                    <a:lnTo>
                      <a:pt x="303" y="61"/>
                    </a:lnTo>
                    <a:lnTo>
                      <a:pt x="306" y="61"/>
                    </a:lnTo>
                    <a:lnTo>
                      <a:pt x="306" y="58"/>
                    </a:lnTo>
                    <a:lnTo>
                      <a:pt x="309" y="61"/>
                    </a:lnTo>
                    <a:lnTo>
                      <a:pt x="312" y="61"/>
                    </a:lnTo>
                    <a:lnTo>
                      <a:pt x="312" y="57"/>
                    </a:lnTo>
                    <a:lnTo>
                      <a:pt x="313" y="56"/>
                    </a:lnTo>
                    <a:lnTo>
                      <a:pt x="313" y="54"/>
                    </a:lnTo>
                    <a:lnTo>
                      <a:pt x="313" y="52"/>
                    </a:lnTo>
                    <a:lnTo>
                      <a:pt x="312" y="52"/>
                    </a:lnTo>
                    <a:lnTo>
                      <a:pt x="313" y="52"/>
                    </a:lnTo>
                    <a:lnTo>
                      <a:pt x="313" y="48"/>
                    </a:lnTo>
                    <a:lnTo>
                      <a:pt x="310" y="39"/>
                    </a:lnTo>
                    <a:lnTo>
                      <a:pt x="315" y="38"/>
                    </a:lnTo>
                    <a:lnTo>
                      <a:pt x="315" y="34"/>
                    </a:lnTo>
                    <a:lnTo>
                      <a:pt x="319" y="36"/>
                    </a:lnTo>
                    <a:lnTo>
                      <a:pt x="320" y="36"/>
                    </a:lnTo>
                    <a:lnTo>
                      <a:pt x="319" y="39"/>
                    </a:lnTo>
                    <a:lnTo>
                      <a:pt x="321" y="39"/>
                    </a:lnTo>
                    <a:lnTo>
                      <a:pt x="321" y="40"/>
                    </a:lnTo>
                    <a:lnTo>
                      <a:pt x="322" y="42"/>
                    </a:lnTo>
                    <a:lnTo>
                      <a:pt x="323" y="39"/>
                    </a:lnTo>
                    <a:lnTo>
                      <a:pt x="325" y="35"/>
                    </a:lnTo>
                    <a:lnTo>
                      <a:pt x="330" y="35"/>
                    </a:lnTo>
                    <a:lnTo>
                      <a:pt x="329" y="35"/>
                    </a:lnTo>
                    <a:lnTo>
                      <a:pt x="330" y="37"/>
                    </a:lnTo>
                    <a:lnTo>
                      <a:pt x="330" y="41"/>
                    </a:lnTo>
                    <a:lnTo>
                      <a:pt x="331" y="41"/>
                    </a:lnTo>
                    <a:lnTo>
                      <a:pt x="334" y="43"/>
                    </a:lnTo>
                    <a:lnTo>
                      <a:pt x="336" y="43"/>
                    </a:lnTo>
                    <a:lnTo>
                      <a:pt x="337" y="41"/>
                    </a:lnTo>
                    <a:lnTo>
                      <a:pt x="335" y="39"/>
                    </a:lnTo>
                    <a:lnTo>
                      <a:pt x="335" y="38"/>
                    </a:lnTo>
                    <a:lnTo>
                      <a:pt x="339" y="39"/>
                    </a:lnTo>
                    <a:lnTo>
                      <a:pt x="340" y="38"/>
                    </a:lnTo>
                    <a:lnTo>
                      <a:pt x="341" y="36"/>
                    </a:lnTo>
                    <a:lnTo>
                      <a:pt x="343" y="37"/>
                    </a:lnTo>
                    <a:lnTo>
                      <a:pt x="344" y="37"/>
                    </a:lnTo>
                    <a:lnTo>
                      <a:pt x="343" y="38"/>
                    </a:lnTo>
                    <a:lnTo>
                      <a:pt x="343" y="40"/>
                    </a:lnTo>
                    <a:lnTo>
                      <a:pt x="343" y="41"/>
                    </a:lnTo>
                    <a:lnTo>
                      <a:pt x="345" y="43"/>
                    </a:lnTo>
                    <a:lnTo>
                      <a:pt x="344" y="43"/>
                    </a:lnTo>
                    <a:lnTo>
                      <a:pt x="343" y="44"/>
                    </a:lnTo>
                    <a:lnTo>
                      <a:pt x="342" y="46"/>
                    </a:lnTo>
                    <a:lnTo>
                      <a:pt x="343" y="47"/>
                    </a:lnTo>
                    <a:lnTo>
                      <a:pt x="343" y="51"/>
                    </a:lnTo>
                    <a:lnTo>
                      <a:pt x="345" y="54"/>
                    </a:lnTo>
                    <a:lnTo>
                      <a:pt x="346" y="52"/>
                    </a:lnTo>
                    <a:lnTo>
                      <a:pt x="346" y="53"/>
                    </a:lnTo>
                    <a:lnTo>
                      <a:pt x="347" y="52"/>
                    </a:lnTo>
                    <a:lnTo>
                      <a:pt x="347" y="53"/>
                    </a:lnTo>
                    <a:lnTo>
                      <a:pt x="348" y="53"/>
                    </a:lnTo>
                    <a:lnTo>
                      <a:pt x="348" y="54"/>
                    </a:lnTo>
                    <a:lnTo>
                      <a:pt x="349" y="55"/>
                    </a:lnTo>
                    <a:lnTo>
                      <a:pt x="350" y="56"/>
                    </a:lnTo>
                    <a:lnTo>
                      <a:pt x="351" y="55"/>
                    </a:lnTo>
                    <a:lnTo>
                      <a:pt x="351" y="53"/>
                    </a:lnTo>
                    <a:lnTo>
                      <a:pt x="353" y="51"/>
                    </a:lnTo>
                    <a:lnTo>
                      <a:pt x="353" y="52"/>
                    </a:lnTo>
                    <a:lnTo>
                      <a:pt x="355" y="53"/>
                    </a:lnTo>
                    <a:lnTo>
                      <a:pt x="356" y="53"/>
                    </a:lnTo>
                    <a:lnTo>
                      <a:pt x="356" y="51"/>
                    </a:lnTo>
                    <a:lnTo>
                      <a:pt x="358" y="51"/>
                    </a:lnTo>
                    <a:lnTo>
                      <a:pt x="359" y="53"/>
                    </a:lnTo>
                    <a:lnTo>
                      <a:pt x="361" y="54"/>
                    </a:lnTo>
                    <a:lnTo>
                      <a:pt x="361" y="52"/>
                    </a:lnTo>
                    <a:lnTo>
                      <a:pt x="361" y="51"/>
                    </a:lnTo>
                    <a:lnTo>
                      <a:pt x="365" y="52"/>
                    </a:lnTo>
                    <a:lnTo>
                      <a:pt x="368" y="52"/>
                    </a:lnTo>
                    <a:lnTo>
                      <a:pt x="372" y="55"/>
                    </a:lnTo>
                    <a:lnTo>
                      <a:pt x="372" y="54"/>
                    </a:lnTo>
                    <a:lnTo>
                      <a:pt x="372" y="50"/>
                    </a:lnTo>
                    <a:lnTo>
                      <a:pt x="374" y="49"/>
                    </a:lnTo>
                    <a:lnTo>
                      <a:pt x="374" y="48"/>
                    </a:lnTo>
                    <a:lnTo>
                      <a:pt x="378" y="49"/>
                    </a:lnTo>
                    <a:lnTo>
                      <a:pt x="379" y="48"/>
                    </a:lnTo>
                    <a:lnTo>
                      <a:pt x="381" y="48"/>
                    </a:lnTo>
                    <a:lnTo>
                      <a:pt x="383" y="40"/>
                    </a:lnTo>
                    <a:lnTo>
                      <a:pt x="383" y="39"/>
                    </a:lnTo>
                    <a:lnTo>
                      <a:pt x="390" y="41"/>
                    </a:lnTo>
                    <a:lnTo>
                      <a:pt x="391" y="40"/>
                    </a:lnTo>
                    <a:lnTo>
                      <a:pt x="392" y="36"/>
                    </a:lnTo>
                    <a:lnTo>
                      <a:pt x="391" y="27"/>
                    </a:lnTo>
                    <a:lnTo>
                      <a:pt x="392" y="22"/>
                    </a:lnTo>
                    <a:lnTo>
                      <a:pt x="405" y="27"/>
                    </a:lnTo>
                    <a:lnTo>
                      <a:pt x="411" y="34"/>
                    </a:lnTo>
                    <a:lnTo>
                      <a:pt x="418" y="28"/>
                    </a:lnTo>
                    <a:lnTo>
                      <a:pt x="419" y="28"/>
                    </a:lnTo>
                    <a:lnTo>
                      <a:pt x="420" y="27"/>
                    </a:lnTo>
                    <a:lnTo>
                      <a:pt x="421" y="26"/>
                    </a:lnTo>
                    <a:lnTo>
                      <a:pt x="420" y="24"/>
                    </a:lnTo>
                    <a:lnTo>
                      <a:pt x="418" y="22"/>
                    </a:lnTo>
                    <a:lnTo>
                      <a:pt x="419" y="20"/>
                    </a:lnTo>
                    <a:lnTo>
                      <a:pt x="418" y="19"/>
                    </a:lnTo>
                    <a:lnTo>
                      <a:pt x="423" y="18"/>
                    </a:lnTo>
                    <a:lnTo>
                      <a:pt x="426" y="17"/>
                    </a:lnTo>
                    <a:lnTo>
                      <a:pt x="428" y="17"/>
                    </a:lnTo>
                    <a:lnTo>
                      <a:pt x="429" y="17"/>
                    </a:lnTo>
                    <a:lnTo>
                      <a:pt x="430" y="15"/>
                    </a:lnTo>
                    <a:lnTo>
                      <a:pt x="430" y="17"/>
                    </a:lnTo>
                    <a:lnTo>
                      <a:pt x="433" y="15"/>
                    </a:lnTo>
                    <a:lnTo>
                      <a:pt x="435" y="14"/>
                    </a:lnTo>
                    <a:lnTo>
                      <a:pt x="434" y="11"/>
                    </a:lnTo>
                    <a:lnTo>
                      <a:pt x="435" y="11"/>
                    </a:lnTo>
                    <a:lnTo>
                      <a:pt x="434" y="7"/>
                    </a:lnTo>
                    <a:lnTo>
                      <a:pt x="432" y="7"/>
                    </a:lnTo>
                    <a:lnTo>
                      <a:pt x="435" y="6"/>
                    </a:lnTo>
                    <a:lnTo>
                      <a:pt x="435" y="5"/>
                    </a:lnTo>
                    <a:lnTo>
                      <a:pt x="437" y="6"/>
                    </a:lnTo>
                    <a:lnTo>
                      <a:pt x="437" y="5"/>
                    </a:lnTo>
                    <a:lnTo>
                      <a:pt x="438" y="5"/>
                    </a:lnTo>
                    <a:lnTo>
                      <a:pt x="439" y="6"/>
                    </a:lnTo>
                    <a:lnTo>
                      <a:pt x="437" y="0"/>
                    </a:lnTo>
                    <a:lnTo>
                      <a:pt x="439" y="0"/>
                    </a:lnTo>
                    <a:lnTo>
                      <a:pt x="444" y="1"/>
                    </a:lnTo>
                    <a:lnTo>
                      <a:pt x="443" y="1"/>
                    </a:lnTo>
                    <a:lnTo>
                      <a:pt x="444" y="4"/>
                    </a:lnTo>
                    <a:lnTo>
                      <a:pt x="442" y="5"/>
                    </a:lnTo>
                    <a:lnTo>
                      <a:pt x="443" y="6"/>
                    </a:lnTo>
                    <a:lnTo>
                      <a:pt x="444" y="6"/>
                    </a:lnTo>
                    <a:lnTo>
                      <a:pt x="446" y="7"/>
                    </a:lnTo>
                    <a:lnTo>
                      <a:pt x="446" y="6"/>
                    </a:lnTo>
                    <a:lnTo>
                      <a:pt x="447" y="7"/>
                    </a:lnTo>
                    <a:lnTo>
                      <a:pt x="449" y="11"/>
                    </a:lnTo>
                    <a:lnTo>
                      <a:pt x="447" y="11"/>
                    </a:lnTo>
                    <a:lnTo>
                      <a:pt x="448" y="11"/>
                    </a:lnTo>
                    <a:lnTo>
                      <a:pt x="449" y="13"/>
                    </a:lnTo>
                    <a:lnTo>
                      <a:pt x="451" y="13"/>
                    </a:lnTo>
                    <a:lnTo>
                      <a:pt x="452" y="14"/>
                    </a:lnTo>
                    <a:lnTo>
                      <a:pt x="452" y="11"/>
                    </a:lnTo>
                    <a:lnTo>
                      <a:pt x="454" y="11"/>
                    </a:lnTo>
                    <a:lnTo>
                      <a:pt x="454" y="9"/>
                    </a:lnTo>
                    <a:lnTo>
                      <a:pt x="455" y="8"/>
                    </a:lnTo>
                    <a:lnTo>
                      <a:pt x="456" y="9"/>
                    </a:lnTo>
                    <a:lnTo>
                      <a:pt x="455" y="9"/>
                    </a:lnTo>
                    <a:lnTo>
                      <a:pt x="455" y="10"/>
                    </a:lnTo>
                    <a:lnTo>
                      <a:pt x="457" y="10"/>
                    </a:lnTo>
                    <a:lnTo>
                      <a:pt x="457" y="11"/>
                    </a:lnTo>
                    <a:lnTo>
                      <a:pt x="459" y="11"/>
                    </a:lnTo>
                    <a:lnTo>
                      <a:pt x="460" y="11"/>
                    </a:lnTo>
                    <a:lnTo>
                      <a:pt x="463" y="10"/>
                    </a:lnTo>
                    <a:lnTo>
                      <a:pt x="463" y="11"/>
                    </a:lnTo>
                    <a:lnTo>
                      <a:pt x="462" y="13"/>
                    </a:lnTo>
                    <a:lnTo>
                      <a:pt x="463" y="13"/>
                    </a:lnTo>
                    <a:lnTo>
                      <a:pt x="465" y="19"/>
                    </a:lnTo>
                    <a:lnTo>
                      <a:pt x="466" y="19"/>
                    </a:lnTo>
                    <a:lnTo>
                      <a:pt x="468" y="20"/>
                    </a:lnTo>
                    <a:lnTo>
                      <a:pt x="468" y="23"/>
                    </a:lnTo>
                    <a:lnTo>
                      <a:pt x="468" y="22"/>
                    </a:lnTo>
                    <a:lnTo>
                      <a:pt x="470" y="22"/>
                    </a:lnTo>
                    <a:lnTo>
                      <a:pt x="470" y="23"/>
                    </a:lnTo>
                    <a:lnTo>
                      <a:pt x="469" y="25"/>
                    </a:lnTo>
                    <a:lnTo>
                      <a:pt x="470" y="27"/>
                    </a:lnTo>
                    <a:lnTo>
                      <a:pt x="470" y="29"/>
                    </a:lnTo>
                    <a:lnTo>
                      <a:pt x="471" y="28"/>
                    </a:lnTo>
                    <a:lnTo>
                      <a:pt x="472" y="28"/>
                    </a:lnTo>
                    <a:lnTo>
                      <a:pt x="474" y="28"/>
                    </a:lnTo>
                    <a:lnTo>
                      <a:pt x="476" y="28"/>
                    </a:lnTo>
                    <a:lnTo>
                      <a:pt x="477" y="31"/>
                    </a:lnTo>
                    <a:lnTo>
                      <a:pt x="479" y="32"/>
                    </a:lnTo>
                    <a:lnTo>
                      <a:pt x="478" y="34"/>
                    </a:lnTo>
                    <a:lnTo>
                      <a:pt x="480" y="34"/>
                    </a:lnTo>
                    <a:lnTo>
                      <a:pt x="483" y="37"/>
                    </a:lnTo>
                    <a:lnTo>
                      <a:pt x="482" y="38"/>
                    </a:lnTo>
                    <a:lnTo>
                      <a:pt x="482" y="39"/>
                    </a:lnTo>
                    <a:lnTo>
                      <a:pt x="483" y="38"/>
                    </a:lnTo>
                    <a:lnTo>
                      <a:pt x="483" y="40"/>
                    </a:lnTo>
                    <a:lnTo>
                      <a:pt x="483" y="46"/>
                    </a:lnTo>
                    <a:lnTo>
                      <a:pt x="484" y="47"/>
                    </a:lnTo>
                    <a:lnTo>
                      <a:pt x="484" y="48"/>
                    </a:lnTo>
                    <a:lnTo>
                      <a:pt x="487" y="47"/>
                    </a:lnTo>
                    <a:lnTo>
                      <a:pt x="487" y="48"/>
                    </a:lnTo>
                    <a:lnTo>
                      <a:pt x="488" y="48"/>
                    </a:lnTo>
                    <a:lnTo>
                      <a:pt x="488" y="49"/>
                    </a:lnTo>
                    <a:lnTo>
                      <a:pt x="490" y="48"/>
                    </a:lnTo>
                    <a:lnTo>
                      <a:pt x="492" y="49"/>
                    </a:lnTo>
                    <a:lnTo>
                      <a:pt x="494" y="51"/>
                    </a:lnTo>
                    <a:lnTo>
                      <a:pt x="493" y="52"/>
                    </a:lnTo>
                    <a:lnTo>
                      <a:pt x="494" y="52"/>
                    </a:lnTo>
                    <a:lnTo>
                      <a:pt x="494" y="53"/>
                    </a:lnTo>
                    <a:lnTo>
                      <a:pt x="495" y="53"/>
                    </a:lnTo>
                    <a:lnTo>
                      <a:pt x="495" y="54"/>
                    </a:lnTo>
                    <a:lnTo>
                      <a:pt x="494" y="54"/>
                    </a:lnTo>
                    <a:lnTo>
                      <a:pt x="494" y="56"/>
                    </a:lnTo>
                    <a:lnTo>
                      <a:pt x="493" y="56"/>
                    </a:lnTo>
                    <a:lnTo>
                      <a:pt x="493" y="58"/>
                    </a:lnTo>
                    <a:lnTo>
                      <a:pt x="491" y="57"/>
                    </a:lnTo>
                    <a:lnTo>
                      <a:pt x="491" y="58"/>
                    </a:lnTo>
                    <a:lnTo>
                      <a:pt x="487" y="58"/>
                    </a:lnTo>
                    <a:lnTo>
                      <a:pt x="486" y="60"/>
                    </a:lnTo>
                    <a:lnTo>
                      <a:pt x="486" y="63"/>
                    </a:lnTo>
                    <a:lnTo>
                      <a:pt x="486" y="64"/>
                    </a:lnTo>
                    <a:lnTo>
                      <a:pt x="487" y="65"/>
                    </a:lnTo>
                    <a:lnTo>
                      <a:pt x="490" y="69"/>
                    </a:lnTo>
                    <a:lnTo>
                      <a:pt x="490" y="71"/>
                    </a:lnTo>
                    <a:lnTo>
                      <a:pt x="489" y="72"/>
                    </a:lnTo>
                    <a:lnTo>
                      <a:pt x="489" y="73"/>
                    </a:lnTo>
                    <a:lnTo>
                      <a:pt x="490" y="73"/>
                    </a:lnTo>
                    <a:lnTo>
                      <a:pt x="492" y="75"/>
                    </a:lnTo>
                    <a:lnTo>
                      <a:pt x="491" y="76"/>
                    </a:lnTo>
                    <a:lnTo>
                      <a:pt x="491" y="77"/>
                    </a:lnTo>
                    <a:lnTo>
                      <a:pt x="490" y="77"/>
                    </a:lnTo>
                    <a:lnTo>
                      <a:pt x="489" y="77"/>
                    </a:lnTo>
                    <a:lnTo>
                      <a:pt x="490" y="77"/>
                    </a:lnTo>
                    <a:lnTo>
                      <a:pt x="490" y="78"/>
                    </a:lnTo>
                    <a:lnTo>
                      <a:pt x="489" y="80"/>
                    </a:lnTo>
                    <a:lnTo>
                      <a:pt x="490" y="80"/>
                    </a:lnTo>
                    <a:lnTo>
                      <a:pt x="489" y="82"/>
                    </a:lnTo>
                    <a:lnTo>
                      <a:pt x="489" y="84"/>
                    </a:lnTo>
                    <a:lnTo>
                      <a:pt x="487" y="86"/>
                    </a:lnTo>
                    <a:lnTo>
                      <a:pt x="487" y="88"/>
                    </a:lnTo>
                    <a:lnTo>
                      <a:pt x="489" y="88"/>
                    </a:lnTo>
                    <a:lnTo>
                      <a:pt x="489" y="89"/>
                    </a:lnTo>
                    <a:lnTo>
                      <a:pt x="491" y="88"/>
                    </a:lnTo>
                    <a:lnTo>
                      <a:pt x="491" y="89"/>
                    </a:lnTo>
                    <a:lnTo>
                      <a:pt x="493" y="93"/>
                    </a:lnTo>
                    <a:lnTo>
                      <a:pt x="493" y="94"/>
                    </a:lnTo>
                    <a:lnTo>
                      <a:pt x="491" y="94"/>
                    </a:lnTo>
                    <a:lnTo>
                      <a:pt x="491" y="96"/>
                    </a:lnTo>
                    <a:lnTo>
                      <a:pt x="492" y="97"/>
                    </a:lnTo>
                    <a:lnTo>
                      <a:pt x="492" y="98"/>
                    </a:lnTo>
                    <a:lnTo>
                      <a:pt x="495" y="99"/>
                    </a:lnTo>
                    <a:lnTo>
                      <a:pt x="491" y="108"/>
                    </a:lnTo>
                    <a:lnTo>
                      <a:pt x="491" y="107"/>
                    </a:lnTo>
                    <a:lnTo>
                      <a:pt x="490" y="109"/>
                    </a:lnTo>
                    <a:lnTo>
                      <a:pt x="489" y="107"/>
                    </a:lnTo>
                    <a:lnTo>
                      <a:pt x="489" y="109"/>
                    </a:lnTo>
                    <a:lnTo>
                      <a:pt x="486" y="109"/>
                    </a:lnTo>
                    <a:lnTo>
                      <a:pt x="486" y="111"/>
                    </a:lnTo>
                    <a:lnTo>
                      <a:pt x="487" y="111"/>
                    </a:lnTo>
                    <a:lnTo>
                      <a:pt x="487" y="112"/>
                    </a:lnTo>
                    <a:lnTo>
                      <a:pt x="486" y="113"/>
                    </a:lnTo>
                    <a:lnTo>
                      <a:pt x="487" y="115"/>
                    </a:lnTo>
                    <a:lnTo>
                      <a:pt x="487" y="116"/>
                    </a:lnTo>
                    <a:lnTo>
                      <a:pt x="486" y="116"/>
                    </a:lnTo>
                    <a:lnTo>
                      <a:pt x="485" y="117"/>
                    </a:lnTo>
                    <a:lnTo>
                      <a:pt x="484" y="117"/>
                    </a:lnTo>
                    <a:lnTo>
                      <a:pt x="485" y="116"/>
                    </a:lnTo>
                    <a:lnTo>
                      <a:pt x="484" y="116"/>
                    </a:lnTo>
                    <a:lnTo>
                      <a:pt x="483" y="116"/>
                    </a:lnTo>
                    <a:lnTo>
                      <a:pt x="482" y="116"/>
                    </a:lnTo>
                    <a:lnTo>
                      <a:pt x="481" y="115"/>
                    </a:lnTo>
                    <a:lnTo>
                      <a:pt x="479" y="117"/>
                    </a:lnTo>
                    <a:lnTo>
                      <a:pt x="476" y="120"/>
                    </a:lnTo>
                    <a:lnTo>
                      <a:pt x="478" y="123"/>
                    </a:lnTo>
                    <a:lnTo>
                      <a:pt x="479" y="126"/>
                    </a:lnTo>
                    <a:lnTo>
                      <a:pt x="481" y="126"/>
                    </a:lnTo>
                    <a:lnTo>
                      <a:pt x="483" y="128"/>
                    </a:lnTo>
                    <a:lnTo>
                      <a:pt x="482" y="128"/>
                    </a:lnTo>
                    <a:lnTo>
                      <a:pt x="480" y="129"/>
                    </a:lnTo>
                    <a:lnTo>
                      <a:pt x="481" y="133"/>
                    </a:lnTo>
                    <a:lnTo>
                      <a:pt x="481" y="135"/>
                    </a:lnTo>
                    <a:lnTo>
                      <a:pt x="483" y="137"/>
                    </a:lnTo>
                    <a:lnTo>
                      <a:pt x="485" y="139"/>
                    </a:lnTo>
                    <a:lnTo>
                      <a:pt x="487" y="140"/>
                    </a:lnTo>
                    <a:lnTo>
                      <a:pt x="489" y="139"/>
                    </a:lnTo>
                    <a:lnTo>
                      <a:pt x="491" y="136"/>
                    </a:lnTo>
                    <a:lnTo>
                      <a:pt x="492" y="139"/>
                    </a:lnTo>
                    <a:lnTo>
                      <a:pt x="496" y="141"/>
                    </a:lnTo>
                    <a:lnTo>
                      <a:pt x="497" y="141"/>
                    </a:lnTo>
                    <a:lnTo>
                      <a:pt x="496" y="142"/>
                    </a:lnTo>
                    <a:lnTo>
                      <a:pt x="495" y="142"/>
                    </a:lnTo>
                    <a:lnTo>
                      <a:pt x="495" y="146"/>
                    </a:lnTo>
                    <a:lnTo>
                      <a:pt x="496" y="146"/>
                    </a:lnTo>
                    <a:lnTo>
                      <a:pt x="498" y="145"/>
                    </a:lnTo>
                    <a:lnTo>
                      <a:pt x="498" y="146"/>
                    </a:lnTo>
                    <a:lnTo>
                      <a:pt x="499" y="148"/>
                    </a:lnTo>
                    <a:lnTo>
                      <a:pt x="500" y="148"/>
                    </a:lnTo>
                    <a:lnTo>
                      <a:pt x="501" y="150"/>
                    </a:lnTo>
                    <a:lnTo>
                      <a:pt x="502" y="150"/>
                    </a:lnTo>
                    <a:lnTo>
                      <a:pt x="503" y="152"/>
                    </a:lnTo>
                    <a:lnTo>
                      <a:pt x="503" y="154"/>
                    </a:lnTo>
                    <a:lnTo>
                      <a:pt x="502" y="153"/>
                    </a:lnTo>
                    <a:lnTo>
                      <a:pt x="499" y="155"/>
                    </a:lnTo>
                    <a:lnTo>
                      <a:pt x="499" y="156"/>
                    </a:lnTo>
                    <a:lnTo>
                      <a:pt x="501" y="157"/>
                    </a:lnTo>
                    <a:lnTo>
                      <a:pt x="501" y="159"/>
                    </a:lnTo>
                    <a:lnTo>
                      <a:pt x="499" y="161"/>
                    </a:lnTo>
                    <a:lnTo>
                      <a:pt x="501" y="162"/>
                    </a:lnTo>
                    <a:lnTo>
                      <a:pt x="504" y="165"/>
                    </a:lnTo>
                    <a:lnTo>
                      <a:pt x="504" y="166"/>
                    </a:lnTo>
                    <a:lnTo>
                      <a:pt x="505" y="167"/>
                    </a:lnTo>
                    <a:lnTo>
                      <a:pt x="506" y="165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8" y="167"/>
                    </a:lnTo>
                    <a:lnTo>
                      <a:pt x="508" y="165"/>
                    </a:lnTo>
                    <a:lnTo>
                      <a:pt x="512" y="166"/>
                    </a:lnTo>
                    <a:lnTo>
                      <a:pt x="514" y="164"/>
                    </a:lnTo>
                    <a:lnTo>
                      <a:pt x="515" y="164"/>
                    </a:lnTo>
                    <a:lnTo>
                      <a:pt x="515" y="165"/>
                    </a:lnTo>
                    <a:lnTo>
                      <a:pt x="517" y="167"/>
                    </a:lnTo>
                    <a:lnTo>
                      <a:pt x="518" y="167"/>
                    </a:lnTo>
                    <a:lnTo>
                      <a:pt x="519" y="168"/>
                    </a:lnTo>
                    <a:lnTo>
                      <a:pt x="520" y="167"/>
                    </a:lnTo>
                    <a:lnTo>
                      <a:pt x="522" y="169"/>
                    </a:lnTo>
                    <a:lnTo>
                      <a:pt x="525" y="171"/>
                    </a:lnTo>
                    <a:lnTo>
                      <a:pt x="524" y="171"/>
                    </a:lnTo>
                    <a:lnTo>
                      <a:pt x="525" y="173"/>
                    </a:lnTo>
                    <a:lnTo>
                      <a:pt x="526" y="172"/>
                    </a:lnTo>
                    <a:lnTo>
                      <a:pt x="528" y="171"/>
                    </a:lnTo>
                    <a:lnTo>
                      <a:pt x="529" y="168"/>
                    </a:lnTo>
                    <a:lnTo>
                      <a:pt x="532" y="169"/>
                    </a:lnTo>
                    <a:lnTo>
                      <a:pt x="533" y="167"/>
                    </a:lnTo>
                    <a:lnTo>
                      <a:pt x="535" y="167"/>
                    </a:lnTo>
                    <a:lnTo>
                      <a:pt x="536" y="167"/>
                    </a:lnTo>
                    <a:lnTo>
                      <a:pt x="538" y="167"/>
                    </a:lnTo>
                    <a:lnTo>
                      <a:pt x="538" y="165"/>
                    </a:lnTo>
                    <a:lnTo>
                      <a:pt x="538" y="167"/>
                    </a:lnTo>
                    <a:lnTo>
                      <a:pt x="539" y="167"/>
                    </a:lnTo>
                    <a:lnTo>
                      <a:pt x="539" y="170"/>
                    </a:lnTo>
                    <a:lnTo>
                      <a:pt x="540" y="170"/>
                    </a:lnTo>
                    <a:lnTo>
                      <a:pt x="540" y="171"/>
                    </a:lnTo>
                    <a:lnTo>
                      <a:pt x="541" y="171"/>
                    </a:lnTo>
                    <a:lnTo>
                      <a:pt x="543" y="172"/>
                    </a:lnTo>
                    <a:lnTo>
                      <a:pt x="543" y="173"/>
                    </a:lnTo>
                    <a:lnTo>
                      <a:pt x="544" y="173"/>
                    </a:lnTo>
                    <a:lnTo>
                      <a:pt x="545" y="175"/>
                    </a:lnTo>
                    <a:lnTo>
                      <a:pt x="543" y="176"/>
                    </a:lnTo>
                    <a:lnTo>
                      <a:pt x="544" y="178"/>
                    </a:lnTo>
                    <a:lnTo>
                      <a:pt x="544" y="179"/>
                    </a:lnTo>
                    <a:lnTo>
                      <a:pt x="543" y="179"/>
                    </a:lnTo>
                    <a:lnTo>
                      <a:pt x="544" y="182"/>
                    </a:lnTo>
                    <a:lnTo>
                      <a:pt x="543" y="185"/>
                    </a:lnTo>
                    <a:lnTo>
                      <a:pt x="544" y="185"/>
                    </a:lnTo>
                    <a:lnTo>
                      <a:pt x="545" y="188"/>
                    </a:lnTo>
                    <a:lnTo>
                      <a:pt x="543" y="189"/>
                    </a:lnTo>
                    <a:lnTo>
                      <a:pt x="541" y="189"/>
                    </a:lnTo>
                    <a:lnTo>
                      <a:pt x="540" y="190"/>
                    </a:lnTo>
                    <a:lnTo>
                      <a:pt x="541" y="191"/>
                    </a:lnTo>
                    <a:lnTo>
                      <a:pt x="541" y="197"/>
                    </a:lnTo>
                    <a:lnTo>
                      <a:pt x="540" y="200"/>
                    </a:lnTo>
                    <a:lnTo>
                      <a:pt x="542" y="201"/>
                    </a:lnTo>
                    <a:lnTo>
                      <a:pt x="542" y="203"/>
                    </a:lnTo>
                    <a:lnTo>
                      <a:pt x="543" y="203"/>
                    </a:lnTo>
                    <a:lnTo>
                      <a:pt x="545" y="205"/>
                    </a:lnTo>
                    <a:lnTo>
                      <a:pt x="544" y="209"/>
                    </a:lnTo>
                    <a:lnTo>
                      <a:pt x="545" y="207"/>
                    </a:lnTo>
                    <a:lnTo>
                      <a:pt x="545" y="209"/>
                    </a:lnTo>
                    <a:lnTo>
                      <a:pt x="546" y="209"/>
                    </a:lnTo>
                    <a:lnTo>
                      <a:pt x="544" y="211"/>
                    </a:lnTo>
                    <a:lnTo>
                      <a:pt x="547" y="210"/>
                    </a:lnTo>
                    <a:lnTo>
                      <a:pt x="545" y="212"/>
                    </a:lnTo>
                    <a:lnTo>
                      <a:pt x="545" y="215"/>
                    </a:lnTo>
                    <a:lnTo>
                      <a:pt x="544" y="217"/>
                    </a:lnTo>
                    <a:lnTo>
                      <a:pt x="543" y="216"/>
                    </a:lnTo>
                    <a:lnTo>
                      <a:pt x="542" y="218"/>
                    </a:lnTo>
                    <a:lnTo>
                      <a:pt x="543" y="219"/>
                    </a:lnTo>
                    <a:lnTo>
                      <a:pt x="543" y="220"/>
                    </a:lnTo>
                    <a:lnTo>
                      <a:pt x="542" y="222"/>
                    </a:lnTo>
                    <a:lnTo>
                      <a:pt x="541" y="221"/>
                    </a:lnTo>
                    <a:lnTo>
                      <a:pt x="541" y="222"/>
                    </a:lnTo>
                    <a:lnTo>
                      <a:pt x="540" y="223"/>
                    </a:lnTo>
                    <a:lnTo>
                      <a:pt x="539" y="225"/>
                    </a:lnTo>
                    <a:lnTo>
                      <a:pt x="537" y="224"/>
                    </a:lnTo>
                    <a:lnTo>
                      <a:pt x="536" y="227"/>
                    </a:lnTo>
                    <a:lnTo>
                      <a:pt x="536" y="226"/>
                    </a:lnTo>
                    <a:lnTo>
                      <a:pt x="535" y="226"/>
                    </a:lnTo>
                    <a:lnTo>
                      <a:pt x="535" y="228"/>
                    </a:lnTo>
                    <a:lnTo>
                      <a:pt x="534" y="228"/>
                    </a:lnTo>
                    <a:lnTo>
                      <a:pt x="533" y="227"/>
                    </a:lnTo>
                    <a:lnTo>
                      <a:pt x="532" y="229"/>
                    </a:lnTo>
                    <a:lnTo>
                      <a:pt x="534" y="229"/>
                    </a:lnTo>
                    <a:lnTo>
                      <a:pt x="537" y="232"/>
                    </a:lnTo>
                    <a:lnTo>
                      <a:pt x="537" y="233"/>
                    </a:lnTo>
                    <a:lnTo>
                      <a:pt x="533" y="236"/>
                    </a:lnTo>
                    <a:lnTo>
                      <a:pt x="530" y="237"/>
                    </a:lnTo>
                    <a:lnTo>
                      <a:pt x="534" y="239"/>
                    </a:lnTo>
                    <a:lnTo>
                      <a:pt x="538" y="238"/>
                    </a:lnTo>
                    <a:lnTo>
                      <a:pt x="540" y="241"/>
                    </a:lnTo>
                    <a:lnTo>
                      <a:pt x="541" y="243"/>
                    </a:lnTo>
                    <a:lnTo>
                      <a:pt x="543" y="244"/>
                    </a:lnTo>
                    <a:lnTo>
                      <a:pt x="544" y="243"/>
                    </a:lnTo>
                    <a:lnTo>
                      <a:pt x="544" y="241"/>
                    </a:lnTo>
                    <a:lnTo>
                      <a:pt x="545" y="243"/>
                    </a:lnTo>
                    <a:lnTo>
                      <a:pt x="546" y="243"/>
                    </a:lnTo>
                    <a:lnTo>
                      <a:pt x="546" y="244"/>
                    </a:lnTo>
                    <a:lnTo>
                      <a:pt x="550" y="248"/>
                    </a:lnTo>
                    <a:lnTo>
                      <a:pt x="552" y="249"/>
                    </a:lnTo>
                    <a:lnTo>
                      <a:pt x="553" y="249"/>
                    </a:lnTo>
                    <a:lnTo>
                      <a:pt x="555" y="250"/>
                    </a:lnTo>
                    <a:lnTo>
                      <a:pt x="552" y="254"/>
                    </a:lnTo>
                    <a:lnTo>
                      <a:pt x="552" y="257"/>
                    </a:lnTo>
                    <a:lnTo>
                      <a:pt x="551" y="256"/>
                    </a:lnTo>
                    <a:lnTo>
                      <a:pt x="550" y="256"/>
                    </a:lnTo>
                    <a:lnTo>
                      <a:pt x="551" y="260"/>
                    </a:lnTo>
                    <a:lnTo>
                      <a:pt x="548" y="262"/>
                    </a:lnTo>
                    <a:lnTo>
                      <a:pt x="546" y="260"/>
                    </a:lnTo>
                    <a:lnTo>
                      <a:pt x="546" y="258"/>
                    </a:lnTo>
                    <a:lnTo>
                      <a:pt x="545" y="257"/>
                    </a:lnTo>
                    <a:lnTo>
                      <a:pt x="543" y="258"/>
                    </a:lnTo>
                    <a:lnTo>
                      <a:pt x="541" y="262"/>
                    </a:lnTo>
                    <a:lnTo>
                      <a:pt x="543" y="265"/>
                    </a:lnTo>
                    <a:lnTo>
                      <a:pt x="545" y="263"/>
                    </a:lnTo>
                    <a:lnTo>
                      <a:pt x="546" y="267"/>
                    </a:lnTo>
                    <a:lnTo>
                      <a:pt x="548" y="267"/>
                    </a:lnTo>
                    <a:lnTo>
                      <a:pt x="546" y="267"/>
                    </a:lnTo>
                    <a:lnTo>
                      <a:pt x="544" y="266"/>
                    </a:lnTo>
                    <a:lnTo>
                      <a:pt x="543" y="267"/>
                    </a:lnTo>
                    <a:lnTo>
                      <a:pt x="542" y="267"/>
                    </a:lnTo>
                    <a:lnTo>
                      <a:pt x="541" y="267"/>
                    </a:lnTo>
                    <a:lnTo>
                      <a:pt x="542" y="271"/>
                    </a:lnTo>
                    <a:lnTo>
                      <a:pt x="543" y="273"/>
                    </a:lnTo>
                    <a:lnTo>
                      <a:pt x="542" y="279"/>
                    </a:lnTo>
                    <a:lnTo>
                      <a:pt x="540" y="278"/>
                    </a:lnTo>
                    <a:lnTo>
                      <a:pt x="538" y="279"/>
                    </a:lnTo>
                    <a:lnTo>
                      <a:pt x="537" y="278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5" y="279"/>
                    </a:lnTo>
                    <a:lnTo>
                      <a:pt x="534" y="278"/>
                    </a:lnTo>
                    <a:lnTo>
                      <a:pt x="533" y="279"/>
                    </a:lnTo>
                    <a:lnTo>
                      <a:pt x="532" y="280"/>
                    </a:lnTo>
                    <a:lnTo>
                      <a:pt x="533" y="282"/>
                    </a:lnTo>
                    <a:lnTo>
                      <a:pt x="538" y="283"/>
                    </a:lnTo>
                    <a:lnTo>
                      <a:pt x="537" y="284"/>
                    </a:lnTo>
                    <a:lnTo>
                      <a:pt x="539" y="283"/>
                    </a:lnTo>
                    <a:lnTo>
                      <a:pt x="539" y="285"/>
                    </a:lnTo>
                    <a:lnTo>
                      <a:pt x="538" y="286"/>
                    </a:lnTo>
                    <a:lnTo>
                      <a:pt x="538" y="285"/>
                    </a:lnTo>
                    <a:lnTo>
                      <a:pt x="537" y="286"/>
                    </a:lnTo>
                    <a:lnTo>
                      <a:pt x="535" y="284"/>
                    </a:lnTo>
                    <a:lnTo>
                      <a:pt x="535" y="285"/>
                    </a:lnTo>
                    <a:lnTo>
                      <a:pt x="536" y="286"/>
                    </a:lnTo>
                    <a:lnTo>
                      <a:pt x="534" y="284"/>
                    </a:lnTo>
                    <a:lnTo>
                      <a:pt x="533" y="284"/>
                    </a:lnTo>
                    <a:lnTo>
                      <a:pt x="530" y="286"/>
                    </a:lnTo>
                    <a:lnTo>
                      <a:pt x="528" y="286"/>
                    </a:lnTo>
                    <a:lnTo>
                      <a:pt x="530" y="288"/>
                    </a:lnTo>
                    <a:lnTo>
                      <a:pt x="530" y="290"/>
                    </a:lnTo>
                    <a:lnTo>
                      <a:pt x="530" y="292"/>
                    </a:lnTo>
                    <a:lnTo>
                      <a:pt x="532" y="293"/>
                    </a:lnTo>
                    <a:lnTo>
                      <a:pt x="532" y="294"/>
                    </a:lnTo>
                    <a:lnTo>
                      <a:pt x="533" y="294"/>
                    </a:lnTo>
                    <a:lnTo>
                      <a:pt x="533" y="296"/>
                    </a:lnTo>
                    <a:lnTo>
                      <a:pt x="535" y="297"/>
                    </a:lnTo>
                    <a:lnTo>
                      <a:pt x="536" y="298"/>
                    </a:lnTo>
                    <a:lnTo>
                      <a:pt x="537" y="299"/>
                    </a:lnTo>
                    <a:lnTo>
                      <a:pt x="539" y="297"/>
                    </a:lnTo>
                    <a:lnTo>
                      <a:pt x="542" y="298"/>
                    </a:lnTo>
                    <a:lnTo>
                      <a:pt x="541" y="299"/>
                    </a:lnTo>
                    <a:lnTo>
                      <a:pt x="541" y="298"/>
                    </a:lnTo>
                    <a:lnTo>
                      <a:pt x="542" y="300"/>
                    </a:lnTo>
                    <a:lnTo>
                      <a:pt x="543" y="300"/>
                    </a:lnTo>
                    <a:lnTo>
                      <a:pt x="545" y="301"/>
                    </a:lnTo>
                    <a:lnTo>
                      <a:pt x="543" y="302"/>
                    </a:lnTo>
                    <a:lnTo>
                      <a:pt x="542" y="302"/>
                    </a:lnTo>
                    <a:lnTo>
                      <a:pt x="543" y="303"/>
                    </a:lnTo>
                    <a:lnTo>
                      <a:pt x="544" y="304"/>
                    </a:lnTo>
                    <a:lnTo>
                      <a:pt x="545" y="304"/>
                    </a:lnTo>
                    <a:lnTo>
                      <a:pt x="546" y="304"/>
                    </a:lnTo>
                    <a:lnTo>
                      <a:pt x="548" y="306"/>
                    </a:lnTo>
                    <a:lnTo>
                      <a:pt x="552" y="304"/>
                    </a:lnTo>
                    <a:lnTo>
                      <a:pt x="552" y="306"/>
                    </a:lnTo>
                    <a:lnTo>
                      <a:pt x="553" y="307"/>
                    </a:lnTo>
                    <a:lnTo>
                      <a:pt x="552" y="307"/>
                    </a:lnTo>
                    <a:lnTo>
                      <a:pt x="552" y="310"/>
                    </a:lnTo>
                    <a:lnTo>
                      <a:pt x="553" y="310"/>
                    </a:lnTo>
                    <a:lnTo>
                      <a:pt x="555" y="306"/>
                    </a:lnTo>
                    <a:lnTo>
                      <a:pt x="555" y="307"/>
                    </a:lnTo>
                    <a:lnTo>
                      <a:pt x="555" y="309"/>
                    </a:lnTo>
                    <a:lnTo>
                      <a:pt x="556" y="309"/>
                    </a:lnTo>
                    <a:lnTo>
                      <a:pt x="555" y="310"/>
                    </a:lnTo>
                    <a:lnTo>
                      <a:pt x="555" y="313"/>
                    </a:lnTo>
                    <a:lnTo>
                      <a:pt x="552" y="314"/>
                    </a:lnTo>
                    <a:lnTo>
                      <a:pt x="552" y="315"/>
                    </a:lnTo>
                    <a:lnTo>
                      <a:pt x="552" y="316"/>
                    </a:lnTo>
                    <a:lnTo>
                      <a:pt x="555" y="319"/>
                    </a:lnTo>
                    <a:lnTo>
                      <a:pt x="562" y="326"/>
                    </a:lnTo>
                    <a:lnTo>
                      <a:pt x="563" y="325"/>
                    </a:lnTo>
                    <a:lnTo>
                      <a:pt x="564" y="325"/>
                    </a:lnTo>
                    <a:lnTo>
                      <a:pt x="564" y="327"/>
                    </a:lnTo>
                    <a:lnTo>
                      <a:pt x="565" y="326"/>
                    </a:lnTo>
                    <a:lnTo>
                      <a:pt x="566" y="327"/>
                    </a:lnTo>
                    <a:lnTo>
                      <a:pt x="566" y="329"/>
                    </a:lnTo>
                    <a:lnTo>
                      <a:pt x="567" y="330"/>
                    </a:lnTo>
                    <a:lnTo>
                      <a:pt x="568" y="328"/>
                    </a:lnTo>
                    <a:lnTo>
                      <a:pt x="569" y="331"/>
                    </a:lnTo>
                    <a:lnTo>
                      <a:pt x="568" y="333"/>
                    </a:lnTo>
                    <a:lnTo>
                      <a:pt x="569" y="333"/>
                    </a:lnTo>
                    <a:lnTo>
                      <a:pt x="568" y="335"/>
                    </a:lnTo>
                    <a:lnTo>
                      <a:pt x="569" y="337"/>
                    </a:lnTo>
                    <a:lnTo>
                      <a:pt x="568" y="336"/>
                    </a:lnTo>
                    <a:lnTo>
                      <a:pt x="566" y="337"/>
                    </a:lnTo>
                    <a:lnTo>
                      <a:pt x="564" y="339"/>
                    </a:lnTo>
                    <a:lnTo>
                      <a:pt x="567" y="344"/>
                    </a:lnTo>
                    <a:lnTo>
                      <a:pt x="568" y="344"/>
                    </a:lnTo>
                    <a:lnTo>
                      <a:pt x="568" y="345"/>
                    </a:lnTo>
                    <a:lnTo>
                      <a:pt x="568" y="347"/>
                    </a:lnTo>
                    <a:lnTo>
                      <a:pt x="568" y="348"/>
                    </a:lnTo>
                    <a:lnTo>
                      <a:pt x="567" y="348"/>
                    </a:lnTo>
                    <a:lnTo>
                      <a:pt x="566" y="347"/>
                    </a:lnTo>
                    <a:lnTo>
                      <a:pt x="566" y="350"/>
                    </a:lnTo>
                    <a:lnTo>
                      <a:pt x="565" y="350"/>
                    </a:lnTo>
                    <a:lnTo>
                      <a:pt x="564" y="352"/>
                    </a:lnTo>
                    <a:lnTo>
                      <a:pt x="564" y="353"/>
                    </a:lnTo>
                    <a:lnTo>
                      <a:pt x="561" y="356"/>
                    </a:lnTo>
                    <a:lnTo>
                      <a:pt x="563" y="357"/>
                    </a:lnTo>
                    <a:lnTo>
                      <a:pt x="561" y="358"/>
                    </a:lnTo>
                    <a:lnTo>
                      <a:pt x="558" y="359"/>
                    </a:lnTo>
                    <a:lnTo>
                      <a:pt x="557" y="359"/>
                    </a:lnTo>
                    <a:lnTo>
                      <a:pt x="557" y="360"/>
                    </a:lnTo>
                    <a:lnTo>
                      <a:pt x="556" y="361"/>
                    </a:lnTo>
                    <a:lnTo>
                      <a:pt x="558" y="363"/>
                    </a:lnTo>
                    <a:lnTo>
                      <a:pt x="558" y="365"/>
                    </a:lnTo>
                    <a:lnTo>
                      <a:pt x="557" y="367"/>
                    </a:lnTo>
                    <a:lnTo>
                      <a:pt x="558" y="368"/>
                    </a:lnTo>
                    <a:lnTo>
                      <a:pt x="557" y="371"/>
                    </a:lnTo>
                    <a:lnTo>
                      <a:pt x="556" y="371"/>
                    </a:lnTo>
                    <a:lnTo>
                      <a:pt x="556" y="369"/>
                    </a:lnTo>
                    <a:lnTo>
                      <a:pt x="555" y="371"/>
                    </a:lnTo>
                    <a:lnTo>
                      <a:pt x="556" y="373"/>
                    </a:lnTo>
                    <a:lnTo>
                      <a:pt x="556" y="375"/>
                    </a:lnTo>
                    <a:lnTo>
                      <a:pt x="555" y="375"/>
                    </a:lnTo>
                    <a:lnTo>
                      <a:pt x="554" y="376"/>
                    </a:lnTo>
                    <a:lnTo>
                      <a:pt x="554" y="378"/>
                    </a:lnTo>
                    <a:lnTo>
                      <a:pt x="552" y="380"/>
                    </a:lnTo>
                    <a:lnTo>
                      <a:pt x="551" y="378"/>
                    </a:lnTo>
                    <a:lnTo>
                      <a:pt x="548" y="379"/>
                    </a:lnTo>
                    <a:lnTo>
                      <a:pt x="548" y="380"/>
                    </a:lnTo>
                    <a:lnTo>
                      <a:pt x="548" y="382"/>
                    </a:lnTo>
                    <a:lnTo>
                      <a:pt x="546" y="383"/>
                    </a:lnTo>
                    <a:lnTo>
                      <a:pt x="544" y="383"/>
                    </a:lnTo>
                    <a:lnTo>
                      <a:pt x="544" y="384"/>
                    </a:lnTo>
                    <a:lnTo>
                      <a:pt x="543" y="382"/>
                    </a:lnTo>
                    <a:lnTo>
                      <a:pt x="541" y="380"/>
                    </a:lnTo>
                    <a:lnTo>
                      <a:pt x="540" y="381"/>
                    </a:lnTo>
                    <a:lnTo>
                      <a:pt x="535" y="385"/>
                    </a:lnTo>
                    <a:lnTo>
                      <a:pt x="535" y="386"/>
                    </a:lnTo>
                    <a:lnTo>
                      <a:pt x="533" y="386"/>
                    </a:lnTo>
                    <a:lnTo>
                      <a:pt x="532" y="388"/>
                    </a:lnTo>
                    <a:lnTo>
                      <a:pt x="530" y="390"/>
                    </a:lnTo>
                    <a:lnTo>
                      <a:pt x="530" y="392"/>
                    </a:lnTo>
                    <a:lnTo>
                      <a:pt x="531" y="394"/>
                    </a:lnTo>
                    <a:lnTo>
                      <a:pt x="533" y="394"/>
                    </a:lnTo>
                    <a:lnTo>
                      <a:pt x="534" y="394"/>
                    </a:lnTo>
                    <a:lnTo>
                      <a:pt x="533" y="395"/>
                    </a:lnTo>
                    <a:lnTo>
                      <a:pt x="535" y="397"/>
                    </a:lnTo>
                    <a:lnTo>
                      <a:pt x="534" y="399"/>
                    </a:lnTo>
                    <a:lnTo>
                      <a:pt x="536" y="400"/>
                    </a:lnTo>
                    <a:lnTo>
                      <a:pt x="535" y="401"/>
                    </a:lnTo>
                    <a:lnTo>
                      <a:pt x="535" y="402"/>
                    </a:lnTo>
                    <a:lnTo>
                      <a:pt x="533" y="403"/>
                    </a:lnTo>
                    <a:lnTo>
                      <a:pt x="532" y="403"/>
                    </a:lnTo>
                    <a:lnTo>
                      <a:pt x="531" y="405"/>
                    </a:lnTo>
                    <a:lnTo>
                      <a:pt x="530" y="404"/>
                    </a:lnTo>
                    <a:lnTo>
                      <a:pt x="529" y="404"/>
                    </a:lnTo>
                    <a:lnTo>
                      <a:pt x="528" y="403"/>
                    </a:lnTo>
                    <a:lnTo>
                      <a:pt x="527" y="404"/>
                    </a:lnTo>
                    <a:lnTo>
                      <a:pt x="524" y="401"/>
                    </a:lnTo>
                    <a:lnTo>
                      <a:pt x="524" y="403"/>
                    </a:lnTo>
                    <a:lnTo>
                      <a:pt x="523" y="403"/>
                    </a:lnTo>
                    <a:lnTo>
                      <a:pt x="522" y="402"/>
                    </a:lnTo>
                    <a:lnTo>
                      <a:pt x="522" y="399"/>
                    </a:lnTo>
                    <a:lnTo>
                      <a:pt x="521" y="400"/>
                    </a:lnTo>
                    <a:lnTo>
                      <a:pt x="520" y="399"/>
                    </a:lnTo>
                    <a:lnTo>
                      <a:pt x="519" y="402"/>
                    </a:lnTo>
                    <a:lnTo>
                      <a:pt x="517" y="404"/>
                    </a:lnTo>
                    <a:lnTo>
                      <a:pt x="516" y="407"/>
                    </a:lnTo>
                    <a:lnTo>
                      <a:pt x="517" y="407"/>
                    </a:lnTo>
                    <a:lnTo>
                      <a:pt x="515" y="408"/>
                    </a:lnTo>
                    <a:lnTo>
                      <a:pt x="515" y="411"/>
                    </a:lnTo>
                    <a:lnTo>
                      <a:pt x="515" y="409"/>
                    </a:lnTo>
                    <a:lnTo>
                      <a:pt x="513" y="408"/>
                    </a:lnTo>
                    <a:lnTo>
                      <a:pt x="510" y="412"/>
                    </a:lnTo>
                    <a:lnTo>
                      <a:pt x="507" y="409"/>
                    </a:lnTo>
                    <a:lnTo>
                      <a:pt x="504" y="411"/>
                    </a:lnTo>
                    <a:lnTo>
                      <a:pt x="501" y="413"/>
                    </a:lnTo>
                    <a:lnTo>
                      <a:pt x="500" y="412"/>
                    </a:lnTo>
                    <a:lnTo>
                      <a:pt x="499" y="413"/>
                    </a:lnTo>
                    <a:lnTo>
                      <a:pt x="498" y="412"/>
                    </a:lnTo>
                    <a:lnTo>
                      <a:pt x="496" y="412"/>
                    </a:lnTo>
                    <a:lnTo>
                      <a:pt x="496" y="411"/>
                    </a:lnTo>
                    <a:lnTo>
                      <a:pt x="496" y="413"/>
                    </a:lnTo>
                    <a:lnTo>
                      <a:pt x="496" y="412"/>
                    </a:lnTo>
                    <a:lnTo>
                      <a:pt x="495" y="412"/>
                    </a:lnTo>
                    <a:lnTo>
                      <a:pt x="492" y="412"/>
                    </a:lnTo>
                    <a:lnTo>
                      <a:pt x="492" y="415"/>
                    </a:lnTo>
                    <a:lnTo>
                      <a:pt x="491" y="414"/>
                    </a:lnTo>
                    <a:lnTo>
                      <a:pt x="490" y="414"/>
                    </a:lnTo>
                    <a:lnTo>
                      <a:pt x="491" y="416"/>
                    </a:lnTo>
                    <a:lnTo>
                      <a:pt x="487" y="417"/>
                    </a:lnTo>
                    <a:lnTo>
                      <a:pt x="487" y="416"/>
                    </a:lnTo>
                    <a:lnTo>
                      <a:pt x="486" y="418"/>
                    </a:lnTo>
                    <a:lnTo>
                      <a:pt x="486" y="416"/>
                    </a:lnTo>
                    <a:lnTo>
                      <a:pt x="484" y="417"/>
                    </a:lnTo>
                    <a:lnTo>
                      <a:pt x="484" y="416"/>
                    </a:lnTo>
                    <a:lnTo>
                      <a:pt x="482" y="416"/>
                    </a:lnTo>
                    <a:lnTo>
                      <a:pt x="484" y="413"/>
                    </a:lnTo>
                    <a:lnTo>
                      <a:pt x="484" y="412"/>
                    </a:lnTo>
                    <a:lnTo>
                      <a:pt x="483" y="412"/>
                    </a:lnTo>
                    <a:lnTo>
                      <a:pt x="481" y="413"/>
                    </a:lnTo>
                    <a:lnTo>
                      <a:pt x="480" y="412"/>
                    </a:lnTo>
                    <a:lnTo>
                      <a:pt x="479" y="414"/>
                    </a:lnTo>
                    <a:lnTo>
                      <a:pt x="477" y="414"/>
                    </a:lnTo>
                    <a:lnTo>
                      <a:pt x="476" y="414"/>
                    </a:lnTo>
                    <a:lnTo>
                      <a:pt x="475" y="416"/>
                    </a:lnTo>
                    <a:lnTo>
                      <a:pt x="474" y="416"/>
                    </a:lnTo>
                    <a:lnTo>
                      <a:pt x="474" y="418"/>
                    </a:lnTo>
                    <a:lnTo>
                      <a:pt x="475" y="418"/>
                    </a:lnTo>
                    <a:lnTo>
                      <a:pt x="475" y="419"/>
                    </a:lnTo>
                    <a:lnTo>
                      <a:pt x="475" y="420"/>
                    </a:lnTo>
                    <a:lnTo>
                      <a:pt x="472" y="421"/>
                    </a:lnTo>
                    <a:lnTo>
                      <a:pt x="472" y="425"/>
                    </a:lnTo>
                    <a:lnTo>
                      <a:pt x="472" y="428"/>
                    </a:lnTo>
                    <a:lnTo>
                      <a:pt x="467" y="429"/>
                    </a:lnTo>
                    <a:lnTo>
                      <a:pt x="467" y="431"/>
                    </a:lnTo>
                    <a:lnTo>
                      <a:pt x="465" y="434"/>
                    </a:lnTo>
                    <a:lnTo>
                      <a:pt x="464" y="434"/>
                    </a:lnTo>
                    <a:lnTo>
                      <a:pt x="464" y="433"/>
                    </a:lnTo>
                    <a:lnTo>
                      <a:pt x="463" y="433"/>
                    </a:lnTo>
                    <a:lnTo>
                      <a:pt x="462" y="433"/>
                    </a:lnTo>
                    <a:lnTo>
                      <a:pt x="463" y="434"/>
                    </a:lnTo>
                    <a:lnTo>
                      <a:pt x="462" y="434"/>
                    </a:lnTo>
                    <a:lnTo>
                      <a:pt x="462" y="435"/>
                    </a:lnTo>
                    <a:lnTo>
                      <a:pt x="461" y="437"/>
                    </a:lnTo>
                    <a:lnTo>
                      <a:pt x="460" y="438"/>
                    </a:lnTo>
                    <a:lnTo>
                      <a:pt x="460" y="440"/>
                    </a:lnTo>
                    <a:lnTo>
                      <a:pt x="460" y="442"/>
                    </a:lnTo>
                    <a:lnTo>
                      <a:pt x="459" y="446"/>
                    </a:lnTo>
                    <a:lnTo>
                      <a:pt x="460" y="448"/>
                    </a:lnTo>
                    <a:lnTo>
                      <a:pt x="459" y="450"/>
                    </a:lnTo>
                    <a:lnTo>
                      <a:pt x="460" y="451"/>
                    </a:lnTo>
                    <a:lnTo>
                      <a:pt x="460" y="454"/>
                    </a:lnTo>
                    <a:lnTo>
                      <a:pt x="462" y="454"/>
                    </a:lnTo>
                    <a:lnTo>
                      <a:pt x="463" y="452"/>
                    </a:lnTo>
                    <a:lnTo>
                      <a:pt x="466" y="457"/>
                    </a:lnTo>
                    <a:lnTo>
                      <a:pt x="469" y="456"/>
                    </a:lnTo>
                    <a:lnTo>
                      <a:pt x="473" y="457"/>
                    </a:lnTo>
                    <a:lnTo>
                      <a:pt x="473" y="459"/>
                    </a:lnTo>
                    <a:lnTo>
                      <a:pt x="474" y="463"/>
                    </a:lnTo>
                    <a:lnTo>
                      <a:pt x="476" y="468"/>
                    </a:lnTo>
                    <a:lnTo>
                      <a:pt x="476" y="469"/>
                    </a:lnTo>
                    <a:lnTo>
                      <a:pt x="475" y="470"/>
                    </a:lnTo>
                    <a:lnTo>
                      <a:pt x="475" y="471"/>
                    </a:lnTo>
                    <a:lnTo>
                      <a:pt x="476" y="473"/>
                    </a:lnTo>
                    <a:lnTo>
                      <a:pt x="474" y="476"/>
                    </a:lnTo>
                    <a:lnTo>
                      <a:pt x="473" y="475"/>
                    </a:lnTo>
                    <a:lnTo>
                      <a:pt x="473" y="477"/>
                    </a:lnTo>
                    <a:lnTo>
                      <a:pt x="472" y="476"/>
                    </a:lnTo>
                    <a:lnTo>
                      <a:pt x="472" y="477"/>
                    </a:lnTo>
                    <a:lnTo>
                      <a:pt x="471" y="477"/>
                    </a:lnTo>
                    <a:lnTo>
                      <a:pt x="470" y="478"/>
                    </a:lnTo>
                    <a:lnTo>
                      <a:pt x="470" y="480"/>
                    </a:lnTo>
                    <a:lnTo>
                      <a:pt x="467" y="481"/>
                    </a:lnTo>
                    <a:lnTo>
                      <a:pt x="467" y="480"/>
                    </a:lnTo>
                    <a:lnTo>
                      <a:pt x="466" y="480"/>
                    </a:lnTo>
                    <a:lnTo>
                      <a:pt x="464" y="481"/>
                    </a:lnTo>
                    <a:lnTo>
                      <a:pt x="463" y="480"/>
                    </a:lnTo>
                    <a:lnTo>
                      <a:pt x="462" y="481"/>
                    </a:lnTo>
                    <a:lnTo>
                      <a:pt x="462" y="478"/>
                    </a:lnTo>
                    <a:lnTo>
                      <a:pt x="459" y="476"/>
                    </a:lnTo>
                    <a:lnTo>
                      <a:pt x="459" y="478"/>
                    </a:lnTo>
                    <a:lnTo>
                      <a:pt x="457" y="477"/>
                    </a:lnTo>
                    <a:lnTo>
                      <a:pt x="457" y="480"/>
                    </a:lnTo>
                    <a:lnTo>
                      <a:pt x="455" y="481"/>
                    </a:lnTo>
                    <a:lnTo>
                      <a:pt x="454" y="480"/>
                    </a:lnTo>
                    <a:lnTo>
                      <a:pt x="455" y="478"/>
                    </a:lnTo>
                    <a:lnTo>
                      <a:pt x="453" y="478"/>
                    </a:lnTo>
                    <a:lnTo>
                      <a:pt x="453" y="480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2" y="483"/>
                    </a:lnTo>
                    <a:lnTo>
                      <a:pt x="452" y="484"/>
                    </a:lnTo>
                    <a:lnTo>
                      <a:pt x="451" y="485"/>
                    </a:lnTo>
                    <a:lnTo>
                      <a:pt x="451" y="486"/>
                    </a:lnTo>
                    <a:lnTo>
                      <a:pt x="451" y="488"/>
                    </a:lnTo>
                    <a:lnTo>
                      <a:pt x="451" y="489"/>
                    </a:lnTo>
                    <a:lnTo>
                      <a:pt x="447" y="488"/>
                    </a:lnTo>
                    <a:lnTo>
                      <a:pt x="447" y="486"/>
                    </a:lnTo>
                    <a:lnTo>
                      <a:pt x="447" y="484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2" y="483"/>
                    </a:lnTo>
                    <a:lnTo>
                      <a:pt x="441" y="483"/>
                    </a:lnTo>
                    <a:lnTo>
                      <a:pt x="440" y="482"/>
                    </a:lnTo>
                    <a:lnTo>
                      <a:pt x="439" y="481"/>
                    </a:lnTo>
                    <a:lnTo>
                      <a:pt x="439" y="480"/>
                    </a:lnTo>
                    <a:lnTo>
                      <a:pt x="438" y="480"/>
                    </a:lnTo>
                    <a:lnTo>
                      <a:pt x="438" y="478"/>
                    </a:lnTo>
                    <a:lnTo>
                      <a:pt x="439" y="478"/>
                    </a:lnTo>
                    <a:lnTo>
                      <a:pt x="438" y="478"/>
                    </a:lnTo>
                    <a:lnTo>
                      <a:pt x="437" y="479"/>
                    </a:lnTo>
                    <a:lnTo>
                      <a:pt x="436" y="478"/>
                    </a:lnTo>
                    <a:lnTo>
                      <a:pt x="435" y="478"/>
                    </a:lnTo>
                    <a:lnTo>
                      <a:pt x="435" y="482"/>
                    </a:lnTo>
                    <a:lnTo>
                      <a:pt x="433" y="480"/>
                    </a:lnTo>
                    <a:lnTo>
                      <a:pt x="430" y="481"/>
                    </a:lnTo>
                    <a:lnTo>
                      <a:pt x="429" y="481"/>
                    </a:lnTo>
                    <a:lnTo>
                      <a:pt x="429" y="482"/>
                    </a:lnTo>
                    <a:lnTo>
                      <a:pt x="428" y="482"/>
                    </a:lnTo>
                    <a:lnTo>
                      <a:pt x="427" y="481"/>
                    </a:lnTo>
                    <a:lnTo>
                      <a:pt x="426" y="482"/>
                    </a:lnTo>
                    <a:lnTo>
                      <a:pt x="425" y="482"/>
                    </a:lnTo>
                    <a:lnTo>
                      <a:pt x="424" y="482"/>
                    </a:lnTo>
                    <a:lnTo>
                      <a:pt x="421" y="483"/>
                    </a:lnTo>
                    <a:lnTo>
                      <a:pt x="419" y="480"/>
                    </a:lnTo>
                    <a:lnTo>
                      <a:pt x="417" y="480"/>
                    </a:lnTo>
                    <a:lnTo>
                      <a:pt x="416" y="478"/>
                    </a:lnTo>
                    <a:lnTo>
                      <a:pt x="414" y="479"/>
                    </a:lnTo>
                    <a:lnTo>
                      <a:pt x="413" y="480"/>
                    </a:lnTo>
                    <a:lnTo>
                      <a:pt x="412" y="480"/>
                    </a:lnTo>
                    <a:lnTo>
                      <a:pt x="411" y="478"/>
                    </a:lnTo>
                    <a:lnTo>
                      <a:pt x="411" y="479"/>
                    </a:lnTo>
                    <a:lnTo>
                      <a:pt x="409" y="478"/>
                    </a:lnTo>
                    <a:lnTo>
                      <a:pt x="410" y="477"/>
                    </a:lnTo>
                    <a:lnTo>
                      <a:pt x="408" y="475"/>
                    </a:lnTo>
                    <a:lnTo>
                      <a:pt x="403" y="475"/>
                    </a:lnTo>
                    <a:lnTo>
                      <a:pt x="400" y="475"/>
                    </a:lnTo>
                    <a:lnTo>
                      <a:pt x="398" y="479"/>
                    </a:lnTo>
                    <a:lnTo>
                      <a:pt x="399" y="480"/>
                    </a:lnTo>
                    <a:lnTo>
                      <a:pt x="401" y="481"/>
                    </a:lnTo>
                    <a:lnTo>
                      <a:pt x="402" y="484"/>
                    </a:lnTo>
                    <a:lnTo>
                      <a:pt x="402" y="486"/>
                    </a:lnTo>
                    <a:lnTo>
                      <a:pt x="402" y="487"/>
                    </a:lnTo>
                    <a:lnTo>
                      <a:pt x="399" y="488"/>
                    </a:lnTo>
                    <a:lnTo>
                      <a:pt x="395" y="486"/>
                    </a:lnTo>
                    <a:lnTo>
                      <a:pt x="394" y="488"/>
                    </a:lnTo>
                    <a:lnTo>
                      <a:pt x="391" y="486"/>
                    </a:lnTo>
                    <a:lnTo>
                      <a:pt x="389" y="486"/>
                    </a:lnTo>
                    <a:lnTo>
                      <a:pt x="388" y="487"/>
                    </a:lnTo>
                    <a:lnTo>
                      <a:pt x="388" y="489"/>
                    </a:lnTo>
                    <a:lnTo>
                      <a:pt x="387" y="490"/>
                    </a:lnTo>
                    <a:lnTo>
                      <a:pt x="387" y="491"/>
                    </a:lnTo>
                    <a:lnTo>
                      <a:pt x="388" y="492"/>
                    </a:lnTo>
                    <a:lnTo>
                      <a:pt x="389" y="495"/>
                    </a:lnTo>
                    <a:lnTo>
                      <a:pt x="388" y="495"/>
                    </a:lnTo>
                    <a:lnTo>
                      <a:pt x="386" y="495"/>
                    </a:lnTo>
                    <a:lnTo>
                      <a:pt x="386" y="496"/>
                    </a:lnTo>
                    <a:lnTo>
                      <a:pt x="386" y="499"/>
                    </a:lnTo>
                    <a:lnTo>
                      <a:pt x="384" y="499"/>
                    </a:lnTo>
                    <a:lnTo>
                      <a:pt x="383" y="501"/>
                    </a:lnTo>
                    <a:lnTo>
                      <a:pt x="382" y="501"/>
                    </a:lnTo>
                    <a:lnTo>
                      <a:pt x="381" y="499"/>
                    </a:lnTo>
                    <a:lnTo>
                      <a:pt x="379" y="501"/>
                    </a:lnTo>
                    <a:lnTo>
                      <a:pt x="377" y="501"/>
                    </a:lnTo>
                    <a:lnTo>
                      <a:pt x="377" y="498"/>
                    </a:lnTo>
                    <a:lnTo>
                      <a:pt x="374" y="495"/>
                    </a:lnTo>
                    <a:lnTo>
                      <a:pt x="376" y="494"/>
                    </a:lnTo>
                    <a:lnTo>
                      <a:pt x="374" y="493"/>
                    </a:lnTo>
                    <a:lnTo>
                      <a:pt x="373" y="492"/>
                    </a:lnTo>
                    <a:lnTo>
                      <a:pt x="374" y="491"/>
                    </a:lnTo>
                    <a:lnTo>
                      <a:pt x="373" y="490"/>
                    </a:lnTo>
                    <a:lnTo>
                      <a:pt x="373" y="489"/>
                    </a:lnTo>
                    <a:lnTo>
                      <a:pt x="373" y="485"/>
                    </a:lnTo>
                    <a:lnTo>
                      <a:pt x="371" y="486"/>
                    </a:lnTo>
                    <a:lnTo>
                      <a:pt x="372" y="485"/>
                    </a:lnTo>
                    <a:lnTo>
                      <a:pt x="372" y="484"/>
                    </a:lnTo>
                    <a:lnTo>
                      <a:pt x="371" y="484"/>
                    </a:lnTo>
                    <a:lnTo>
                      <a:pt x="372" y="483"/>
                    </a:lnTo>
                    <a:lnTo>
                      <a:pt x="372" y="481"/>
                    </a:lnTo>
                    <a:lnTo>
                      <a:pt x="370" y="480"/>
                    </a:lnTo>
                    <a:lnTo>
                      <a:pt x="371" y="480"/>
                    </a:lnTo>
                    <a:lnTo>
                      <a:pt x="372" y="480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69" y="479"/>
                    </a:lnTo>
                    <a:lnTo>
                      <a:pt x="368" y="479"/>
                    </a:lnTo>
                    <a:lnTo>
                      <a:pt x="367" y="478"/>
                    </a:lnTo>
                    <a:lnTo>
                      <a:pt x="366" y="478"/>
                    </a:lnTo>
                    <a:lnTo>
                      <a:pt x="364" y="482"/>
                    </a:lnTo>
                    <a:lnTo>
                      <a:pt x="365" y="483"/>
                    </a:lnTo>
                    <a:lnTo>
                      <a:pt x="364" y="484"/>
                    </a:lnTo>
                    <a:lnTo>
                      <a:pt x="363" y="483"/>
                    </a:lnTo>
                    <a:lnTo>
                      <a:pt x="363" y="481"/>
                    </a:lnTo>
                    <a:lnTo>
                      <a:pt x="362" y="479"/>
                    </a:lnTo>
                    <a:lnTo>
                      <a:pt x="361" y="479"/>
                    </a:lnTo>
                    <a:lnTo>
                      <a:pt x="359" y="478"/>
                    </a:lnTo>
                    <a:lnTo>
                      <a:pt x="357" y="475"/>
                    </a:lnTo>
                    <a:lnTo>
                      <a:pt x="356" y="470"/>
                    </a:lnTo>
                    <a:lnTo>
                      <a:pt x="355" y="470"/>
                    </a:lnTo>
                    <a:lnTo>
                      <a:pt x="354" y="470"/>
                    </a:lnTo>
                    <a:lnTo>
                      <a:pt x="348" y="468"/>
                    </a:lnTo>
                    <a:lnTo>
                      <a:pt x="347" y="465"/>
                    </a:lnTo>
                    <a:lnTo>
                      <a:pt x="344" y="460"/>
                    </a:lnTo>
                    <a:lnTo>
                      <a:pt x="345" y="459"/>
                    </a:lnTo>
                    <a:lnTo>
                      <a:pt x="344" y="459"/>
                    </a:lnTo>
                    <a:lnTo>
                      <a:pt x="343" y="461"/>
                    </a:lnTo>
                    <a:lnTo>
                      <a:pt x="343" y="464"/>
                    </a:lnTo>
                    <a:lnTo>
                      <a:pt x="340" y="464"/>
                    </a:lnTo>
                    <a:lnTo>
                      <a:pt x="340" y="465"/>
                    </a:lnTo>
                    <a:lnTo>
                      <a:pt x="338" y="465"/>
                    </a:lnTo>
                    <a:lnTo>
                      <a:pt x="338" y="466"/>
                    </a:lnTo>
                    <a:lnTo>
                      <a:pt x="338" y="465"/>
                    </a:lnTo>
                    <a:lnTo>
                      <a:pt x="337" y="467"/>
                    </a:lnTo>
                    <a:lnTo>
                      <a:pt x="337" y="468"/>
                    </a:lnTo>
                    <a:lnTo>
                      <a:pt x="338" y="468"/>
                    </a:lnTo>
                    <a:lnTo>
                      <a:pt x="337" y="471"/>
                    </a:lnTo>
                    <a:lnTo>
                      <a:pt x="333" y="469"/>
                    </a:lnTo>
                    <a:lnTo>
                      <a:pt x="333" y="470"/>
                    </a:lnTo>
                    <a:lnTo>
                      <a:pt x="333" y="471"/>
                    </a:lnTo>
                    <a:lnTo>
                      <a:pt x="332" y="471"/>
                    </a:lnTo>
                    <a:lnTo>
                      <a:pt x="333" y="472"/>
                    </a:lnTo>
                    <a:lnTo>
                      <a:pt x="332" y="472"/>
                    </a:lnTo>
                    <a:lnTo>
                      <a:pt x="333" y="473"/>
                    </a:lnTo>
                    <a:lnTo>
                      <a:pt x="332" y="475"/>
                    </a:lnTo>
                    <a:lnTo>
                      <a:pt x="333" y="476"/>
                    </a:lnTo>
                    <a:lnTo>
                      <a:pt x="332" y="476"/>
                    </a:lnTo>
                    <a:lnTo>
                      <a:pt x="331" y="477"/>
                    </a:lnTo>
                    <a:lnTo>
                      <a:pt x="330" y="477"/>
                    </a:lnTo>
                    <a:lnTo>
                      <a:pt x="330" y="480"/>
                    </a:lnTo>
                    <a:lnTo>
                      <a:pt x="329" y="480"/>
                    </a:lnTo>
                    <a:lnTo>
                      <a:pt x="329" y="481"/>
                    </a:lnTo>
                    <a:lnTo>
                      <a:pt x="329" y="482"/>
                    </a:lnTo>
                    <a:lnTo>
                      <a:pt x="331" y="483"/>
                    </a:lnTo>
                    <a:lnTo>
                      <a:pt x="330" y="486"/>
                    </a:lnTo>
                    <a:lnTo>
                      <a:pt x="330" y="487"/>
                    </a:lnTo>
                    <a:lnTo>
                      <a:pt x="332" y="486"/>
                    </a:lnTo>
                    <a:lnTo>
                      <a:pt x="332" y="488"/>
                    </a:lnTo>
                    <a:lnTo>
                      <a:pt x="331" y="488"/>
                    </a:lnTo>
                    <a:lnTo>
                      <a:pt x="333" y="489"/>
                    </a:lnTo>
                    <a:lnTo>
                      <a:pt x="333" y="490"/>
                    </a:lnTo>
                    <a:lnTo>
                      <a:pt x="331" y="491"/>
                    </a:lnTo>
                    <a:lnTo>
                      <a:pt x="333" y="491"/>
                    </a:lnTo>
                    <a:lnTo>
                      <a:pt x="332" y="492"/>
                    </a:lnTo>
                    <a:lnTo>
                      <a:pt x="330" y="492"/>
                    </a:lnTo>
                    <a:lnTo>
                      <a:pt x="329" y="492"/>
                    </a:lnTo>
                    <a:lnTo>
                      <a:pt x="329" y="493"/>
                    </a:lnTo>
                    <a:lnTo>
                      <a:pt x="325" y="493"/>
                    </a:lnTo>
                    <a:lnTo>
                      <a:pt x="325" y="494"/>
                    </a:lnTo>
                    <a:lnTo>
                      <a:pt x="324" y="494"/>
                    </a:lnTo>
                    <a:lnTo>
                      <a:pt x="324" y="493"/>
                    </a:lnTo>
                    <a:lnTo>
                      <a:pt x="321" y="493"/>
                    </a:lnTo>
                    <a:lnTo>
                      <a:pt x="320" y="492"/>
                    </a:lnTo>
                    <a:lnTo>
                      <a:pt x="320" y="493"/>
                    </a:lnTo>
                    <a:lnTo>
                      <a:pt x="320" y="494"/>
                    </a:lnTo>
                    <a:lnTo>
                      <a:pt x="318" y="494"/>
                    </a:lnTo>
                    <a:lnTo>
                      <a:pt x="317" y="494"/>
                    </a:lnTo>
                    <a:lnTo>
                      <a:pt x="316" y="496"/>
                    </a:lnTo>
                    <a:lnTo>
                      <a:pt x="313" y="499"/>
                    </a:lnTo>
                    <a:lnTo>
                      <a:pt x="312" y="498"/>
                    </a:lnTo>
                    <a:lnTo>
                      <a:pt x="312" y="499"/>
                    </a:lnTo>
                    <a:lnTo>
                      <a:pt x="310" y="499"/>
                    </a:lnTo>
                    <a:lnTo>
                      <a:pt x="308" y="500"/>
                    </a:lnTo>
                    <a:lnTo>
                      <a:pt x="308" y="501"/>
                    </a:lnTo>
                    <a:lnTo>
                      <a:pt x="307" y="501"/>
                    </a:lnTo>
                    <a:lnTo>
                      <a:pt x="308" y="505"/>
                    </a:lnTo>
                    <a:lnTo>
                      <a:pt x="307" y="506"/>
                    </a:lnTo>
                    <a:lnTo>
                      <a:pt x="307" y="509"/>
                    </a:lnTo>
                    <a:lnTo>
                      <a:pt x="306" y="509"/>
                    </a:lnTo>
                    <a:lnTo>
                      <a:pt x="304" y="509"/>
                    </a:lnTo>
                    <a:lnTo>
                      <a:pt x="303" y="507"/>
                    </a:lnTo>
                    <a:lnTo>
                      <a:pt x="304" y="506"/>
                    </a:lnTo>
                    <a:lnTo>
                      <a:pt x="303" y="502"/>
                    </a:lnTo>
                    <a:lnTo>
                      <a:pt x="301" y="501"/>
                    </a:lnTo>
                    <a:lnTo>
                      <a:pt x="296" y="498"/>
                    </a:lnTo>
                    <a:lnTo>
                      <a:pt x="291" y="499"/>
                    </a:lnTo>
                    <a:lnTo>
                      <a:pt x="289" y="499"/>
                    </a:lnTo>
                    <a:lnTo>
                      <a:pt x="289" y="498"/>
                    </a:lnTo>
                    <a:lnTo>
                      <a:pt x="287" y="498"/>
                    </a:lnTo>
                    <a:lnTo>
                      <a:pt x="287" y="496"/>
                    </a:lnTo>
                    <a:lnTo>
                      <a:pt x="288" y="495"/>
                    </a:lnTo>
                    <a:lnTo>
                      <a:pt x="289" y="495"/>
                    </a:lnTo>
                    <a:lnTo>
                      <a:pt x="290" y="493"/>
                    </a:lnTo>
                    <a:lnTo>
                      <a:pt x="291" y="492"/>
                    </a:lnTo>
                    <a:lnTo>
                      <a:pt x="292" y="489"/>
                    </a:lnTo>
                    <a:lnTo>
                      <a:pt x="292" y="488"/>
                    </a:lnTo>
                    <a:lnTo>
                      <a:pt x="291" y="488"/>
                    </a:lnTo>
                    <a:lnTo>
                      <a:pt x="290" y="490"/>
                    </a:lnTo>
                    <a:lnTo>
                      <a:pt x="289" y="491"/>
                    </a:lnTo>
                    <a:lnTo>
                      <a:pt x="287" y="490"/>
                    </a:lnTo>
                    <a:lnTo>
                      <a:pt x="287" y="492"/>
                    </a:lnTo>
                    <a:lnTo>
                      <a:pt x="286" y="492"/>
                    </a:lnTo>
                    <a:lnTo>
                      <a:pt x="286" y="489"/>
                    </a:lnTo>
                    <a:lnTo>
                      <a:pt x="284" y="493"/>
                    </a:lnTo>
                    <a:lnTo>
                      <a:pt x="282" y="492"/>
                    </a:lnTo>
                    <a:lnTo>
                      <a:pt x="283" y="492"/>
                    </a:lnTo>
                    <a:lnTo>
                      <a:pt x="282" y="492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0" y="492"/>
                    </a:lnTo>
                    <a:lnTo>
                      <a:pt x="280" y="491"/>
                    </a:lnTo>
                    <a:lnTo>
                      <a:pt x="278" y="490"/>
                    </a:lnTo>
                    <a:lnTo>
                      <a:pt x="277" y="489"/>
                    </a:lnTo>
                    <a:lnTo>
                      <a:pt x="276" y="489"/>
                    </a:lnTo>
                    <a:lnTo>
                      <a:pt x="275" y="491"/>
                    </a:lnTo>
                    <a:lnTo>
                      <a:pt x="274" y="489"/>
                    </a:lnTo>
                    <a:lnTo>
                      <a:pt x="273" y="489"/>
                    </a:lnTo>
                    <a:lnTo>
                      <a:pt x="273" y="488"/>
                    </a:lnTo>
                    <a:lnTo>
                      <a:pt x="272" y="489"/>
                    </a:lnTo>
                    <a:lnTo>
                      <a:pt x="272" y="488"/>
                    </a:lnTo>
                    <a:lnTo>
                      <a:pt x="270" y="488"/>
                    </a:lnTo>
                    <a:lnTo>
                      <a:pt x="272" y="485"/>
                    </a:lnTo>
                    <a:lnTo>
                      <a:pt x="271" y="484"/>
                    </a:lnTo>
                    <a:lnTo>
                      <a:pt x="269" y="484"/>
                    </a:lnTo>
                    <a:lnTo>
                      <a:pt x="268" y="486"/>
                    </a:lnTo>
                    <a:lnTo>
                      <a:pt x="266" y="485"/>
                    </a:lnTo>
                    <a:lnTo>
                      <a:pt x="263" y="482"/>
                    </a:lnTo>
                    <a:lnTo>
                      <a:pt x="261" y="482"/>
                    </a:lnTo>
                    <a:lnTo>
                      <a:pt x="261" y="483"/>
                    </a:lnTo>
                    <a:lnTo>
                      <a:pt x="260" y="486"/>
                    </a:lnTo>
                    <a:lnTo>
                      <a:pt x="258" y="486"/>
                    </a:lnTo>
                    <a:lnTo>
                      <a:pt x="258" y="488"/>
                    </a:lnTo>
                    <a:lnTo>
                      <a:pt x="260" y="488"/>
                    </a:lnTo>
                    <a:lnTo>
                      <a:pt x="259" y="488"/>
                    </a:lnTo>
                    <a:lnTo>
                      <a:pt x="258" y="488"/>
                    </a:lnTo>
                    <a:lnTo>
                      <a:pt x="257" y="486"/>
                    </a:lnTo>
                    <a:lnTo>
                      <a:pt x="256" y="488"/>
                    </a:lnTo>
                    <a:lnTo>
                      <a:pt x="255" y="486"/>
                    </a:lnTo>
                    <a:lnTo>
                      <a:pt x="255" y="485"/>
                    </a:lnTo>
                    <a:lnTo>
                      <a:pt x="254" y="483"/>
                    </a:lnTo>
                    <a:lnTo>
                      <a:pt x="252" y="483"/>
                    </a:lnTo>
                    <a:lnTo>
                      <a:pt x="252" y="480"/>
                    </a:lnTo>
                    <a:lnTo>
                      <a:pt x="250" y="480"/>
                    </a:lnTo>
                    <a:lnTo>
                      <a:pt x="249" y="481"/>
                    </a:lnTo>
                    <a:lnTo>
                      <a:pt x="248" y="481"/>
                    </a:lnTo>
                    <a:lnTo>
                      <a:pt x="245" y="475"/>
                    </a:lnTo>
                    <a:lnTo>
                      <a:pt x="244" y="475"/>
                    </a:lnTo>
                    <a:lnTo>
                      <a:pt x="243" y="473"/>
                    </a:lnTo>
                    <a:lnTo>
                      <a:pt x="243" y="476"/>
                    </a:lnTo>
                    <a:lnTo>
                      <a:pt x="242" y="475"/>
                    </a:lnTo>
                    <a:lnTo>
                      <a:pt x="241" y="475"/>
                    </a:lnTo>
                    <a:lnTo>
                      <a:pt x="242" y="475"/>
                    </a:lnTo>
                    <a:lnTo>
                      <a:pt x="243" y="479"/>
                    </a:lnTo>
                    <a:lnTo>
                      <a:pt x="242" y="480"/>
                    </a:lnTo>
                    <a:lnTo>
                      <a:pt x="243" y="480"/>
                    </a:lnTo>
                    <a:lnTo>
                      <a:pt x="242" y="482"/>
                    </a:lnTo>
                    <a:lnTo>
                      <a:pt x="242" y="483"/>
                    </a:lnTo>
                    <a:lnTo>
                      <a:pt x="244" y="483"/>
                    </a:lnTo>
                    <a:lnTo>
                      <a:pt x="243" y="484"/>
                    </a:lnTo>
                    <a:lnTo>
                      <a:pt x="242" y="483"/>
                    </a:lnTo>
                    <a:lnTo>
                      <a:pt x="242" y="484"/>
                    </a:lnTo>
                    <a:lnTo>
                      <a:pt x="241" y="481"/>
                    </a:lnTo>
                    <a:lnTo>
                      <a:pt x="240" y="481"/>
                    </a:lnTo>
                    <a:lnTo>
                      <a:pt x="239" y="480"/>
                    </a:lnTo>
                    <a:lnTo>
                      <a:pt x="237" y="480"/>
                    </a:lnTo>
                    <a:lnTo>
                      <a:pt x="236" y="481"/>
                    </a:lnTo>
                    <a:lnTo>
                      <a:pt x="235" y="480"/>
                    </a:lnTo>
                    <a:lnTo>
                      <a:pt x="235" y="481"/>
                    </a:lnTo>
                    <a:lnTo>
                      <a:pt x="234" y="481"/>
                    </a:lnTo>
                    <a:lnTo>
                      <a:pt x="235" y="482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3" y="484"/>
                    </a:lnTo>
                    <a:lnTo>
                      <a:pt x="232" y="482"/>
                    </a:lnTo>
                    <a:lnTo>
                      <a:pt x="232" y="483"/>
                    </a:lnTo>
                    <a:lnTo>
                      <a:pt x="231" y="486"/>
                    </a:lnTo>
                    <a:lnTo>
                      <a:pt x="230" y="486"/>
                    </a:lnTo>
                    <a:lnTo>
                      <a:pt x="231" y="484"/>
                    </a:lnTo>
                    <a:lnTo>
                      <a:pt x="229" y="484"/>
                    </a:lnTo>
                    <a:lnTo>
                      <a:pt x="228" y="485"/>
                    </a:lnTo>
                    <a:lnTo>
                      <a:pt x="227" y="487"/>
                    </a:lnTo>
                    <a:lnTo>
                      <a:pt x="227" y="485"/>
                    </a:lnTo>
                    <a:lnTo>
                      <a:pt x="226" y="485"/>
                    </a:lnTo>
                    <a:lnTo>
                      <a:pt x="226" y="484"/>
                    </a:lnTo>
                    <a:lnTo>
                      <a:pt x="224" y="483"/>
                    </a:lnTo>
                    <a:lnTo>
                      <a:pt x="221" y="485"/>
                    </a:lnTo>
                    <a:lnTo>
                      <a:pt x="220" y="484"/>
                    </a:lnTo>
                    <a:lnTo>
                      <a:pt x="219" y="484"/>
                    </a:lnTo>
                    <a:lnTo>
                      <a:pt x="221" y="484"/>
                    </a:lnTo>
                    <a:lnTo>
                      <a:pt x="221" y="483"/>
                    </a:lnTo>
                    <a:lnTo>
                      <a:pt x="221" y="481"/>
                    </a:lnTo>
                    <a:lnTo>
                      <a:pt x="222" y="480"/>
                    </a:lnTo>
                    <a:lnTo>
                      <a:pt x="222" y="478"/>
                    </a:lnTo>
                    <a:lnTo>
                      <a:pt x="221" y="478"/>
                    </a:lnTo>
                    <a:lnTo>
                      <a:pt x="220" y="478"/>
                    </a:lnTo>
                    <a:lnTo>
                      <a:pt x="219" y="477"/>
                    </a:lnTo>
                    <a:lnTo>
                      <a:pt x="219" y="475"/>
                    </a:lnTo>
                    <a:lnTo>
                      <a:pt x="218" y="476"/>
                    </a:lnTo>
                    <a:lnTo>
                      <a:pt x="216" y="473"/>
                    </a:lnTo>
                    <a:lnTo>
                      <a:pt x="213" y="475"/>
                    </a:lnTo>
                    <a:lnTo>
                      <a:pt x="212" y="473"/>
                    </a:lnTo>
                    <a:lnTo>
                      <a:pt x="212" y="474"/>
                    </a:lnTo>
                    <a:lnTo>
                      <a:pt x="212" y="473"/>
                    </a:lnTo>
                    <a:lnTo>
                      <a:pt x="211" y="472"/>
                    </a:lnTo>
                    <a:lnTo>
                      <a:pt x="212" y="469"/>
                    </a:lnTo>
                    <a:lnTo>
                      <a:pt x="211" y="467"/>
                    </a:lnTo>
                    <a:lnTo>
                      <a:pt x="208" y="466"/>
                    </a:lnTo>
                    <a:lnTo>
                      <a:pt x="208" y="465"/>
                    </a:lnTo>
                    <a:lnTo>
                      <a:pt x="206" y="465"/>
                    </a:lnTo>
                    <a:lnTo>
                      <a:pt x="206" y="463"/>
                    </a:lnTo>
                    <a:lnTo>
                      <a:pt x="203" y="465"/>
                    </a:lnTo>
                    <a:lnTo>
                      <a:pt x="202" y="465"/>
                    </a:lnTo>
                    <a:lnTo>
                      <a:pt x="198" y="465"/>
                    </a:lnTo>
                    <a:lnTo>
                      <a:pt x="197" y="463"/>
                    </a:lnTo>
                    <a:lnTo>
                      <a:pt x="196" y="465"/>
                    </a:lnTo>
                    <a:lnTo>
                      <a:pt x="195" y="465"/>
                    </a:lnTo>
                    <a:lnTo>
                      <a:pt x="194" y="465"/>
                    </a:lnTo>
                    <a:lnTo>
                      <a:pt x="194" y="467"/>
                    </a:lnTo>
                    <a:lnTo>
                      <a:pt x="194" y="470"/>
                    </a:lnTo>
                    <a:lnTo>
                      <a:pt x="192" y="471"/>
                    </a:lnTo>
                    <a:lnTo>
                      <a:pt x="192" y="472"/>
                    </a:lnTo>
                    <a:lnTo>
                      <a:pt x="190" y="473"/>
                    </a:lnTo>
                    <a:lnTo>
                      <a:pt x="189" y="473"/>
                    </a:lnTo>
                    <a:lnTo>
                      <a:pt x="189" y="475"/>
                    </a:lnTo>
                    <a:lnTo>
                      <a:pt x="190" y="474"/>
                    </a:lnTo>
                    <a:lnTo>
                      <a:pt x="188" y="476"/>
                    </a:lnTo>
                    <a:lnTo>
                      <a:pt x="188" y="478"/>
                    </a:lnTo>
                    <a:lnTo>
                      <a:pt x="186" y="477"/>
                    </a:lnTo>
                    <a:lnTo>
                      <a:pt x="186" y="476"/>
                    </a:lnTo>
                    <a:lnTo>
                      <a:pt x="187" y="475"/>
                    </a:lnTo>
                    <a:lnTo>
                      <a:pt x="184" y="475"/>
                    </a:lnTo>
                    <a:lnTo>
                      <a:pt x="181" y="475"/>
                    </a:lnTo>
                    <a:lnTo>
                      <a:pt x="180" y="476"/>
                    </a:lnTo>
                    <a:lnTo>
                      <a:pt x="178" y="475"/>
                    </a:lnTo>
                    <a:lnTo>
                      <a:pt x="177" y="475"/>
                    </a:lnTo>
                    <a:lnTo>
                      <a:pt x="174" y="475"/>
                    </a:lnTo>
                    <a:lnTo>
                      <a:pt x="173" y="475"/>
                    </a:lnTo>
                    <a:lnTo>
                      <a:pt x="172" y="476"/>
                    </a:lnTo>
                    <a:lnTo>
                      <a:pt x="170" y="473"/>
                    </a:lnTo>
                    <a:lnTo>
                      <a:pt x="168" y="473"/>
                    </a:lnTo>
                    <a:lnTo>
                      <a:pt x="165" y="472"/>
                    </a:lnTo>
                    <a:lnTo>
                      <a:pt x="165" y="476"/>
                    </a:lnTo>
                    <a:lnTo>
                      <a:pt x="163" y="475"/>
                    </a:lnTo>
                    <a:lnTo>
                      <a:pt x="161" y="475"/>
                    </a:lnTo>
                    <a:lnTo>
                      <a:pt x="161" y="473"/>
                    </a:lnTo>
                    <a:lnTo>
                      <a:pt x="161" y="472"/>
                    </a:lnTo>
                    <a:lnTo>
                      <a:pt x="161" y="471"/>
                    </a:lnTo>
                    <a:lnTo>
                      <a:pt x="159" y="471"/>
                    </a:lnTo>
                    <a:lnTo>
                      <a:pt x="159" y="473"/>
                    </a:lnTo>
                    <a:lnTo>
                      <a:pt x="158" y="475"/>
                    </a:lnTo>
                    <a:lnTo>
                      <a:pt x="156" y="474"/>
                    </a:lnTo>
                    <a:lnTo>
                      <a:pt x="155" y="475"/>
                    </a:lnTo>
                    <a:lnTo>
                      <a:pt x="155" y="473"/>
                    </a:lnTo>
                    <a:lnTo>
                      <a:pt x="152" y="473"/>
                    </a:lnTo>
                    <a:lnTo>
                      <a:pt x="152" y="472"/>
                    </a:lnTo>
                    <a:lnTo>
                      <a:pt x="151" y="473"/>
                    </a:lnTo>
                    <a:lnTo>
                      <a:pt x="150" y="472"/>
                    </a:lnTo>
                    <a:lnTo>
                      <a:pt x="149" y="469"/>
                    </a:lnTo>
                    <a:lnTo>
                      <a:pt x="150" y="468"/>
                    </a:lnTo>
                    <a:lnTo>
                      <a:pt x="150" y="467"/>
                    </a:lnTo>
                    <a:lnTo>
                      <a:pt x="150" y="464"/>
                    </a:lnTo>
                    <a:lnTo>
                      <a:pt x="150" y="463"/>
                    </a:lnTo>
                    <a:lnTo>
                      <a:pt x="151" y="462"/>
                    </a:lnTo>
                    <a:lnTo>
                      <a:pt x="151" y="461"/>
                    </a:lnTo>
                    <a:lnTo>
                      <a:pt x="153" y="461"/>
                    </a:lnTo>
                    <a:lnTo>
                      <a:pt x="151" y="460"/>
                    </a:lnTo>
                    <a:lnTo>
                      <a:pt x="149" y="458"/>
                    </a:lnTo>
                    <a:lnTo>
                      <a:pt x="145" y="458"/>
                    </a:lnTo>
                    <a:lnTo>
                      <a:pt x="144" y="458"/>
                    </a:lnTo>
                    <a:close/>
                  </a:path>
                </a:pathLst>
              </a:custGeom>
              <a:noFill/>
              <a:ln w="3175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88" name="Group 131">
              <a:extLst>
                <a:ext uri="{FF2B5EF4-FFF2-40B4-BE49-F238E27FC236}">
                  <a16:creationId xmlns:a16="http://schemas.microsoft.com/office/drawing/2014/main" id="{9FB01D2B-1694-4FE2-95E0-6FC619E6AEC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1" y="2910"/>
              <a:ext cx="569" cy="509"/>
              <a:chOff x="791" y="2910"/>
              <a:chExt cx="569" cy="509"/>
            </a:xfrm>
          </p:grpSpPr>
          <p:sp>
            <p:nvSpPr>
              <p:cNvPr id="483" name="Freeform 129">
                <a:extLst>
                  <a:ext uri="{FF2B5EF4-FFF2-40B4-BE49-F238E27FC236}">
                    <a16:creationId xmlns:a16="http://schemas.microsoft.com/office/drawing/2014/main" id="{E65A3F96-430E-446E-9607-011BE28E2B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" y="2910"/>
                <a:ext cx="569" cy="509"/>
              </a:xfrm>
              <a:custGeom>
                <a:avLst/>
                <a:gdLst>
                  <a:gd name="T0" fmla="*/ 128 w 569"/>
                  <a:gd name="T1" fmla="*/ 470 h 509"/>
                  <a:gd name="T2" fmla="*/ 100 w 569"/>
                  <a:gd name="T3" fmla="*/ 473 h 509"/>
                  <a:gd name="T4" fmla="*/ 79 w 569"/>
                  <a:gd name="T5" fmla="*/ 467 h 509"/>
                  <a:gd name="T6" fmla="*/ 69 w 569"/>
                  <a:gd name="T7" fmla="*/ 420 h 509"/>
                  <a:gd name="T8" fmla="*/ 60 w 569"/>
                  <a:gd name="T9" fmla="*/ 397 h 509"/>
                  <a:gd name="T10" fmla="*/ 56 w 569"/>
                  <a:gd name="T11" fmla="*/ 386 h 509"/>
                  <a:gd name="T12" fmla="*/ 81 w 569"/>
                  <a:gd name="T13" fmla="*/ 368 h 509"/>
                  <a:gd name="T14" fmla="*/ 91 w 569"/>
                  <a:gd name="T15" fmla="*/ 338 h 509"/>
                  <a:gd name="T16" fmla="*/ 106 w 569"/>
                  <a:gd name="T17" fmla="*/ 306 h 509"/>
                  <a:gd name="T18" fmla="*/ 89 w 569"/>
                  <a:gd name="T19" fmla="*/ 267 h 509"/>
                  <a:gd name="T20" fmla="*/ 60 w 569"/>
                  <a:gd name="T21" fmla="*/ 236 h 509"/>
                  <a:gd name="T22" fmla="*/ 33 w 569"/>
                  <a:gd name="T23" fmla="*/ 210 h 509"/>
                  <a:gd name="T24" fmla="*/ 6 w 569"/>
                  <a:gd name="T25" fmla="*/ 198 h 509"/>
                  <a:gd name="T26" fmla="*/ 25 w 569"/>
                  <a:gd name="T27" fmla="*/ 175 h 509"/>
                  <a:gd name="T28" fmla="*/ 41 w 569"/>
                  <a:gd name="T29" fmla="*/ 146 h 509"/>
                  <a:gd name="T30" fmla="*/ 85 w 569"/>
                  <a:gd name="T31" fmla="*/ 126 h 509"/>
                  <a:gd name="T32" fmla="*/ 128 w 569"/>
                  <a:gd name="T33" fmla="*/ 122 h 509"/>
                  <a:gd name="T34" fmla="*/ 164 w 569"/>
                  <a:gd name="T35" fmla="*/ 107 h 509"/>
                  <a:gd name="T36" fmla="*/ 188 w 569"/>
                  <a:gd name="T37" fmla="*/ 92 h 509"/>
                  <a:gd name="T38" fmla="*/ 237 w 569"/>
                  <a:gd name="T39" fmla="*/ 103 h 509"/>
                  <a:gd name="T40" fmla="*/ 273 w 569"/>
                  <a:gd name="T41" fmla="*/ 101 h 509"/>
                  <a:gd name="T42" fmla="*/ 282 w 569"/>
                  <a:gd name="T43" fmla="*/ 78 h 509"/>
                  <a:gd name="T44" fmla="*/ 295 w 569"/>
                  <a:gd name="T45" fmla="*/ 68 h 509"/>
                  <a:gd name="T46" fmla="*/ 321 w 569"/>
                  <a:gd name="T47" fmla="*/ 39 h 509"/>
                  <a:gd name="T48" fmla="*/ 343 w 569"/>
                  <a:gd name="T49" fmla="*/ 44 h 509"/>
                  <a:gd name="T50" fmla="*/ 368 w 569"/>
                  <a:gd name="T51" fmla="*/ 52 h 509"/>
                  <a:gd name="T52" fmla="*/ 423 w 569"/>
                  <a:gd name="T53" fmla="*/ 18 h 509"/>
                  <a:gd name="T54" fmla="*/ 446 w 569"/>
                  <a:gd name="T55" fmla="*/ 7 h 509"/>
                  <a:gd name="T56" fmla="*/ 468 w 569"/>
                  <a:gd name="T57" fmla="*/ 20 h 509"/>
                  <a:gd name="T58" fmla="*/ 488 w 569"/>
                  <a:gd name="T59" fmla="*/ 49 h 509"/>
                  <a:gd name="T60" fmla="*/ 491 w 569"/>
                  <a:gd name="T61" fmla="*/ 77 h 509"/>
                  <a:gd name="T62" fmla="*/ 489 w 569"/>
                  <a:gd name="T63" fmla="*/ 109 h 509"/>
                  <a:gd name="T64" fmla="*/ 483 w 569"/>
                  <a:gd name="T65" fmla="*/ 137 h 509"/>
                  <a:gd name="T66" fmla="*/ 499 w 569"/>
                  <a:gd name="T67" fmla="*/ 161 h 509"/>
                  <a:gd name="T68" fmla="*/ 528 w 569"/>
                  <a:gd name="T69" fmla="*/ 171 h 509"/>
                  <a:gd name="T70" fmla="*/ 541 w 569"/>
                  <a:gd name="T71" fmla="*/ 189 h 509"/>
                  <a:gd name="T72" fmla="*/ 539 w 569"/>
                  <a:gd name="T73" fmla="*/ 225 h 509"/>
                  <a:gd name="T74" fmla="*/ 552 w 569"/>
                  <a:gd name="T75" fmla="*/ 249 h 509"/>
                  <a:gd name="T76" fmla="*/ 542 w 569"/>
                  <a:gd name="T77" fmla="*/ 279 h 509"/>
                  <a:gd name="T78" fmla="*/ 530 w 569"/>
                  <a:gd name="T79" fmla="*/ 288 h 509"/>
                  <a:gd name="T80" fmla="*/ 548 w 569"/>
                  <a:gd name="T81" fmla="*/ 306 h 509"/>
                  <a:gd name="T82" fmla="*/ 567 w 569"/>
                  <a:gd name="T83" fmla="*/ 330 h 509"/>
                  <a:gd name="T84" fmla="*/ 557 w 569"/>
                  <a:gd name="T85" fmla="*/ 360 h 509"/>
                  <a:gd name="T86" fmla="*/ 544 w 569"/>
                  <a:gd name="T87" fmla="*/ 384 h 509"/>
                  <a:gd name="T88" fmla="*/ 524 w 569"/>
                  <a:gd name="T89" fmla="*/ 401 h 509"/>
                  <a:gd name="T90" fmla="*/ 495 w 569"/>
                  <a:gd name="T91" fmla="*/ 412 h 509"/>
                  <a:gd name="T92" fmla="*/ 475 w 569"/>
                  <a:gd name="T93" fmla="*/ 420 h 509"/>
                  <a:gd name="T94" fmla="*/ 469 w 569"/>
                  <a:gd name="T95" fmla="*/ 456 h 509"/>
                  <a:gd name="T96" fmla="*/ 457 w 569"/>
                  <a:gd name="T97" fmla="*/ 480 h 509"/>
                  <a:gd name="T98" fmla="*/ 438 w 569"/>
                  <a:gd name="T99" fmla="*/ 480 h 509"/>
                  <a:gd name="T100" fmla="*/ 411 w 569"/>
                  <a:gd name="T101" fmla="*/ 478 h 509"/>
                  <a:gd name="T102" fmla="*/ 386 w 569"/>
                  <a:gd name="T103" fmla="*/ 495 h 509"/>
                  <a:gd name="T104" fmla="*/ 372 w 569"/>
                  <a:gd name="T105" fmla="*/ 480 h 509"/>
                  <a:gd name="T106" fmla="*/ 340 w 569"/>
                  <a:gd name="T107" fmla="*/ 465 h 509"/>
                  <a:gd name="T108" fmla="*/ 330 w 569"/>
                  <a:gd name="T109" fmla="*/ 486 h 509"/>
                  <a:gd name="T110" fmla="*/ 312 w 569"/>
                  <a:gd name="T111" fmla="*/ 499 h 509"/>
                  <a:gd name="T112" fmla="*/ 291 w 569"/>
                  <a:gd name="T113" fmla="*/ 488 h 509"/>
                  <a:gd name="T114" fmla="*/ 269 w 569"/>
                  <a:gd name="T115" fmla="*/ 484 h 509"/>
                  <a:gd name="T116" fmla="*/ 243 w 569"/>
                  <a:gd name="T117" fmla="*/ 476 h 509"/>
                  <a:gd name="T118" fmla="*/ 233 w 569"/>
                  <a:gd name="T119" fmla="*/ 484 h 509"/>
                  <a:gd name="T120" fmla="*/ 216 w 569"/>
                  <a:gd name="T121" fmla="*/ 473 h 509"/>
                  <a:gd name="T122" fmla="*/ 190 w 569"/>
                  <a:gd name="T123" fmla="*/ 474 h 509"/>
                  <a:gd name="T124" fmla="*/ 158 w 569"/>
                  <a:gd name="T125" fmla="*/ 475 h 5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9"/>
                  <a:gd name="T190" fmla="*/ 0 h 509"/>
                  <a:gd name="T191" fmla="*/ 569 w 569"/>
                  <a:gd name="T192" fmla="*/ 509 h 5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9" h="509">
                    <a:moveTo>
                      <a:pt x="144" y="458"/>
                    </a:moveTo>
                    <a:lnTo>
                      <a:pt x="142" y="460"/>
                    </a:lnTo>
                    <a:lnTo>
                      <a:pt x="142" y="459"/>
                    </a:lnTo>
                    <a:lnTo>
                      <a:pt x="139" y="461"/>
                    </a:lnTo>
                    <a:lnTo>
                      <a:pt x="138" y="461"/>
                    </a:lnTo>
                    <a:lnTo>
                      <a:pt x="136" y="460"/>
                    </a:lnTo>
                    <a:lnTo>
                      <a:pt x="135" y="463"/>
                    </a:lnTo>
                    <a:lnTo>
                      <a:pt x="136" y="465"/>
                    </a:lnTo>
                    <a:lnTo>
                      <a:pt x="135" y="467"/>
                    </a:lnTo>
                    <a:lnTo>
                      <a:pt x="135" y="465"/>
                    </a:lnTo>
                    <a:lnTo>
                      <a:pt x="134" y="468"/>
                    </a:lnTo>
                    <a:lnTo>
                      <a:pt x="134" y="469"/>
                    </a:lnTo>
                    <a:lnTo>
                      <a:pt x="134" y="470"/>
                    </a:lnTo>
                    <a:lnTo>
                      <a:pt x="133" y="470"/>
                    </a:lnTo>
                    <a:lnTo>
                      <a:pt x="133" y="471"/>
                    </a:lnTo>
                    <a:lnTo>
                      <a:pt x="132" y="469"/>
                    </a:lnTo>
                    <a:lnTo>
                      <a:pt x="131" y="469"/>
                    </a:lnTo>
                    <a:lnTo>
                      <a:pt x="131" y="471"/>
                    </a:lnTo>
                    <a:lnTo>
                      <a:pt x="132" y="473"/>
                    </a:lnTo>
                    <a:lnTo>
                      <a:pt x="131" y="473"/>
                    </a:lnTo>
                    <a:lnTo>
                      <a:pt x="131" y="475"/>
                    </a:lnTo>
                    <a:lnTo>
                      <a:pt x="130" y="475"/>
                    </a:lnTo>
                    <a:lnTo>
                      <a:pt x="130" y="472"/>
                    </a:lnTo>
                    <a:lnTo>
                      <a:pt x="128" y="472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6" y="473"/>
                    </a:lnTo>
                    <a:lnTo>
                      <a:pt x="125" y="475"/>
                    </a:lnTo>
                    <a:lnTo>
                      <a:pt x="125" y="476"/>
                    </a:lnTo>
                    <a:lnTo>
                      <a:pt x="125" y="477"/>
                    </a:lnTo>
                    <a:lnTo>
                      <a:pt x="121" y="476"/>
                    </a:lnTo>
                    <a:lnTo>
                      <a:pt x="118" y="475"/>
                    </a:lnTo>
                    <a:lnTo>
                      <a:pt x="118" y="473"/>
                    </a:lnTo>
                    <a:lnTo>
                      <a:pt x="117" y="472"/>
                    </a:lnTo>
                    <a:lnTo>
                      <a:pt x="114" y="475"/>
                    </a:lnTo>
                    <a:lnTo>
                      <a:pt x="114" y="478"/>
                    </a:lnTo>
                    <a:lnTo>
                      <a:pt x="113" y="478"/>
                    </a:lnTo>
                    <a:lnTo>
                      <a:pt x="111" y="480"/>
                    </a:lnTo>
                    <a:lnTo>
                      <a:pt x="111" y="478"/>
                    </a:lnTo>
                    <a:lnTo>
                      <a:pt x="107" y="479"/>
                    </a:lnTo>
                    <a:lnTo>
                      <a:pt x="107" y="478"/>
                    </a:lnTo>
                    <a:lnTo>
                      <a:pt x="105" y="478"/>
                    </a:lnTo>
                    <a:lnTo>
                      <a:pt x="105" y="476"/>
                    </a:lnTo>
                    <a:lnTo>
                      <a:pt x="104" y="475"/>
                    </a:lnTo>
                    <a:lnTo>
                      <a:pt x="103" y="476"/>
                    </a:lnTo>
                    <a:lnTo>
                      <a:pt x="100" y="476"/>
                    </a:lnTo>
                    <a:lnTo>
                      <a:pt x="102" y="475"/>
                    </a:lnTo>
                    <a:lnTo>
                      <a:pt x="102" y="473"/>
                    </a:lnTo>
                    <a:lnTo>
                      <a:pt x="104" y="472"/>
                    </a:lnTo>
                    <a:lnTo>
                      <a:pt x="100" y="472"/>
                    </a:lnTo>
                    <a:lnTo>
                      <a:pt x="100" y="473"/>
                    </a:lnTo>
                    <a:lnTo>
                      <a:pt x="98" y="472"/>
                    </a:lnTo>
                    <a:lnTo>
                      <a:pt x="98" y="470"/>
                    </a:lnTo>
                    <a:lnTo>
                      <a:pt x="98" y="468"/>
                    </a:lnTo>
                    <a:lnTo>
                      <a:pt x="95" y="465"/>
                    </a:lnTo>
                    <a:lnTo>
                      <a:pt x="93" y="466"/>
                    </a:lnTo>
                    <a:lnTo>
                      <a:pt x="93" y="467"/>
                    </a:lnTo>
                    <a:lnTo>
                      <a:pt x="94" y="468"/>
                    </a:lnTo>
                    <a:lnTo>
                      <a:pt x="92" y="468"/>
                    </a:lnTo>
                    <a:lnTo>
                      <a:pt x="90" y="471"/>
                    </a:lnTo>
                    <a:lnTo>
                      <a:pt x="89" y="471"/>
                    </a:lnTo>
                    <a:lnTo>
                      <a:pt x="87" y="472"/>
                    </a:lnTo>
                    <a:lnTo>
                      <a:pt x="87" y="471"/>
                    </a:lnTo>
                    <a:lnTo>
                      <a:pt x="87" y="470"/>
                    </a:lnTo>
                    <a:lnTo>
                      <a:pt x="86" y="471"/>
                    </a:lnTo>
                    <a:lnTo>
                      <a:pt x="85" y="471"/>
                    </a:lnTo>
                    <a:lnTo>
                      <a:pt x="85" y="467"/>
                    </a:lnTo>
                    <a:lnTo>
                      <a:pt x="85" y="468"/>
                    </a:lnTo>
                    <a:lnTo>
                      <a:pt x="84" y="467"/>
                    </a:lnTo>
                    <a:lnTo>
                      <a:pt x="84" y="463"/>
                    </a:lnTo>
                    <a:lnTo>
                      <a:pt x="82" y="463"/>
                    </a:lnTo>
                    <a:lnTo>
                      <a:pt x="83" y="464"/>
                    </a:lnTo>
                    <a:lnTo>
                      <a:pt x="81" y="464"/>
                    </a:lnTo>
                    <a:lnTo>
                      <a:pt x="81" y="467"/>
                    </a:lnTo>
                    <a:lnTo>
                      <a:pt x="79" y="467"/>
                    </a:lnTo>
                    <a:lnTo>
                      <a:pt x="79" y="468"/>
                    </a:lnTo>
                    <a:lnTo>
                      <a:pt x="76" y="466"/>
                    </a:lnTo>
                    <a:lnTo>
                      <a:pt x="74" y="465"/>
                    </a:lnTo>
                    <a:lnTo>
                      <a:pt x="72" y="469"/>
                    </a:lnTo>
                    <a:lnTo>
                      <a:pt x="71" y="469"/>
                    </a:lnTo>
                    <a:lnTo>
                      <a:pt x="68" y="468"/>
                    </a:lnTo>
                    <a:lnTo>
                      <a:pt x="67" y="468"/>
                    </a:lnTo>
                    <a:lnTo>
                      <a:pt x="68" y="465"/>
                    </a:lnTo>
                    <a:lnTo>
                      <a:pt x="68" y="464"/>
                    </a:lnTo>
                    <a:lnTo>
                      <a:pt x="69" y="459"/>
                    </a:lnTo>
                    <a:lnTo>
                      <a:pt x="70" y="456"/>
                    </a:lnTo>
                    <a:lnTo>
                      <a:pt x="68" y="455"/>
                    </a:lnTo>
                    <a:lnTo>
                      <a:pt x="69" y="452"/>
                    </a:lnTo>
                    <a:lnTo>
                      <a:pt x="65" y="448"/>
                    </a:lnTo>
                    <a:lnTo>
                      <a:pt x="64" y="448"/>
                    </a:lnTo>
                    <a:lnTo>
                      <a:pt x="61" y="452"/>
                    </a:lnTo>
                    <a:lnTo>
                      <a:pt x="61" y="451"/>
                    </a:lnTo>
                    <a:lnTo>
                      <a:pt x="63" y="450"/>
                    </a:lnTo>
                    <a:lnTo>
                      <a:pt x="64" y="445"/>
                    </a:lnTo>
                    <a:lnTo>
                      <a:pt x="63" y="444"/>
                    </a:lnTo>
                    <a:lnTo>
                      <a:pt x="63" y="443"/>
                    </a:lnTo>
                    <a:lnTo>
                      <a:pt x="65" y="437"/>
                    </a:lnTo>
                    <a:lnTo>
                      <a:pt x="64" y="433"/>
                    </a:lnTo>
                    <a:lnTo>
                      <a:pt x="66" y="431"/>
                    </a:lnTo>
                    <a:lnTo>
                      <a:pt x="68" y="428"/>
                    </a:lnTo>
                    <a:lnTo>
                      <a:pt x="68" y="421"/>
                    </a:lnTo>
                    <a:lnTo>
                      <a:pt x="69" y="420"/>
                    </a:lnTo>
                    <a:lnTo>
                      <a:pt x="70" y="417"/>
                    </a:lnTo>
                    <a:lnTo>
                      <a:pt x="69" y="415"/>
                    </a:lnTo>
                    <a:lnTo>
                      <a:pt x="67" y="416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3" y="411"/>
                    </a:lnTo>
                    <a:lnTo>
                      <a:pt x="61" y="412"/>
                    </a:lnTo>
                    <a:lnTo>
                      <a:pt x="58" y="411"/>
                    </a:lnTo>
                    <a:lnTo>
                      <a:pt x="58" y="409"/>
                    </a:lnTo>
                    <a:lnTo>
                      <a:pt x="60" y="409"/>
                    </a:lnTo>
                    <a:lnTo>
                      <a:pt x="60" y="408"/>
                    </a:lnTo>
                    <a:lnTo>
                      <a:pt x="57" y="407"/>
                    </a:lnTo>
                    <a:lnTo>
                      <a:pt x="57" y="406"/>
                    </a:lnTo>
                    <a:lnTo>
                      <a:pt x="55" y="406"/>
                    </a:lnTo>
                    <a:lnTo>
                      <a:pt x="53" y="405"/>
                    </a:lnTo>
                    <a:lnTo>
                      <a:pt x="52" y="405"/>
                    </a:lnTo>
                    <a:lnTo>
                      <a:pt x="52" y="402"/>
                    </a:lnTo>
                    <a:lnTo>
                      <a:pt x="50" y="401"/>
                    </a:lnTo>
                    <a:lnTo>
                      <a:pt x="53" y="402"/>
                    </a:lnTo>
                    <a:lnTo>
                      <a:pt x="56" y="405"/>
                    </a:lnTo>
                    <a:lnTo>
                      <a:pt x="59" y="405"/>
                    </a:lnTo>
                    <a:lnTo>
                      <a:pt x="60" y="404"/>
                    </a:lnTo>
                    <a:lnTo>
                      <a:pt x="61" y="404"/>
                    </a:lnTo>
                    <a:lnTo>
                      <a:pt x="63" y="403"/>
                    </a:lnTo>
                    <a:lnTo>
                      <a:pt x="61" y="403"/>
                    </a:lnTo>
                    <a:lnTo>
                      <a:pt x="60" y="397"/>
                    </a:lnTo>
                    <a:lnTo>
                      <a:pt x="56" y="396"/>
                    </a:lnTo>
                    <a:lnTo>
                      <a:pt x="55" y="394"/>
                    </a:lnTo>
                    <a:lnTo>
                      <a:pt x="56" y="392"/>
                    </a:lnTo>
                    <a:lnTo>
                      <a:pt x="55" y="391"/>
                    </a:lnTo>
                    <a:lnTo>
                      <a:pt x="56" y="390"/>
                    </a:lnTo>
                    <a:lnTo>
                      <a:pt x="57" y="391"/>
                    </a:lnTo>
                    <a:lnTo>
                      <a:pt x="57" y="392"/>
                    </a:lnTo>
                    <a:lnTo>
                      <a:pt x="58" y="391"/>
                    </a:lnTo>
                    <a:lnTo>
                      <a:pt x="59" y="391"/>
                    </a:lnTo>
                    <a:lnTo>
                      <a:pt x="60" y="391"/>
                    </a:lnTo>
                    <a:lnTo>
                      <a:pt x="63" y="390"/>
                    </a:lnTo>
                    <a:lnTo>
                      <a:pt x="64" y="391"/>
                    </a:lnTo>
                    <a:lnTo>
                      <a:pt x="67" y="388"/>
                    </a:lnTo>
                    <a:lnTo>
                      <a:pt x="65" y="388"/>
                    </a:lnTo>
                    <a:lnTo>
                      <a:pt x="65" y="386"/>
                    </a:lnTo>
                    <a:lnTo>
                      <a:pt x="63" y="386"/>
                    </a:lnTo>
                    <a:lnTo>
                      <a:pt x="62" y="385"/>
                    </a:lnTo>
                    <a:lnTo>
                      <a:pt x="60" y="386"/>
                    </a:lnTo>
                    <a:lnTo>
                      <a:pt x="61" y="384"/>
                    </a:lnTo>
                    <a:lnTo>
                      <a:pt x="60" y="384"/>
                    </a:lnTo>
                    <a:lnTo>
                      <a:pt x="58" y="385"/>
                    </a:lnTo>
                    <a:lnTo>
                      <a:pt x="58" y="384"/>
                    </a:lnTo>
                    <a:lnTo>
                      <a:pt x="57" y="384"/>
                    </a:lnTo>
                    <a:lnTo>
                      <a:pt x="56" y="386"/>
                    </a:lnTo>
                    <a:lnTo>
                      <a:pt x="55" y="386"/>
                    </a:lnTo>
                    <a:lnTo>
                      <a:pt x="55" y="388"/>
                    </a:lnTo>
                    <a:lnTo>
                      <a:pt x="53" y="387"/>
                    </a:lnTo>
                    <a:lnTo>
                      <a:pt x="52" y="383"/>
                    </a:lnTo>
                    <a:lnTo>
                      <a:pt x="53" y="384"/>
                    </a:lnTo>
                    <a:lnTo>
                      <a:pt x="53" y="383"/>
                    </a:lnTo>
                    <a:lnTo>
                      <a:pt x="52" y="382"/>
                    </a:lnTo>
                    <a:lnTo>
                      <a:pt x="54" y="380"/>
                    </a:lnTo>
                    <a:lnTo>
                      <a:pt x="53" y="378"/>
                    </a:lnTo>
                    <a:lnTo>
                      <a:pt x="54" y="376"/>
                    </a:lnTo>
                    <a:lnTo>
                      <a:pt x="58" y="374"/>
                    </a:lnTo>
                    <a:lnTo>
                      <a:pt x="61" y="368"/>
                    </a:lnTo>
                    <a:lnTo>
                      <a:pt x="71" y="365"/>
                    </a:lnTo>
                    <a:lnTo>
                      <a:pt x="73" y="364"/>
                    </a:lnTo>
                    <a:lnTo>
                      <a:pt x="75" y="364"/>
                    </a:lnTo>
                    <a:lnTo>
                      <a:pt x="74" y="364"/>
                    </a:lnTo>
                    <a:lnTo>
                      <a:pt x="74" y="367"/>
                    </a:lnTo>
                    <a:lnTo>
                      <a:pt x="76" y="368"/>
                    </a:lnTo>
                    <a:lnTo>
                      <a:pt x="77" y="370"/>
                    </a:lnTo>
                    <a:lnTo>
                      <a:pt x="77" y="371"/>
                    </a:lnTo>
                    <a:lnTo>
                      <a:pt x="79" y="371"/>
                    </a:lnTo>
                    <a:lnTo>
                      <a:pt x="80" y="371"/>
                    </a:lnTo>
                    <a:lnTo>
                      <a:pt x="81" y="369"/>
                    </a:lnTo>
                    <a:lnTo>
                      <a:pt x="81" y="368"/>
                    </a:lnTo>
                    <a:lnTo>
                      <a:pt x="82" y="367"/>
                    </a:lnTo>
                    <a:lnTo>
                      <a:pt x="82" y="365"/>
                    </a:lnTo>
                    <a:lnTo>
                      <a:pt x="84" y="364"/>
                    </a:lnTo>
                    <a:lnTo>
                      <a:pt x="85" y="361"/>
                    </a:lnTo>
                    <a:lnTo>
                      <a:pt x="86" y="361"/>
                    </a:lnTo>
                    <a:lnTo>
                      <a:pt x="89" y="361"/>
                    </a:lnTo>
                    <a:lnTo>
                      <a:pt x="89" y="360"/>
                    </a:lnTo>
                    <a:lnTo>
                      <a:pt x="90" y="360"/>
                    </a:lnTo>
                    <a:lnTo>
                      <a:pt x="91" y="360"/>
                    </a:lnTo>
                    <a:lnTo>
                      <a:pt x="93" y="358"/>
                    </a:lnTo>
                    <a:lnTo>
                      <a:pt x="93" y="359"/>
                    </a:lnTo>
                    <a:lnTo>
                      <a:pt x="95" y="356"/>
                    </a:lnTo>
                    <a:lnTo>
                      <a:pt x="95" y="354"/>
                    </a:lnTo>
                    <a:lnTo>
                      <a:pt x="93" y="353"/>
                    </a:lnTo>
                    <a:lnTo>
                      <a:pt x="92" y="352"/>
                    </a:lnTo>
                    <a:lnTo>
                      <a:pt x="91" y="351"/>
                    </a:lnTo>
                    <a:lnTo>
                      <a:pt x="90" y="352"/>
                    </a:lnTo>
                    <a:lnTo>
                      <a:pt x="89" y="352"/>
                    </a:lnTo>
                    <a:lnTo>
                      <a:pt x="87" y="354"/>
                    </a:lnTo>
                    <a:lnTo>
                      <a:pt x="86" y="353"/>
                    </a:lnTo>
                    <a:lnTo>
                      <a:pt x="87" y="350"/>
                    </a:lnTo>
                    <a:lnTo>
                      <a:pt x="90" y="349"/>
                    </a:lnTo>
                    <a:lnTo>
                      <a:pt x="92" y="344"/>
                    </a:lnTo>
                    <a:lnTo>
                      <a:pt x="92" y="341"/>
                    </a:lnTo>
                    <a:lnTo>
                      <a:pt x="91" y="339"/>
                    </a:lnTo>
                    <a:lnTo>
                      <a:pt x="91" y="338"/>
                    </a:lnTo>
                    <a:lnTo>
                      <a:pt x="90" y="335"/>
                    </a:lnTo>
                    <a:lnTo>
                      <a:pt x="91" y="333"/>
                    </a:lnTo>
                    <a:lnTo>
                      <a:pt x="95" y="333"/>
                    </a:lnTo>
                    <a:lnTo>
                      <a:pt x="95" y="331"/>
                    </a:lnTo>
                    <a:lnTo>
                      <a:pt x="97" y="330"/>
                    </a:lnTo>
                    <a:lnTo>
                      <a:pt x="96" y="330"/>
                    </a:lnTo>
                    <a:lnTo>
                      <a:pt x="97" y="326"/>
                    </a:lnTo>
                    <a:lnTo>
                      <a:pt x="95" y="324"/>
                    </a:lnTo>
                    <a:lnTo>
                      <a:pt x="95" y="321"/>
                    </a:lnTo>
                    <a:lnTo>
                      <a:pt x="98" y="318"/>
                    </a:lnTo>
                    <a:lnTo>
                      <a:pt x="97" y="316"/>
                    </a:lnTo>
                    <a:lnTo>
                      <a:pt x="96" y="314"/>
                    </a:lnTo>
                    <a:lnTo>
                      <a:pt x="97" y="313"/>
                    </a:lnTo>
                    <a:lnTo>
                      <a:pt x="98" y="314"/>
                    </a:lnTo>
                    <a:lnTo>
                      <a:pt x="100" y="310"/>
                    </a:lnTo>
                    <a:lnTo>
                      <a:pt x="99" y="308"/>
                    </a:lnTo>
                    <a:lnTo>
                      <a:pt x="100" y="308"/>
                    </a:lnTo>
                    <a:lnTo>
                      <a:pt x="100" y="304"/>
                    </a:lnTo>
                    <a:lnTo>
                      <a:pt x="101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4" y="304"/>
                    </a:lnTo>
                    <a:lnTo>
                      <a:pt x="105" y="304"/>
                    </a:lnTo>
                    <a:lnTo>
                      <a:pt x="106" y="304"/>
                    </a:lnTo>
                    <a:lnTo>
                      <a:pt x="106" y="306"/>
                    </a:lnTo>
                    <a:lnTo>
                      <a:pt x="107" y="305"/>
                    </a:lnTo>
                    <a:lnTo>
                      <a:pt x="107" y="299"/>
                    </a:lnTo>
                    <a:lnTo>
                      <a:pt x="107" y="293"/>
                    </a:lnTo>
                    <a:lnTo>
                      <a:pt x="106" y="291"/>
                    </a:lnTo>
                    <a:lnTo>
                      <a:pt x="107" y="289"/>
                    </a:lnTo>
                    <a:lnTo>
                      <a:pt x="107" y="287"/>
                    </a:lnTo>
                    <a:lnTo>
                      <a:pt x="106" y="287"/>
                    </a:lnTo>
                    <a:lnTo>
                      <a:pt x="105" y="286"/>
                    </a:lnTo>
                    <a:lnTo>
                      <a:pt x="106" y="284"/>
                    </a:lnTo>
                    <a:lnTo>
                      <a:pt x="107" y="283"/>
                    </a:lnTo>
                    <a:lnTo>
                      <a:pt x="107" y="280"/>
                    </a:lnTo>
                    <a:lnTo>
                      <a:pt x="106" y="280"/>
                    </a:lnTo>
                    <a:lnTo>
                      <a:pt x="107" y="278"/>
                    </a:lnTo>
                    <a:lnTo>
                      <a:pt x="110" y="277"/>
                    </a:lnTo>
                    <a:lnTo>
                      <a:pt x="106" y="277"/>
                    </a:lnTo>
                    <a:lnTo>
                      <a:pt x="104" y="276"/>
                    </a:lnTo>
                    <a:lnTo>
                      <a:pt x="100" y="272"/>
                    </a:lnTo>
                    <a:lnTo>
                      <a:pt x="98" y="269"/>
                    </a:lnTo>
                    <a:lnTo>
                      <a:pt x="93" y="268"/>
                    </a:lnTo>
                    <a:lnTo>
                      <a:pt x="92" y="267"/>
                    </a:lnTo>
                    <a:lnTo>
                      <a:pt x="89" y="268"/>
                    </a:lnTo>
                    <a:lnTo>
                      <a:pt x="87" y="267"/>
                    </a:lnTo>
                    <a:lnTo>
                      <a:pt x="87" y="266"/>
                    </a:lnTo>
                    <a:lnTo>
                      <a:pt x="89" y="267"/>
                    </a:lnTo>
                    <a:lnTo>
                      <a:pt x="90" y="262"/>
                    </a:lnTo>
                    <a:lnTo>
                      <a:pt x="90" y="260"/>
                    </a:lnTo>
                    <a:lnTo>
                      <a:pt x="90" y="259"/>
                    </a:lnTo>
                    <a:lnTo>
                      <a:pt x="90" y="256"/>
                    </a:lnTo>
                    <a:lnTo>
                      <a:pt x="87" y="256"/>
                    </a:lnTo>
                    <a:lnTo>
                      <a:pt x="85" y="255"/>
                    </a:lnTo>
                    <a:lnTo>
                      <a:pt x="83" y="254"/>
                    </a:lnTo>
                    <a:lnTo>
                      <a:pt x="79" y="254"/>
                    </a:lnTo>
                    <a:lnTo>
                      <a:pt x="77" y="255"/>
                    </a:lnTo>
                    <a:lnTo>
                      <a:pt x="77" y="252"/>
                    </a:lnTo>
                    <a:lnTo>
                      <a:pt x="76" y="248"/>
                    </a:lnTo>
                    <a:lnTo>
                      <a:pt x="74" y="247"/>
                    </a:lnTo>
                    <a:lnTo>
                      <a:pt x="73" y="248"/>
                    </a:lnTo>
                    <a:lnTo>
                      <a:pt x="73" y="247"/>
                    </a:lnTo>
                    <a:lnTo>
                      <a:pt x="71" y="244"/>
                    </a:lnTo>
                    <a:lnTo>
                      <a:pt x="70" y="244"/>
                    </a:lnTo>
                    <a:lnTo>
                      <a:pt x="70" y="238"/>
                    </a:lnTo>
                    <a:lnTo>
                      <a:pt x="68" y="237"/>
                    </a:lnTo>
                    <a:lnTo>
                      <a:pt x="67" y="235"/>
                    </a:lnTo>
                    <a:lnTo>
                      <a:pt x="66" y="235"/>
                    </a:lnTo>
                    <a:lnTo>
                      <a:pt x="65" y="234"/>
                    </a:lnTo>
                    <a:lnTo>
                      <a:pt x="63" y="236"/>
                    </a:lnTo>
                    <a:lnTo>
                      <a:pt x="62" y="236"/>
                    </a:lnTo>
                    <a:lnTo>
                      <a:pt x="61" y="235"/>
                    </a:lnTo>
                    <a:lnTo>
                      <a:pt x="60" y="236"/>
                    </a:lnTo>
                    <a:lnTo>
                      <a:pt x="61" y="237"/>
                    </a:lnTo>
                    <a:lnTo>
                      <a:pt x="53" y="237"/>
                    </a:lnTo>
                    <a:lnTo>
                      <a:pt x="52" y="236"/>
                    </a:lnTo>
                    <a:lnTo>
                      <a:pt x="43" y="234"/>
                    </a:lnTo>
                    <a:lnTo>
                      <a:pt x="43" y="233"/>
                    </a:lnTo>
                    <a:lnTo>
                      <a:pt x="42" y="232"/>
                    </a:lnTo>
                    <a:lnTo>
                      <a:pt x="42" y="231"/>
                    </a:lnTo>
                    <a:lnTo>
                      <a:pt x="40" y="229"/>
                    </a:lnTo>
                    <a:lnTo>
                      <a:pt x="41" y="228"/>
                    </a:lnTo>
                    <a:lnTo>
                      <a:pt x="40" y="227"/>
                    </a:lnTo>
                    <a:lnTo>
                      <a:pt x="38" y="226"/>
                    </a:lnTo>
                    <a:lnTo>
                      <a:pt x="37" y="224"/>
                    </a:lnTo>
                    <a:lnTo>
                      <a:pt x="36" y="224"/>
                    </a:lnTo>
                    <a:lnTo>
                      <a:pt x="35" y="223"/>
                    </a:lnTo>
                    <a:lnTo>
                      <a:pt x="32" y="223"/>
                    </a:lnTo>
                    <a:lnTo>
                      <a:pt x="31" y="220"/>
                    </a:lnTo>
                    <a:lnTo>
                      <a:pt x="29" y="220"/>
                    </a:lnTo>
                    <a:lnTo>
                      <a:pt x="27" y="219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5"/>
                    </a:lnTo>
                    <a:lnTo>
                      <a:pt x="34" y="215"/>
                    </a:lnTo>
                    <a:lnTo>
                      <a:pt x="37" y="217"/>
                    </a:lnTo>
                    <a:lnTo>
                      <a:pt x="37" y="216"/>
                    </a:lnTo>
                    <a:lnTo>
                      <a:pt x="35" y="215"/>
                    </a:lnTo>
                    <a:lnTo>
                      <a:pt x="34" y="215"/>
                    </a:lnTo>
                    <a:lnTo>
                      <a:pt x="33" y="210"/>
                    </a:lnTo>
                    <a:lnTo>
                      <a:pt x="32" y="210"/>
                    </a:lnTo>
                    <a:lnTo>
                      <a:pt x="27" y="210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22" y="209"/>
                    </a:lnTo>
                    <a:lnTo>
                      <a:pt x="21" y="209"/>
                    </a:lnTo>
                    <a:lnTo>
                      <a:pt x="20" y="207"/>
                    </a:lnTo>
                    <a:lnTo>
                      <a:pt x="19" y="209"/>
                    </a:lnTo>
                    <a:lnTo>
                      <a:pt x="13" y="207"/>
                    </a:lnTo>
                    <a:lnTo>
                      <a:pt x="12" y="210"/>
                    </a:lnTo>
                    <a:lnTo>
                      <a:pt x="11" y="210"/>
                    </a:lnTo>
                    <a:lnTo>
                      <a:pt x="9" y="212"/>
                    </a:lnTo>
                    <a:lnTo>
                      <a:pt x="7" y="212"/>
                    </a:lnTo>
                    <a:lnTo>
                      <a:pt x="7" y="209"/>
                    </a:lnTo>
                    <a:lnTo>
                      <a:pt x="3" y="209"/>
                    </a:lnTo>
                    <a:lnTo>
                      <a:pt x="1" y="209"/>
                    </a:lnTo>
                    <a:lnTo>
                      <a:pt x="0" y="209"/>
                    </a:lnTo>
                    <a:lnTo>
                      <a:pt x="0" y="207"/>
                    </a:lnTo>
                    <a:lnTo>
                      <a:pt x="2" y="205"/>
                    </a:lnTo>
                    <a:lnTo>
                      <a:pt x="2" y="203"/>
                    </a:lnTo>
                    <a:lnTo>
                      <a:pt x="4" y="202"/>
                    </a:lnTo>
                    <a:lnTo>
                      <a:pt x="5" y="202"/>
                    </a:lnTo>
                    <a:lnTo>
                      <a:pt x="4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8" y="197"/>
                    </a:lnTo>
                    <a:lnTo>
                      <a:pt x="11" y="197"/>
                    </a:lnTo>
                    <a:lnTo>
                      <a:pt x="11" y="193"/>
                    </a:lnTo>
                    <a:lnTo>
                      <a:pt x="11" y="190"/>
                    </a:lnTo>
                    <a:lnTo>
                      <a:pt x="9" y="189"/>
                    </a:lnTo>
                    <a:lnTo>
                      <a:pt x="8" y="186"/>
                    </a:lnTo>
                    <a:lnTo>
                      <a:pt x="6" y="188"/>
                    </a:lnTo>
                    <a:lnTo>
                      <a:pt x="6" y="186"/>
                    </a:lnTo>
                    <a:lnTo>
                      <a:pt x="6" y="183"/>
                    </a:lnTo>
                    <a:lnTo>
                      <a:pt x="7" y="180"/>
                    </a:lnTo>
                    <a:lnTo>
                      <a:pt x="6" y="179"/>
                    </a:lnTo>
                    <a:lnTo>
                      <a:pt x="8" y="178"/>
                    </a:lnTo>
                    <a:lnTo>
                      <a:pt x="9" y="179"/>
                    </a:lnTo>
                    <a:lnTo>
                      <a:pt x="11" y="177"/>
                    </a:lnTo>
                    <a:lnTo>
                      <a:pt x="12" y="177"/>
                    </a:lnTo>
                    <a:lnTo>
                      <a:pt x="12" y="175"/>
                    </a:lnTo>
                    <a:lnTo>
                      <a:pt x="16" y="175"/>
                    </a:lnTo>
                    <a:lnTo>
                      <a:pt x="16" y="176"/>
                    </a:lnTo>
                    <a:lnTo>
                      <a:pt x="20" y="178"/>
                    </a:lnTo>
                    <a:lnTo>
                      <a:pt x="22" y="178"/>
                    </a:lnTo>
                    <a:lnTo>
                      <a:pt x="22" y="176"/>
                    </a:lnTo>
                    <a:lnTo>
                      <a:pt x="22" y="175"/>
                    </a:lnTo>
                    <a:lnTo>
                      <a:pt x="22" y="174"/>
                    </a:lnTo>
                    <a:lnTo>
                      <a:pt x="23" y="175"/>
                    </a:lnTo>
                    <a:lnTo>
                      <a:pt x="25" y="175"/>
                    </a:lnTo>
                    <a:lnTo>
                      <a:pt x="25" y="171"/>
                    </a:lnTo>
                    <a:lnTo>
                      <a:pt x="25" y="170"/>
                    </a:lnTo>
                    <a:lnTo>
                      <a:pt x="25" y="166"/>
                    </a:lnTo>
                    <a:lnTo>
                      <a:pt x="25" y="167"/>
                    </a:lnTo>
                    <a:lnTo>
                      <a:pt x="26" y="167"/>
                    </a:lnTo>
                    <a:lnTo>
                      <a:pt x="27" y="169"/>
                    </a:lnTo>
                    <a:lnTo>
                      <a:pt x="28" y="169"/>
                    </a:lnTo>
                    <a:lnTo>
                      <a:pt x="30" y="170"/>
                    </a:lnTo>
                    <a:lnTo>
                      <a:pt x="31" y="168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29" y="162"/>
                    </a:lnTo>
                    <a:lnTo>
                      <a:pt x="33" y="162"/>
                    </a:lnTo>
                    <a:lnTo>
                      <a:pt x="33" y="159"/>
                    </a:lnTo>
                    <a:lnTo>
                      <a:pt x="32" y="155"/>
                    </a:lnTo>
                    <a:lnTo>
                      <a:pt x="33" y="154"/>
                    </a:lnTo>
                    <a:lnTo>
                      <a:pt x="33" y="150"/>
                    </a:lnTo>
                    <a:lnTo>
                      <a:pt x="34" y="152"/>
                    </a:lnTo>
                    <a:lnTo>
                      <a:pt x="37" y="152"/>
                    </a:lnTo>
                    <a:lnTo>
                      <a:pt x="38" y="151"/>
                    </a:lnTo>
                    <a:lnTo>
                      <a:pt x="38" y="150"/>
                    </a:lnTo>
                    <a:lnTo>
                      <a:pt x="40" y="150"/>
                    </a:lnTo>
                    <a:lnTo>
                      <a:pt x="40" y="149"/>
                    </a:lnTo>
                    <a:lnTo>
                      <a:pt x="41" y="149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43" y="146"/>
                    </a:lnTo>
                    <a:lnTo>
                      <a:pt x="43" y="145"/>
                    </a:lnTo>
                    <a:lnTo>
                      <a:pt x="46" y="145"/>
                    </a:lnTo>
                    <a:lnTo>
                      <a:pt x="47" y="142"/>
                    </a:lnTo>
                    <a:lnTo>
                      <a:pt x="50" y="142"/>
                    </a:lnTo>
                    <a:lnTo>
                      <a:pt x="52" y="142"/>
                    </a:lnTo>
                    <a:lnTo>
                      <a:pt x="52" y="141"/>
                    </a:lnTo>
                    <a:lnTo>
                      <a:pt x="53" y="141"/>
                    </a:lnTo>
                    <a:lnTo>
                      <a:pt x="55" y="145"/>
                    </a:lnTo>
                    <a:lnTo>
                      <a:pt x="57" y="146"/>
                    </a:lnTo>
                    <a:lnTo>
                      <a:pt x="58" y="145"/>
                    </a:lnTo>
                    <a:lnTo>
                      <a:pt x="61" y="145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71" y="140"/>
                    </a:lnTo>
                    <a:lnTo>
                      <a:pt x="70" y="137"/>
                    </a:lnTo>
                    <a:lnTo>
                      <a:pt x="73" y="138"/>
                    </a:lnTo>
                    <a:lnTo>
                      <a:pt x="74" y="137"/>
                    </a:lnTo>
                    <a:lnTo>
                      <a:pt x="76" y="134"/>
                    </a:lnTo>
                    <a:lnTo>
                      <a:pt x="76" y="133"/>
                    </a:lnTo>
                    <a:lnTo>
                      <a:pt x="78" y="133"/>
                    </a:lnTo>
                    <a:lnTo>
                      <a:pt x="80" y="132"/>
                    </a:lnTo>
                    <a:lnTo>
                      <a:pt x="85" y="126"/>
                    </a:lnTo>
                    <a:lnTo>
                      <a:pt x="86" y="127"/>
                    </a:lnTo>
                    <a:lnTo>
                      <a:pt x="85" y="128"/>
                    </a:lnTo>
                    <a:lnTo>
                      <a:pt x="85" y="133"/>
                    </a:lnTo>
                    <a:lnTo>
                      <a:pt x="89" y="132"/>
                    </a:lnTo>
                    <a:lnTo>
                      <a:pt x="90" y="133"/>
                    </a:lnTo>
                    <a:lnTo>
                      <a:pt x="92" y="135"/>
                    </a:lnTo>
                    <a:lnTo>
                      <a:pt x="93" y="135"/>
                    </a:lnTo>
                    <a:lnTo>
                      <a:pt x="97" y="133"/>
                    </a:lnTo>
                    <a:lnTo>
                      <a:pt x="104" y="135"/>
                    </a:lnTo>
                    <a:lnTo>
                      <a:pt x="106" y="136"/>
                    </a:lnTo>
                    <a:lnTo>
                      <a:pt x="107" y="133"/>
                    </a:lnTo>
                    <a:lnTo>
                      <a:pt x="108" y="131"/>
                    </a:lnTo>
                    <a:lnTo>
                      <a:pt x="109" y="132"/>
                    </a:lnTo>
                    <a:lnTo>
                      <a:pt x="110" y="129"/>
                    </a:lnTo>
                    <a:lnTo>
                      <a:pt x="111" y="130"/>
                    </a:lnTo>
                    <a:lnTo>
                      <a:pt x="110" y="133"/>
                    </a:lnTo>
                    <a:lnTo>
                      <a:pt x="112" y="133"/>
                    </a:lnTo>
                    <a:lnTo>
                      <a:pt x="113" y="131"/>
                    </a:lnTo>
                    <a:lnTo>
                      <a:pt x="114" y="131"/>
                    </a:lnTo>
                    <a:lnTo>
                      <a:pt x="118" y="127"/>
                    </a:lnTo>
                    <a:lnTo>
                      <a:pt x="120" y="124"/>
                    </a:lnTo>
                    <a:lnTo>
                      <a:pt x="122" y="122"/>
                    </a:lnTo>
                    <a:lnTo>
                      <a:pt x="123" y="122"/>
                    </a:lnTo>
                    <a:lnTo>
                      <a:pt x="125" y="120"/>
                    </a:lnTo>
                    <a:lnTo>
                      <a:pt x="126" y="120"/>
                    </a:lnTo>
                    <a:lnTo>
                      <a:pt x="128" y="123"/>
                    </a:lnTo>
                    <a:lnTo>
                      <a:pt x="128" y="122"/>
                    </a:lnTo>
                    <a:lnTo>
                      <a:pt x="129" y="122"/>
                    </a:lnTo>
                    <a:lnTo>
                      <a:pt x="131" y="128"/>
                    </a:lnTo>
                    <a:lnTo>
                      <a:pt x="130" y="131"/>
                    </a:lnTo>
                    <a:lnTo>
                      <a:pt x="131" y="132"/>
                    </a:lnTo>
                    <a:lnTo>
                      <a:pt x="138" y="132"/>
                    </a:lnTo>
                    <a:lnTo>
                      <a:pt x="138" y="128"/>
                    </a:lnTo>
                    <a:lnTo>
                      <a:pt x="139" y="127"/>
                    </a:lnTo>
                    <a:lnTo>
                      <a:pt x="139" y="124"/>
                    </a:lnTo>
                    <a:lnTo>
                      <a:pt x="141" y="122"/>
                    </a:lnTo>
                    <a:lnTo>
                      <a:pt x="143" y="120"/>
                    </a:lnTo>
                    <a:lnTo>
                      <a:pt x="146" y="120"/>
                    </a:lnTo>
                    <a:lnTo>
                      <a:pt x="152" y="119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6" y="119"/>
                    </a:lnTo>
                    <a:lnTo>
                      <a:pt x="157" y="118"/>
                    </a:lnTo>
                    <a:lnTo>
                      <a:pt x="158" y="118"/>
                    </a:lnTo>
                    <a:lnTo>
                      <a:pt x="161" y="117"/>
                    </a:lnTo>
                    <a:lnTo>
                      <a:pt x="161" y="115"/>
                    </a:lnTo>
                    <a:lnTo>
                      <a:pt x="162" y="115"/>
                    </a:lnTo>
                    <a:lnTo>
                      <a:pt x="162" y="114"/>
                    </a:lnTo>
                    <a:lnTo>
                      <a:pt x="164" y="115"/>
                    </a:lnTo>
                    <a:lnTo>
                      <a:pt x="165" y="113"/>
                    </a:lnTo>
                    <a:lnTo>
                      <a:pt x="166" y="112"/>
                    </a:lnTo>
                    <a:lnTo>
                      <a:pt x="166" y="108"/>
                    </a:lnTo>
                    <a:lnTo>
                      <a:pt x="166" y="107"/>
                    </a:lnTo>
                    <a:lnTo>
                      <a:pt x="164" y="107"/>
                    </a:lnTo>
                    <a:lnTo>
                      <a:pt x="165" y="107"/>
                    </a:lnTo>
                    <a:lnTo>
                      <a:pt x="165" y="106"/>
                    </a:lnTo>
                    <a:lnTo>
                      <a:pt x="167" y="107"/>
                    </a:lnTo>
                    <a:lnTo>
                      <a:pt x="170" y="107"/>
                    </a:lnTo>
                    <a:lnTo>
                      <a:pt x="170" y="109"/>
                    </a:lnTo>
                    <a:lnTo>
                      <a:pt x="175" y="109"/>
                    </a:lnTo>
                    <a:lnTo>
                      <a:pt x="176" y="109"/>
                    </a:lnTo>
                    <a:lnTo>
                      <a:pt x="175" y="107"/>
                    </a:lnTo>
                    <a:lnTo>
                      <a:pt x="176" y="107"/>
                    </a:lnTo>
                    <a:lnTo>
                      <a:pt x="175" y="106"/>
                    </a:lnTo>
                    <a:lnTo>
                      <a:pt x="177" y="103"/>
                    </a:lnTo>
                    <a:lnTo>
                      <a:pt x="175" y="101"/>
                    </a:lnTo>
                    <a:lnTo>
                      <a:pt x="174" y="101"/>
                    </a:lnTo>
                    <a:lnTo>
                      <a:pt x="174" y="95"/>
                    </a:lnTo>
                    <a:lnTo>
                      <a:pt x="177" y="94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1" y="92"/>
                    </a:lnTo>
                    <a:lnTo>
                      <a:pt x="182" y="90"/>
                    </a:lnTo>
                    <a:lnTo>
                      <a:pt x="185" y="90"/>
                    </a:lnTo>
                    <a:lnTo>
                      <a:pt x="187" y="93"/>
                    </a:lnTo>
                    <a:lnTo>
                      <a:pt x="188" y="94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90" y="91"/>
                    </a:lnTo>
                    <a:lnTo>
                      <a:pt x="194" y="94"/>
                    </a:lnTo>
                    <a:lnTo>
                      <a:pt x="198" y="95"/>
                    </a:lnTo>
                    <a:lnTo>
                      <a:pt x="198" y="97"/>
                    </a:lnTo>
                    <a:lnTo>
                      <a:pt x="199" y="97"/>
                    </a:lnTo>
                    <a:lnTo>
                      <a:pt x="199" y="98"/>
                    </a:lnTo>
                    <a:lnTo>
                      <a:pt x="200" y="98"/>
                    </a:lnTo>
                    <a:lnTo>
                      <a:pt x="205" y="99"/>
                    </a:lnTo>
                    <a:lnTo>
                      <a:pt x="211" y="99"/>
                    </a:lnTo>
                    <a:lnTo>
                      <a:pt x="211" y="101"/>
                    </a:lnTo>
                    <a:lnTo>
                      <a:pt x="213" y="101"/>
                    </a:lnTo>
                    <a:lnTo>
                      <a:pt x="217" y="102"/>
                    </a:lnTo>
                    <a:lnTo>
                      <a:pt x="218" y="103"/>
                    </a:lnTo>
                    <a:lnTo>
                      <a:pt x="218" y="102"/>
                    </a:lnTo>
                    <a:lnTo>
                      <a:pt x="224" y="102"/>
                    </a:lnTo>
                    <a:lnTo>
                      <a:pt x="225" y="101"/>
                    </a:lnTo>
                    <a:lnTo>
                      <a:pt x="228" y="103"/>
                    </a:lnTo>
                    <a:lnTo>
                      <a:pt x="229" y="100"/>
                    </a:lnTo>
                    <a:lnTo>
                      <a:pt x="229" y="98"/>
                    </a:lnTo>
                    <a:lnTo>
                      <a:pt x="232" y="100"/>
                    </a:lnTo>
                    <a:lnTo>
                      <a:pt x="232" y="101"/>
                    </a:lnTo>
                    <a:lnTo>
                      <a:pt x="233" y="103"/>
                    </a:lnTo>
                    <a:lnTo>
                      <a:pt x="234" y="102"/>
                    </a:lnTo>
                    <a:lnTo>
                      <a:pt x="236" y="104"/>
                    </a:lnTo>
                    <a:lnTo>
                      <a:pt x="236" y="103"/>
                    </a:lnTo>
                    <a:lnTo>
                      <a:pt x="237" y="103"/>
                    </a:lnTo>
                    <a:lnTo>
                      <a:pt x="238" y="101"/>
                    </a:lnTo>
                    <a:lnTo>
                      <a:pt x="243" y="106"/>
                    </a:lnTo>
                    <a:lnTo>
                      <a:pt x="245" y="107"/>
                    </a:lnTo>
                    <a:lnTo>
                      <a:pt x="245" y="108"/>
                    </a:lnTo>
                    <a:lnTo>
                      <a:pt x="246" y="109"/>
                    </a:lnTo>
                    <a:lnTo>
                      <a:pt x="248" y="105"/>
                    </a:lnTo>
                    <a:lnTo>
                      <a:pt x="250" y="103"/>
                    </a:lnTo>
                    <a:lnTo>
                      <a:pt x="250" y="102"/>
                    </a:lnTo>
                    <a:lnTo>
                      <a:pt x="252" y="99"/>
                    </a:lnTo>
                    <a:lnTo>
                      <a:pt x="253" y="99"/>
                    </a:lnTo>
                    <a:lnTo>
                      <a:pt x="255" y="98"/>
                    </a:lnTo>
                    <a:lnTo>
                      <a:pt x="257" y="100"/>
                    </a:lnTo>
                    <a:lnTo>
                      <a:pt x="259" y="101"/>
                    </a:lnTo>
                    <a:lnTo>
                      <a:pt x="260" y="100"/>
                    </a:lnTo>
                    <a:lnTo>
                      <a:pt x="260" y="99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99"/>
                    </a:lnTo>
                    <a:lnTo>
                      <a:pt x="267" y="100"/>
                    </a:lnTo>
                    <a:lnTo>
                      <a:pt x="267" y="98"/>
                    </a:lnTo>
                    <a:lnTo>
                      <a:pt x="268" y="99"/>
                    </a:lnTo>
                    <a:lnTo>
                      <a:pt x="269" y="98"/>
                    </a:lnTo>
                    <a:lnTo>
                      <a:pt x="272" y="99"/>
                    </a:lnTo>
                    <a:lnTo>
                      <a:pt x="273" y="100"/>
                    </a:lnTo>
                    <a:lnTo>
                      <a:pt x="273" y="101"/>
                    </a:lnTo>
                    <a:lnTo>
                      <a:pt x="274" y="101"/>
                    </a:lnTo>
                    <a:lnTo>
                      <a:pt x="274" y="103"/>
                    </a:lnTo>
                    <a:lnTo>
                      <a:pt x="275" y="102"/>
                    </a:lnTo>
                    <a:lnTo>
                      <a:pt x="276" y="103"/>
                    </a:lnTo>
                    <a:lnTo>
                      <a:pt x="275" y="101"/>
                    </a:lnTo>
                    <a:lnTo>
                      <a:pt x="276" y="101"/>
                    </a:lnTo>
                    <a:lnTo>
                      <a:pt x="276" y="102"/>
                    </a:lnTo>
                    <a:lnTo>
                      <a:pt x="276" y="103"/>
                    </a:lnTo>
                    <a:lnTo>
                      <a:pt x="278" y="102"/>
                    </a:lnTo>
                    <a:lnTo>
                      <a:pt x="281" y="98"/>
                    </a:lnTo>
                    <a:lnTo>
                      <a:pt x="280" y="98"/>
                    </a:lnTo>
                    <a:lnTo>
                      <a:pt x="281" y="96"/>
                    </a:lnTo>
                    <a:lnTo>
                      <a:pt x="280" y="96"/>
                    </a:lnTo>
                    <a:lnTo>
                      <a:pt x="281" y="95"/>
                    </a:lnTo>
                    <a:lnTo>
                      <a:pt x="280" y="95"/>
                    </a:lnTo>
                    <a:lnTo>
                      <a:pt x="280" y="94"/>
                    </a:lnTo>
                    <a:lnTo>
                      <a:pt x="280" y="90"/>
                    </a:lnTo>
                    <a:lnTo>
                      <a:pt x="283" y="92"/>
                    </a:lnTo>
                    <a:lnTo>
                      <a:pt x="283" y="86"/>
                    </a:lnTo>
                    <a:lnTo>
                      <a:pt x="283" y="84"/>
                    </a:lnTo>
                    <a:lnTo>
                      <a:pt x="284" y="84"/>
                    </a:lnTo>
                    <a:lnTo>
                      <a:pt x="284" y="82"/>
                    </a:lnTo>
                    <a:lnTo>
                      <a:pt x="283" y="81"/>
                    </a:lnTo>
                    <a:lnTo>
                      <a:pt x="282" y="81"/>
                    </a:lnTo>
                    <a:lnTo>
                      <a:pt x="282" y="78"/>
                    </a:lnTo>
                    <a:lnTo>
                      <a:pt x="281" y="77"/>
                    </a:lnTo>
                    <a:lnTo>
                      <a:pt x="281" y="76"/>
                    </a:lnTo>
                    <a:lnTo>
                      <a:pt x="283" y="75"/>
                    </a:lnTo>
                    <a:lnTo>
                      <a:pt x="283" y="76"/>
                    </a:lnTo>
                    <a:lnTo>
                      <a:pt x="284" y="75"/>
                    </a:lnTo>
                    <a:lnTo>
                      <a:pt x="283" y="74"/>
                    </a:lnTo>
                    <a:lnTo>
                      <a:pt x="283" y="73"/>
                    </a:lnTo>
                    <a:lnTo>
                      <a:pt x="282" y="71"/>
                    </a:lnTo>
                    <a:lnTo>
                      <a:pt x="283" y="70"/>
                    </a:lnTo>
                    <a:lnTo>
                      <a:pt x="283" y="71"/>
                    </a:lnTo>
                    <a:lnTo>
                      <a:pt x="283" y="69"/>
                    </a:lnTo>
                    <a:lnTo>
                      <a:pt x="283" y="68"/>
                    </a:lnTo>
                    <a:lnTo>
                      <a:pt x="281" y="67"/>
                    </a:lnTo>
                    <a:lnTo>
                      <a:pt x="281" y="66"/>
                    </a:lnTo>
                    <a:lnTo>
                      <a:pt x="283" y="65"/>
                    </a:lnTo>
                    <a:lnTo>
                      <a:pt x="284" y="65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90" y="69"/>
                    </a:lnTo>
                    <a:lnTo>
                      <a:pt x="296" y="72"/>
                    </a:lnTo>
                    <a:lnTo>
                      <a:pt x="296" y="71"/>
                    </a:lnTo>
                    <a:lnTo>
                      <a:pt x="297" y="71"/>
                    </a:lnTo>
                    <a:lnTo>
                      <a:pt x="296" y="70"/>
                    </a:lnTo>
                    <a:lnTo>
                      <a:pt x="297" y="69"/>
                    </a:lnTo>
                    <a:lnTo>
                      <a:pt x="297" y="68"/>
                    </a:lnTo>
                    <a:lnTo>
                      <a:pt x="295" y="68"/>
                    </a:lnTo>
                    <a:lnTo>
                      <a:pt x="294" y="67"/>
                    </a:lnTo>
                    <a:lnTo>
                      <a:pt x="296" y="65"/>
                    </a:lnTo>
                    <a:lnTo>
                      <a:pt x="297" y="67"/>
                    </a:lnTo>
                    <a:lnTo>
                      <a:pt x="298" y="65"/>
                    </a:lnTo>
                    <a:lnTo>
                      <a:pt x="297" y="65"/>
                    </a:lnTo>
                    <a:lnTo>
                      <a:pt x="299" y="64"/>
                    </a:lnTo>
                    <a:lnTo>
                      <a:pt x="299" y="58"/>
                    </a:lnTo>
                    <a:lnTo>
                      <a:pt x="303" y="61"/>
                    </a:lnTo>
                    <a:lnTo>
                      <a:pt x="306" y="61"/>
                    </a:lnTo>
                    <a:lnTo>
                      <a:pt x="306" y="58"/>
                    </a:lnTo>
                    <a:lnTo>
                      <a:pt x="309" y="61"/>
                    </a:lnTo>
                    <a:lnTo>
                      <a:pt x="312" y="61"/>
                    </a:lnTo>
                    <a:lnTo>
                      <a:pt x="312" y="57"/>
                    </a:lnTo>
                    <a:lnTo>
                      <a:pt x="313" y="56"/>
                    </a:lnTo>
                    <a:lnTo>
                      <a:pt x="313" y="54"/>
                    </a:lnTo>
                    <a:lnTo>
                      <a:pt x="313" y="52"/>
                    </a:lnTo>
                    <a:lnTo>
                      <a:pt x="312" y="52"/>
                    </a:lnTo>
                    <a:lnTo>
                      <a:pt x="313" y="52"/>
                    </a:lnTo>
                    <a:lnTo>
                      <a:pt x="313" y="48"/>
                    </a:lnTo>
                    <a:lnTo>
                      <a:pt x="310" y="39"/>
                    </a:lnTo>
                    <a:lnTo>
                      <a:pt x="315" y="38"/>
                    </a:lnTo>
                    <a:lnTo>
                      <a:pt x="315" y="34"/>
                    </a:lnTo>
                    <a:lnTo>
                      <a:pt x="319" y="36"/>
                    </a:lnTo>
                    <a:lnTo>
                      <a:pt x="320" y="36"/>
                    </a:lnTo>
                    <a:lnTo>
                      <a:pt x="319" y="39"/>
                    </a:lnTo>
                    <a:lnTo>
                      <a:pt x="321" y="39"/>
                    </a:lnTo>
                    <a:lnTo>
                      <a:pt x="321" y="40"/>
                    </a:lnTo>
                    <a:lnTo>
                      <a:pt x="322" y="42"/>
                    </a:lnTo>
                    <a:lnTo>
                      <a:pt x="323" y="39"/>
                    </a:lnTo>
                    <a:lnTo>
                      <a:pt x="325" y="35"/>
                    </a:lnTo>
                    <a:lnTo>
                      <a:pt x="330" y="35"/>
                    </a:lnTo>
                    <a:lnTo>
                      <a:pt x="329" y="35"/>
                    </a:lnTo>
                    <a:lnTo>
                      <a:pt x="330" y="37"/>
                    </a:lnTo>
                    <a:lnTo>
                      <a:pt x="330" y="41"/>
                    </a:lnTo>
                    <a:lnTo>
                      <a:pt x="331" y="41"/>
                    </a:lnTo>
                    <a:lnTo>
                      <a:pt x="334" y="43"/>
                    </a:lnTo>
                    <a:lnTo>
                      <a:pt x="336" y="43"/>
                    </a:lnTo>
                    <a:lnTo>
                      <a:pt x="337" y="41"/>
                    </a:lnTo>
                    <a:lnTo>
                      <a:pt x="335" y="39"/>
                    </a:lnTo>
                    <a:lnTo>
                      <a:pt x="335" y="38"/>
                    </a:lnTo>
                    <a:lnTo>
                      <a:pt x="339" y="39"/>
                    </a:lnTo>
                    <a:lnTo>
                      <a:pt x="340" y="38"/>
                    </a:lnTo>
                    <a:lnTo>
                      <a:pt x="341" y="36"/>
                    </a:lnTo>
                    <a:lnTo>
                      <a:pt x="343" y="37"/>
                    </a:lnTo>
                    <a:lnTo>
                      <a:pt x="344" y="37"/>
                    </a:lnTo>
                    <a:lnTo>
                      <a:pt x="343" y="38"/>
                    </a:lnTo>
                    <a:lnTo>
                      <a:pt x="343" y="40"/>
                    </a:lnTo>
                    <a:lnTo>
                      <a:pt x="343" y="41"/>
                    </a:lnTo>
                    <a:lnTo>
                      <a:pt x="345" y="43"/>
                    </a:lnTo>
                    <a:lnTo>
                      <a:pt x="344" y="43"/>
                    </a:lnTo>
                    <a:lnTo>
                      <a:pt x="343" y="44"/>
                    </a:lnTo>
                    <a:lnTo>
                      <a:pt x="342" y="46"/>
                    </a:lnTo>
                    <a:lnTo>
                      <a:pt x="343" y="47"/>
                    </a:lnTo>
                    <a:lnTo>
                      <a:pt x="343" y="51"/>
                    </a:lnTo>
                    <a:lnTo>
                      <a:pt x="345" y="54"/>
                    </a:lnTo>
                    <a:lnTo>
                      <a:pt x="346" y="52"/>
                    </a:lnTo>
                    <a:lnTo>
                      <a:pt x="346" y="53"/>
                    </a:lnTo>
                    <a:lnTo>
                      <a:pt x="347" y="52"/>
                    </a:lnTo>
                    <a:lnTo>
                      <a:pt x="347" y="53"/>
                    </a:lnTo>
                    <a:lnTo>
                      <a:pt x="348" y="53"/>
                    </a:lnTo>
                    <a:lnTo>
                      <a:pt x="348" y="54"/>
                    </a:lnTo>
                    <a:lnTo>
                      <a:pt x="349" y="55"/>
                    </a:lnTo>
                    <a:lnTo>
                      <a:pt x="350" y="56"/>
                    </a:lnTo>
                    <a:lnTo>
                      <a:pt x="351" y="55"/>
                    </a:lnTo>
                    <a:lnTo>
                      <a:pt x="351" y="53"/>
                    </a:lnTo>
                    <a:lnTo>
                      <a:pt x="353" y="51"/>
                    </a:lnTo>
                    <a:lnTo>
                      <a:pt x="353" y="52"/>
                    </a:lnTo>
                    <a:lnTo>
                      <a:pt x="355" y="53"/>
                    </a:lnTo>
                    <a:lnTo>
                      <a:pt x="356" y="53"/>
                    </a:lnTo>
                    <a:lnTo>
                      <a:pt x="356" y="51"/>
                    </a:lnTo>
                    <a:lnTo>
                      <a:pt x="358" y="51"/>
                    </a:lnTo>
                    <a:lnTo>
                      <a:pt x="359" y="53"/>
                    </a:lnTo>
                    <a:lnTo>
                      <a:pt x="361" y="54"/>
                    </a:lnTo>
                    <a:lnTo>
                      <a:pt x="361" y="52"/>
                    </a:lnTo>
                    <a:lnTo>
                      <a:pt x="361" y="51"/>
                    </a:lnTo>
                    <a:lnTo>
                      <a:pt x="365" y="52"/>
                    </a:lnTo>
                    <a:lnTo>
                      <a:pt x="368" y="52"/>
                    </a:lnTo>
                    <a:lnTo>
                      <a:pt x="372" y="55"/>
                    </a:lnTo>
                    <a:lnTo>
                      <a:pt x="372" y="54"/>
                    </a:lnTo>
                    <a:lnTo>
                      <a:pt x="372" y="50"/>
                    </a:lnTo>
                    <a:lnTo>
                      <a:pt x="374" y="49"/>
                    </a:lnTo>
                    <a:lnTo>
                      <a:pt x="374" y="48"/>
                    </a:lnTo>
                    <a:lnTo>
                      <a:pt x="378" y="49"/>
                    </a:lnTo>
                    <a:lnTo>
                      <a:pt x="379" y="48"/>
                    </a:lnTo>
                    <a:lnTo>
                      <a:pt x="381" y="48"/>
                    </a:lnTo>
                    <a:lnTo>
                      <a:pt x="383" y="40"/>
                    </a:lnTo>
                    <a:lnTo>
                      <a:pt x="383" y="39"/>
                    </a:lnTo>
                    <a:lnTo>
                      <a:pt x="390" y="41"/>
                    </a:lnTo>
                    <a:lnTo>
                      <a:pt x="391" y="40"/>
                    </a:lnTo>
                    <a:lnTo>
                      <a:pt x="392" y="36"/>
                    </a:lnTo>
                    <a:lnTo>
                      <a:pt x="391" y="27"/>
                    </a:lnTo>
                    <a:lnTo>
                      <a:pt x="392" y="22"/>
                    </a:lnTo>
                    <a:lnTo>
                      <a:pt x="405" y="27"/>
                    </a:lnTo>
                    <a:lnTo>
                      <a:pt x="411" y="34"/>
                    </a:lnTo>
                    <a:lnTo>
                      <a:pt x="418" y="28"/>
                    </a:lnTo>
                    <a:lnTo>
                      <a:pt x="419" y="28"/>
                    </a:lnTo>
                    <a:lnTo>
                      <a:pt x="420" y="27"/>
                    </a:lnTo>
                    <a:lnTo>
                      <a:pt x="421" y="26"/>
                    </a:lnTo>
                    <a:lnTo>
                      <a:pt x="420" y="24"/>
                    </a:lnTo>
                    <a:lnTo>
                      <a:pt x="418" y="22"/>
                    </a:lnTo>
                    <a:lnTo>
                      <a:pt x="419" y="20"/>
                    </a:lnTo>
                    <a:lnTo>
                      <a:pt x="418" y="19"/>
                    </a:lnTo>
                    <a:lnTo>
                      <a:pt x="423" y="18"/>
                    </a:lnTo>
                    <a:lnTo>
                      <a:pt x="426" y="17"/>
                    </a:lnTo>
                    <a:lnTo>
                      <a:pt x="428" y="17"/>
                    </a:lnTo>
                    <a:lnTo>
                      <a:pt x="429" y="17"/>
                    </a:lnTo>
                    <a:lnTo>
                      <a:pt x="430" y="15"/>
                    </a:lnTo>
                    <a:lnTo>
                      <a:pt x="430" y="17"/>
                    </a:lnTo>
                    <a:lnTo>
                      <a:pt x="433" y="15"/>
                    </a:lnTo>
                    <a:lnTo>
                      <a:pt x="435" y="14"/>
                    </a:lnTo>
                    <a:lnTo>
                      <a:pt x="434" y="11"/>
                    </a:lnTo>
                    <a:lnTo>
                      <a:pt x="435" y="11"/>
                    </a:lnTo>
                    <a:lnTo>
                      <a:pt x="434" y="7"/>
                    </a:lnTo>
                    <a:lnTo>
                      <a:pt x="432" y="7"/>
                    </a:lnTo>
                    <a:lnTo>
                      <a:pt x="435" y="6"/>
                    </a:lnTo>
                    <a:lnTo>
                      <a:pt x="435" y="5"/>
                    </a:lnTo>
                    <a:lnTo>
                      <a:pt x="437" y="6"/>
                    </a:lnTo>
                    <a:lnTo>
                      <a:pt x="437" y="5"/>
                    </a:lnTo>
                    <a:lnTo>
                      <a:pt x="438" y="5"/>
                    </a:lnTo>
                    <a:lnTo>
                      <a:pt x="439" y="6"/>
                    </a:lnTo>
                    <a:lnTo>
                      <a:pt x="437" y="0"/>
                    </a:lnTo>
                    <a:lnTo>
                      <a:pt x="439" y="0"/>
                    </a:lnTo>
                    <a:lnTo>
                      <a:pt x="444" y="1"/>
                    </a:lnTo>
                    <a:lnTo>
                      <a:pt x="443" y="1"/>
                    </a:lnTo>
                    <a:lnTo>
                      <a:pt x="444" y="4"/>
                    </a:lnTo>
                    <a:lnTo>
                      <a:pt x="442" y="5"/>
                    </a:lnTo>
                    <a:lnTo>
                      <a:pt x="443" y="6"/>
                    </a:lnTo>
                    <a:lnTo>
                      <a:pt x="444" y="6"/>
                    </a:lnTo>
                    <a:lnTo>
                      <a:pt x="446" y="7"/>
                    </a:lnTo>
                    <a:lnTo>
                      <a:pt x="446" y="6"/>
                    </a:lnTo>
                    <a:lnTo>
                      <a:pt x="447" y="7"/>
                    </a:lnTo>
                    <a:lnTo>
                      <a:pt x="449" y="11"/>
                    </a:lnTo>
                    <a:lnTo>
                      <a:pt x="447" y="11"/>
                    </a:lnTo>
                    <a:lnTo>
                      <a:pt x="448" y="11"/>
                    </a:lnTo>
                    <a:lnTo>
                      <a:pt x="449" y="13"/>
                    </a:lnTo>
                    <a:lnTo>
                      <a:pt x="451" y="13"/>
                    </a:lnTo>
                    <a:lnTo>
                      <a:pt x="452" y="14"/>
                    </a:lnTo>
                    <a:lnTo>
                      <a:pt x="452" y="11"/>
                    </a:lnTo>
                    <a:lnTo>
                      <a:pt x="454" y="11"/>
                    </a:lnTo>
                    <a:lnTo>
                      <a:pt x="454" y="9"/>
                    </a:lnTo>
                    <a:lnTo>
                      <a:pt x="455" y="8"/>
                    </a:lnTo>
                    <a:lnTo>
                      <a:pt x="456" y="9"/>
                    </a:lnTo>
                    <a:lnTo>
                      <a:pt x="455" y="9"/>
                    </a:lnTo>
                    <a:lnTo>
                      <a:pt x="455" y="10"/>
                    </a:lnTo>
                    <a:lnTo>
                      <a:pt x="457" y="10"/>
                    </a:lnTo>
                    <a:lnTo>
                      <a:pt x="457" y="11"/>
                    </a:lnTo>
                    <a:lnTo>
                      <a:pt x="459" y="11"/>
                    </a:lnTo>
                    <a:lnTo>
                      <a:pt x="460" y="11"/>
                    </a:lnTo>
                    <a:lnTo>
                      <a:pt x="463" y="10"/>
                    </a:lnTo>
                    <a:lnTo>
                      <a:pt x="463" y="11"/>
                    </a:lnTo>
                    <a:lnTo>
                      <a:pt x="462" y="13"/>
                    </a:lnTo>
                    <a:lnTo>
                      <a:pt x="463" y="13"/>
                    </a:lnTo>
                    <a:lnTo>
                      <a:pt x="465" y="19"/>
                    </a:lnTo>
                    <a:lnTo>
                      <a:pt x="466" y="19"/>
                    </a:lnTo>
                    <a:lnTo>
                      <a:pt x="468" y="20"/>
                    </a:lnTo>
                    <a:lnTo>
                      <a:pt x="468" y="23"/>
                    </a:lnTo>
                    <a:lnTo>
                      <a:pt x="468" y="22"/>
                    </a:lnTo>
                    <a:lnTo>
                      <a:pt x="470" y="22"/>
                    </a:lnTo>
                    <a:lnTo>
                      <a:pt x="470" y="23"/>
                    </a:lnTo>
                    <a:lnTo>
                      <a:pt x="469" y="25"/>
                    </a:lnTo>
                    <a:lnTo>
                      <a:pt x="470" y="27"/>
                    </a:lnTo>
                    <a:lnTo>
                      <a:pt x="470" y="29"/>
                    </a:lnTo>
                    <a:lnTo>
                      <a:pt x="471" y="28"/>
                    </a:lnTo>
                    <a:lnTo>
                      <a:pt x="472" y="28"/>
                    </a:lnTo>
                    <a:lnTo>
                      <a:pt x="474" y="28"/>
                    </a:lnTo>
                    <a:lnTo>
                      <a:pt x="476" y="28"/>
                    </a:lnTo>
                    <a:lnTo>
                      <a:pt x="477" y="31"/>
                    </a:lnTo>
                    <a:lnTo>
                      <a:pt x="479" y="32"/>
                    </a:lnTo>
                    <a:lnTo>
                      <a:pt x="478" y="34"/>
                    </a:lnTo>
                    <a:lnTo>
                      <a:pt x="480" y="34"/>
                    </a:lnTo>
                    <a:lnTo>
                      <a:pt x="483" y="37"/>
                    </a:lnTo>
                    <a:lnTo>
                      <a:pt x="482" y="38"/>
                    </a:lnTo>
                    <a:lnTo>
                      <a:pt x="482" y="39"/>
                    </a:lnTo>
                    <a:lnTo>
                      <a:pt x="483" y="38"/>
                    </a:lnTo>
                    <a:lnTo>
                      <a:pt x="483" y="40"/>
                    </a:lnTo>
                    <a:lnTo>
                      <a:pt x="483" y="46"/>
                    </a:lnTo>
                    <a:lnTo>
                      <a:pt x="484" y="47"/>
                    </a:lnTo>
                    <a:lnTo>
                      <a:pt x="484" y="48"/>
                    </a:lnTo>
                    <a:lnTo>
                      <a:pt x="487" y="47"/>
                    </a:lnTo>
                    <a:lnTo>
                      <a:pt x="487" y="48"/>
                    </a:lnTo>
                    <a:lnTo>
                      <a:pt x="488" y="48"/>
                    </a:lnTo>
                    <a:lnTo>
                      <a:pt x="488" y="49"/>
                    </a:lnTo>
                    <a:lnTo>
                      <a:pt x="490" y="48"/>
                    </a:lnTo>
                    <a:lnTo>
                      <a:pt x="492" y="49"/>
                    </a:lnTo>
                    <a:lnTo>
                      <a:pt x="494" y="51"/>
                    </a:lnTo>
                    <a:lnTo>
                      <a:pt x="493" y="52"/>
                    </a:lnTo>
                    <a:lnTo>
                      <a:pt x="494" y="52"/>
                    </a:lnTo>
                    <a:lnTo>
                      <a:pt x="494" y="53"/>
                    </a:lnTo>
                    <a:lnTo>
                      <a:pt x="495" y="53"/>
                    </a:lnTo>
                    <a:lnTo>
                      <a:pt x="495" y="54"/>
                    </a:lnTo>
                    <a:lnTo>
                      <a:pt x="494" y="54"/>
                    </a:lnTo>
                    <a:lnTo>
                      <a:pt x="494" y="56"/>
                    </a:lnTo>
                    <a:lnTo>
                      <a:pt x="493" y="56"/>
                    </a:lnTo>
                    <a:lnTo>
                      <a:pt x="493" y="58"/>
                    </a:lnTo>
                    <a:lnTo>
                      <a:pt x="491" y="57"/>
                    </a:lnTo>
                    <a:lnTo>
                      <a:pt x="491" y="58"/>
                    </a:lnTo>
                    <a:lnTo>
                      <a:pt x="487" y="58"/>
                    </a:lnTo>
                    <a:lnTo>
                      <a:pt x="486" y="60"/>
                    </a:lnTo>
                    <a:lnTo>
                      <a:pt x="486" y="63"/>
                    </a:lnTo>
                    <a:lnTo>
                      <a:pt x="486" y="64"/>
                    </a:lnTo>
                    <a:lnTo>
                      <a:pt x="487" y="65"/>
                    </a:lnTo>
                    <a:lnTo>
                      <a:pt x="490" y="69"/>
                    </a:lnTo>
                    <a:lnTo>
                      <a:pt x="490" y="71"/>
                    </a:lnTo>
                    <a:lnTo>
                      <a:pt x="489" y="72"/>
                    </a:lnTo>
                    <a:lnTo>
                      <a:pt x="489" y="73"/>
                    </a:lnTo>
                    <a:lnTo>
                      <a:pt x="490" y="73"/>
                    </a:lnTo>
                    <a:lnTo>
                      <a:pt x="492" y="75"/>
                    </a:lnTo>
                    <a:lnTo>
                      <a:pt x="491" y="76"/>
                    </a:lnTo>
                    <a:lnTo>
                      <a:pt x="491" y="77"/>
                    </a:lnTo>
                    <a:lnTo>
                      <a:pt x="490" y="77"/>
                    </a:lnTo>
                    <a:lnTo>
                      <a:pt x="489" y="77"/>
                    </a:lnTo>
                    <a:lnTo>
                      <a:pt x="490" y="77"/>
                    </a:lnTo>
                    <a:lnTo>
                      <a:pt x="490" y="78"/>
                    </a:lnTo>
                    <a:lnTo>
                      <a:pt x="489" y="80"/>
                    </a:lnTo>
                    <a:lnTo>
                      <a:pt x="490" y="80"/>
                    </a:lnTo>
                    <a:lnTo>
                      <a:pt x="489" y="82"/>
                    </a:lnTo>
                    <a:lnTo>
                      <a:pt x="489" y="84"/>
                    </a:lnTo>
                    <a:lnTo>
                      <a:pt x="487" y="86"/>
                    </a:lnTo>
                    <a:lnTo>
                      <a:pt x="487" y="88"/>
                    </a:lnTo>
                    <a:lnTo>
                      <a:pt x="489" y="88"/>
                    </a:lnTo>
                    <a:lnTo>
                      <a:pt x="489" y="89"/>
                    </a:lnTo>
                    <a:lnTo>
                      <a:pt x="491" y="88"/>
                    </a:lnTo>
                    <a:lnTo>
                      <a:pt x="491" y="89"/>
                    </a:lnTo>
                    <a:lnTo>
                      <a:pt x="493" y="93"/>
                    </a:lnTo>
                    <a:lnTo>
                      <a:pt x="493" y="94"/>
                    </a:lnTo>
                    <a:lnTo>
                      <a:pt x="491" y="94"/>
                    </a:lnTo>
                    <a:lnTo>
                      <a:pt x="491" y="96"/>
                    </a:lnTo>
                    <a:lnTo>
                      <a:pt x="492" y="97"/>
                    </a:lnTo>
                    <a:lnTo>
                      <a:pt x="492" y="98"/>
                    </a:lnTo>
                    <a:lnTo>
                      <a:pt x="495" y="99"/>
                    </a:lnTo>
                    <a:lnTo>
                      <a:pt x="491" y="108"/>
                    </a:lnTo>
                    <a:lnTo>
                      <a:pt x="491" y="107"/>
                    </a:lnTo>
                    <a:lnTo>
                      <a:pt x="490" y="109"/>
                    </a:lnTo>
                    <a:lnTo>
                      <a:pt x="489" y="107"/>
                    </a:lnTo>
                    <a:lnTo>
                      <a:pt x="489" y="109"/>
                    </a:lnTo>
                    <a:lnTo>
                      <a:pt x="486" y="109"/>
                    </a:lnTo>
                    <a:lnTo>
                      <a:pt x="486" y="111"/>
                    </a:lnTo>
                    <a:lnTo>
                      <a:pt x="487" y="111"/>
                    </a:lnTo>
                    <a:lnTo>
                      <a:pt x="487" y="112"/>
                    </a:lnTo>
                    <a:lnTo>
                      <a:pt x="486" y="113"/>
                    </a:lnTo>
                    <a:lnTo>
                      <a:pt x="487" y="115"/>
                    </a:lnTo>
                    <a:lnTo>
                      <a:pt x="487" y="116"/>
                    </a:lnTo>
                    <a:lnTo>
                      <a:pt x="486" y="116"/>
                    </a:lnTo>
                    <a:lnTo>
                      <a:pt x="485" y="117"/>
                    </a:lnTo>
                    <a:lnTo>
                      <a:pt x="484" y="117"/>
                    </a:lnTo>
                    <a:lnTo>
                      <a:pt x="485" y="116"/>
                    </a:lnTo>
                    <a:lnTo>
                      <a:pt x="484" y="116"/>
                    </a:lnTo>
                    <a:lnTo>
                      <a:pt x="483" y="116"/>
                    </a:lnTo>
                    <a:lnTo>
                      <a:pt x="482" y="116"/>
                    </a:lnTo>
                    <a:lnTo>
                      <a:pt x="481" y="115"/>
                    </a:lnTo>
                    <a:lnTo>
                      <a:pt x="479" y="117"/>
                    </a:lnTo>
                    <a:lnTo>
                      <a:pt x="476" y="120"/>
                    </a:lnTo>
                    <a:lnTo>
                      <a:pt x="478" y="123"/>
                    </a:lnTo>
                    <a:lnTo>
                      <a:pt x="479" y="126"/>
                    </a:lnTo>
                    <a:lnTo>
                      <a:pt x="481" y="126"/>
                    </a:lnTo>
                    <a:lnTo>
                      <a:pt x="483" y="128"/>
                    </a:lnTo>
                    <a:lnTo>
                      <a:pt x="482" y="128"/>
                    </a:lnTo>
                    <a:lnTo>
                      <a:pt x="480" y="129"/>
                    </a:lnTo>
                    <a:lnTo>
                      <a:pt x="481" y="133"/>
                    </a:lnTo>
                    <a:lnTo>
                      <a:pt x="481" y="135"/>
                    </a:lnTo>
                    <a:lnTo>
                      <a:pt x="483" y="137"/>
                    </a:lnTo>
                    <a:lnTo>
                      <a:pt x="485" y="139"/>
                    </a:lnTo>
                    <a:lnTo>
                      <a:pt x="487" y="140"/>
                    </a:lnTo>
                    <a:lnTo>
                      <a:pt x="489" y="139"/>
                    </a:lnTo>
                    <a:lnTo>
                      <a:pt x="491" y="136"/>
                    </a:lnTo>
                    <a:lnTo>
                      <a:pt x="492" y="139"/>
                    </a:lnTo>
                    <a:lnTo>
                      <a:pt x="496" y="141"/>
                    </a:lnTo>
                    <a:lnTo>
                      <a:pt x="497" y="141"/>
                    </a:lnTo>
                    <a:lnTo>
                      <a:pt x="496" y="142"/>
                    </a:lnTo>
                    <a:lnTo>
                      <a:pt x="495" y="142"/>
                    </a:lnTo>
                    <a:lnTo>
                      <a:pt x="495" y="146"/>
                    </a:lnTo>
                    <a:lnTo>
                      <a:pt x="496" y="146"/>
                    </a:lnTo>
                    <a:lnTo>
                      <a:pt x="498" y="145"/>
                    </a:lnTo>
                    <a:lnTo>
                      <a:pt x="498" y="146"/>
                    </a:lnTo>
                    <a:lnTo>
                      <a:pt x="499" y="148"/>
                    </a:lnTo>
                    <a:lnTo>
                      <a:pt x="500" y="148"/>
                    </a:lnTo>
                    <a:lnTo>
                      <a:pt x="501" y="150"/>
                    </a:lnTo>
                    <a:lnTo>
                      <a:pt x="502" y="150"/>
                    </a:lnTo>
                    <a:lnTo>
                      <a:pt x="503" y="152"/>
                    </a:lnTo>
                    <a:lnTo>
                      <a:pt x="503" y="154"/>
                    </a:lnTo>
                    <a:lnTo>
                      <a:pt x="502" y="153"/>
                    </a:lnTo>
                    <a:lnTo>
                      <a:pt x="499" y="155"/>
                    </a:lnTo>
                    <a:lnTo>
                      <a:pt x="499" y="156"/>
                    </a:lnTo>
                    <a:lnTo>
                      <a:pt x="501" y="157"/>
                    </a:lnTo>
                    <a:lnTo>
                      <a:pt x="501" y="159"/>
                    </a:lnTo>
                    <a:lnTo>
                      <a:pt x="499" y="161"/>
                    </a:lnTo>
                    <a:lnTo>
                      <a:pt x="501" y="162"/>
                    </a:lnTo>
                    <a:lnTo>
                      <a:pt x="504" y="165"/>
                    </a:lnTo>
                    <a:lnTo>
                      <a:pt x="504" y="166"/>
                    </a:lnTo>
                    <a:lnTo>
                      <a:pt x="505" y="167"/>
                    </a:lnTo>
                    <a:lnTo>
                      <a:pt x="506" y="165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8" y="167"/>
                    </a:lnTo>
                    <a:lnTo>
                      <a:pt x="508" y="165"/>
                    </a:lnTo>
                    <a:lnTo>
                      <a:pt x="512" y="166"/>
                    </a:lnTo>
                    <a:lnTo>
                      <a:pt x="514" y="164"/>
                    </a:lnTo>
                    <a:lnTo>
                      <a:pt x="515" y="164"/>
                    </a:lnTo>
                    <a:lnTo>
                      <a:pt x="515" y="165"/>
                    </a:lnTo>
                    <a:lnTo>
                      <a:pt x="517" y="167"/>
                    </a:lnTo>
                    <a:lnTo>
                      <a:pt x="518" y="167"/>
                    </a:lnTo>
                    <a:lnTo>
                      <a:pt x="519" y="168"/>
                    </a:lnTo>
                    <a:lnTo>
                      <a:pt x="520" y="167"/>
                    </a:lnTo>
                    <a:lnTo>
                      <a:pt x="522" y="169"/>
                    </a:lnTo>
                    <a:lnTo>
                      <a:pt x="525" y="171"/>
                    </a:lnTo>
                    <a:lnTo>
                      <a:pt x="524" y="171"/>
                    </a:lnTo>
                    <a:lnTo>
                      <a:pt x="525" y="173"/>
                    </a:lnTo>
                    <a:lnTo>
                      <a:pt x="526" y="172"/>
                    </a:lnTo>
                    <a:lnTo>
                      <a:pt x="528" y="171"/>
                    </a:lnTo>
                    <a:lnTo>
                      <a:pt x="529" y="168"/>
                    </a:lnTo>
                    <a:lnTo>
                      <a:pt x="532" y="169"/>
                    </a:lnTo>
                    <a:lnTo>
                      <a:pt x="533" y="167"/>
                    </a:lnTo>
                    <a:lnTo>
                      <a:pt x="535" y="167"/>
                    </a:lnTo>
                    <a:lnTo>
                      <a:pt x="536" y="167"/>
                    </a:lnTo>
                    <a:lnTo>
                      <a:pt x="538" y="167"/>
                    </a:lnTo>
                    <a:lnTo>
                      <a:pt x="538" y="165"/>
                    </a:lnTo>
                    <a:lnTo>
                      <a:pt x="538" y="167"/>
                    </a:lnTo>
                    <a:lnTo>
                      <a:pt x="539" y="167"/>
                    </a:lnTo>
                    <a:lnTo>
                      <a:pt x="539" y="170"/>
                    </a:lnTo>
                    <a:lnTo>
                      <a:pt x="540" y="170"/>
                    </a:lnTo>
                    <a:lnTo>
                      <a:pt x="540" y="171"/>
                    </a:lnTo>
                    <a:lnTo>
                      <a:pt x="541" y="171"/>
                    </a:lnTo>
                    <a:lnTo>
                      <a:pt x="543" y="172"/>
                    </a:lnTo>
                    <a:lnTo>
                      <a:pt x="543" y="173"/>
                    </a:lnTo>
                    <a:lnTo>
                      <a:pt x="544" y="173"/>
                    </a:lnTo>
                    <a:lnTo>
                      <a:pt x="545" y="175"/>
                    </a:lnTo>
                    <a:lnTo>
                      <a:pt x="543" y="176"/>
                    </a:lnTo>
                    <a:lnTo>
                      <a:pt x="544" y="178"/>
                    </a:lnTo>
                    <a:lnTo>
                      <a:pt x="544" y="179"/>
                    </a:lnTo>
                    <a:lnTo>
                      <a:pt x="543" y="179"/>
                    </a:lnTo>
                    <a:lnTo>
                      <a:pt x="544" y="182"/>
                    </a:lnTo>
                    <a:lnTo>
                      <a:pt x="543" y="185"/>
                    </a:lnTo>
                    <a:lnTo>
                      <a:pt x="544" y="185"/>
                    </a:lnTo>
                    <a:lnTo>
                      <a:pt x="545" y="188"/>
                    </a:lnTo>
                    <a:lnTo>
                      <a:pt x="543" y="189"/>
                    </a:lnTo>
                    <a:lnTo>
                      <a:pt x="541" y="189"/>
                    </a:lnTo>
                    <a:lnTo>
                      <a:pt x="540" y="190"/>
                    </a:lnTo>
                    <a:lnTo>
                      <a:pt x="541" y="191"/>
                    </a:lnTo>
                    <a:lnTo>
                      <a:pt x="541" y="197"/>
                    </a:lnTo>
                    <a:lnTo>
                      <a:pt x="540" y="200"/>
                    </a:lnTo>
                    <a:lnTo>
                      <a:pt x="542" y="201"/>
                    </a:lnTo>
                    <a:lnTo>
                      <a:pt x="542" y="203"/>
                    </a:lnTo>
                    <a:lnTo>
                      <a:pt x="543" y="203"/>
                    </a:lnTo>
                    <a:lnTo>
                      <a:pt x="545" y="205"/>
                    </a:lnTo>
                    <a:lnTo>
                      <a:pt x="544" y="209"/>
                    </a:lnTo>
                    <a:lnTo>
                      <a:pt x="545" y="207"/>
                    </a:lnTo>
                    <a:lnTo>
                      <a:pt x="545" y="209"/>
                    </a:lnTo>
                    <a:lnTo>
                      <a:pt x="546" y="209"/>
                    </a:lnTo>
                    <a:lnTo>
                      <a:pt x="544" y="211"/>
                    </a:lnTo>
                    <a:lnTo>
                      <a:pt x="547" y="210"/>
                    </a:lnTo>
                    <a:lnTo>
                      <a:pt x="545" y="212"/>
                    </a:lnTo>
                    <a:lnTo>
                      <a:pt x="545" y="215"/>
                    </a:lnTo>
                    <a:lnTo>
                      <a:pt x="544" y="217"/>
                    </a:lnTo>
                    <a:lnTo>
                      <a:pt x="543" y="216"/>
                    </a:lnTo>
                    <a:lnTo>
                      <a:pt x="542" y="218"/>
                    </a:lnTo>
                    <a:lnTo>
                      <a:pt x="543" y="219"/>
                    </a:lnTo>
                    <a:lnTo>
                      <a:pt x="543" y="220"/>
                    </a:lnTo>
                    <a:lnTo>
                      <a:pt x="542" y="222"/>
                    </a:lnTo>
                    <a:lnTo>
                      <a:pt x="541" y="221"/>
                    </a:lnTo>
                    <a:lnTo>
                      <a:pt x="541" y="222"/>
                    </a:lnTo>
                    <a:lnTo>
                      <a:pt x="540" y="223"/>
                    </a:lnTo>
                    <a:lnTo>
                      <a:pt x="539" y="225"/>
                    </a:lnTo>
                    <a:lnTo>
                      <a:pt x="537" y="224"/>
                    </a:lnTo>
                    <a:lnTo>
                      <a:pt x="536" y="227"/>
                    </a:lnTo>
                    <a:lnTo>
                      <a:pt x="536" y="226"/>
                    </a:lnTo>
                    <a:lnTo>
                      <a:pt x="535" y="226"/>
                    </a:lnTo>
                    <a:lnTo>
                      <a:pt x="535" y="228"/>
                    </a:lnTo>
                    <a:lnTo>
                      <a:pt x="534" y="228"/>
                    </a:lnTo>
                    <a:lnTo>
                      <a:pt x="533" y="227"/>
                    </a:lnTo>
                    <a:lnTo>
                      <a:pt x="532" y="229"/>
                    </a:lnTo>
                    <a:lnTo>
                      <a:pt x="534" y="229"/>
                    </a:lnTo>
                    <a:lnTo>
                      <a:pt x="537" y="232"/>
                    </a:lnTo>
                    <a:lnTo>
                      <a:pt x="537" y="233"/>
                    </a:lnTo>
                    <a:lnTo>
                      <a:pt x="533" y="236"/>
                    </a:lnTo>
                    <a:lnTo>
                      <a:pt x="530" y="237"/>
                    </a:lnTo>
                    <a:lnTo>
                      <a:pt x="534" y="239"/>
                    </a:lnTo>
                    <a:lnTo>
                      <a:pt x="538" y="238"/>
                    </a:lnTo>
                    <a:lnTo>
                      <a:pt x="540" y="241"/>
                    </a:lnTo>
                    <a:lnTo>
                      <a:pt x="541" y="243"/>
                    </a:lnTo>
                    <a:lnTo>
                      <a:pt x="543" y="244"/>
                    </a:lnTo>
                    <a:lnTo>
                      <a:pt x="544" y="243"/>
                    </a:lnTo>
                    <a:lnTo>
                      <a:pt x="544" y="241"/>
                    </a:lnTo>
                    <a:lnTo>
                      <a:pt x="545" y="243"/>
                    </a:lnTo>
                    <a:lnTo>
                      <a:pt x="546" y="243"/>
                    </a:lnTo>
                    <a:lnTo>
                      <a:pt x="546" y="244"/>
                    </a:lnTo>
                    <a:lnTo>
                      <a:pt x="550" y="248"/>
                    </a:lnTo>
                    <a:lnTo>
                      <a:pt x="552" y="249"/>
                    </a:lnTo>
                    <a:lnTo>
                      <a:pt x="553" y="249"/>
                    </a:lnTo>
                    <a:lnTo>
                      <a:pt x="555" y="250"/>
                    </a:lnTo>
                    <a:lnTo>
                      <a:pt x="552" y="254"/>
                    </a:lnTo>
                    <a:lnTo>
                      <a:pt x="552" y="257"/>
                    </a:lnTo>
                    <a:lnTo>
                      <a:pt x="551" y="256"/>
                    </a:lnTo>
                    <a:lnTo>
                      <a:pt x="550" y="256"/>
                    </a:lnTo>
                    <a:lnTo>
                      <a:pt x="551" y="260"/>
                    </a:lnTo>
                    <a:lnTo>
                      <a:pt x="548" y="262"/>
                    </a:lnTo>
                    <a:lnTo>
                      <a:pt x="546" y="260"/>
                    </a:lnTo>
                    <a:lnTo>
                      <a:pt x="546" y="258"/>
                    </a:lnTo>
                    <a:lnTo>
                      <a:pt x="545" y="257"/>
                    </a:lnTo>
                    <a:lnTo>
                      <a:pt x="543" y="258"/>
                    </a:lnTo>
                    <a:lnTo>
                      <a:pt x="541" y="262"/>
                    </a:lnTo>
                    <a:lnTo>
                      <a:pt x="543" y="265"/>
                    </a:lnTo>
                    <a:lnTo>
                      <a:pt x="545" y="263"/>
                    </a:lnTo>
                    <a:lnTo>
                      <a:pt x="546" y="267"/>
                    </a:lnTo>
                    <a:lnTo>
                      <a:pt x="548" y="267"/>
                    </a:lnTo>
                    <a:lnTo>
                      <a:pt x="546" y="267"/>
                    </a:lnTo>
                    <a:lnTo>
                      <a:pt x="544" y="266"/>
                    </a:lnTo>
                    <a:lnTo>
                      <a:pt x="543" y="267"/>
                    </a:lnTo>
                    <a:lnTo>
                      <a:pt x="542" y="267"/>
                    </a:lnTo>
                    <a:lnTo>
                      <a:pt x="541" y="267"/>
                    </a:lnTo>
                    <a:lnTo>
                      <a:pt x="542" y="271"/>
                    </a:lnTo>
                    <a:lnTo>
                      <a:pt x="543" y="273"/>
                    </a:lnTo>
                    <a:lnTo>
                      <a:pt x="542" y="279"/>
                    </a:lnTo>
                    <a:lnTo>
                      <a:pt x="540" y="278"/>
                    </a:lnTo>
                    <a:lnTo>
                      <a:pt x="538" y="279"/>
                    </a:lnTo>
                    <a:lnTo>
                      <a:pt x="537" y="278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5" y="279"/>
                    </a:lnTo>
                    <a:lnTo>
                      <a:pt x="534" y="278"/>
                    </a:lnTo>
                    <a:lnTo>
                      <a:pt x="533" y="279"/>
                    </a:lnTo>
                    <a:lnTo>
                      <a:pt x="532" y="280"/>
                    </a:lnTo>
                    <a:lnTo>
                      <a:pt x="533" y="282"/>
                    </a:lnTo>
                    <a:lnTo>
                      <a:pt x="538" y="283"/>
                    </a:lnTo>
                    <a:lnTo>
                      <a:pt x="537" y="284"/>
                    </a:lnTo>
                    <a:lnTo>
                      <a:pt x="539" y="283"/>
                    </a:lnTo>
                    <a:lnTo>
                      <a:pt x="539" y="285"/>
                    </a:lnTo>
                    <a:lnTo>
                      <a:pt x="538" y="286"/>
                    </a:lnTo>
                    <a:lnTo>
                      <a:pt x="538" y="285"/>
                    </a:lnTo>
                    <a:lnTo>
                      <a:pt x="537" y="286"/>
                    </a:lnTo>
                    <a:lnTo>
                      <a:pt x="535" y="284"/>
                    </a:lnTo>
                    <a:lnTo>
                      <a:pt x="535" y="285"/>
                    </a:lnTo>
                    <a:lnTo>
                      <a:pt x="536" y="286"/>
                    </a:lnTo>
                    <a:lnTo>
                      <a:pt x="534" y="284"/>
                    </a:lnTo>
                    <a:lnTo>
                      <a:pt x="533" y="284"/>
                    </a:lnTo>
                    <a:lnTo>
                      <a:pt x="530" y="286"/>
                    </a:lnTo>
                    <a:lnTo>
                      <a:pt x="528" y="286"/>
                    </a:lnTo>
                    <a:lnTo>
                      <a:pt x="530" y="288"/>
                    </a:lnTo>
                    <a:lnTo>
                      <a:pt x="530" y="290"/>
                    </a:lnTo>
                    <a:lnTo>
                      <a:pt x="530" y="292"/>
                    </a:lnTo>
                    <a:lnTo>
                      <a:pt x="532" y="293"/>
                    </a:lnTo>
                    <a:lnTo>
                      <a:pt x="532" y="294"/>
                    </a:lnTo>
                    <a:lnTo>
                      <a:pt x="533" y="294"/>
                    </a:lnTo>
                    <a:lnTo>
                      <a:pt x="533" y="296"/>
                    </a:lnTo>
                    <a:lnTo>
                      <a:pt x="535" y="297"/>
                    </a:lnTo>
                    <a:lnTo>
                      <a:pt x="536" y="298"/>
                    </a:lnTo>
                    <a:lnTo>
                      <a:pt x="537" y="299"/>
                    </a:lnTo>
                    <a:lnTo>
                      <a:pt x="539" y="297"/>
                    </a:lnTo>
                    <a:lnTo>
                      <a:pt x="542" y="298"/>
                    </a:lnTo>
                    <a:lnTo>
                      <a:pt x="541" y="299"/>
                    </a:lnTo>
                    <a:lnTo>
                      <a:pt x="541" y="298"/>
                    </a:lnTo>
                    <a:lnTo>
                      <a:pt x="542" y="300"/>
                    </a:lnTo>
                    <a:lnTo>
                      <a:pt x="543" y="300"/>
                    </a:lnTo>
                    <a:lnTo>
                      <a:pt x="545" y="301"/>
                    </a:lnTo>
                    <a:lnTo>
                      <a:pt x="543" y="302"/>
                    </a:lnTo>
                    <a:lnTo>
                      <a:pt x="542" y="302"/>
                    </a:lnTo>
                    <a:lnTo>
                      <a:pt x="543" y="303"/>
                    </a:lnTo>
                    <a:lnTo>
                      <a:pt x="544" y="304"/>
                    </a:lnTo>
                    <a:lnTo>
                      <a:pt x="545" y="304"/>
                    </a:lnTo>
                    <a:lnTo>
                      <a:pt x="546" y="304"/>
                    </a:lnTo>
                    <a:lnTo>
                      <a:pt x="548" y="306"/>
                    </a:lnTo>
                    <a:lnTo>
                      <a:pt x="552" y="304"/>
                    </a:lnTo>
                    <a:lnTo>
                      <a:pt x="552" y="306"/>
                    </a:lnTo>
                    <a:lnTo>
                      <a:pt x="553" y="307"/>
                    </a:lnTo>
                    <a:lnTo>
                      <a:pt x="552" y="307"/>
                    </a:lnTo>
                    <a:lnTo>
                      <a:pt x="552" y="310"/>
                    </a:lnTo>
                    <a:lnTo>
                      <a:pt x="553" y="310"/>
                    </a:lnTo>
                    <a:lnTo>
                      <a:pt x="555" y="306"/>
                    </a:lnTo>
                    <a:lnTo>
                      <a:pt x="555" y="307"/>
                    </a:lnTo>
                    <a:lnTo>
                      <a:pt x="555" y="309"/>
                    </a:lnTo>
                    <a:lnTo>
                      <a:pt x="556" y="309"/>
                    </a:lnTo>
                    <a:lnTo>
                      <a:pt x="555" y="310"/>
                    </a:lnTo>
                    <a:lnTo>
                      <a:pt x="555" y="313"/>
                    </a:lnTo>
                    <a:lnTo>
                      <a:pt x="552" y="314"/>
                    </a:lnTo>
                    <a:lnTo>
                      <a:pt x="552" y="315"/>
                    </a:lnTo>
                    <a:lnTo>
                      <a:pt x="552" y="316"/>
                    </a:lnTo>
                    <a:lnTo>
                      <a:pt x="555" y="319"/>
                    </a:lnTo>
                    <a:lnTo>
                      <a:pt x="562" y="326"/>
                    </a:lnTo>
                    <a:lnTo>
                      <a:pt x="563" y="325"/>
                    </a:lnTo>
                    <a:lnTo>
                      <a:pt x="564" y="325"/>
                    </a:lnTo>
                    <a:lnTo>
                      <a:pt x="564" y="327"/>
                    </a:lnTo>
                    <a:lnTo>
                      <a:pt x="565" y="326"/>
                    </a:lnTo>
                    <a:lnTo>
                      <a:pt x="566" y="327"/>
                    </a:lnTo>
                    <a:lnTo>
                      <a:pt x="566" y="329"/>
                    </a:lnTo>
                    <a:lnTo>
                      <a:pt x="567" y="330"/>
                    </a:lnTo>
                    <a:lnTo>
                      <a:pt x="568" y="328"/>
                    </a:lnTo>
                    <a:lnTo>
                      <a:pt x="569" y="331"/>
                    </a:lnTo>
                    <a:lnTo>
                      <a:pt x="568" y="333"/>
                    </a:lnTo>
                    <a:lnTo>
                      <a:pt x="569" y="333"/>
                    </a:lnTo>
                    <a:lnTo>
                      <a:pt x="568" y="335"/>
                    </a:lnTo>
                    <a:lnTo>
                      <a:pt x="569" y="337"/>
                    </a:lnTo>
                    <a:lnTo>
                      <a:pt x="568" y="336"/>
                    </a:lnTo>
                    <a:lnTo>
                      <a:pt x="566" y="337"/>
                    </a:lnTo>
                    <a:lnTo>
                      <a:pt x="564" y="339"/>
                    </a:lnTo>
                    <a:lnTo>
                      <a:pt x="567" y="344"/>
                    </a:lnTo>
                    <a:lnTo>
                      <a:pt x="568" y="344"/>
                    </a:lnTo>
                    <a:lnTo>
                      <a:pt x="568" y="345"/>
                    </a:lnTo>
                    <a:lnTo>
                      <a:pt x="568" y="347"/>
                    </a:lnTo>
                    <a:lnTo>
                      <a:pt x="568" y="348"/>
                    </a:lnTo>
                    <a:lnTo>
                      <a:pt x="567" y="348"/>
                    </a:lnTo>
                    <a:lnTo>
                      <a:pt x="566" y="347"/>
                    </a:lnTo>
                    <a:lnTo>
                      <a:pt x="566" y="350"/>
                    </a:lnTo>
                    <a:lnTo>
                      <a:pt x="565" y="350"/>
                    </a:lnTo>
                    <a:lnTo>
                      <a:pt x="564" y="352"/>
                    </a:lnTo>
                    <a:lnTo>
                      <a:pt x="564" y="353"/>
                    </a:lnTo>
                    <a:lnTo>
                      <a:pt x="561" y="356"/>
                    </a:lnTo>
                    <a:lnTo>
                      <a:pt x="563" y="357"/>
                    </a:lnTo>
                    <a:lnTo>
                      <a:pt x="561" y="358"/>
                    </a:lnTo>
                    <a:lnTo>
                      <a:pt x="558" y="359"/>
                    </a:lnTo>
                    <a:lnTo>
                      <a:pt x="557" y="359"/>
                    </a:lnTo>
                    <a:lnTo>
                      <a:pt x="557" y="360"/>
                    </a:lnTo>
                    <a:lnTo>
                      <a:pt x="556" y="361"/>
                    </a:lnTo>
                    <a:lnTo>
                      <a:pt x="558" y="363"/>
                    </a:lnTo>
                    <a:lnTo>
                      <a:pt x="558" y="365"/>
                    </a:lnTo>
                    <a:lnTo>
                      <a:pt x="557" y="367"/>
                    </a:lnTo>
                    <a:lnTo>
                      <a:pt x="558" y="368"/>
                    </a:lnTo>
                    <a:lnTo>
                      <a:pt x="557" y="371"/>
                    </a:lnTo>
                    <a:lnTo>
                      <a:pt x="556" y="371"/>
                    </a:lnTo>
                    <a:lnTo>
                      <a:pt x="556" y="369"/>
                    </a:lnTo>
                    <a:lnTo>
                      <a:pt x="555" y="371"/>
                    </a:lnTo>
                    <a:lnTo>
                      <a:pt x="556" y="373"/>
                    </a:lnTo>
                    <a:lnTo>
                      <a:pt x="556" y="375"/>
                    </a:lnTo>
                    <a:lnTo>
                      <a:pt x="555" y="375"/>
                    </a:lnTo>
                    <a:lnTo>
                      <a:pt x="554" y="376"/>
                    </a:lnTo>
                    <a:lnTo>
                      <a:pt x="554" y="378"/>
                    </a:lnTo>
                    <a:lnTo>
                      <a:pt x="552" y="380"/>
                    </a:lnTo>
                    <a:lnTo>
                      <a:pt x="551" y="378"/>
                    </a:lnTo>
                    <a:lnTo>
                      <a:pt x="548" y="379"/>
                    </a:lnTo>
                    <a:lnTo>
                      <a:pt x="548" y="380"/>
                    </a:lnTo>
                    <a:lnTo>
                      <a:pt x="548" y="382"/>
                    </a:lnTo>
                    <a:lnTo>
                      <a:pt x="546" y="383"/>
                    </a:lnTo>
                    <a:lnTo>
                      <a:pt x="544" y="383"/>
                    </a:lnTo>
                    <a:lnTo>
                      <a:pt x="544" y="384"/>
                    </a:lnTo>
                    <a:lnTo>
                      <a:pt x="543" y="382"/>
                    </a:lnTo>
                    <a:lnTo>
                      <a:pt x="541" y="380"/>
                    </a:lnTo>
                    <a:lnTo>
                      <a:pt x="540" y="381"/>
                    </a:lnTo>
                    <a:lnTo>
                      <a:pt x="535" y="385"/>
                    </a:lnTo>
                    <a:lnTo>
                      <a:pt x="535" y="386"/>
                    </a:lnTo>
                    <a:lnTo>
                      <a:pt x="533" y="386"/>
                    </a:lnTo>
                    <a:lnTo>
                      <a:pt x="532" y="388"/>
                    </a:lnTo>
                    <a:lnTo>
                      <a:pt x="530" y="390"/>
                    </a:lnTo>
                    <a:lnTo>
                      <a:pt x="530" y="392"/>
                    </a:lnTo>
                    <a:lnTo>
                      <a:pt x="531" y="394"/>
                    </a:lnTo>
                    <a:lnTo>
                      <a:pt x="533" y="394"/>
                    </a:lnTo>
                    <a:lnTo>
                      <a:pt x="534" y="394"/>
                    </a:lnTo>
                    <a:lnTo>
                      <a:pt x="533" y="395"/>
                    </a:lnTo>
                    <a:lnTo>
                      <a:pt x="535" y="397"/>
                    </a:lnTo>
                    <a:lnTo>
                      <a:pt x="534" y="399"/>
                    </a:lnTo>
                    <a:lnTo>
                      <a:pt x="536" y="400"/>
                    </a:lnTo>
                    <a:lnTo>
                      <a:pt x="535" y="401"/>
                    </a:lnTo>
                    <a:lnTo>
                      <a:pt x="535" y="402"/>
                    </a:lnTo>
                    <a:lnTo>
                      <a:pt x="533" y="403"/>
                    </a:lnTo>
                    <a:lnTo>
                      <a:pt x="532" y="403"/>
                    </a:lnTo>
                    <a:lnTo>
                      <a:pt x="531" y="405"/>
                    </a:lnTo>
                    <a:lnTo>
                      <a:pt x="530" y="404"/>
                    </a:lnTo>
                    <a:lnTo>
                      <a:pt x="529" y="404"/>
                    </a:lnTo>
                    <a:lnTo>
                      <a:pt x="528" y="403"/>
                    </a:lnTo>
                    <a:lnTo>
                      <a:pt x="527" y="404"/>
                    </a:lnTo>
                    <a:lnTo>
                      <a:pt x="524" y="401"/>
                    </a:lnTo>
                    <a:lnTo>
                      <a:pt x="524" y="403"/>
                    </a:lnTo>
                    <a:lnTo>
                      <a:pt x="523" y="403"/>
                    </a:lnTo>
                    <a:lnTo>
                      <a:pt x="522" y="402"/>
                    </a:lnTo>
                    <a:lnTo>
                      <a:pt x="522" y="399"/>
                    </a:lnTo>
                    <a:lnTo>
                      <a:pt x="521" y="400"/>
                    </a:lnTo>
                    <a:lnTo>
                      <a:pt x="520" y="399"/>
                    </a:lnTo>
                    <a:lnTo>
                      <a:pt x="519" y="402"/>
                    </a:lnTo>
                    <a:lnTo>
                      <a:pt x="517" y="404"/>
                    </a:lnTo>
                    <a:lnTo>
                      <a:pt x="516" y="407"/>
                    </a:lnTo>
                    <a:lnTo>
                      <a:pt x="517" y="407"/>
                    </a:lnTo>
                    <a:lnTo>
                      <a:pt x="515" y="408"/>
                    </a:lnTo>
                    <a:lnTo>
                      <a:pt x="515" y="411"/>
                    </a:lnTo>
                    <a:lnTo>
                      <a:pt x="515" y="409"/>
                    </a:lnTo>
                    <a:lnTo>
                      <a:pt x="513" y="408"/>
                    </a:lnTo>
                    <a:lnTo>
                      <a:pt x="510" y="412"/>
                    </a:lnTo>
                    <a:lnTo>
                      <a:pt x="507" y="409"/>
                    </a:lnTo>
                    <a:lnTo>
                      <a:pt x="504" y="411"/>
                    </a:lnTo>
                    <a:lnTo>
                      <a:pt x="501" y="413"/>
                    </a:lnTo>
                    <a:lnTo>
                      <a:pt x="500" y="412"/>
                    </a:lnTo>
                    <a:lnTo>
                      <a:pt x="499" y="413"/>
                    </a:lnTo>
                    <a:lnTo>
                      <a:pt x="498" y="412"/>
                    </a:lnTo>
                    <a:lnTo>
                      <a:pt x="496" y="412"/>
                    </a:lnTo>
                    <a:lnTo>
                      <a:pt x="496" y="411"/>
                    </a:lnTo>
                    <a:lnTo>
                      <a:pt x="496" y="413"/>
                    </a:lnTo>
                    <a:lnTo>
                      <a:pt x="496" y="412"/>
                    </a:lnTo>
                    <a:lnTo>
                      <a:pt x="495" y="412"/>
                    </a:lnTo>
                    <a:lnTo>
                      <a:pt x="492" y="412"/>
                    </a:lnTo>
                    <a:lnTo>
                      <a:pt x="492" y="415"/>
                    </a:lnTo>
                    <a:lnTo>
                      <a:pt x="491" y="414"/>
                    </a:lnTo>
                    <a:lnTo>
                      <a:pt x="490" y="414"/>
                    </a:lnTo>
                    <a:lnTo>
                      <a:pt x="491" y="416"/>
                    </a:lnTo>
                    <a:lnTo>
                      <a:pt x="487" y="417"/>
                    </a:lnTo>
                    <a:lnTo>
                      <a:pt x="487" y="416"/>
                    </a:lnTo>
                    <a:lnTo>
                      <a:pt x="486" y="418"/>
                    </a:lnTo>
                    <a:lnTo>
                      <a:pt x="486" y="416"/>
                    </a:lnTo>
                    <a:lnTo>
                      <a:pt x="484" y="417"/>
                    </a:lnTo>
                    <a:lnTo>
                      <a:pt x="484" y="416"/>
                    </a:lnTo>
                    <a:lnTo>
                      <a:pt x="482" y="416"/>
                    </a:lnTo>
                    <a:lnTo>
                      <a:pt x="484" y="413"/>
                    </a:lnTo>
                    <a:lnTo>
                      <a:pt x="484" y="412"/>
                    </a:lnTo>
                    <a:lnTo>
                      <a:pt x="483" y="412"/>
                    </a:lnTo>
                    <a:lnTo>
                      <a:pt x="481" y="413"/>
                    </a:lnTo>
                    <a:lnTo>
                      <a:pt x="480" y="412"/>
                    </a:lnTo>
                    <a:lnTo>
                      <a:pt x="479" y="414"/>
                    </a:lnTo>
                    <a:lnTo>
                      <a:pt x="477" y="414"/>
                    </a:lnTo>
                    <a:lnTo>
                      <a:pt x="476" y="414"/>
                    </a:lnTo>
                    <a:lnTo>
                      <a:pt x="475" y="416"/>
                    </a:lnTo>
                    <a:lnTo>
                      <a:pt x="474" y="416"/>
                    </a:lnTo>
                    <a:lnTo>
                      <a:pt x="474" y="418"/>
                    </a:lnTo>
                    <a:lnTo>
                      <a:pt x="475" y="418"/>
                    </a:lnTo>
                    <a:lnTo>
                      <a:pt x="475" y="419"/>
                    </a:lnTo>
                    <a:lnTo>
                      <a:pt x="475" y="420"/>
                    </a:lnTo>
                    <a:lnTo>
                      <a:pt x="472" y="421"/>
                    </a:lnTo>
                    <a:lnTo>
                      <a:pt x="472" y="425"/>
                    </a:lnTo>
                    <a:lnTo>
                      <a:pt x="472" y="428"/>
                    </a:lnTo>
                    <a:lnTo>
                      <a:pt x="467" y="429"/>
                    </a:lnTo>
                    <a:lnTo>
                      <a:pt x="467" y="431"/>
                    </a:lnTo>
                    <a:lnTo>
                      <a:pt x="465" y="434"/>
                    </a:lnTo>
                    <a:lnTo>
                      <a:pt x="464" y="434"/>
                    </a:lnTo>
                    <a:lnTo>
                      <a:pt x="464" y="433"/>
                    </a:lnTo>
                    <a:lnTo>
                      <a:pt x="463" y="433"/>
                    </a:lnTo>
                    <a:lnTo>
                      <a:pt x="462" y="433"/>
                    </a:lnTo>
                    <a:lnTo>
                      <a:pt x="463" y="434"/>
                    </a:lnTo>
                    <a:lnTo>
                      <a:pt x="462" y="434"/>
                    </a:lnTo>
                    <a:lnTo>
                      <a:pt x="462" y="435"/>
                    </a:lnTo>
                    <a:lnTo>
                      <a:pt x="461" y="437"/>
                    </a:lnTo>
                    <a:lnTo>
                      <a:pt x="460" y="438"/>
                    </a:lnTo>
                    <a:lnTo>
                      <a:pt x="460" y="440"/>
                    </a:lnTo>
                    <a:lnTo>
                      <a:pt x="460" y="442"/>
                    </a:lnTo>
                    <a:lnTo>
                      <a:pt x="459" y="446"/>
                    </a:lnTo>
                    <a:lnTo>
                      <a:pt x="460" y="448"/>
                    </a:lnTo>
                    <a:lnTo>
                      <a:pt x="459" y="450"/>
                    </a:lnTo>
                    <a:lnTo>
                      <a:pt x="460" y="451"/>
                    </a:lnTo>
                    <a:lnTo>
                      <a:pt x="460" y="454"/>
                    </a:lnTo>
                    <a:lnTo>
                      <a:pt x="462" y="454"/>
                    </a:lnTo>
                    <a:lnTo>
                      <a:pt x="463" y="452"/>
                    </a:lnTo>
                    <a:lnTo>
                      <a:pt x="466" y="457"/>
                    </a:lnTo>
                    <a:lnTo>
                      <a:pt x="469" y="456"/>
                    </a:lnTo>
                    <a:lnTo>
                      <a:pt x="473" y="457"/>
                    </a:lnTo>
                    <a:lnTo>
                      <a:pt x="473" y="459"/>
                    </a:lnTo>
                    <a:lnTo>
                      <a:pt x="474" y="463"/>
                    </a:lnTo>
                    <a:lnTo>
                      <a:pt x="476" y="468"/>
                    </a:lnTo>
                    <a:lnTo>
                      <a:pt x="476" y="469"/>
                    </a:lnTo>
                    <a:lnTo>
                      <a:pt x="475" y="470"/>
                    </a:lnTo>
                    <a:lnTo>
                      <a:pt x="475" y="471"/>
                    </a:lnTo>
                    <a:lnTo>
                      <a:pt x="476" y="473"/>
                    </a:lnTo>
                    <a:lnTo>
                      <a:pt x="474" y="476"/>
                    </a:lnTo>
                    <a:lnTo>
                      <a:pt x="473" y="475"/>
                    </a:lnTo>
                    <a:lnTo>
                      <a:pt x="473" y="477"/>
                    </a:lnTo>
                    <a:lnTo>
                      <a:pt x="472" y="476"/>
                    </a:lnTo>
                    <a:lnTo>
                      <a:pt x="472" y="477"/>
                    </a:lnTo>
                    <a:lnTo>
                      <a:pt x="471" y="477"/>
                    </a:lnTo>
                    <a:lnTo>
                      <a:pt x="470" y="478"/>
                    </a:lnTo>
                    <a:lnTo>
                      <a:pt x="470" y="480"/>
                    </a:lnTo>
                    <a:lnTo>
                      <a:pt x="467" y="481"/>
                    </a:lnTo>
                    <a:lnTo>
                      <a:pt x="467" y="480"/>
                    </a:lnTo>
                    <a:lnTo>
                      <a:pt x="466" y="480"/>
                    </a:lnTo>
                    <a:lnTo>
                      <a:pt x="464" y="481"/>
                    </a:lnTo>
                    <a:lnTo>
                      <a:pt x="463" y="480"/>
                    </a:lnTo>
                    <a:lnTo>
                      <a:pt x="462" y="481"/>
                    </a:lnTo>
                    <a:lnTo>
                      <a:pt x="462" y="478"/>
                    </a:lnTo>
                    <a:lnTo>
                      <a:pt x="459" y="476"/>
                    </a:lnTo>
                    <a:lnTo>
                      <a:pt x="459" y="478"/>
                    </a:lnTo>
                    <a:lnTo>
                      <a:pt x="457" y="477"/>
                    </a:lnTo>
                    <a:lnTo>
                      <a:pt x="457" y="480"/>
                    </a:lnTo>
                    <a:lnTo>
                      <a:pt x="455" y="481"/>
                    </a:lnTo>
                    <a:lnTo>
                      <a:pt x="454" y="480"/>
                    </a:lnTo>
                    <a:lnTo>
                      <a:pt x="455" y="478"/>
                    </a:lnTo>
                    <a:lnTo>
                      <a:pt x="453" y="478"/>
                    </a:lnTo>
                    <a:lnTo>
                      <a:pt x="453" y="480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2" y="483"/>
                    </a:lnTo>
                    <a:lnTo>
                      <a:pt x="452" y="484"/>
                    </a:lnTo>
                    <a:lnTo>
                      <a:pt x="451" y="485"/>
                    </a:lnTo>
                    <a:lnTo>
                      <a:pt x="451" y="486"/>
                    </a:lnTo>
                    <a:lnTo>
                      <a:pt x="451" y="488"/>
                    </a:lnTo>
                    <a:lnTo>
                      <a:pt x="451" y="489"/>
                    </a:lnTo>
                    <a:lnTo>
                      <a:pt x="447" y="488"/>
                    </a:lnTo>
                    <a:lnTo>
                      <a:pt x="447" y="486"/>
                    </a:lnTo>
                    <a:lnTo>
                      <a:pt x="447" y="484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2" y="483"/>
                    </a:lnTo>
                    <a:lnTo>
                      <a:pt x="441" y="483"/>
                    </a:lnTo>
                    <a:lnTo>
                      <a:pt x="440" y="482"/>
                    </a:lnTo>
                    <a:lnTo>
                      <a:pt x="439" y="481"/>
                    </a:lnTo>
                    <a:lnTo>
                      <a:pt x="439" y="480"/>
                    </a:lnTo>
                    <a:lnTo>
                      <a:pt x="438" y="480"/>
                    </a:lnTo>
                    <a:lnTo>
                      <a:pt x="438" y="478"/>
                    </a:lnTo>
                    <a:lnTo>
                      <a:pt x="439" y="478"/>
                    </a:lnTo>
                    <a:lnTo>
                      <a:pt x="438" y="478"/>
                    </a:lnTo>
                    <a:lnTo>
                      <a:pt x="437" y="479"/>
                    </a:lnTo>
                    <a:lnTo>
                      <a:pt x="436" y="478"/>
                    </a:lnTo>
                    <a:lnTo>
                      <a:pt x="435" y="478"/>
                    </a:lnTo>
                    <a:lnTo>
                      <a:pt x="435" y="482"/>
                    </a:lnTo>
                    <a:lnTo>
                      <a:pt x="433" y="480"/>
                    </a:lnTo>
                    <a:lnTo>
                      <a:pt x="430" y="481"/>
                    </a:lnTo>
                    <a:lnTo>
                      <a:pt x="429" y="481"/>
                    </a:lnTo>
                    <a:lnTo>
                      <a:pt x="429" y="482"/>
                    </a:lnTo>
                    <a:lnTo>
                      <a:pt x="428" y="482"/>
                    </a:lnTo>
                    <a:lnTo>
                      <a:pt x="427" y="481"/>
                    </a:lnTo>
                    <a:lnTo>
                      <a:pt x="426" y="482"/>
                    </a:lnTo>
                    <a:lnTo>
                      <a:pt x="425" y="482"/>
                    </a:lnTo>
                    <a:lnTo>
                      <a:pt x="424" y="482"/>
                    </a:lnTo>
                    <a:lnTo>
                      <a:pt x="421" y="483"/>
                    </a:lnTo>
                    <a:lnTo>
                      <a:pt x="419" y="480"/>
                    </a:lnTo>
                    <a:lnTo>
                      <a:pt x="417" y="480"/>
                    </a:lnTo>
                    <a:lnTo>
                      <a:pt x="416" y="478"/>
                    </a:lnTo>
                    <a:lnTo>
                      <a:pt x="414" y="479"/>
                    </a:lnTo>
                    <a:lnTo>
                      <a:pt x="413" y="480"/>
                    </a:lnTo>
                    <a:lnTo>
                      <a:pt x="412" y="480"/>
                    </a:lnTo>
                    <a:lnTo>
                      <a:pt x="411" y="478"/>
                    </a:lnTo>
                    <a:lnTo>
                      <a:pt x="411" y="479"/>
                    </a:lnTo>
                    <a:lnTo>
                      <a:pt x="409" y="478"/>
                    </a:lnTo>
                    <a:lnTo>
                      <a:pt x="410" y="477"/>
                    </a:lnTo>
                    <a:lnTo>
                      <a:pt x="408" y="475"/>
                    </a:lnTo>
                    <a:lnTo>
                      <a:pt x="403" y="475"/>
                    </a:lnTo>
                    <a:lnTo>
                      <a:pt x="400" y="475"/>
                    </a:lnTo>
                    <a:lnTo>
                      <a:pt x="398" y="479"/>
                    </a:lnTo>
                    <a:lnTo>
                      <a:pt x="399" y="480"/>
                    </a:lnTo>
                    <a:lnTo>
                      <a:pt x="401" y="481"/>
                    </a:lnTo>
                    <a:lnTo>
                      <a:pt x="402" y="484"/>
                    </a:lnTo>
                    <a:lnTo>
                      <a:pt x="402" y="486"/>
                    </a:lnTo>
                    <a:lnTo>
                      <a:pt x="402" y="487"/>
                    </a:lnTo>
                    <a:lnTo>
                      <a:pt x="399" y="488"/>
                    </a:lnTo>
                    <a:lnTo>
                      <a:pt x="395" y="486"/>
                    </a:lnTo>
                    <a:lnTo>
                      <a:pt x="394" y="488"/>
                    </a:lnTo>
                    <a:lnTo>
                      <a:pt x="391" y="486"/>
                    </a:lnTo>
                    <a:lnTo>
                      <a:pt x="389" y="486"/>
                    </a:lnTo>
                    <a:lnTo>
                      <a:pt x="388" y="487"/>
                    </a:lnTo>
                    <a:lnTo>
                      <a:pt x="388" y="489"/>
                    </a:lnTo>
                    <a:lnTo>
                      <a:pt x="387" y="490"/>
                    </a:lnTo>
                    <a:lnTo>
                      <a:pt x="387" y="491"/>
                    </a:lnTo>
                    <a:lnTo>
                      <a:pt x="388" y="492"/>
                    </a:lnTo>
                    <a:lnTo>
                      <a:pt x="389" y="495"/>
                    </a:lnTo>
                    <a:lnTo>
                      <a:pt x="388" y="495"/>
                    </a:lnTo>
                    <a:lnTo>
                      <a:pt x="386" y="495"/>
                    </a:lnTo>
                    <a:lnTo>
                      <a:pt x="386" y="496"/>
                    </a:lnTo>
                    <a:lnTo>
                      <a:pt x="386" y="499"/>
                    </a:lnTo>
                    <a:lnTo>
                      <a:pt x="384" y="499"/>
                    </a:lnTo>
                    <a:lnTo>
                      <a:pt x="383" y="501"/>
                    </a:lnTo>
                    <a:lnTo>
                      <a:pt x="382" y="501"/>
                    </a:lnTo>
                    <a:lnTo>
                      <a:pt x="381" y="499"/>
                    </a:lnTo>
                    <a:lnTo>
                      <a:pt x="379" y="501"/>
                    </a:lnTo>
                    <a:lnTo>
                      <a:pt x="377" y="501"/>
                    </a:lnTo>
                    <a:lnTo>
                      <a:pt x="377" y="498"/>
                    </a:lnTo>
                    <a:lnTo>
                      <a:pt x="374" y="495"/>
                    </a:lnTo>
                    <a:lnTo>
                      <a:pt x="376" y="494"/>
                    </a:lnTo>
                    <a:lnTo>
                      <a:pt x="374" y="493"/>
                    </a:lnTo>
                    <a:lnTo>
                      <a:pt x="373" y="492"/>
                    </a:lnTo>
                    <a:lnTo>
                      <a:pt x="374" y="491"/>
                    </a:lnTo>
                    <a:lnTo>
                      <a:pt x="373" y="490"/>
                    </a:lnTo>
                    <a:lnTo>
                      <a:pt x="373" y="489"/>
                    </a:lnTo>
                    <a:lnTo>
                      <a:pt x="373" y="485"/>
                    </a:lnTo>
                    <a:lnTo>
                      <a:pt x="371" y="486"/>
                    </a:lnTo>
                    <a:lnTo>
                      <a:pt x="372" y="485"/>
                    </a:lnTo>
                    <a:lnTo>
                      <a:pt x="372" y="484"/>
                    </a:lnTo>
                    <a:lnTo>
                      <a:pt x="371" y="484"/>
                    </a:lnTo>
                    <a:lnTo>
                      <a:pt x="372" y="483"/>
                    </a:lnTo>
                    <a:lnTo>
                      <a:pt x="372" y="481"/>
                    </a:lnTo>
                    <a:lnTo>
                      <a:pt x="370" y="480"/>
                    </a:lnTo>
                    <a:lnTo>
                      <a:pt x="371" y="480"/>
                    </a:lnTo>
                    <a:lnTo>
                      <a:pt x="372" y="480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69" y="479"/>
                    </a:lnTo>
                    <a:lnTo>
                      <a:pt x="368" y="479"/>
                    </a:lnTo>
                    <a:lnTo>
                      <a:pt x="367" y="478"/>
                    </a:lnTo>
                    <a:lnTo>
                      <a:pt x="366" y="478"/>
                    </a:lnTo>
                    <a:lnTo>
                      <a:pt x="364" y="482"/>
                    </a:lnTo>
                    <a:lnTo>
                      <a:pt x="365" y="483"/>
                    </a:lnTo>
                    <a:lnTo>
                      <a:pt x="364" y="484"/>
                    </a:lnTo>
                    <a:lnTo>
                      <a:pt x="363" y="483"/>
                    </a:lnTo>
                    <a:lnTo>
                      <a:pt x="363" y="481"/>
                    </a:lnTo>
                    <a:lnTo>
                      <a:pt x="362" y="479"/>
                    </a:lnTo>
                    <a:lnTo>
                      <a:pt x="361" y="479"/>
                    </a:lnTo>
                    <a:lnTo>
                      <a:pt x="359" y="478"/>
                    </a:lnTo>
                    <a:lnTo>
                      <a:pt x="357" y="475"/>
                    </a:lnTo>
                    <a:lnTo>
                      <a:pt x="356" y="470"/>
                    </a:lnTo>
                    <a:lnTo>
                      <a:pt x="355" y="470"/>
                    </a:lnTo>
                    <a:lnTo>
                      <a:pt x="354" y="470"/>
                    </a:lnTo>
                    <a:lnTo>
                      <a:pt x="348" y="468"/>
                    </a:lnTo>
                    <a:lnTo>
                      <a:pt x="347" y="465"/>
                    </a:lnTo>
                    <a:lnTo>
                      <a:pt x="344" y="460"/>
                    </a:lnTo>
                    <a:lnTo>
                      <a:pt x="345" y="459"/>
                    </a:lnTo>
                    <a:lnTo>
                      <a:pt x="344" y="459"/>
                    </a:lnTo>
                    <a:lnTo>
                      <a:pt x="343" y="461"/>
                    </a:lnTo>
                    <a:lnTo>
                      <a:pt x="343" y="464"/>
                    </a:lnTo>
                    <a:lnTo>
                      <a:pt x="340" y="464"/>
                    </a:lnTo>
                    <a:lnTo>
                      <a:pt x="340" y="465"/>
                    </a:lnTo>
                    <a:lnTo>
                      <a:pt x="338" y="465"/>
                    </a:lnTo>
                    <a:lnTo>
                      <a:pt x="338" y="466"/>
                    </a:lnTo>
                    <a:lnTo>
                      <a:pt x="338" y="465"/>
                    </a:lnTo>
                    <a:lnTo>
                      <a:pt x="337" y="467"/>
                    </a:lnTo>
                    <a:lnTo>
                      <a:pt x="337" y="468"/>
                    </a:lnTo>
                    <a:lnTo>
                      <a:pt x="338" y="468"/>
                    </a:lnTo>
                    <a:lnTo>
                      <a:pt x="337" y="471"/>
                    </a:lnTo>
                    <a:lnTo>
                      <a:pt x="333" y="469"/>
                    </a:lnTo>
                    <a:lnTo>
                      <a:pt x="333" y="470"/>
                    </a:lnTo>
                    <a:lnTo>
                      <a:pt x="333" y="471"/>
                    </a:lnTo>
                    <a:lnTo>
                      <a:pt x="332" y="471"/>
                    </a:lnTo>
                    <a:lnTo>
                      <a:pt x="333" y="472"/>
                    </a:lnTo>
                    <a:lnTo>
                      <a:pt x="332" y="472"/>
                    </a:lnTo>
                    <a:lnTo>
                      <a:pt x="333" y="473"/>
                    </a:lnTo>
                    <a:lnTo>
                      <a:pt x="332" y="475"/>
                    </a:lnTo>
                    <a:lnTo>
                      <a:pt x="333" y="476"/>
                    </a:lnTo>
                    <a:lnTo>
                      <a:pt x="332" y="476"/>
                    </a:lnTo>
                    <a:lnTo>
                      <a:pt x="331" y="477"/>
                    </a:lnTo>
                    <a:lnTo>
                      <a:pt x="330" y="477"/>
                    </a:lnTo>
                    <a:lnTo>
                      <a:pt x="330" y="480"/>
                    </a:lnTo>
                    <a:lnTo>
                      <a:pt x="329" y="480"/>
                    </a:lnTo>
                    <a:lnTo>
                      <a:pt x="329" y="481"/>
                    </a:lnTo>
                    <a:lnTo>
                      <a:pt x="329" y="482"/>
                    </a:lnTo>
                    <a:lnTo>
                      <a:pt x="331" y="483"/>
                    </a:lnTo>
                    <a:lnTo>
                      <a:pt x="330" y="486"/>
                    </a:lnTo>
                    <a:lnTo>
                      <a:pt x="330" y="487"/>
                    </a:lnTo>
                    <a:lnTo>
                      <a:pt x="332" y="486"/>
                    </a:lnTo>
                    <a:lnTo>
                      <a:pt x="332" y="488"/>
                    </a:lnTo>
                    <a:lnTo>
                      <a:pt x="331" y="488"/>
                    </a:lnTo>
                    <a:lnTo>
                      <a:pt x="333" y="489"/>
                    </a:lnTo>
                    <a:lnTo>
                      <a:pt x="333" y="490"/>
                    </a:lnTo>
                    <a:lnTo>
                      <a:pt x="331" y="491"/>
                    </a:lnTo>
                    <a:lnTo>
                      <a:pt x="333" y="491"/>
                    </a:lnTo>
                    <a:lnTo>
                      <a:pt x="332" y="492"/>
                    </a:lnTo>
                    <a:lnTo>
                      <a:pt x="330" y="492"/>
                    </a:lnTo>
                    <a:lnTo>
                      <a:pt x="329" y="492"/>
                    </a:lnTo>
                    <a:lnTo>
                      <a:pt x="329" y="493"/>
                    </a:lnTo>
                    <a:lnTo>
                      <a:pt x="325" y="493"/>
                    </a:lnTo>
                    <a:lnTo>
                      <a:pt x="325" y="494"/>
                    </a:lnTo>
                    <a:lnTo>
                      <a:pt x="324" y="494"/>
                    </a:lnTo>
                    <a:lnTo>
                      <a:pt x="324" y="493"/>
                    </a:lnTo>
                    <a:lnTo>
                      <a:pt x="321" y="493"/>
                    </a:lnTo>
                    <a:lnTo>
                      <a:pt x="320" y="492"/>
                    </a:lnTo>
                    <a:lnTo>
                      <a:pt x="320" y="493"/>
                    </a:lnTo>
                    <a:lnTo>
                      <a:pt x="320" y="494"/>
                    </a:lnTo>
                    <a:lnTo>
                      <a:pt x="318" y="494"/>
                    </a:lnTo>
                    <a:lnTo>
                      <a:pt x="317" y="494"/>
                    </a:lnTo>
                    <a:lnTo>
                      <a:pt x="316" y="496"/>
                    </a:lnTo>
                    <a:lnTo>
                      <a:pt x="313" y="499"/>
                    </a:lnTo>
                    <a:lnTo>
                      <a:pt x="312" y="498"/>
                    </a:lnTo>
                    <a:lnTo>
                      <a:pt x="312" y="499"/>
                    </a:lnTo>
                    <a:lnTo>
                      <a:pt x="310" y="499"/>
                    </a:lnTo>
                    <a:lnTo>
                      <a:pt x="308" y="500"/>
                    </a:lnTo>
                    <a:lnTo>
                      <a:pt x="308" y="501"/>
                    </a:lnTo>
                    <a:lnTo>
                      <a:pt x="307" y="501"/>
                    </a:lnTo>
                    <a:lnTo>
                      <a:pt x="308" y="505"/>
                    </a:lnTo>
                    <a:lnTo>
                      <a:pt x="307" y="506"/>
                    </a:lnTo>
                    <a:lnTo>
                      <a:pt x="307" y="509"/>
                    </a:lnTo>
                    <a:lnTo>
                      <a:pt x="306" y="509"/>
                    </a:lnTo>
                    <a:lnTo>
                      <a:pt x="304" y="509"/>
                    </a:lnTo>
                    <a:lnTo>
                      <a:pt x="303" y="507"/>
                    </a:lnTo>
                    <a:lnTo>
                      <a:pt x="304" y="506"/>
                    </a:lnTo>
                    <a:lnTo>
                      <a:pt x="303" y="502"/>
                    </a:lnTo>
                    <a:lnTo>
                      <a:pt x="301" y="501"/>
                    </a:lnTo>
                    <a:lnTo>
                      <a:pt x="296" y="498"/>
                    </a:lnTo>
                    <a:lnTo>
                      <a:pt x="291" y="499"/>
                    </a:lnTo>
                    <a:lnTo>
                      <a:pt x="289" y="499"/>
                    </a:lnTo>
                    <a:lnTo>
                      <a:pt x="289" y="498"/>
                    </a:lnTo>
                    <a:lnTo>
                      <a:pt x="287" y="498"/>
                    </a:lnTo>
                    <a:lnTo>
                      <a:pt x="287" y="496"/>
                    </a:lnTo>
                    <a:lnTo>
                      <a:pt x="288" y="495"/>
                    </a:lnTo>
                    <a:lnTo>
                      <a:pt x="289" y="495"/>
                    </a:lnTo>
                    <a:lnTo>
                      <a:pt x="290" y="493"/>
                    </a:lnTo>
                    <a:lnTo>
                      <a:pt x="291" y="492"/>
                    </a:lnTo>
                    <a:lnTo>
                      <a:pt x="292" y="489"/>
                    </a:lnTo>
                    <a:lnTo>
                      <a:pt x="292" y="488"/>
                    </a:lnTo>
                    <a:lnTo>
                      <a:pt x="291" y="488"/>
                    </a:lnTo>
                    <a:lnTo>
                      <a:pt x="290" y="490"/>
                    </a:lnTo>
                    <a:lnTo>
                      <a:pt x="289" y="491"/>
                    </a:lnTo>
                    <a:lnTo>
                      <a:pt x="287" y="490"/>
                    </a:lnTo>
                    <a:lnTo>
                      <a:pt x="287" y="492"/>
                    </a:lnTo>
                    <a:lnTo>
                      <a:pt x="286" y="492"/>
                    </a:lnTo>
                    <a:lnTo>
                      <a:pt x="286" y="489"/>
                    </a:lnTo>
                    <a:lnTo>
                      <a:pt x="284" y="493"/>
                    </a:lnTo>
                    <a:lnTo>
                      <a:pt x="282" y="492"/>
                    </a:lnTo>
                    <a:lnTo>
                      <a:pt x="283" y="492"/>
                    </a:lnTo>
                    <a:lnTo>
                      <a:pt x="282" y="492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0" y="492"/>
                    </a:lnTo>
                    <a:lnTo>
                      <a:pt x="280" y="491"/>
                    </a:lnTo>
                    <a:lnTo>
                      <a:pt x="278" y="490"/>
                    </a:lnTo>
                    <a:lnTo>
                      <a:pt x="277" y="489"/>
                    </a:lnTo>
                    <a:lnTo>
                      <a:pt x="276" y="489"/>
                    </a:lnTo>
                    <a:lnTo>
                      <a:pt x="275" y="491"/>
                    </a:lnTo>
                    <a:lnTo>
                      <a:pt x="274" y="489"/>
                    </a:lnTo>
                    <a:lnTo>
                      <a:pt x="273" y="489"/>
                    </a:lnTo>
                    <a:lnTo>
                      <a:pt x="273" y="488"/>
                    </a:lnTo>
                    <a:lnTo>
                      <a:pt x="272" y="489"/>
                    </a:lnTo>
                    <a:lnTo>
                      <a:pt x="272" y="488"/>
                    </a:lnTo>
                    <a:lnTo>
                      <a:pt x="270" y="488"/>
                    </a:lnTo>
                    <a:lnTo>
                      <a:pt x="272" y="485"/>
                    </a:lnTo>
                    <a:lnTo>
                      <a:pt x="271" y="484"/>
                    </a:lnTo>
                    <a:lnTo>
                      <a:pt x="269" y="484"/>
                    </a:lnTo>
                    <a:lnTo>
                      <a:pt x="268" y="486"/>
                    </a:lnTo>
                    <a:lnTo>
                      <a:pt x="266" y="485"/>
                    </a:lnTo>
                    <a:lnTo>
                      <a:pt x="263" y="482"/>
                    </a:lnTo>
                    <a:lnTo>
                      <a:pt x="261" y="482"/>
                    </a:lnTo>
                    <a:lnTo>
                      <a:pt x="261" y="483"/>
                    </a:lnTo>
                    <a:lnTo>
                      <a:pt x="260" y="486"/>
                    </a:lnTo>
                    <a:lnTo>
                      <a:pt x="258" y="486"/>
                    </a:lnTo>
                    <a:lnTo>
                      <a:pt x="258" y="488"/>
                    </a:lnTo>
                    <a:lnTo>
                      <a:pt x="260" y="488"/>
                    </a:lnTo>
                    <a:lnTo>
                      <a:pt x="259" y="488"/>
                    </a:lnTo>
                    <a:lnTo>
                      <a:pt x="258" y="488"/>
                    </a:lnTo>
                    <a:lnTo>
                      <a:pt x="257" y="486"/>
                    </a:lnTo>
                    <a:lnTo>
                      <a:pt x="256" y="488"/>
                    </a:lnTo>
                    <a:lnTo>
                      <a:pt x="255" y="486"/>
                    </a:lnTo>
                    <a:lnTo>
                      <a:pt x="255" y="485"/>
                    </a:lnTo>
                    <a:lnTo>
                      <a:pt x="254" y="483"/>
                    </a:lnTo>
                    <a:lnTo>
                      <a:pt x="252" y="483"/>
                    </a:lnTo>
                    <a:lnTo>
                      <a:pt x="252" y="480"/>
                    </a:lnTo>
                    <a:lnTo>
                      <a:pt x="250" y="480"/>
                    </a:lnTo>
                    <a:lnTo>
                      <a:pt x="249" y="481"/>
                    </a:lnTo>
                    <a:lnTo>
                      <a:pt x="248" y="481"/>
                    </a:lnTo>
                    <a:lnTo>
                      <a:pt x="245" y="475"/>
                    </a:lnTo>
                    <a:lnTo>
                      <a:pt x="244" y="475"/>
                    </a:lnTo>
                    <a:lnTo>
                      <a:pt x="243" y="473"/>
                    </a:lnTo>
                    <a:lnTo>
                      <a:pt x="243" y="476"/>
                    </a:lnTo>
                    <a:lnTo>
                      <a:pt x="242" y="475"/>
                    </a:lnTo>
                    <a:lnTo>
                      <a:pt x="241" y="475"/>
                    </a:lnTo>
                    <a:lnTo>
                      <a:pt x="242" y="475"/>
                    </a:lnTo>
                    <a:lnTo>
                      <a:pt x="243" y="479"/>
                    </a:lnTo>
                    <a:lnTo>
                      <a:pt x="242" y="480"/>
                    </a:lnTo>
                    <a:lnTo>
                      <a:pt x="243" y="480"/>
                    </a:lnTo>
                    <a:lnTo>
                      <a:pt x="242" y="482"/>
                    </a:lnTo>
                    <a:lnTo>
                      <a:pt x="242" y="483"/>
                    </a:lnTo>
                    <a:lnTo>
                      <a:pt x="244" y="483"/>
                    </a:lnTo>
                    <a:lnTo>
                      <a:pt x="243" y="484"/>
                    </a:lnTo>
                    <a:lnTo>
                      <a:pt x="242" y="483"/>
                    </a:lnTo>
                    <a:lnTo>
                      <a:pt x="242" y="484"/>
                    </a:lnTo>
                    <a:lnTo>
                      <a:pt x="241" y="481"/>
                    </a:lnTo>
                    <a:lnTo>
                      <a:pt x="240" y="481"/>
                    </a:lnTo>
                    <a:lnTo>
                      <a:pt x="239" y="480"/>
                    </a:lnTo>
                    <a:lnTo>
                      <a:pt x="237" y="480"/>
                    </a:lnTo>
                    <a:lnTo>
                      <a:pt x="236" y="481"/>
                    </a:lnTo>
                    <a:lnTo>
                      <a:pt x="235" y="480"/>
                    </a:lnTo>
                    <a:lnTo>
                      <a:pt x="235" y="481"/>
                    </a:lnTo>
                    <a:lnTo>
                      <a:pt x="234" y="481"/>
                    </a:lnTo>
                    <a:lnTo>
                      <a:pt x="235" y="482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3" y="484"/>
                    </a:lnTo>
                    <a:lnTo>
                      <a:pt x="232" y="482"/>
                    </a:lnTo>
                    <a:lnTo>
                      <a:pt x="232" y="483"/>
                    </a:lnTo>
                    <a:lnTo>
                      <a:pt x="231" y="486"/>
                    </a:lnTo>
                    <a:lnTo>
                      <a:pt x="230" y="486"/>
                    </a:lnTo>
                    <a:lnTo>
                      <a:pt x="231" y="484"/>
                    </a:lnTo>
                    <a:lnTo>
                      <a:pt x="229" y="484"/>
                    </a:lnTo>
                    <a:lnTo>
                      <a:pt x="228" y="485"/>
                    </a:lnTo>
                    <a:lnTo>
                      <a:pt x="227" y="487"/>
                    </a:lnTo>
                    <a:lnTo>
                      <a:pt x="227" y="485"/>
                    </a:lnTo>
                    <a:lnTo>
                      <a:pt x="226" y="485"/>
                    </a:lnTo>
                    <a:lnTo>
                      <a:pt x="226" y="484"/>
                    </a:lnTo>
                    <a:lnTo>
                      <a:pt x="224" y="483"/>
                    </a:lnTo>
                    <a:lnTo>
                      <a:pt x="221" y="485"/>
                    </a:lnTo>
                    <a:lnTo>
                      <a:pt x="220" y="484"/>
                    </a:lnTo>
                    <a:lnTo>
                      <a:pt x="219" y="484"/>
                    </a:lnTo>
                    <a:lnTo>
                      <a:pt x="221" y="484"/>
                    </a:lnTo>
                    <a:lnTo>
                      <a:pt x="221" y="483"/>
                    </a:lnTo>
                    <a:lnTo>
                      <a:pt x="221" y="481"/>
                    </a:lnTo>
                    <a:lnTo>
                      <a:pt x="222" y="480"/>
                    </a:lnTo>
                    <a:lnTo>
                      <a:pt x="222" y="478"/>
                    </a:lnTo>
                    <a:lnTo>
                      <a:pt x="221" y="478"/>
                    </a:lnTo>
                    <a:lnTo>
                      <a:pt x="220" y="478"/>
                    </a:lnTo>
                    <a:lnTo>
                      <a:pt x="219" y="477"/>
                    </a:lnTo>
                    <a:lnTo>
                      <a:pt x="219" y="475"/>
                    </a:lnTo>
                    <a:lnTo>
                      <a:pt x="218" y="476"/>
                    </a:lnTo>
                    <a:lnTo>
                      <a:pt x="216" y="473"/>
                    </a:lnTo>
                    <a:lnTo>
                      <a:pt x="213" y="475"/>
                    </a:lnTo>
                    <a:lnTo>
                      <a:pt x="212" y="473"/>
                    </a:lnTo>
                    <a:lnTo>
                      <a:pt x="212" y="474"/>
                    </a:lnTo>
                    <a:lnTo>
                      <a:pt x="212" y="473"/>
                    </a:lnTo>
                    <a:lnTo>
                      <a:pt x="211" y="472"/>
                    </a:lnTo>
                    <a:lnTo>
                      <a:pt x="212" y="469"/>
                    </a:lnTo>
                    <a:lnTo>
                      <a:pt x="211" y="467"/>
                    </a:lnTo>
                    <a:lnTo>
                      <a:pt x="208" y="466"/>
                    </a:lnTo>
                    <a:lnTo>
                      <a:pt x="208" y="465"/>
                    </a:lnTo>
                    <a:lnTo>
                      <a:pt x="206" y="465"/>
                    </a:lnTo>
                    <a:lnTo>
                      <a:pt x="206" y="463"/>
                    </a:lnTo>
                    <a:lnTo>
                      <a:pt x="203" y="465"/>
                    </a:lnTo>
                    <a:lnTo>
                      <a:pt x="202" y="465"/>
                    </a:lnTo>
                    <a:lnTo>
                      <a:pt x="198" y="465"/>
                    </a:lnTo>
                    <a:lnTo>
                      <a:pt x="197" y="463"/>
                    </a:lnTo>
                    <a:lnTo>
                      <a:pt x="196" y="465"/>
                    </a:lnTo>
                    <a:lnTo>
                      <a:pt x="195" y="465"/>
                    </a:lnTo>
                    <a:lnTo>
                      <a:pt x="194" y="465"/>
                    </a:lnTo>
                    <a:lnTo>
                      <a:pt x="194" y="467"/>
                    </a:lnTo>
                    <a:lnTo>
                      <a:pt x="194" y="470"/>
                    </a:lnTo>
                    <a:lnTo>
                      <a:pt x="192" y="471"/>
                    </a:lnTo>
                    <a:lnTo>
                      <a:pt x="192" y="472"/>
                    </a:lnTo>
                    <a:lnTo>
                      <a:pt x="190" y="473"/>
                    </a:lnTo>
                    <a:lnTo>
                      <a:pt x="189" y="473"/>
                    </a:lnTo>
                    <a:lnTo>
                      <a:pt x="189" y="475"/>
                    </a:lnTo>
                    <a:lnTo>
                      <a:pt x="190" y="474"/>
                    </a:lnTo>
                    <a:lnTo>
                      <a:pt x="188" y="476"/>
                    </a:lnTo>
                    <a:lnTo>
                      <a:pt x="188" y="478"/>
                    </a:lnTo>
                    <a:lnTo>
                      <a:pt x="186" y="477"/>
                    </a:lnTo>
                    <a:lnTo>
                      <a:pt x="186" y="476"/>
                    </a:lnTo>
                    <a:lnTo>
                      <a:pt x="187" y="475"/>
                    </a:lnTo>
                    <a:lnTo>
                      <a:pt x="184" y="475"/>
                    </a:lnTo>
                    <a:lnTo>
                      <a:pt x="181" y="475"/>
                    </a:lnTo>
                    <a:lnTo>
                      <a:pt x="180" y="476"/>
                    </a:lnTo>
                    <a:lnTo>
                      <a:pt x="178" y="475"/>
                    </a:lnTo>
                    <a:lnTo>
                      <a:pt x="177" y="475"/>
                    </a:lnTo>
                    <a:lnTo>
                      <a:pt x="174" y="475"/>
                    </a:lnTo>
                    <a:lnTo>
                      <a:pt x="173" y="475"/>
                    </a:lnTo>
                    <a:lnTo>
                      <a:pt x="172" y="476"/>
                    </a:lnTo>
                    <a:lnTo>
                      <a:pt x="170" y="473"/>
                    </a:lnTo>
                    <a:lnTo>
                      <a:pt x="168" y="473"/>
                    </a:lnTo>
                    <a:lnTo>
                      <a:pt x="165" y="472"/>
                    </a:lnTo>
                    <a:lnTo>
                      <a:pt x="165" y="476"/>
                    </a:lnTo>
                    <a:lnTo>
                      <a:pt x="163" y="475"/>
                    </a:lnTo>
                    <a:lnTo>
                      <a:pt x="161" y="475"/>
                    </a:lnTo>
                    <a:lnTo>
                      <a:pt x="161" y="473"/>
                    </a:lnTo>
                    <a:lnTo>
                      <a:pt x="161" y="472"/>
                    </a:lnTo>
                    <a:lnTo>
                      <a:pt x="161" y="471"/>
                    </a:lnTo>
                    <a:lnTo>
                      <a:pt x="159" y="471"/>
                    </a:lnTo>
                    <a:lnTo>
                      <a:pt x="159" y="473"/>
                    </a:lnTo>
                    <a:lnTo>
                      <a:pt x="158" y="475"/>
                    </a:lnTo>
                    <a:lnTo>
                      <a:pt x="156" y="474"/>
                    </a:lnTo>
                    <a:lnTo>
                      <a:pt x="155" y="475"/>
                    </a:lnTo>
                    <a:lnTo>
                      <a:pt x="155" y="473"/>
                    </a:lnTo>
                    <a:lnTo>
                      <a:pt x="152" y="473"/>
                    </a:lnTo>
                    <a:lnTo>
                      <a:pt x="152" y="472"/>
                    </a:lnTo>
                    <a:lnTo>
                      <a:pt x="151" y="473"/>
                    </a:lnTo>
                    <a:lnTo>
                      <a:pt x="150" y="472"/>
                    </a:lnTo>
                    <a:lnTo>
                      <a:pt x="149" y="469"/>
                    </a:lnTo>
                    <a:lnTo>
                      <a:pt x="150" y="468"/>
                    </a:lnTo>
                    <a:lnTo>
                      <a:pt x="150" y="467"/>
                    </a:lnTo>
                    <a:lnTo>
                      <a:pt x="150" y="464"/>
                    </a:lnTo>
                    <a:lnTo>
                      <a:pt x="150" y="463"/>
                    </a:lnTo>
                    <a:lnTo>
                      <a:pt x="151" y="462"/>
                    </a:lnTo>
                    <a:lnTo>
                      <a:pt x="151" y="461"/>
                    </a:lnTo>
                    <a:lnTo>
                      <a:pt x="153" y="461"/>
                    </a:lnTo>
                    <a:lnTo>
                      <a:pt x="151" y="460"/>
                    </a:lnTo>
                    <a:lnTo>
                      <a:pt x="149" y="458"/>
                    </a:lnTo>
                    <a:lnTo>
                      <a:pt x="145" y="458"/>
                    </a:lnTo>
                    <a:lnTo>
                      <a:pt x="144" y="45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4" name="Freeform 130">
                <a:extLst>
                  <a:ext uri="{FF2B5EF4-FFF2-40B4-BE49-F238E27FC236}">
                    <a16:creationId xmlns:a16="http://schemas.microsoft.com/office/drawing/2014/main" id="{D69B7916-68FB-455C-8015-7545FCD81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1" y="2910"/>
                <a:ext cx="569" cy="509"/>
              </a:xfrm>
              <a:custGeom>
                <a:avLst/>
                <a:gdLst>
                  <a:gd name="T0" fmla="*/ 128 w 569"/>
                  <a:gd name="T1" fmla="*/ 470 h 509"/>
                  <a:gd name="T2" fmla="*/ 100 w 569"/>
                  <a:gd name="T3" fmla="*/ 473 h 509"/>
                  <a:gd name="T4" fmla="*/ 79 w 569"/>
                  <a:gd name="T5" fmla="*/ 467 h 509"/>
                  <a:gd name="T6" fmla="*/ 69 w 569"/>
                  <a:gd name="T7" fmla="*/ 420 h 509"/>
                  <a:gd name="T8" fmla="*/ 60 w 569"/>
                  <a:gd name="T9" fmla="*/ 397 h 509"/>
                  <a:gd name="T10" fmla="*/ 56 w 569"/>
                  <a:gd name="T11" fmla="*/ 386 h 509"/>
                  <a:gd name="T12" fmla="*/ 81 w 569"/>
                  <a:gd name="T13" fmla="*/ 368 h 509"/>
                  <a:gd name="T14" fmla="*/ 91 w 569"/>
                  <a:gd name="T15" fmla="*/ 338 h 509"/>
                  <a:gd name="T16" fmla="*/ 106 w 569"/>
                  <a:gd name="T17" fmla="*/ 306 h 509"/>
                  <a:gd name="T18" fmla="*/ 89 w 569"/>
                  <a:gd name="T19" fmla="*/ 267 h 509"/>
                  <a:gd name="T20" fmla="*/ 60 w 569"/>
                  <a:gd name="T21" fmla="*/ 236 h 509"/>
                  <a:gd name="T22" fmla="*/ 33 w 569"/>
                  <a:gd name="T23" fmla="*/ 210 h 509"/>
                  <a:gd name="T24" fmla="*/ 6 w 569"/>
                  <a:gd name="T25" fmla="*/ 198 h 509"/>
                  <a:gd name="T26" fmla="*/ 25 w 569"/>
                  <a:gd name="T27" fmla="*/ 175 h 509"/>
                  <a:gd name="T28" fmla="*/ 41 w 569"/>
                  <a:gd name="T29" fmla="*/ 146 h 509"/>
                  <a:gd name="T30" fmla="*/ 85 w 569"/>
                  <a:gd name="T31" fmla="*/ 126 h 509"/>
                  <a:gd name="T32" fmla="*/ 128 w 569"/>
                  <a:gd name="T33" fmla="*/ 122 h 509"/>
                  <a:gd name="T34" fmla="*/ 164 w 569"/>
                  <a:gd name="T35" fmla="*/ 107 h 509"/>
                  <a:gd name="T36" fmla="*/ 188 w 569"/>
                  <a:gd name="T37" fmla="*/ 92 h 509"/>
                  <a:gd name="T38" fmla="*/ 237 w 569"/>
                  <a:gd name="T39" fmla="*/ 103 h 509"/>
                  <a:gd name="T40" fmla="*/ 273 w 569"/>
                  <a:gd name="T41" fmla="*/ 101 h 509"/>
                  <a:gd name="T42" fmla="*/ 282 w 569"/>
                  <a:gd name="T43" fmla="*/ 78 h 509"/>
                  <a:gd name="T44" fmla="*/ 295 w 569"/>
                  <a:gd name="T45" fmla="*/ 68 h 509"/>
                  <a:gd name="T46" fmla="*/ 321 w 569"/>
                  <a:gd name="T47" fmla="*/ 39 h 509"/>
                  <a:gd name="T48" fmla="*/ 343 w 569"/>
                  <a:gd name="T49" fmla="*/ 44 h 509"/>
                  <a:gd name="T50" fmla="*/ 368 w 569"/>
                  <a:gd name="T51" fmla="*/ 52 h 509"/>
                  <a:gd name="T52" fmla="*/ 423 w 569"/>
                  <a:gd name="T53" fmla="*/ 18 h 509"/>
                  <a:gd name="T54" fmla="*/ 446 w 569"/>
                  <a:gd name="T55" fmla="*/ 7 h 509"/>
                  <a:gd name="T56" fmla="*/ 468 w 569"/>
                  <a:gd name="T57" fmla="*/ 20 h 509"/>
                  <a:gd name="T58" fmla="*/ 488 w 569"/>
                  <a:gd name="T59" fmla="*/ 49 h 509"/>
                  <a:gd name="T60" fmla="*/ 491 w 569"/>
                  <a:gd name="T61" fmla="*/ 77 h 509"/>
                  <a:gd name="T62" fmla="*/ 489 w 569"/>
                  <a:gd name="T63" fmla="*/ 109 h 509"/>
                  <a:gd name="T64" fmla="*/ 483 w 569"/>
                  <a:gd name="T65" fmla="*/ 137 h 509"/>
                  <a:gd name="T66" fmla="*/ 499 w 569"/>
                  <a:gd name="T67" fmla="*/ 161 h 509"/>
                  <a:gd name="T68" fmla="*/ 528 w 569"/>
                  <a:gd name="T69" fmla="*/ 171 h 509"/>
                  <a:gd name="T70" fmla="*/ 541 w 569"/>
                  <a:gd name="T71" fmla="*/ 189 h 509"/>
                  <a:gd name="T72" fmla="*/ 539 w 569"/>
                  <a:gd name="T73" fmla="*/ 225 h 509"/>
                  <a:gd name="T74" fmla="*/ 552 w 569"/>
                  <a:gd name="T75" fmla="*/ 249 h 509"/>
                  <a:gd name="T76" fmla="*/ 542 w 569"/>
                  <a:gd name="T77" fmla="*/ 279 h 509"/>
                  <a:gd name="T78" fmla="*/ 530 w 569"/>
                  <a:gd name="T79" fmla="*/ 288 h 509"/>
                  <a:gd name="T80" fmla="*/ 548 w 569"/>
                  <a:gd name="T81" fmla="*/ 306 h 509"/>
                  <a:gd name="T82" fmla="*/ 567 w 569"/>
                  <a:gd name="T83" fmla="*/ 330 h 509"/>
                  <a:gd name="T84" fmla="*/ 557 w 569"/>
                  <a:gd name="T85" fmla="*/ 360 h 509"/>
                  <a:gd name="T86" fmla="*/ 544 w 569"/>
                  <a:gd name="T87" fmla="*/ 384 h 509"/>
                  <a:gd name="T88" fmla="*/ 524 w 569"/>
                  <a:gd name="T89" fmla="*/ 401 h 509"/>
                  <a:gd name="T90" fmla="*/ 495 w 569"/>
                  <a:gd name="T91" fmla="*/ 412 h 509"/>
                  <a:gd name="T92" fmla="*/ 475 w 569"/>
                  <a:gd name="T93" fmla="*/ 420 h 509"/>
                  <a:gd name="T94" fmla="*/ 469 w 569"/>
                  <a:gd name="T95" fmla="*/ 456 h 509"/>
                  <a:gd name="T96" fmla="*/ 457 w 569"/>
                  <a:gd name="T97" fmla="*/ 480 h 509"/>
                  <a:gd name="T98" fmla="*/ 438 w 569"/>
                  <a:gd name="T99" fmla="*/ 480 h 509"/>
                  <a:gd name="T100" fmla="*/ 411 w 569"/>
                  <a:gd name="T101" fmla="*/ 478 h 509"/>
                  <a:gd name="T102" fmla="*/ 386 w 569"/>
                  <a:gd name="T103" fmla="*/ 495 h 509"/>
                  <a:gd name="T104" fmla="*/ 372 w 569"/>
                  <a:gd name="T105" fmla="*/ 480 h 509"/>
                  <a:gd name="T106" fmla="*/ 340 w 569"/>
                  <a:gd name="T107" fmla="*/ 465 h 509"/>
                  <a:gd name="T108" fmla="*/ 330 w 569"/>
                  <a:gd name="T109" fmla="*/ 486 h 509"/>
                  <a:gd name="T110" fmla="*/ 312 w 569"/>
                  <a:gd name="T111" fmla="*/ 499 h 509"/>
                  <a:gd name="T112" fmla="*/ 291 w 569"/>
                  <a:gd name="T113" fmla="*/ 488 h 509"/>
                  <a:gd name="T114" fmla="*/ 269 w 569"/>
                  <a:gd name="T115" fmla="*/ 484 h 509"/>
                  <a:gd name="T116" fmla="*/ 243 w 569"/>
                  <a:gd name="T117" fmla="*/ 476 h 509"/>
                  <a:gd name="T118" fmla="*/ 233 w 569"/>
                  <a:gd name="T119" fmla="*/ 484 h 509"/>
                  <a:gd name="T120" fmla="*/ 216 w 569"/>
                  <a:gd name="T121" fmla="*/ 473 h 509"/>
                  <a:gd name="T122" fmla="*/ 190 w 569"/>
                  <a:gd name="T123" fmla="*/ 474 h 509"/>
                  <a:gd name="T124" fmla="*/ 158 w 569"/>
                  <a:gd name="T125" fmla="*/ 475 h 50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69"/>
                  <a:gd name="T190" fmla="*/ 0 h 509"/>
                  <a:gd name="T191" fmla="*/ 569 w 569"/>
                  <a:gd name="T192" fmla="*/ 509 h 50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69" h="509">
                    <a:moveTo>
                      <a:pt x="144" y="458"/>
                    </a:moveTo>
                    <a:lnTo>
                      <a:pt x="142" y="460"/>
                    </a:lnTo>
                    <a:lnTo>
                      <a:pt x="142" y="459"/>
                    </a:lnTo>
                    <a:lnTo>
                      <a:pt x="139" y="461"/>
                    </a:lnTo>
                    <a:lnTo>
                      <a:pt x="138" y="461"/>
                    </a:lnTo>
                    <a:lnTo>
                      <a:pt x="136" y="460"/>
                    </a:lnTo>
                    <a:lnTo>
                      <a:pt x="135" y="463"/>
                    </a:lnTo>
                    <a:lnTo>
                      <a:pt x="136" y="465"/>
                    </a:lnTo>
                    <a:lnTo>
                      <a:pt x="135" y="467"/>
                    </a:lnTo>
                    <a:lnTo>
                      <a:pt x="135" y="465"/>
                    </a:lnTo>
                    <a:lnTo>
                      <a:pt x="134" y="468"/>
                    </a:lnTo>
                    <a:lnTo>
                      <a:pt x="134" y="469"/>
                    </a:lnTo>
                    <a:lnTo>
                      <a:pt x="134" y="470"/>
                    </a:lnTo>
                    <a:lnTo>
                      <a:pt x="133" y="470"/>
                    </a:lnTo>
                    <a:lnTo>
                      <a:pt x="133" y="471"/>
                    </a:lnTo>
                    <a:lnTo>
                      <a:pt x="132" y="469"/>
                    </a:lnTo>
                    <a:lnTo>
                      <a:pt x="131" y="469"/>
                    </a:lnTo>
                    <a:lnTo>
                      <a:pt x="131" y="471"/>
                    </a:lnTo>
                    <a:lnTo>
                      <a:pt x="132" y="473"/>
                    </a:lnTo>
                    <a:lnTo>
                      <a:pt x="131" y="473"/>
                    </a:lnTo>
                    <a:lnTo>
                      <a:pt x="131" y="475"/>
                    </a:lnTo>
                    <a:lnTo>
                      <a:pt x="130" y="475"/>
                    </a:lnTo>
                    <a:lnTo>
                      <a:pt x="130" y="472"/>
                    </a:lnTo>
                    <a:lnTo>
                      <a:pt x="128" y="472"/>
                    </a:lnTo>
                    <a:lnTo>
                      <a:pt x="128" y="470"/>
                    </a:lnTo>
                    <a:lnTo>
                      <a:pt x="126" y="472"/>
                    </a:lnTo>
                    <a:lnTo>
                      <a:pt x="126" y="473"/>
                    </a:lnTo>
                    <a:lnTo>
                      <a:pt x="125" y="475"/>
                    </a:lnTo>
                    <a:lnTo>
                      <a:pt x="125" y="476"/>
                    </a:lnTo>
                    <a:lnTo>
                      <a:pt x="125" y="477"/>
                    </a:lnTo>
                    <a:lnTo>
                      <a:pt x="121" y="476"/>
                    </a:lnTo>
                    <a:lnTo>
                      <a:pt x="118" y="475"/>
                    </a:lnTo>
                    <a:lnTo>
                      <a:pt x="118" y="473"/>
                    </a:lnTo>
                    <a:lnTo>
                      <a:pt x="117" y="472"/>
                    </a:lnTo>
                    <a:lnTo>
                      <a:pt x="114" y="475"/>
                    </a:lnTo>
                    <a:lnTo>
                      <a:pt x="114" y="478"/>
                    </a:lnTo>
                    <a:lnTo>
                      <a:pt x="113" y="478"/>
                    </a:lnTo>
                    <a:lnTo>
                      <a:pt x="111" y="480"/>
                    </a:lnTo>
                    <a:lnTo>
                      <a:pt x="111" y="478"/>
                    </a:lnTo>
                    <a:lnTo>
                      <a:pt x="107" y="479"/>
                    </a:lnTo>
                    <a:lnTo>
                      <a:pt x="107" y="478"/>
                    </a:lnTo>
                    <a:lnTo>
                      <a:pt x="105" y="478"/>
                    </a:lnTo>
                    <a:lnTo>
                      <a:pt x="105" y="476"/>
                    </a:lnTo>
                    <a:lnTo>
                      <a:pt x="104" y="475"/>
                    </a:lnTo>
                    <a:lnTo>
                      <a:pt x="103" y="476"/>
                    </a:lnTo>
                    <a:lnTo>
                      <a:pt x="100" y="476"/>
                    </a:lnTo>
                    <a:lnTo>
                      <a:pt x="102" y="475"/>
                    </a:lnTo>
                    <a:lnTo>
                      <a:pt x="102" y="473"/>
                    </a:lnTo>
                    <a:lnTo>
                      <a:pt x="104" y="472"/>
                    </a:lnTo>
                    <a:lnTo>
                      <a:pt x="100" y="472"/>
                    </a:lnTo>
                    <a:lnTo>
                      <a:pt x="100" y="473"/>
                    </a:lnTo>
                    <a:lnTo>
                      <a:pt x="98" y="472"/>
                    </a:lnTo>
                    <a:lnTo>
                      <a:pt x="98" y="470"/>
                    </a:lnTo>
                    <a:lnTo>
                      <a:pt x="98" y="468"/>
                    </a:lnTo>
                    <a:lnTo>
                      <a:pt x="95" y="465"/>
                    </a:lnTo>
                    <a:lnTo>
                      <a:pt x="93" y="466"/>
                    </a:lnTo>
                    <a:lnTo>
                      <a:pt x="93" y="467"/>
                    </a:lnTo>
                    <a:lnTo>
                      <a:pt x="94" y="468"/>
                    </a:lnTo>
                    <a:lnTo>
                      <a:pt x="92" y="468"/>
                    </a:lnTo>
                    <a:lnTo>
                      <a:pt x="90" y="471"/>
                    </a:lnTo>
                    <a:lnTo>
                      <a:pt x="89" y="471"/>
                    </a:lnTo>
                    <a:lnTo>
                      <a:pt x="87" y="472"/>
                    </a:lnTo>
                    <a:lnTo>
                      <a:pt x="87" y="471"/>
                    </a:lnTo>
                    <a:lnTo>
                      <a:pt x="87" y="470"/>
                    </a:lnTo>
                    <a:lnTo>
                      <a:pt x="86" y="471"/>
                    </a:lnTo>
                    <a:lnTo>
                      <a:pt x="85" y="471"/>
                    </a:lnTo>
                    <a:lnTo>
                      <a:pt x="85" y="467"/>
                    </a:lnTo>
                    <a:lnTo>
                      <a:pt x="85" y="468"/>
                    </a:lnTo>
                    <a:lnTo>
                      <a:pt x="84" y="467"/>
                    </a:lnTo>
                    <a:lnTo>
                      <a:pt x="84" y="463"/>
                    </a:lnTo>
                    <a:lnTo>
                      <a:pt x="82" y="463"/>
                    </a:lnTo>
                    <a:lnTo>
                      <a:pt x="83" y="464"/>
                    </a:lnTo>
                    <a:lnTo>
                      <a:pt x="81" y="464"/>
                    </a:lnTo>
                    <a:lnTo>
                      <a:pt x="81" y="467"/>
                    </a:lnTo>
                    <a:lnTo>
                      <a:pt x="79" y="467"/>
                    </a:lnTo>
                    <a:lnTo>
                      <a:pt x="79" y="468"/>
                    </a:lnTo>
                    <a:lnTo>
                      <a:pt x="76" y="466"/>
                    </a:lnTo>
                    <a:lnTo>
                      <a:pt x="74" y="465"/>
                    </a:lnTo>
                    <a:lnTo>
                      <a:pt x="72" y="469"/>
                    </a:lnTo>
                    <a:lnTo>
                      <a:pt x="71" y="469"/>
                    </a:lnTo>
                    <a:lnTo>
                      <a:pt x="68" y="468"/>
                    </a:lnTo>
                    <a:lnTo>
                      <a:pt x="67" y="468"/>
                    </a:lnTo>
                    <a:lnTo>
                      <a:pt x="68" y="465"/>
                    </a:lnTo>
                    <a:lnTo>
                      <a:pt x="68" y="464"/>
                    </a:lnTo>
                    <a:lnTo>
                      <a:pt x="69" y="459"/>
                    </a:lnTo>
                    <a:lnTo>
                      <a:pt x="70" y="456"/>
                    </a:lnTo>
                    <a:lnTo>
                      <a:pt x="68" y="455"/>
                    </a:lnTo>
                    <a:lnTo>
                      <a:pt x="69" y="452"/>
                    </a:lnTo>
                    <a:lnTo>
                      <a:pt x="65" y="448"/>
                    </a:lnTo>
                    <a:lnTo>
                      <a:pt x="64" y="448"/>
                    </a:lnTo>
                    <a:lnTo>
                      <a:pt x="61" y="452"/>
                    </a:lnTo>
                    <a:lnTo>
                      <a:pt x="61" y="451"/>
                    </a:lnTo>
                    <a:lnTo>
                      <a:pt x="63" y="450"/>
                    </a:lnTo>
                    <a:lnTo>
                      <a:pt x="64" y="445"/>
                    </a:lnTo>
                    <a:lnTo>
                      <a:pt x="63" y="444"/>
                    </a:lnTo>
                    <a:lnTo>
                      <a:pt x="63" y="443"/>
                    </a:lnTo>
                    <a:lnTo>
                      <a:pt x="65" y="437"/>
                    </a:lnTo>
                    <a:lnTo>
                      <a:pt x="64" y="433"/>
                    </a:lnTo>
                    <a:lnTo>
                      <a:pt x="66" y="431"/>
                    </a:lnTo>
                    <a:lnTo>
                      <a:pt x="68" y="428"/>
                    </a:lnTo>
                    <a:lnTo>
                      <a:pt x="68" y="421"/>
                    </a:lnTo>
                    <a:lnTo>
                      <a:pt x="69" y="420"/>
                    </a:lnTo>
                    <a:lnTo>
                      <a:pt x="70" y="417"/>
                    </a:lnTo>
                    <a:lnTo>
                      <a:pt x="69" y="415"/>
                    </a:lnTo>
                    <a:lnTo>
                      <a:pt x="67" y="416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3" y="411"/>
                    </a:lnTo>
                    <a:lnTo>
                      <a:pt x="61" y="412"/>
                    </a:lnTo>
                    <a:lnTo>
                      <a:pt x="58" y="411"/>
                    </a:lnTo>
                    <a:lnTo>
                      <a:pt x="58" y="409"/>
                    </a:lnTo>
                    <a:lnTo>
                      <a:pt x="60" y="409"/>
                    </a:lnTo>
                    <a:lnTo>
                      <a:pt x="60" y="408"/>
                    </a:lnTo>
                    <a:lnTo>
                      <a:pt x="57" y="407"/>
                    </a:lnTo>
                    <a:lnTo>
                      <a:pt x="57" y="406"/>
                    </a:lnTo>
                    <a:lnTo>
                      <a:pt x="55" y="406"/>
                    </a:lnTo>
                    <a:lnTo>
                      <a:pt x="53" y="405"/>
                    </a:lnTo>
                    <a:lnTo>
                      <a:pt x="52" y="405"/>
                    </a:lnTo>
                    <a:lnTo>
                      <a:pt x="52" y="402"/>
                    </a:lnTo>
                    <a:lnTo>
                      <a:pt x="50" y="401"/>
                    </a:lnTo>
                    <a:lnTo>
                      <a:pt x="53" y="402"/>
                    </a:lnTo>
                    <a:lnTo>
                      <a:pt x="56" y="405"/>
                    </a:lnTo>
                    <a:lnTo>
                      <a:pt x="59" y="405"/>
                    </a:lnTo>
                    <a:lnTo>
                      <a:pt x="60" y="404"/>
                    </a:lnTo>
                    <a:lnTo>
                      <a:pt x="61" y="404"/>
                    </a:lnTo>
                    <a:lnTo>
                      <a:pt x="63" y="403"/>
                    </a:lnTo>
                    <a:lnTo>
                      <a:pt x="61" y="403"/>
                    </a:lnTo>
                    <a:lnTo>
                      <a:pt x="60" y="397"/>
                    </a:lnTo>
                    <a:lnTo>
                      <a:pt x="56" y="396"/>
                    </a:lnTo>
                    <a:lnTo>
                      <a:pt x="55" y="394"/>
                    </a:lnTo>
                    <a:lnTo>
                      <a:pt x="56" y="392"/>
                    </a:lnTo>
                    <a:lnTo>
                      <a:pt x="55" y="391"/>
                    </a:lnTo>
                    <a:lnTo>
                      <a:pt x="56" y="390"/>
                    </a:lnTo>
                    <a:lnTo>
                      <a:pt x="57" y="391"/>
                    </a:lnTo>
                    <a:lnTo>
                      <a:pt x="57" y="392"/>
                    </a:lnTo>
                    <a:lnTo>
                      <a:pt x="58" y="391"/>
                    </a:lnTo>
                    <a:lnTo>
                      <a:pt x="59" y="391"/>
                    </a:lnTo>
                    <a:lnTo>
                      <a:pt x="60" y="391"/>
                    </a:lnTo>
                    <a:lnTo>
                      <a:pt x="63" y="390"/>
                    </a:lnTo>
                    <a:lnTo>
                      <a:pt x="64" y="391"/>
                    </a:lnTo>
                    <a:lnTo>
                      <a:pt x="67" y="388"/>
                    </a:lnTo>
                    <a:lnTo>
                      <a:pt x="65" y="388"/>
                    </a:lnTo>
                    <a:lnTo>
                      <a:pt x="65" y="386"/>
                    </a:lnTo>
                    <a:lnTo>
                      <a:pt x="63" y="386"/>
                    </a:lnTo>
                    <a:lnTo>
                      <a:pt x="62" y="385"/>
                    </a:lnTo>
                    <a:lnTo>
                      <a:pt x="60" y="386"/>
                    </a:lnTo>
                    <a:lnTo>
                      <a:pt x="61" y="384"/>
                    </a:lnTo>
                    <a:lnTo>
                      <a:pt x="60" y="384"/>
                    </a:lnTo>
                    <a:lnTo>
                      <a:pt x="58" y="385"/>
                    </a:lnTo>
                    <a:lnTo>
                      <a:pt x="58" y="384"/>
                    </a:lnTo>
                    <a:lnTo>
                      <a:pt x="57" y="384"/>
                    </a:lnTo>
                    <a:lnTo>
                      <a:pt x="56" y="386"/>
                    </a:lnTo>
                    <a:lnTo>
                      <a:pt x="55" y="386"/>
                    </a:lnTo>
                    <a:lnTo>
                      <a:pt x="55" y="388"/>
                    </a:lnTo>
                    <a:lnTo>
                      <a:pt x="53" y="387"/>
                    </a:lnTo>
                    <a:lnTo>
                      <a:pt x="52" y="383"/>
                    </a:lnTo>
                    <a:lnTo>
                      <a:pt x="53" y="384"/>
                    </a:lnTo>
                    <a:lnTo>
                      <a:pt x="53" y="383"/>
                    </a:lnTo>
                    <a:lnTo>
                      <a:pt x="52" y="382"/>
                    </a:lnTo>
                    <a:lnTo>
                      <a:pt x="54" y="380"/>
                    </a:lnTo>
                    <a:lnTo>
                      <a:pt x="53" y="378"/>
                    </a:lnTo>
                    <a:lnTo>
                      <a:pt x="54" y="376"/>
                    </a:lnTo>
                    <a:lnTo>
                      <a:pt x="58" y="374"/>
                    </a:lnTo>
                    <a:lnTo>
                      <a:pt x="61" y="368"/>
                    </a:lnTo>
                    <a:lnTo>
                      <a:pt x="71" y="365"/>
                    </a:lnTo>
                    <a:lnTo>
                      <a:pt x="73" y="364"/>
                    </a:lnTo>
                    <a:lnTo>
                      <a:pt x="75" y="364"/>
                    </a:lnTo>
                    <a:lnTo>
                      <a:pt x="74" y="364"/>
                    </a:lnTo>
                    <a:lnTo>
                      <a:pt x="74" y="367"/>
                    </a:lnTo>
                    <a:lnTo>
                      <a:pt x="76" y="368"/>
                    </a:lnTo>
                    <a:lnTo>
                      <a:pt x="77" y="370"/>
                    </a:lnTo>
                    <a:lnTo>
                      <a:pt x="77" y="371"/>
                    </a:lnTo>
                    <a:lnTo>
                      <a:pt x="79" y="371"/>
                    </a:lnTo>
                    <a:lnTo>
                      <a:pt x="80" y="371"/>
                    </a:lnTo>
                    <a:lnTo>
                      <a:pt x="81" y="369"/>
                    </a:lnTo>
                    <a:lnTo>
                      <a:pt x="81" y="368"/>
                    </a:lnTo>
                    <a:lnTo>
                      <a:pt x="82" y="367"/>
                    </a:lnTo>
                    <a:lnTo>
                      <a:pt x="82" y="365"/>
                    </a:lnTo>
                    <a:lnTo>
                      <a:pt x="84" y="364"/>
                    </a:lnTo>
                    <a:lnTo>
                      <a:pt x="85" y="361"/>
                    </a:lnTo>
                    <a:lnTo>
                      <a:pt x="86" y="361"/>
                    </a:lnTo>
                    <a:lnTo>
                      <a:pt x="89" y="361"/>
                    </a:lnTo>
                    <a:lnTo>
                      <a:pt x="89" y="360"/>
                    </a:lnTo>
                    <a:lnTo>
                      <a:pt x="90" y="360"/>
                    </a:lnTo>
                    <a:lnTo>
                      <a:pt x="91" y="360"/>
                    </a:lnTo>
                    <a:lnTo>
                      <a:pt x="93" y="358"/>
                    </a:lnTo>
                    <a:lnTo>
                      <a:pt x="93" y="359"/>
                    </a:lnTo>
                    <a:lnTo>
                      <a:pt x="95" y="356"/>
                    </a:lnTo>
                    <a:lnTo>
                      <a:pt x="95" y="354"/>
                    </a:lnTo>
                    <a:lnTo>
                      <a:pt x="93" y="353"/>
                    </a:lnTo>
                    <a:lnTo>
                      <a:pt x="92" y="352"/>
                    </a:lnTo>
                    <a:lnTo>
                      <a:pt x="91" y="351"/>
                    </a:lnTo>
                    <a:lnTo>
                      <a:pt x="90" y="352"/>
                    </a:lnTo>
                    <a:lnTo>
                      <a:pt x="89" y="352"/>
                    </a:lnTo>
                    <a:lnTo>
                      <a:pt x="87" y="354"/>
                    </a:lnTo>
                    <a:lnTo>
                      <a:pt x="86" y="353"/>
                    </a:lnTo>
                    <a:lnTo>
                      <a:pt x="87" y="350"/>
                    </a:lnTo>
                    <a:lnTo>
                      <a:pt x="90" y="349"/>
                    </a:lnTo>
                    <a:lnTo>
                      <a:pt x="92" y="344"/>
                    </a:lnTo>
                    <a:lnTo>
                      <a:pt x="92" y="341"/>
                    </a:lnTo>
                    <a:lnTo>
                      <a:pt x="91" y="339"/>
                    </a:lnTo>
                    <a:lnTo>
                      <a:pt x="91" y="338"/>
                    </a:lnTo>
                    <a:lnTo>
                      <a:pt x="90" y="335"/>
                    </a:lnTo>
                    <a:lnTo>
                      <a:pt x="91" y="333"/>
                    </a:lnTo>
                    <a:lnTo>
                      <a:pt x="95" y="333"/>
                    </a:lnTo>
                    <a:lnTo>
                      <a:pt x="95" y="331"/>
                    </a:lnTo>
                    <a:lnTo>
                      <a:pt x="97" y="330"/>
                    </a:lnTo>
                    <a:lnTo>
                      <a:pt x="96" y="330"/>
                    </a:lnTo>
                    <a:lnTo>
                      <a:pt x="97" y="326"/>
                    </a:lnTo>
                    <a:lnTo>
                      <a:pt x="95" y="324"/>
                    </a:lnTo>
                    <a:lnTo>
                      <a:pt x="95" y="321"/>
                    </a:lnTo>
                    <a:lnTo>
                      <a:pt x="98" y="318"/>
                    </a:lnTo>
                    <a:lnTo>
                      <a:pt x="97" y="316"/>
                    </a:lnTo>
                    <a:lnTo>
                      <a:pt x="96" y="314"/>
                    </a:lnTo>
                    <a:lnTo>
                      <a:pt x="97" y="313"/>
                    </a:lnTo>
                    <a:lnTo>
                      <a:pt x="98" y="314"/>
                    </a:lnTo>
                    <a:lnTo>
                      <a:pt x="100" y="310"/>
                    </a:lnTo>
                    <a:lnTo>
                      <a:pt x="99" y="308"/>
                    </a:lnTo>
                    <a:lnTo>
                      <a:pt x="100" y="308"/>
                    </a:lnTo>
                    <a:lnTo>
                      <a:pt x="100" y="304"/>
                    </a:lnTo>
                    <a:lnTo>
                      <a:pt x="101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4" y="304"/>
                    </a:lnTo>
                    <a:lnTo>
                      <a:pt x="105" y="304"/>
                    </a:lnTo>
                    <a:lnTo>
                      <a:pt x="106" y="304"/>
                    </a:lnTo>
                    <a:lnTo>
                      <a:pt x="106" y="306"/>
                    </a:lnTo>
                    <a:lnTo>
                      <a:pt x="107" y="305"/>
                    </a:lnTo>
                    <a:lnTo>
                      <a:pt x="107" y="299"/>
                    </a:lnTo>
                    <a:lnTo>
                      <a:pt x="107" y="293"/>
                    </a:lnTo>
                    <a:lnTo>
                      <a:pt x="106" y="291"/>
                    </a:lnTo>
                    <a:lnTo>
                      <a:pt x="107" y="289"/>
                    </a:lnTo>
                    <a:lnTo>
                      <a:pt x="107" y="287"/>
                    </a:lnTo>
                    <a:lnTo>
                      <a:pt x="106" y="287"/>
                    </a:lnTo>
                    <a:lnTo>
                      <a:pt x="105" y="286"/>
                    </a:lnTo>
                    <a:lnTo>
                      <a:pt x="106" y="284"/>
                    </a:lnTo>
                    <a:lnTo>
                      <a:pt x="107" y="283"/>
                    </a:lnTo>
                    <a:lnTo>
                      <a:pt x="107" y="280"/>
                    </a:lnTo>
                    <a:lnTo>
                      <a:pt x="106" y="280"/>
                    </a:lnTo>
                    <a:lnTo>
                      <a:pt x="107" y="278"/>
                    </a:lnTo>
                    <a:lnTo>
                      <a:pt x="110" y="277"/>
                    </a:lnTo>
                    <a:lnTo>
                      <a:pt x="106" y="277"/>
                    </a:lnTo>
                    <a:lnTo>
                      <a:pt x="104" y="276"/>
                    </a:lnTo>
                    <a:lnTo>
                      <a:pt x="100" y="272"/>
                    </a:lnTo>
                    <a:lnTo>
                      <a:pt x="98" y="269"/>
                    </a:lnTo>
                    <a:lnTo>
                      <a:pt x="93" y="268"/>
                    </a:lnTo>
                    <a:lnTo>
                      <a:pt x="92" y="267"/>
                    </a:lnTo>
                    <a:lnTo>
                      <a:pt x="89" y="268"/>
                    </a:lnTo>
                    <a:lnTo>
                      <a:pt x="87" y="267"/>
                    </a:lnTo>
                    <a:lnTo>
                      <a:pt x="87" y="266"/>
                    </a:lnTo>
                    <a:lnTo>
                      <a:pt x="89" y="267"/>
                    </a:lnTo>
                    <a:lnTo>
                      <a:pt x="90" y="262"/>
                    </a:lnTo>
                    <a:lnTo>
                      <a:pt x="90" y="260"/>
                    </a:lnTo>
                    <a:lnTo>
                      <a:pt x="90" y="259"/>
                    </a:lnTo>
                    <a:lnTo>
                      <a:pt x="90" y="256"/>
                    </a:lnTo>
                    <a:lnTo>
                      <a:pt x="87" y="256"/>
                    </a:lnTo>
                    <a:lnTo>
                      <a:pt x="85" y="255"/>
                    </a:lnTo>
                    <a:lnTo>
                      <a:pt x="83" y="254"/>
                    </a:lnTo>
                    <a:lnTo>
                      <a:pt x="79" y="254"/>
                    </a:lnTo>
                    <a:lnTo>
                      <a:pt x="77" y="255"/>
                    </a:lnTo>
                    <a:lnTo>
                      <a:pt x="77" y="252"/>
                    </a:lnTo>
                    <a:lnTo>
                      <a:pt x="76" y="248"/>
                    </a:lnTo>
                    <a:lnTo>
                      <a:pt x="74" y="247"/>
                    </a:lnTo>
                    <a:lnTo>
                      <a:pt x="73" y="248"/>
                    </a:lnTo>
                    <a:lnTo>
                      <a:pt x="73" y="247"/>
                    </a:lnTo>
                    <a:lnTo>
                      <a:pt x="71" y="244"/>
                    </a:lnTo>
                    <a:lnTo>
                      <a:pt x="70" y="244"/>
                    </a:lnTo>
                    <a:lnTo>
                      <a:pt x="70" y="238"/>
                    </a:lnTo>
                    <a:lnTo>
                      <a:pt x="68" y="237"/>
                    </a:lnTo>
                    <a:lnTo>
                      <a:pt x="67" y="235"/>
                    </a:lnTo>
                    <a:lnTo>
                      <a:pt x="66" y="235"/>
                    </a:lnTo>
                    <a:lnTo>
                      <a:pt x="65" y="234"/>
                    </a:lnTo>
                    <a:lnTo>
                      <a:pt x="63" y="236"/>
                    </a:lnTo>
                    <a:lnTo>
                      <a:pt x="62" y="236"/>
                    </a:lnTo>
                    <a:lnTo>
                      <a:pt x="61" y="235"/>
                    </a:lnTo>
                    <a:lnTo>
                      <a:pt x="60" y="236"/>
                    </a:lnTo>
                    <a:lnTo>
                      <a:pt x="61" y="237"/>
                    </a:lnTo>
                    <a:lnTo>
                      <a:pt x="53" y="237"/>
                    </a:lnTo>
                    <a:lnTo>
                      <a:pt x="52" y="236"/>
                    </a:lnTo>
                    <a:lnTo>
                      <a:pt x="43" y="234"/>
                    </a:lnTo>
                    <a:lnTo>
                      <a:pt x="43" y="233"/>
                    </a:lnTo>
                    <a:lnTo>
                      <a:pt x="42" y="232"/>
                    </a:lnTo>
                    <a:lnTo>
                      <a:pt x="42" y="231"/>
                    </a:lnTo>
                    <a:lnTo>
                      <a:pt x="40" y="229"/>
                    </a:lnTo>
                    <a:lnTo>
                      <a:pt x="41" y="228"/>
                    </a:lnTo>
                    <a:lnTo>
                      <a:pt x="40" y="227"/>
                    </a:lnTo>
                    <a:lnTo>
                      <a:pt x="38" y="226"/>
                    </a:lnTo>
                    <a:lnTo>
                      <a:pt x="37" y="224"/>
                    </a:lnTo>
                    <a:lnTo>
                      <a:pt x="36" y="224"/>
                    </a:lnTo>
                    <a:lnTo>
                      <a:pt x="35" y="223"/>
                    </a:lnTo>
                    <a:lnTo>
                      <a:pt x="32" y="223"/>
                    </a:lnTo>
                    <a:lnTo>
                      <a:pt x="31" y="220"/>
                    </a:lnTo>
                    <a:lnTo>
                      <a:pt x="29" y="220"/>
                    </a:lnTo>
                    <a:lnTo>
                      <a:pt x="27" y="219"/>
                    </a:lnTo>
                    <a:lnTo>
                      <a:pt x="28" y="215"/>
                    </a:lnTo>
                    <a:lnTo>
                      <a:pt x="29" y="216"/>
                    </a:lnTo>
                    <a:lnTo>
                      <a:pt x="30" y="215"/>
                    </a:lnTo>
                    <a:lnTo>
                      <a:pt x="34" y="215"/>
                    </a:lnTo>
                    <a:lnTo>
                      <a:pt x="37" y="217"/>
                    </a:lnTo>
                    <a:lnTo>
                      <a:pt x="37" y="216"/>
                    </a:lnTo>
                    <a:lnTo>
                      <a:pt x="35" y="215"/>
                    </a:lnTo>
                    <a:lnTo>
                      <a:pt x="34" y="215"/>
                    </a:lnTo>
                    <a:lnTo>
                      <a:pt x="33" y="210"/>
                    </a:lnTo>
                    <a:lnTo>
                      <a:pt x="32" y="210"/>
                    </a:lnTo>
                    <a:lnTo>
                      <a:pt x="27" y="210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2" y="211"/>
                    </a:lnTo>
                    <a:lnTo>
                      <a:pt x="22" y="210"/>
                    </a:lnTo>
                    <a:lnTo>
                      <a:pt x="22" y="209"/>
                    </a:lnTo>
                    <a:lnTo>
                      <a:pt x="21" y="209"/>
                    </a:lnTo>
                    <a:lnTo>
                      <a:pt x="20" y="207"/>
                    </a:lnTo>
                    <a:lnTo>
                      <a:pt x="19" y="209"/>
                    </a:lnTo>
                    <a:lnTo>
                      <a:pt x="13" y="207"/>
                    </a:lnTo>
                    <a:lnTo>
                      <a:pt x="12" y="210"/>
                    </a:lnTo>
                    <a:lnTo>
                      <a:pt x="11" y="210"/>
                    </a:lnTo>
                    <a:lnTo>
                      <a:pt x="9" y="212"/>
                    </a:lnTo>
                    <a:lnTo>
                      <a:pt x="7" y="212"/>
                    </a:lnTo>
                    <a:lnTo>
                      <a:pt x="7" y="209"/>
                    </a:lnTo>
                    <a:lnTo>
                      <a:pt x="3" y="209"/>
                    </a:lnTo>
                    <a:lnTo>
                      <a:pt x="1" y="209"/>
                    </a:lnTo>
                    <a:lnTo>
                      <a:pt x="0" y="209"/>
                    </a:lnTo>
                    <a:lnTo>
                      <a:pt x="0" y="207"/>
                    </a:lnTo>
                    <a:lnTo>
                      <a:pt x="2" y="205"/>
                    </a:lnTo>
                    <a:lnTo>
                      <a:pt x="2" y="203"/>
                    </a:lnTo>
                    <a:lnTo>
                      <a:pt x="4" y="202"/>
                    </a:lnTo>
                    <a:lnTo>
                      <a:pt x="5" y="202"/>
                    </a:lnTo>
                    <a:lnTo>
                      <a:pt x="4" y="200"/>
                    </a:lnTo>
                    <a:lnTo>
                      <a:pt x="6" y="198"/>
                    </a:lnTo>
                    <a:lnTo>
                      <a:pt x="6" y="196"/>
                    </a:lnTo>
                    <a:lnTo>
                      <a:pt x="8" y="197"/>
                    </a:lnTo>
                    <a:lnTo>
                      <a:pt x="11" y="197"/>
                    </a:lnTo>
                    <a:lnTo>
                      <a:pt x="11" y="193"/>
                    </a:lnTo>
                    <a:lnTo>
                      <a:pt x="11" y="190"/>
                    </a:lnTo>
                    <a:lnTo>
                      <a:pt x="9" y="189"/>
                    </a:lnTo>
                    <a:lnTo>
                      <a:pt x="8" y="186"/>
                    </a:lnTo>
                    <a:lnTo>
                      <a:pt x="6" y="188"/>
                    </a:lnTo>
                    <a:lnTo>
                      <a:pt x="6" y="186"/>
                    </a:lnTo>
                    <a:lnTo>
                      <a:pt x="6" y="183"/>
                    </a:lnTo>
                    <a:lnTo>
                      <a:pt x="7" y="180"/>
                    </a:lnTo>
                    <a:lnTo>
                      <a:pt x="6" y="179"/>
                    </a:lnTo>
                    <a:lnTo>
                      <a:pt x="8" y="178"/>
                    </a:lnTo>
                    <a:lnTo>
                      <a:pt x="9" y="179"/>
                    </a:lnTo>
                    <a:lnTo>
                      <a:pt x="11" y="177"/>
                    </a:lnTo>
                    <a:lnTo>
                      <a:pt x="12" y="177"/>
                    </a:lnTo>
                    <a:lnTo>
                      <a:pt x="12" y="175"/>
                    </a:lnTo>
                    <a:lnTo>
                      <a:pt x="16" y="175"/>
                    </a:lnTo>
                    <a:lnTo>
                      <a:pt x="16" y="176"/>
                    </a:lnTo>
                    <a:lnTo>
                      <a:pt x="20" y="178"/>
                    </a:lnTo>
                    <a:lnTo>
                      <a:pt x="22" y="178"/>
                    </a:lnTo>
                    <a:lnTo>
                      <a:pt x="22" y="176"/>
                    </a:lnTo>
                    <a:lnTo>
                      <a:pt x="22" y="175"/>
                    </a:lnTo>
                    <a:lnTo>
                      <a:pt x="22" y="174"/>
                    </a:lnTo>
                    <a:lnTo>
                      <a:pt x="23" y="175"/>
                    </a:lnTo>
                    <a:lnTo>
                      <a:pt x="25" y="175"/>
                    </a:lnTo>
                    <a:lnTo>
                      <a:pt x="25" y="171"/>
                    </a:lnTo>
                    <a:lnTo>
                      <a:pt x="25" y="170"/>
                    </a:lnTo>
                    <a:lnTo>
                      <a:pt x="25" y="166"/>
                    </a:lnTo>
                    <a:lnTo>
                      <a:pt x="25" y="167"/>
                    </a:lnTo>
                    <a:lnTo>
                      <a:pt x="26" y="167"/>
                    </a:lnTo>
                    <a:lnTo>
                      <a:pt x="27" y="169"/>
                    </a:lnTo>
                    <a:lnTo>
                      <a:pt x="28" y="169"/>
                    </a:lnTo>
                    <a:lnTo>
                      <a:pt x="30" y="170"/>
                    </a:lnTo>
                    <a:lnTo>
                      <a:pt x="31" y="168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29" y="162"/>
                    </a:lnTo>
                    <a:lnTo>
                      <a:pt x="33" y="162"/>
                    </a:lnTo>
                    <a:lnTo>
                      <a:pt x="33" y="159"/>
                    </a:lnTo>
                    <a:lnTo>
                      <a:pt x="32" y="155"/>
                    </a:lnTo>
                    <a:lnTo>
                      <a:pt x="33" y="154"/>
                    </a:lnTo>
                    <a:lnTo>
                      <a:pt x="33" y="150"/>
                    </a:lnTo>
                    <a:lnTo>
                      <a:pt x="34" y="152"/>
                    </a:lnTo>
                    <a:lnTo>
                      <a:pt x="37" y="152"/>
                    </a:lnTo>
                    <a:lnTo>
                      <a:pt x="38" y="151"/>
                    </a:lnTo>
                    <a:lnTo>
                      <a:pt x="38" y="150"/>
                    </a:lnTo>
                    <a:lnTo>
                      <a:pt x="40" y="150"/>
                    </a:lnTo>
                    <a:lnTo>
                      <a:pt x="40" y="149"/>
                    </a:lnTo>
                    <a:lnTo>
                      <a:pt x="41" y="149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43" y="146"/>
                    </a:lnTo>
                    <a:lnTo>
                      <a:pt x="43" y="145"/>
                    </a:lnTo>
                    <a:lnTo>
                      <a:pt x="46" y="145"/>
                    </a:lnTo>
                    <a:lnTo>
                      <a:pt x="47" y="142"/>
                    </a:lnTo>
                    <a:lnTo>
                      <a:pt x="50" y="142"/>
                    </a:lnTo>
                    <a:lnTo>
                      <a:pt x="52" y="142"/>
                    </a:lnTo>
                    <a:lnTo>
                      <a:pt x="52" y="141"/>
                    </a:lnTo>
                    <a:lnTo>
                      <a:pt x="53" y="141"/>
                    </a:lnTo>
                    <a:lnTo>
                      <a:pt x="55" y="145"/>
                    </a:lnTo>
                    <a:lnTo>
                      <a:pt x="57" y="146"/>
                    </a:lnTo>
                    <a:lnTo>
                      <a:pt x="58" y="145"/>
                    </a:lnTo>
                    <a:lnTo>
                      <a:pt x="61" y="145"/>
                    </a:lnTo>
                    <a:lnTo>
                      <a:pt x="64" y="142"/>
                    </a:lnTo>
                    <a:lnTo>
                      <a:pt x="66" y="144"/>
                    </a:lnTo>
                    <a:lnTo>
                      <a:pt x="66" y="142"/>
                    </a:lnTo>
                    <a:lnTo>
                      <a:pt x="71" y="140"/>
                    </a:lnTo>
                    <a:lnTo>
                      <a:pt x="70" y="137"/>
                    </a:lnTo>
                    <a:lnTo>
                      <a:pt x="73" y="138"/>
                    </a:lnTo>
                    <a:lnTo>
                      <a:pt x="74" y="137"/>
                    </a:lnTo>
                    <a:lnTo>
                      <a:pt x="76" y="134"/>
                    </a:lnTo>
                    <a:lnTo>
                      <a:pt x="76" y="133"/>
                    </a:lnTo>
                    <a:lnTo>
                      <a:pt x="78" y="133"/>
                    </a:lnTo>
                    <a:lnTo>
                      <a:pt x="80" y="132"/>
                    </a:lnTo>
                    <a:lnTo>
                      <a:pt x="85" y="126"/>
                    </a:lnTo>
                    <a:lnTo>
                      <a:pt x="86" y="127"/>
                    </a:lnTo>
                    <a:lnTo>
                      <a:pt x="85" y="128"/>
                    </a:lnTo>
                    <a:lnTo>
                      <a:pt x="85" y="133"/>
                    </a:lnTo>
                    <a:lnTo>
                      <a:pt x="89" y="132"/>
                    </a:lnTo>
                    <a:lnTo>
                      <a:pt x="90" y="133"/>
                    </a:lnTo>
                    <a:lnTo>
                      <a:pt x="92" y="135"/>
                    </a:lnTo>
                    <a:lnTo>
                      <a:pt x="93" y="135"/>
                    </a:lnTo>
                    <a:lnTo>
                      <a:pt x="97" y="133"/>
                    </a:lnTo>
                    <a:lnTo>
                      <a:pt x="104" y="135"/>
                    </a:lnTo>
                    <a:lnTo>
                      <a:pt x="106" y="136"/>
                    </a:lnTo>
                    <a:lnTo>
                      <a:pt x="107" y="133"/>
                    </a:lnTo>
                    <a:lnTo>
                      <a:pt x="108" y="131"/>
                    </a:lnTo>
                    <a:lnTo>
                      <a:pt x="109" y="132"/>
                    </a:lnTo>
                    <a:lnTo>
                      <a:pt x="110" y="129"/>
                    </a:lnTo>
                    <a:lnTo>
                      <a:pt x="111" y="130"/>
                    </a:lnTo>
                    <a:lnTo>
                      <a:pt x="110" y="133"/>
                    </a:lnTo>
                    <a:lnTo>
                      <a:pt x="112" y="133"/>
                    </a:lnTo>
                    <a:lnTo>
                      <a:pt x="113" y="131"/>
                    </a:lnTo>
                    <a:lnTo>
                      <a:pt x="114" y="131"/>
                    </a:lnTo>
                    <a:lnTo>
                      <a:pt x="118" y="127"/>
                    </a:lnTo>
                    <a:lnTo>
                      <a:pt x="120" y="124"/>
                    </a:lnTo>
                    <a:lnTo>
                      <a:pt x="122" y="122"/>
                    </a:lnTo>
                    <a:lnTo>
                      <a:pt x="123" y="122"/>
                    </a:lnTo>
                    <a:lnTo>
                      <a:pt x="125" y="120"/>
                    </a:lnTo>
                    <a:lnTo>
                      <a:pt x="126" y="120"/>
                    </a:lnTo>
                    <a:lnTo>
                      <a:pt x="128" y="123"/>
                    </a:lnTo>
                    <a:lnTo>
                      <a:pt x="128" y="122"/>
                    </a:lnTo>
                    <a:lnTo>
                      <a:pt x="129" y="122"/>
                    </a:lnTo>
                    <a:lnTo>
                      <a:pt x="131" y="128"/>
                    </a:lnTo>
                    <a:lnTo>
                      <a:pt x="130" y="131"/>
                    </a:lnTo>
                    <a:lnTo>
                      <a:pt x="131" y="132"/>
                    </a:lnTo>
                    <a:lnTo>
                      <a:pt x="138" y="132"/>
                    </a:lnTo>
                    <a:lnTo>
                      <a:pt x="138" y="128"/>
                    </a:lnTo>
                    <a:lnTo>
                      <a:pt x="139" y="127"/>
                    </a:lnTo>
                    <a:lnTo>
                      <a:pt x="139" y="124"/>
                    </a:lnTo>
                    <a:lnTo>
                      <a:pt x="141" y="122"/>
                    </a:lnTo>
                    <a:lnTo>
                      <a:pt x="143" y="120"/>
                    </a:lnTo>
                    <a:lnTo>
                      <a:pt x="146" y="120"/>
                    </a:lnTo>
                    <a:lnTo>
                      <a:pt x="152" y="119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6" y="119"/>
                    </a:lnTo>
                    <a:lnTo>
                      <a:pt x="157" y="118"/>
                    </a:lnTo>
                    <a:lnTo>
                      <a:pt x="158" y="118"/>
                    </a:lnTo>
                    <a:lnTo>
                      <a:pt x="161" y="117"/>
                    </a:lnTo>
                    <a:lnTo>
                      <a:pt x="161" y="115"/>
                    </a:lnTo>
                    <a:lnTo>
                      <a:pt x="162" y="115"/>
                    </a:lnTo>
                    <a:lnTo>
                      <a:pt x="162" y="114"/>
                    </a:lnTo>
                    <a:lnTo>
                      <a:pt x="164" y="115"/>
                    </a:lnTo>
                    <a:lnTo>
                      <a:pt x="165" y="113"/>
                    </a:lnTo>
                    <a:lnTo>
                      <a:pt x="166" y="112"/>
                    </a:lnTo>
                    <a:lnTo>
                      <a:pt x="166" y="108"/>
                    </a:lnTo>
                    <a:lnTo>
                      <a:pt x="166" y="107"/>
                    </a:lnTo>
                    <a:lnTo>
                      <a:pt x="164" y="107"/>
                    </a:lnTo>
                    <a:lnTo>
                      <a:pt x="165" y="107"/>
                    </a:lnTo>
                    <a:lnTo>
                      <a:pt x="165" y="106"/>
                    </a:lnTo>
                    <a:lnTo>
                      <a:pt x="167" y="107"/>
                    </a:lnTo>
                    <a:lnTo>
                      <a:pt x="170" y="107"/>
                    </a:lnTo>
                    <a:lnTo>
                      <a:pt x="170" y="109"/>
                    </a:lnTo>
                    <a:lnTo>
                      <a:pt x="175" y="109"/>
                    </a:lnTo>
                    <a:lnTo>
                      <a:pt x="176" y="109"/>
                    </a:lnTo>
                    <a:lnTo>
                      <a:pt x="175" y="107"/>
                    </a:lnTo>
                    <a:lnTo>
                      <a:pt x="176" y="107"/>
                    </a:lnTo>
                    <a:lnTo>
                      <a:pt x="175" y="106"/>
                    </a:lnTo>
                    <a:lnTo>
                      <a:pt x="177" y="103"/>
                    </a:lnTo>
                    <a:lnTo>
                      <a:pt x="175" y="101"/>
                    </a:lnTo>
                    <a:lnTo>
                      <a:pt x="174" y="101"/>
                    </a:lnTo>
                    <a:lnTo>
                      <a:pt x="174" y="95"/>
                    </a:lnTo>
                    <a:lnTo>
                      <a:pt x="177" y="94"/>
                    </a:lnTo>
                    <a:lnTo>
                      <a:pt x="178" y="94"/>
                    </a:lnTo>
                    <a:lnTo>
                      <a:pt x="180" y="92"/>
                    </a:lnTo>
                    <a:lnTo>
                      <a:pt x="181" y="92"/>
                    </a:lnTo>
                    <a:lnTo>
                      <a:pt x="182" y="90"/>
                    </a:lnTo>
                    <a:lnTo>
                      <a:pt x="185" y="90"/>
                    </a:lnTo>
                    <a:lnTo>
                      <a:pt x="187" y="93"/>
                    </a:lnTo>
                    <a:lnTo>
                      <a:pt x="188" y="94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90" y="91"/>
                    </a:lnTo>
                    <a:lnTo>
                      <a:pt x="194" y="94"/>
                    </a:lnTo>
                    <a:lnTo>
                      <a:pt x="198" y="95"/>
                    </a:lnTo>
                    <a:lnTo>
                      <a:pt x="198" y="97"/>
                    </a:lnTo>
                    <a:lnTo>
                      <a:pt x="199" y="97"/>
                    </a:lnTo>
                    <a:lnTo>
                      <a:pt x="199" y="98"/>
                    </a:lnTo>
                    <a:lnTo>
                      <a:pt x="200" y="98"/>
                    </a:lnTo>
                    <a:lnTo>
                      <a:pt x="205" y="99"/>
                    </a:lnTo>
                    <a:lnTo>
                      <a:pt x="211" y="99"/>
                    </a:lnTo>
                    <a:lnTo>
                      <a:pt x="211" y="101"/>
                    </a:lnTo>
                    <a:lnTo>
                      <a:pt x="213" y="101"/>
                    </a:lnTo>
                    <a:lnTo>
                      <a:pt x="217" y="102"/>
                    </a:lnTo>
                    <a:lnTo>
                      <a:pt x="218" y="103"/>
                    </a:lnTo>
                    <a:lnTo>
                      <a:pt x="218" y="102"/>
                    </a:lnTo>
                    <a:lnTo>
                      <a:pt x="224" y="102"/>
                    </a:lnTo>
                    <a:lnTo>
                      <a:pt x="225" y="101"/>
                    </a:lnTo>
                    <a:lnTo>
                      <a:pt x="228" y="103"/>
                    </a:lnTo>
                    <a:lnTo>
                      <a:pt x="229" y="100"/>
                    </a:lnTo>
                    <a:lnTo>
                      <a:pt x="229" y="98"/>
                    </a:lnTo>
                    <a:lnTo>
                      <a:pt x="232" y="100"/>
                    </a:lnTo>
                    <a:lnTo>
                      <a:pt x="232" y="101"/>
                    </a:lnTo>
                    <a:lnTo>
                      <a:pt x="233" y="103"/>
                    </a:lnTo>
                    <a:lnTo>
                      <a:pt x="234" y="102"/>
                    </a:lnTo>
                    <a:lnTo>
                      <a:pt x="236" y="104"/>
                    </a:lnTo>
                    <a:lnTo>
                      <a:pt x="236" y="103"/>
                    </a:lnTo>
                    <a:lnTo>
                      <a:pt x="237" y="103"/>
                    </a:lnTo>
                    <a:lnTo>
                      <a:pt x="238" y="101"/>
                    </a:lnTo>
                    <a:lnTo>
                      <a:pt x="243" y="106"/>
                    </a:lnTo>
                    <a:lnTo>
                      <a:pt x="245" y="107"/>
                    </a:lnTo>
                    <a:lnTo>
                      <a:pt x="245" y="108"/>
                    </a:lnTo>
                    <a:lnTo>
                      <a:pt x="246" y="109"/>
                    </a:lnTo>
                    <a:lnTo>
                      <a:pt x="248" y="105"/>
                    </a:lnTo>
                    <a:lnTo>
                      <a:pt x="250" y="103"/>
                    </a:lnTo>
                    <a:lnTo>
                      <a:pt x="250" y="102"/>
                    </a:lnTo>
                    <a:lnTo>
                      <a:pt x="252" y="99"/>
                    </a:lnTo>
                    <a:lnTo>
                      <a:pt x="253" y="99"/>
                    </a:lnTo>
                    <a:lnTo>
                      <a:pt x="255" y="98"/>
                    </a:lnTo>
                    <a:lnTo>
                      <a:pt x="257" y="100"/>
                    </a:lnTo>
                    <a:lnTo>
                      <a:pt x="259" y="101"/>
                    </a:lnTo>
                    <a:lnTo>
                      <a:pt x="260" y="100"/>
                    </a:lnTo>
                    <a:lnTo>
                      <a:pt x="260" y="99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99"/>
                    </a:lnTo>
                    <a:lnTo>
                      <a:pt x="267" y="100"/>
                    </a:lnTo>
                    <a:lnTo>
                      <a:pt x="267" y="98"/>
                    </a:lnTo>
                    <a:lnTo>
                      <a:pt x="268" y="99"/>
                    </a:lnTo>
                    <a:lnTo>
                      <a:pt x="269" y="98"/>
                    </a:lnTo>
                    <a:lnTo>
                      <a:pt x="272" y="99"/>
                    </a:lnTo>
                    <a:lnTo>
                      <a:pt x="273" y="100"/>
                    </a:lnTo>
                    <a:lnTo>
                      <a:pt x="273" y="101"/>
                    </a:lnTo>
                    <a:lnTo>
                      <a:pt x="274" y="101"/>
                    </a:lnTo>
                    <a:lnTo>
                      <a:pt x="274" y="103"/>
                    </a:lnTo>
                    <a:lnTo>
                      <a:pt x="275" y="102"/>
                    </a:lnTo>
                    <a:lnTo>
                      <a:pt x="276" y="103"/>
                    </a:lnTo>
                    <a:lnTo>
                      <a:pt x="275" y="101"/>
                    </a:lnTo>
                    <a:lnTo>
                      <a:pt x="276" y="101"/>
                    </a:lnTo>
                    <a:lnTo>
                      <a:pt x="276" y="102"/>
                    </a:lnTo>
                    <a:lnTo>
                      <a:pt x="276" y="103"/>
                    </a:lnTo>
                    <a:lnTo>
                      <a:pt x="278" y="102"/>
                    </a:lnTo>
                    <a:lnTo>
                      <a:pt x="281" y="98"/>
                    </a:lnTo>
                    <a:lnTo>
                      <a:pt x="280" y="98"/>
                    </a:lnTo>
                    <a:lnTo>
                      <a:pt x="281" y="96"/>
                    </a:lnTo>
                    <a:lnTo>
                      <a:pt x="280" y="96"/>
                    </a:lnTo>
                    <a:lnTo>
                      <a:pt x="281" y="95"/>
                    </a:lnTo>
                    <a:lnTo>
                      <a:pt x="280" y="95"/>
                    </a:lnTo>
                    <a:lnTo>
                      <a:pt x="280" y="94"/>
                    </a:lnTo>
                    <a:lnTo>
                      <a:pt x="280" y="90"/>
                    </a:lnTo>
                    <a:lnTo>
                      <a:pt x="283" y="92"/>
                    </a:lnTo>
                    <a:lnTo>
                      <a:pt x="283" y="86"/>
                    </a:lnTo>
                    <a:lnTo>
                      <a:pt x="283" y="84"/>
                    </a:lnTo>
                    <a:lnTo>
                      <a:pt x="284" y="84"/>
                    </a:lnTo>
                    <a:lnTo>
                      <a:pt x="284" y="82"/>
                    </a:lnTo>
                    <a:lnTo>
                      <a:pt x="283" y="81"/>
                    </a:lnTo>
                    <a:lnTo>
                      <a:pt x="282" y="81"/>
                    </a:lnTo>
                    <a:lnTo>
                      <a:pt x="282" y="78"/>
                    </a:lnTo>
                    <a:lnTo>
                      <a:pt x="281" y="77"/>
                    </a:lnTo>
                    <a:lnTo>
                      <a:pt x="281" y="76"/>
                    </a:lnTo>
                    <a:lnTo>
                      <a:pt x="283" y="75"/>
                    </a:lnTo>
                    <a:lnTo>
                      <a:pt x="283" y="76"/>
                    </a:lnTo>
                    <a:lnTo>
                      <a:pt x="284" y="75"/>
                    </a:lnTo>
                    <a:lnTo>
                      <a:pt x="283" y="74"/>
                    </a:lnTo>
                    <a:lnTo>
                      <a:pt x="283" y="73"/>
                    </a:lnTo>
                    <a:lnTo>
                      <a:pt x="282" y="71"/>
                    </a:lnTo>
                    <a:lnTo>
                      <a:pt x="283" y="70"/>
                    </a:lnTo>
                    <a:lnTo>
                      <a:pt x="283" y="71"/>
                    </a:lnTo>
                    <a:lnTo>
                      <a:pt x="283" y="69"/>
                    </a:lnTo>
                    <a:lnTo>
                      <a:pt x="283" y="68"/>
                    </a:lnTo>
                    <a:lnTo>
                      <a:pt x="281" y="67"/>
                    </a:lnTo>
                    <a:lnTo>
                      <a:pt x="281" y="66"/>
                    </a:lnTo>
                    <a:lnTo>
                      <a:pt x="283" y="65"/>
                    </a:lnTo>
                    <a:lnTo>
                      <a:pt x="284" y="65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90" y="69"/>
                    </a:lnTo>
                    <a:lnTo>
                      <a:pt x="296" y="72"/>
                    </a:lnTo>
                    <a:lnTo>
                      <a:pt x="296" y="71"/>
                    </a:lnTo>
                    <a:lnTo>
                      <a:pt x="297" y="71"/>
                    </a:lnTo>
                    <a:lnTo>
                      <a:pt x="296" y="70"/>
                    </a:lnTo>
                    <a:lnTo>
                      <a:pt x="297" y="69"/>
                    </a:lnTo>
                    <a:lnTo>
                      <a:pt x="297" y="68"/>
                    </a:lnTo>
                    <a:lnTo>
                      <a:pt x="295" y="68"/>
                    </a:lnTo>
                    <a:lnTo>
                      <a:pt x="294" y="67"/>
                    </a:lnTo>
                    <a:lnTo>
                      <a:pt x="296" y="65"/>
                    </a:lnTo>
                    <a:lnTo>
                      <a:pt x="297" y="67"/>
                    </a:lnTo>
                    <a:lnTo>
                      <a:pt x="298" y="65"/>
                    </a:lnTo>
                    <a:lnTo>
                      <a:pt x="297" y="65"/>
                    </a:lnTo>
                    <a:lnTo>
                      <a:pt x="299" y="64"/>
                    </a:lnTo>
                    <a:lnTo>
                      <a:pt x="299" y="58"/>
                    </a:lnTo>
                    <a:lnTo>
                      <a:pt x="303" y="61"/>
                    </a:lnTo>
                    <a:lnTo>
                      <a:pt x="306" y="61"/>
                    </a:lnTo>
                    <a:lnTo>
                      <a:pt x="306" y="58"/>
                    </a:lnTo>
                    <a:lnTo>
                      <a:pt x="309" y="61"/>
                    </a:lnTo>
                    <a:lnTo>
                      <a:pt x="312" y="61"/>
                    </a:lnTo>
                    <a:lnTo>
                      <a:pt x="312" y="57"/>
                    </a:lnTo>
                    <a:lnTo>
                      <a:pt x="313" y="56"/>
                    </a:lnTo>
                    <a:lnTo>
                      <a:pt x="313" y="54"/>
                    </a:lnTo>
                    <a:lnTo>
                      <a:pt x="313" y="52"/>
                    </a:lnTo>
                    <a:lnTo>
                      <a:pt x="312" y="52"/>
                    </a:lnTo>
                    <a:lnTo>
                      <a:pt x="313" y="52"/>
                    </a:lnTo>
                    <a:lnTo>
                      <a:pt x="313" y="48"/>
                    </a:lnTo>
                    <a:lnTo>
                      <a:pt x="310" y="39"/>
                    </a:lnTo>
                    <a:lnTo>
                      <a:pt x="315" y="38"/>
                    </a:lnTo>
                    <a:lnTo>
                      <a:pt x="315" y="34"/>
                    </a:lnTo>
                    <a:lnTo>
                      <a:pt x="319" y="36"/>
                    </a:lnTo>
                    <a:lnTo>
                      <a:pt x="320" y="36"/>
                    </a:lnTo>
                    <a:lnTo>
                      <a:pt x="319" y="39"/>
                    </a:lnTo>
                    <a:lnTo>
                      <a:pt x="321" y="39"/>
                    </a:lnTo>
                    <a:lnTo>
                      <a:pt x="321" y="40"/>
                    </a:lnTo>
                    <a:lnTo>
                      <a:pt x="322" y="42"/>
                    </a:lnTo>
                    <a:lnTo>
                      <a:pt x="323" y="39"/>
                    </a:lnTo>
                    <a:lnTo>
                      <a:pt x="325" y="35"/>
                    </a:lnTo>
                    <a:lnTo>
                      <a:pt x="330" y="35"/>
                    </a:lnTo>
                    <a:lnTo>
                      <a:pt x="329" y="35"/>
                    </a:lnTo>
                    <a:lnTo>
                      <a:pt x="330" y="37"/>
                    </a:lnTo>
                    <a:lnTo>
                      <a:pt x="330" y="41"/>
                    </a:lnTo>
                    <a:lnTo>
                      <a:pt x="331" y="41"/>
                    </a:lnTo>
                    <a:lnTo>
                      <a:pt x="334" y="43"/>
                    </a:lnTo>
                    <a:lnTo>
                      <a:pt x="336" y="43"/>
                    </a:lnTo>
                    <a:lnTo>
                      <a:pt x="337" y="41"/>
                    </a:lnTo>
                    <a:lnTo>
                      <a:pt x="335" y="39"/>
                    </a:lnTo>
                    <a:lnTo>
                      <a:pt x="335" y="38"/>
                    </a:lnTo>
                    <a:lnTo>
                      <a:pt x="339" y="39"/>
                    </a:lnTo>
                    <a:lnTo>
                      <a:pt x="340" y="38"/>
                    </a:lnTo>
                    <a:lnTo>
                      <a:pt x="341" y="36"/>
                    </a:lnTo>
                    <a:lnTo>
                      <a:pt x="343" y="37"/>
                    </a:lnTo>
                    <a:lnTo>
                      <a:pt x="344" y="37"/>
                    </a:lnTo>
                    <a:lnTo>
                      <a:pt x="343" y="38"/>
                    </a:lnTo>
                    <a:lnTo>
                      <a:pt x="343" y="40"/>
                    </a:lnTo>
                    <a:lnTo>
                      <a:pt x="343" y="41"/>
                    </a:lnTo>
                    <a:lnTo>
                      <a:pt x="345" y="43"/>
                    </a:lnTo>
                    <a:lnTo>
                      <a:pt x="344" y="43"/>
                    </a:lnTo>
                    <a:lnTo>
                      <a:pt x="343" y="44"/>
                    </a:lnTo>
                    <a:lnTo>
                      <a:pt x="342" y="46"/>
                    </a:lnTo>
                    <a:lnTo>
                      <a:pt x="343" y="47"/>
                    </a:lnTo>
                    <a:lnTo>
                      <a:pt x="343" y="51"/>
                    </a:lnTo>
                    <a:lnTo>
                      <a:pt x="345" y="54"/>
                    </a:lnTo>
                    <a:lnTo>
                      <a:pt x="346" y="52"/>
                    </a:lnTo>
                    <a:lnTo>
                      <a:pt x="346" y="53"/>
                    </a:lnTo>
                    <a:lnTo>
                      <a:pt x="347" y="52"/>
                    </a:lnTo>
                    <a:lnTo>
                      <a:pt x="347" y="53"/>
                    </a:lnTo>
                    <a:lnTo>
                      <a:pt x="348" y="53"/>
                    </a:lnTo>
                    <a:lnTo>
                      <a:pt x="348" y="54"/>
                    </a:lnTo>
                    <a:lnTo>
                      <a:pt x="349" y="55"/>
                    </a:lnTo>
                    <a:lnTo>
                      <a:pt x="350" y="56"/>
                    </a:lnTo>
                    <a:lnTo>
                      <a:pt x="351" y="55"/>
                    </a:lnTo>
                    <a:lnTo>
                      <a:pt x="351" y="53"/>
                    </a:lnTo>
                    <a:lnTo>
                      <a:pt x="353" y="51"/>
                    </a:lnTo>
                    <a:lnTo>
                      <a:pt x="353" y="52"/>
                    </a:lnTo>
                    <a:lnTo>
                      <a:pt x="355" y="53"/>
                    </a:lnTo>
                    <a:lnTo>
                      <a:pt x="356" y="53"/>
                    </a:lnTo>
                    <a:lnTo>
                      <a:pt x="356" y="51"/>
                    </a:lnTo>
                    <a:lnTo>
                      <a:pt x="358" y="51"/>
                    </a:lnTo>
                    <a:lnTo>
                      <a:pt x="359" y="53"/>
                    </a:lnTo>
                    <a:lnTo>
                      <a:pt x="361" y="54"/>
                    </a:lnTo>
                    <a:lnTo>
                      <a:pt x="361" y="52"/>
                    </a:lnTo>
                    <a:lnTo>
                      <a:pt x="361" y="51"/>
                    </a:lnTo>
                    <a:lnTo>
                      <a:pt x="365" y="52"/>
                    </a:lnTo>
                    <a:lnTo>
                      <a:pt x="368" y="52"/>
                    </a:lnTo>
                    <a:lnTo>
                      <a:pt x="372" y="55"/>
                    </a:lnTo>
                    <a:lnTo>
                      <a:pt x="372" y="54"/>
                    </a:lnTo>
                    <a:lnTo>
                      <a:pt x="372" y="50"/>
                    </a:lnTo>
                    <a:lnTo>
                      <a:pt x="374" y="49"/>
                    </a:lnTo>
                    <a:lnTo>
                      <a:pt x="374" y="48"/>
                    </a:lnTo>
                    <a:lnTo>
                      <a:pt x="378" y="49"/>
                    </a:lnTo>
                    <a:lnTo>
                      <a:pt x="379" y="48"/>
                    </a:lnTo>
                    <a:lnTo>
                      <a:pt x="381" y="48"/>
                    </a:lnTo>
                    <a:lnTo>
                      <a:pt x="383" y="40"/>
                    </a:lnTo>
                    <a:lnTo>
                      <a:pt x="383" y="39"/>
                    </a:lnTo>
                    <a:lnTo>
                      <a:pt x="390" y="41"/>
                    </a:lnTo>
                    <a:lnTo>
                      <a:pt x="391" y="40"/>
                    </a:lnTo>
                    <a:lnTo>
                      <a:pt x="392" y="36"/>
                    </a:lnTo>
                    <a:lnTo>
                      <a:pt x="391" y="27"/>
                    </a:lnTo>
                    <a:lnTo>
                      <a:pt x="392" y="22"/>
                    </a:lnTo>
                    <a:lnTo>
                      <a:pt x="405" y="27"/>
                    </a:lnTo>
                    <a:lnTo>
                      <a:pt x="411" y="34"/>
                    </a:lnTo>
                    <a:lnTo>
                      <a:pt x="418" y="28"/>
                    </a:lnTo>
                    <a:lnTo>
                      <a:pt x="419" y="28"/>
                    </a:lnTo>
                    <a:lnTo>
                      <a:pt x="420" y="27"/>
                    </a:lnTo>
                    <a:lnTo>
                      <a:pt x="421" y="26"/>
                    </a:lnTo>
                    <a:lnTo>
                      <a:pt x="420" y="24"/>
                    </a:lnTo>
                    <a:lnTo>
                      <a:pt x="418" y="22"/>
                    </a:lnTo>
                    <a:lnTo>
                      <a:pt x="419" y="20"/>
                    </a:lnTo>
                    <a:lnTo>
                      <a:pt x="418" y="19"/>
                    </a:lnTo>
                    <a:lnTo>
                      <a:pt x="423" y="18"/>
                    </a:lnTo>
                    <a:lnTo>
                      <a:pt x="426" y="17"/>
                    </a:lnTo>
                    <a:lnTo>
                      <a:pt x="428" y="17"/>
                    </a:lnTo>
                    <a:lnTo>
                      <a:pt x="429" y="17"/>
                    </a:lnTo>
                    <a:lnTo>
                      <a:pt x="430" y="15"/>
                    </a:lnTo>
                    <a:lnTo>
                      <a:pt x="430" y="17"/>
                    </a:lnTo>
                    <a:lnTo>
                      <a:pt x="433" y="15"/>
                    </a:lnTo>
                    <a:lnTo>
                      <a:pt x="435" y="14"/>
                    </a:lnTo>
                    <a:lnTo>
                      <a:pt x="434" y="11"/>
                    </a:lnTo>
                    <a:lnTo>
                      <a:pt x="435" y="11"/>
                    </a:lnTo>
                    <a:lnTo>
                      <a:pt x="434" y="7"/>
                    </a:lnTo>
                    <a:lnTo>
                      <a:pt x="432" y="7"/>
                    </a:lnTo>
                    <a:lnTo>
                      <a:pt x="435" y="6"/>
                    </a:lnTo>
                    <a:lnTo>
                      <a:pt x="435" y="5"/>
                    </a:lnTo>
                    <a:lnTo>
                      <a:pt x="437" y="6"/>
                    </a:lnTo>
                    <a:lnTo>
                      <a:pt x="437" y="5"/>
                    </a:lnTo>
                    <a:lnTo>
                      <a:pt x="438" y="5"/>
                    </a:lnTo>
                    <a:lnTo>
                      <a:pt x="439" y="6"/>
                    </a:lnTo>
                    <a:lnTo>
                      <a:pt x="437" y="0"/>
                    </a:lnTo>
                    <a:lnTo>
                      <a:pt x="439" y="0"/>
                    </a:lnTo>
                    <a:lnTo>
                      <a:pt x="444" y="1"/>
                    </a:lnTo>
                    <a:lnTo>
                      <a:pt x="443" y="1"/>
                    </a:lnTo>
                    <a:lnTo>
                      <a:pt x="444" y="4"/>
                    </a:lnTo>
                    <a:lnTo>
                      <a:pt x="442" y="5"/>
                    </a:lnTo>
                    <a:lnTo>
                      <a:pt x="443" y="6"/>
                    </a:lnTo>
                    <a:lnTo>
                      <a:pt x="444" y="6"/>
                    </a:lnTo>
                    <a:lnTo>
                      <a:pt x="446" y="7"/>
                    </a:lnTo>
                    <a:lnTo>
                      <a:pt x="446" y="6"/>
                    </a:lnTo>
                    <a:lnTo>
                      <a:pt x="447" y="7"/>
                    </a:lnTo>
                    <a:lnTo>
                      <a:pt x="449" y="11"/>
                    </a:lnTo>
                    <a:lnTo>
                      <a:pt x="447" y="11"/>
                    </a:lnTo>
                    <a:lnTo>
                      <a:pt x="448" y="11"/>
                    </a:lnTo>
                    <a:lnTo>
                      <a:pt x="449" y="13"/>
                    </a:lnTo>
                    <a:lnTo>
                      <a:pt x="451" y="13"/>
                    </a:lnTo>
                    <a:lnTo>
                      <a:pt x="452" y="14"/>
                    </a:lnTo>
                    <a:lnTo>
                      <a:pt x="452" y="11"/>
                    </a:lnTo>
                    <a:lnTo>
                      <a:pt x="454" y="11"/>
                    </a:lnTo>
                    <a:lnTo>
                      <a:pt x="454" y="9"/>
                    </a:lnTo>
                    <a:lnTo>
                      <a:pt x="455" y="8"/>
                    </a:lnTo>
                    <a:lnTo>
                      <a:pt x="456" y="9"/>
                    </a:lnTo>
                    <a:lnTo>
                      <a:pt x="455" y="9"/>
                    </a:lnTo>
                    <a:lnTo>
                      <a:pt x="455" y="10"/>
                    </a:lnTo>
                    <a:lnTo>
                      <a:pt x="457" y="10"/>
                    </a:lnTo>
                    <a:lnTo>
                      <a:pt x="457" y="11"/>
                    </a:lnTo>
                    <a:lnTo>
                      <a:pt x="459" y="11"/>
                    </a:lnTo>
                    <a:lnTo>
                      <a:pt x="460" y="11"/>
                    </a:lnTo>
                    <a:lnTo>
                      <a:pt x="463" y="10"/>
                    </a:lnTo>
                    <a:lnTo>
                      <a:pt x="463" y="11"/>
                    </a:lnTo>
                    <a:lnTo>
                      <a:pt x="462" y="13"/>
                    </a:lnTo>
                    <a:lnTo>
                      <a:pt x="463" y="13"/>
                    </a:lnTo>
                    <a:lnTo>
                      <a:pt x="465" y="19"/>
                    </a:lnTo>
                    <a:lnTo>
                      <a:pt x="466" y="19"/>
                    </a:lnTo>
                    <a:lnTo>
                      <a:pt x="468" y="20"/>
                    </a:lnTo>
                    <a:lnTo>
                      <a:pt x="468" y="23"/>
                    </a:lnTo>
                    <a:lnTo>
                      <a:pt x="468" y="22"/>
                    </a:lnTo>
                    <a:lnTo>
                      <a:pt x="470" y="22"/>
                    </a:lnTo>
                    <a:lnTo>
                      <a:pt x="470" y="23"/>
                    </a:lnTo>
                    <a:lnTo>
                      <a:pt x="469" y="25"/>
                    </a:lnTo>
                    <a:lnTo>
                      <a:pt x="470" y="27"/>
                    </a:lnTo>
                    <a:lnTo>
                      <a:pt x="470" y="29"/>
                    </a:lnTo>
                    <a:lnTo>
                      <a:pt x="471" y="28"/>
                    </a:lnTo>
                    <a:lnTo>
                      <a:pt x="472" y="28"/>
                    </a:lnTo>
                    <a:lnTo>
                      <a:pt x="474" y="28"/>
                    </a:lnTo>
                    <a:lnTo>
                      <a:pt x="476" y="28"/>
                    </a:lnTo>
                    <a:lnTo>
                      <a:pt x="477" y="31"/>
                    </a:lnTo>
                    <a:lnTo>
                      <a:pt x="479" y="32"/>
                    </a:lnTo>
                    <a:lnTo>
                      <a:pt x="478" y="34"/>
                    </a:lnTo>
                    <a:lnTo>
                      <a:pt x="480" y="34"/>
                    </a:lnTo>
                    <a:lnTo>
                      <a:pt x="483" y="37"/>
                    </a:lnTo>
                    <a:lnTo>
                      <a:pt x="482" y="38"/>
                    </a:lnTo>
                    <a:lnTo>
                      <a:pt x="482" y="39"/>
                    </a:lnTo>
                    <a:lnTo>
                      <a:pt x="483" y="38"/>
                    </a:lnTo>
                    <a:lnTo>
                      <a:pt x="483" y="40"/>
                    </a:lnTo>
                    <a:lnTo>
                      <a:pt x="483" y="46"/>
                    </a:lnTo>
                    <a:lnTo>
                      <a:pt x="484" y="47"/>
                    </a:lnTo>
                    <a:lnTo>
                      <a:pt x="484" y="48"/>
                    </a:lnTo>
                    <a:lnTo>
                      <a:pt x="487" y="47"/>
                    </a:lnTo>
                    <a:lnTo>
                      <a:pt x="487" y="48"/>
                    </a:lnTo>
                    <a:lnTo>
                      <a:pt x="488" y="48"/>
                    </a:lnTo>
                    <a:lnTo>
                      <a:pt x="488" y="49"/>
                    </a:lnTo>
                    <a:lnTo>
                      <a:pt x="490" y="48"/>
                    </a:lnTo>
                    <a:lnTo>
                      <a:pt x="492" y="49"/>
                    </a:lnTo>
                    <a:lnTo>
                      <a:pt x="494" y="51"/>
                    </a:lnTo>
                    <a:lnTo>
                      <a:pt x="493" y="52"/>
                    </a:lnTo>
                    <a:lnTo>
                      <a:pt x="494" y="52"/>
                    </a:lnTo>
                    <a:lnTo>
                      <a:pt x="494" y="53"/>
                    </a:lnTo>
                    <a:lnTo>
                      <a:pt x="495" y="53"/>
                    </a:lnTo>
                    <a:lnTo>
                      <a:pt x="495" y="54"/>
                    </a:lnTo>
                    <a:lnTo>
                      <a:pt x="494" y="54"/>
                    </a:lnTo>
                    <a:lnTo>
                      <a:pt x="494" y="56"/>
                    </a:lnTo>
                    <a:lnTo>
                      <a:pt x="493" y="56"/>
                    </a:lnTo>
                    <a:lnTo>
                      <a:pt x="493" y="58"/>
                    </a:lnTo>
                    <a:lnTo>
                      <a:pt x="491" y="57"/>
                    </a:lnTo>
                    <a:lnTo>
                      <a:pt x="491" y="58"/>
                    </a:lnTo>
                    <a:lnTo>
                      <a:pt x="487" y="58"/>
                    </a:lnTo>
                    <a:lnTo>
                      <a:pt x="486" y="60"/>
                    </a:lnTo>
                    <a:lnTo>
                      <a:pt x="486" y="63"/>
                    </a:lnTo>
                    <a:lnTo>
                      <a:pt x="486" y="64"/>
                    </a:lnTo>
                    <a:lnTo>
                      <a:pt x="487" y="65"/>
                    </a:lnTo>
                    <a:lnTo>
                      <a:pt x="490" y="69"/>
                    </a:lnTo>
                    <a:lnTo>
                      <a:pt x="490" y="71"/>
                    </a:lnTo>
                    <a:lnTo>
                      <a:pt x="489" y="72"/>
                    </a:lnTo>
                    <a:lnTo>
                      <a:pt x="489" y="73"/>
                    </a:lnTo>
                    <a:lnTo>
                      <a:pt x="490" y="73"/>
                    </a:lnTo>
                    <a:lnTo>
                      <a:pt x="492" y="75"/>
                    </a:lnTo>
                    <a:lnTo>
                      <a:pt x="491" y="76"/>
                    </a:lnTo>
                    <a:lnTo>
                      <a:pt x="491" y="77"/>
                    </a:lnTo>
                    <a:lnTo>
                      <a:pt x="490" y="77"/>
                    </a:lnTo>
                    <a:lnTo>
                      <a:pt x="489" y="77"/>
                    </a:lnTo>
                    <a:lnTo>
                      <a:pt x="490" y="77"/>
                    </a:lnTo>
                    <a:lnTo>
                      <a:pt x="490" y="78"/>
                    </a:lnTo>
                    <a:lnTo>
                      <a:pt x="489" y="80"/>
                    </a:lnTo>
                    <a:lnTo>
                      <a:pt x="490" y="80"/>
                    </a:lnTo>
                    <a:lnTo>
                      <a:pt x="489" y="82"/>
                    </a:lnTo>
                    <a:lnTo>
                      <a:pt x="489" y="84"/>
                    </a:lnTo>
                    <a:lnTo>
                      <a:pt x="487" y="86"/>
                    </a:lnTo>
                    <a:lnTo>
                      <a:pt x="487" y="88"/>
                    </a:lnTo>
                    <a:lnTo>
                      <a:pt x="489" y="88"/>
                    </a:lnTo>
                    <a:lnTo>
                      <a:pt x="489" y="89"/>
                    </a:lnTo>
                    <a:lnTo>
                      <a:pt x="491" y="88"/>
                    </a:lnTo>
                    <a:lnTo>
                      <a:pt x="491" y="89"/>
                    </a:lnTo>
                    <a:lnTo>
                      <a:pt x="493" y="93"/>
                    </a:lnTo>
                    <a:lnTo>
                      <a:pt x="493" y="94"/>
                    </a:lnTo>
                    <a:lnTo>
                      <a:pt x="491" y="94"/>
                    </a:lnTo>
                    <a:lnTo>
                      <a:pt x="491" y="96"/>
                    </a:lnTo>
                    <a:lnTo>
                      <a:pt x="492" y="97"/>
                    </a:lnTo>
                    <a:lnTo>
                      <a:pt x="492" y="98"/>
                    </a:lnTo>
                    <a:lnTo>
                      <a:pt x="495" y="99"/>
                    </a:lnTo>
                    <a:lnTo>
                      <a:pt x="491" y="108"/>
                    </a:lnTo>
                    <a:lnTo>
                      <a:pt x="491" y="107"/>
                    </a:lnTo>
                    <a:lnTo>
                      <a:pt x="490" y="109"/>
                    </a:lnTo>
                    <a:lnTo>
                      <a:pt x="489" y="107"/>
                    </a:lnTo>
                    <a:lnTo>
                      <a:pt x="489" y="109"/>
                    </a:lnTo>
                    <a:lnTo>
                      <a:pt x="486" y="109"/>
                    </a:lnTo>
                    <a:lnTo>
                      <a:pt x="486" y="111"/>
                    </a:lnTo>
                    <a:lnTo>
                      <a:pt x="487" y="111"/>
                    </a:lnTo>
                    <a:lnTo>
                      <a:pt x="487" y="112"/>
                    </a:lnTo>
                    <a:lnTo>
                      <a:pt x="486" y="113"/>
                    </a:lnTo>
                    <a:lnTo>
                      <a:pt x="487" y="115"/>
                    </a:lnTo>
                    <a:lnTo>
                      <a:pt x="487" y="116"/>
                    </a:lnTo>
                    <a:lnTo>
                      <a:pt x="486" y="116"/>
                    </a:lnTo>
                    <a:lnTo>
                      <a:pt x="485" y="117"/>
                    </a:lnTo>
                    <a:lnTo>
                      <a:pt x="484" y="117"/>
                    </a:lnTo>
                    <a:lnTo>
                      <a:pt x="485" y="116"/>
                    </a:lnTo>
                    <a:lnTo>
                      <a:pt x="484" y="116"/>
                    </a:lnTo>
                    <a:lnTo>
                      <a:pt x="483" y="116"/>
                    </a:lnTo>
                    <a:lnTo>
                      <a:pt x="482" y="116"/>
                    </a:lnTo>
                    <a:lnTo>
                      <a:pt x="481" y="115"/>
                    </a:lnTo>
                    <a:lnTo>
                      <a:pt x="479" y="117"/>
                    </a:lnTo>
                    <a:lnTo>
                      <a:pt x="476" y="120"/>
                    </a:lnTo>
                    <a:lnTo>
                      <a:pt x="478" y="123"/>
                    </a:lnTo>
                    <a:lnTo>
                      <a:pt x="479" y="126"/>
                    </a:lnTo>
                    <a:lnTo>
                      <a:pt x="481" y="126"/>
                    </a:lnTo>
                    <a:lnTo>
                      <a:pt x="483" y="128"/>
                    </a:lnTo>
                    <a:lnTo>
                      <a:pt x="482" y="128"/>
                    </a:lnTo>
                    <a:lnTo>
                      <a:pt x="480" y="129"/>
                    </a:lnTo>
                    <a:lnTo>
                      <a:pt x="481" y="133"/>
                    </a:lnTo>
                    <a:lnTo>
                      <a:pt x="481" y="135"/>
                    </a:lnTo>
                    <a:lnTo>
                      <a:pt x="483" y="137"/>
                    </a:lnTo>
                    <a:lnTo>
                      <a:pt x="485" y="139"/>
                    </a:lnTo>
                    <a:lnTo>
                      <a:pt x="487" y="140"/>
                    </a:lnTo>
                    <a:lnTo>
                      <a:pt x="489" y="139"/>
                    </a:lnTo>
                    <a:lnTo>
                      <a:pt x="491" y="136"/>
                    </a:lnTo>
                    <a:lnTo>
                      <a:pt x="492" y="139"/>
                    </a:lnTo>
                    <a:lnTo>
                      <a:pt x="496" y="141"/>
                    </a:lnTo>
                    <a:lnTo>
                      <a:pt x="497" y="141"/>
                    </a:lnTo>
                    <a:lnTo>
                      <a:pt x="496" y="142"/>
                    </a:lnTo>
                    <a:lnTo>
                      <a:pt x="495" y="142"/>
                    </a:lnTo>
                    <a:lnTo>
                      <a:pt x="495" y="146"/>
                    </a:lnTo>
                    <a:lnTo>
                      <a:pt x="496" y="146"/>
                    </a:lnTo>
                    <a:lnTo>
                      <a:pt x="498" y="145"/>
                    </a:lnTo>
                    <a:lnTo>
                      <a:pt x="498" y="146"/>
                    </a:lnTo>
                    <a:lnTo>
                      <a:pt x="499" y="148"/>
                    </a:lnTo>
                    <a:lnTo>
                      <a:pt x="500" y="148"/>
                    </a:lnTo>
                    <a:lnTo>
                      <a:pt x="501" y="150"/>
                    </a:lnTo>
                    <a:lnTo>
                      <a:pt x="502" y="150"/>
                    </a:lnTo>
                    <a:lnTo>
                      <a:pt x="503" y="152"/>
                    </a:lnTo>
                    <a:lnTo>
                      <a:pt x="503" y="154"/>
                    </a:lnTo>
                    <a:lnTo>
                      <a:pt x="502" y="153"/>
                    </a:lnTo>
                    <a:lnTo>
                      <a:pt x="499" y="155"/>
                    </a:lnTo>
                    <a:lnTo>
                      <a:pt x="499" y="156"/>
                    </a:lnTo>
                    <a:lnTo>
                      <a:pt x="501" y="157"/>
                    </a:lnTo>
                    <a:lnTo>
                      <a:pt x="501" y="159"/>
                    </a:lnTo>
                    <a:lnTo>
                      <a:pt x="499" y="161"/>
                    </a:lnTo>
                    <a:lnTo>
                      <a:pt x="501" y="162"/>
                    </a:lnTo>
                    <a:lnTo>
                      <a:pt x="504" y="165"/>
                    </a:lnTo>
                    <a:lnTo>
                      <a:pt x="504" y="166"/>
                    </a:lnTo>
                    <a:lnTo>
                      <a:pt x="505" y="167"/>
                    </a:lnTo>
                    <a:lnTo>
                      <a:pt x="506" y="165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8" y="167"/>
                    </a:lnTo>
                    <a:lnTo>
                      <a:pt x="508" y="165"/>
                    </a:lnTo>
                    <a:lnTo>
                      <a:pt x="512" y="166"/>
                    </a:lnTo>
                    <a:lnTo>
                      <a:pt x="514" y="164"/>
                    </a:lnTo>
                    <a:lnTo>
                      <a:pt x="515" y="164"/>
                    </a:lnTo>
                    <a:lnTo>
                      <a:pt x="515" y="165"/>
                    </a:lnTo>
                    <a:lnTo>
                      <a:pt x="517" y="167"/>
                    </a:lnTo>
                    <a:lnTo>
                      <a:pt x="518" y="167"/>
                    </a:lnTo>
                    <a:lnTo>
                      <a:pt x="519" y="168"/>
                    </a:lnTo>
                    <a:lnTo>
                      <a:pt x="520" y="167"/>
                    </a:lnTo>
                    <a:lnTo>
                      <a:pt x="522" y="169"/>
                    </a:lnTo>
                    <a:lnTo>
                      <a:pt x="525" y="171"/>
                    </a:lnTo>
                    <a:lnTo>
                      <a:pt x="524" y="171"/>
                    </a:lnTo>
                    <a:lnTo>
                      <a:pt x="525" y="173"/>
                    </a:lnTo>
                    <a:lnTo>
                      <a:pt x="526" y="172"/>
                    </a:lnTo>
                    <a:lnTo>
                      <a:pt x="528" y="171"/>
                    </a:lnTo>
                    <a:lnTo>
                      <a:pt x="529" y="168"/>
                    </a:lnTo>
                    <a:lnTo>
                      <a:pt x="532" y="169"/>
                    </a:lnTo>
                    <a:lnTo>
                      <a:pt x="533" y="167"/>
                    </a:lnTo>
                    <a:lnTo>
                      <a:pt x="535" y="167"/>
                    </a:lnTo>
                    <a:lnTo>
                      <a:pt x="536" y="167"/>
                    </a:lnTo>
                    <a:lnTo>
                      <a:pt x="538" y="167"/>
                    </a:lnTo>
                    <a:lnTo>
                      <a:pt x="538" y="165"/>
                    </a:lnTo>
                    <a:lnTo>
                      <a:pt x="538" y="167"/>
                    </a:lnTo>
                    <a:lnTo>
                      <a:pt x="539" y="167"/>
                    </a:lnTo>
                    <a:lnTo>
                      <a:pt x="539" y="170"/>
                    </a:lnTo>
                    <a:lnTo>
                      <a:pt x="540" y="170"/>
                    </a:lnTo>
                    <a:lnTo>
                      <a:pt x="540" y="171"/>
                    </a:lnTo>
                    <a:lnTo>
                      <a:pt x="541" y="171"/>
                    </a:lnTo>
                    <a:lnTo>
                      <a:pt x="543" y="172"/>
                    </a:lnTo>
                    <a:lnTo>
                      <a:pt x="543" y="173"/>
                    </a:lnTo>
                    <a:lnTo>
                      <a:pt x="544" y="173"/>
                    </a:lnTo>
                    <a:lnTo>
                      <a:pt x="545" y="175"/>
                    </a:lnTo>
                    <a:lnTo>
                      <a:pt x="543" y="176"/>
                    </a:lnTo>
                    <a:lnTo>
                      <a:pt x="544" y="178"/>
                    </a:lnTo>
                    <a:lnTo>
                      <a:pt x="544" y="179"/>
                    </a:lnTo>
                    <a:lnTo>
                      <a:pt x="543" y="179"/>
                    </a:lnTo>
                    <a:lnTo>
                      <a:pt x="544" y="182"/>
                    </a:lnTo>
                    <a:lnTo>
                      <a:pt x="543" y="185"/>
                    </a:lnTo>
                    <a:lnTo>
                      <a:pt x="544" y="185"/>
                    </a:lnTo>
                    <a:lnTo>
                      <a:pt x="545" y="188"/>
                    </a:lnTo>
                    <a:lnTo>
                      <a:pt x="543" y="189"/>
                    </a:lnTo>
                    <a:lnTo>
                      <a:pt x="541" y="189"/>
                    </a:lnTo>
                    <a:lnTo>
                      <a:pt x="540" y="190"/>
                    </a:lnTo>
                    <a:lnTo>
                      <a:pt x="541" y="191"/>
                    </a:lnTo>
                    <a:lnTo>
                      <a:pt x="541" y="197"/>
                    </a:lnTo>
                    <a:lnTo>
                      <a:pt x="540" y="200"/>
                    </a:lnTo>
                    <a:lnTo>
                      <a:pt x="542" y="201"/>
                    </a:lnTo>
                    <a:lnTo>
                      <a:pt x="542" y="203"/>
                    </a:lnTo>
                    <a:lnTo>
                      <a:pt x="543" y="203"/>
                    </a:lnTo>
                    <a:lnTo>
                      <a:pt x="545" y="205"/>
                    </a:lnTo>
                    <a:lnTo>
                      <a:pt x="544" y="209"/>
                    </a:lnTo>
                    <a:lnTo>
                      <a:pt x="545" y="207"/>
                    </a:lnTo>
                    <a:lnTo>
                      <a:pt x="545" y="209"/>
                    </a:lnTo>
                    <a:lnTo>
                      <a:pt x="546" y="209"/>
                    </a:lnTo>
                    <a:lnTo>
                      <a:pt x="544" y="211"/>
                    </a:lnTo>
                    <a:lnTo>
                      <a:pt x="547" y="210"/>
                    </a:lnTo>
                    <a:lnTo>
                      <a:pt x="545" y="212"/>
                    </a:lnTo>
                    <a:lnTo>
                      <a:pt x="545" y="215"/>
                    </a:lnTo>
                    <a:lnTo>
                      <a:pt x="544" y="217"/>
                    </a:lnTo>
                    <a:lnTo>
                      <a:pt x="543" y="216"/>
                    </a:lnTo>
                    <a:lnTo>
                      <a:pt x="542" y="218"/>
                    </a:lnTo>
                    <a:lnTo>
                      <a:pt x="543" y="219"/>
                    </a:lnTo>
                    <a:lnTo>
                      <a:pt x="543" y="220"/>
                    </a:lnTo>
                    <a:lnTo>
                      <a:pt x="542" y="222"/>
                    </a:lnTo>
                    <a:lnTo>
                      <a:pt x="541" y="221"/>
                    </a:lnTo>
                    <a:lnTo>
                      <a:pt x="541" y="222"/>
                    </a:lnTo>
                    <a:lnTo>
                      <a:pt x="540" y="223"/>
                    </a:lnTo>
                    <a:lnTo>
                      <a:pt x="539" y="225"/>
                    </a:lnTo>
                    <a:lnTo>
                      <a:pt x="537" y="224"/>
                    </a:lnTo>
                    <a:lnTo>
                      <a:pt x="536" y="227"/>
                    </a:lnTo>
                    <a:lnTo>
                      <a:pt x="536" y="226"/>
                    </a:lnTo>
                    <a:lnTo>
                      <a:pt x="535" y="226"/>
                    </a:lnTo>
                    <a:lnTo>
                      <a:pt x="535" y="228"/>
                    </a:lnTo>
                    <a:lnTo>
                      <a:pt x="534" y="228"/>
                    </a:lnTo>
                    <a:lnTo>
                      <a:pt x="533" y="227"/>
                    </a:lnTo>
                    <a:lnTo>
                      <a:pt x="532" y="229"/>
                    </a:lnTo>
                    <a:lnTo>
                      <a:pt x="534" y="229"/>
                    </a:lnTo>
                    <a:lnTo>
                      <a:pt x="537" y="232"/>
                    </a:lnTo>
                    <a:lnTo>
                      <a:pt x="537" y="233"/>
                    </a:lnTo>
                    <a:lnTo>
                      <a:pt x="533" y="236"/>
                    </a:lnTo>
                    <a:lnTo>
                      <a:pt x="530" y="237"/>
                    </a:lnTo>
                    <a:lnTo>
                      <a:pt x="534" y="239"/>
                    </a:lnTo>
                    <a:lnTo>
                      <a:pt x="538" y="238"/>
                    </a:lnTo>
                    <a:lnTo>
                      <a:pt x="540" y="241"/>
                    </a:lnTo>
                    <a:lnTo>
                      <a:pt x="541" y="243"/>
                    </a:lnTo>
                    <a:lnTo>
                      <a:pt x="543" y="244"/>
                    </a:lnTo>
                    <a:lnTo>
                      <a:pt x="544" y="243"/>
                    </a:lnTo>
                    <a:lnTo>
                      <a:pt x="544" y="241"/>
                    </a:lnTo>
                    <a:lnTo>
                      <a:pt x="545" y="243"/>
                    </a:lnTo>
                    <a:lnTo>
                      <a:pt x="546" y="243"/>
                    </a:lnTo>
                    <a:lnTo>
                      <a:pt x="546" y="244"/>
                    </a:lnTo>
                    <a:lnTo>
                      <a:pt x="550" y="248"/>
                    </a:lnTo>
                    <a:lnTo>
                      <a:pt x="552" y="249"/>
                    </a:lnTo>
                    <a:lnTo>
                      <a:pt x="553" y="249"/>
                    </a:lnTo>
                    <a:lnTo>
                      <a:pt x="555" y="250"/>
                    </a:lnTo>
                    <a:lnTo>
                      <a:pt x="552" y="254"/>
                    </a:lnTo>
                    <a:lnTo>
                      <a:pt x="552" y="257"/>
                    </a:lnTo>
                    <a:lnTo>
                      <a:pt x="551" y="256"/>
                    </a:lnTo>
                    <a:lnTo>
                      <a:pt x="550" y="256"/>
                    </a:lnTo>
                    <a:lnTo>
                      <a:pt x="551" y="260"/>
                    </a:lnTo>
                    <a:lnTo>
                      <a:pt x="548" y="262"/>
                    </a:lnTo>
                    <a:lnTo>
                      <a:pt x="546" y="260"/>
                    </a:lnTo>
                    <a:lnTo>
                      <a:pt x="546" y="258"/>
                    </a:lnTo>
                    <a:lnTo>
                      <a:pt x="545" y="257"/>
                    </a:lnTo>
                    <a:lnTo>
                      <a:pt x="543" y="258"/>
                    </a:lnTo>
                    <a:lnTo>
                      <a:pt x="541" y="262"/>
                    </a:lnTo>
                    <a:lnTo>
                      <a:pt x="543" y="265"/>
                    </a:lnTo>
                    <a:lnTo>
                      <a:pt x="545" y="263"/>
                    </a:lnTo>
                    <a:lnTo>
                      <a:pt x="546" y="267"/>
                    </a:lnTo>
                    <a:lnTo>
                      <a:pt x="548" y="267"/>
                    </a:lnTo>
                    <a:lnTo>
                      <a:pt x="546" y="267"/>
                    </a:lnTo>
                    <a:lnTo>
                      <a:pt x="544" y="266"/>
                    </a:lnTo>
                    <a:lnTo>
                      <a:pt x="543" y="267"/>
                    </a:lnTo>
                    <a:lnTo>
                      <a:pt x="542" y="267"/>
                    </a:lnTo>
                    <a:lnTo>
                      <a:pt x="541" y="267"/>
                    </a:lnTo>
                    <a:lnTo>
                      <a:pt x="542" y="271"/>
                    </a:lnTo>
                    <a:lnTo>
                      <a:pt x="543" y="273"/>
                    </a:lnTo>
                    <a:lnTo>
                      <a:pt x="542" y="279"/>
                    </a:lnTo>
                    <a:lnTo>
                      <a:pt x="540" y="278"/>
                    </a:lnTo>
                    <a:lnTo>
                      <a:pt x="538" y="279"/>
                    </a:lnTo>
                    <a:lnTo>
                      <a:pt x="537" y="278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5" y="279"/>
                    </a:lnTo>
                    <a:lnTo>
                      <a:pt x="534" y="278"/>
                    </a:lnTo>
                    <a:lnTo>
                      <a:pt x="533" y="279"/>
                    </a:lnTo>
                    <a:lnTo>
                      <a:pt x="532" y="280"/>
                    </a:lnTo>
                    <a:lnTo>
                      <a:pt x="533" y="282"/>
                    </a:lnTo>
                    <a:lnTo>
                      <a:pt x="538" y="283"/>
                    </a:lnTo>
                    <a:lnTo>
                      <a:pt x="537" y="284"/>
                    </a:lnTo>
                    <a:lnTo>
                      <a:pt x="539" y="283"/>
                    </a:lnTo>
                    <a:lnTo>
                      <a:pt x="539" y="285"/>
                    </a:lnTo>
                    <a:lnTo>
                      <a:pt x="538" y="286"/>
                    </a:lnTo>
                    <a:lnTo>
                      <a:pt x="538" y="285"/>
                    </a:lnTo>
                    <a:lnTo>
                      <a:pt x="537" y="286"/>
                    </a:lnTo>
                    <a:lnTo>
                      <a:pt x="535" y="284"/>
                    </a:lnTo>
                    <a:lnTo>
                      <a:pt x="535" y="285"/>
                    </a:lnTo>
                    <a:lnTo>
                      <a:pt x="536" y="286"/>
                    </a:lnTo>
                    <a:lnTo>
                      <a:pt x="534" y="284"/>
                    </a:lnTo>
                    <a:lnTo>
                      <a:pt x="533" y="284"/>
                    </a:lnTo>
                    <a:lnTo>
                      <a:pt x="530" y="286"/>
                    </a:lnTo>
                    <a:lnTo>
                      <a:pt x="528" y="286"/>
                    </a:lnTo>
                    <a:lnTo>
                      <a:pt x="530" y="288"/>
                    </a:lnTo>
                    <a:lnTo>
                      <a:pt x="530" y="290"/>
                    </a:lnTo>
                    <a:lnTo>
                      <a:pt x="530" y="292"/>
                    </a:lnTo>
                    <a:lnTo>
                      <a:pt x="532" y="293"/>
                    </a:lnTo>
                    <a:lnTo>
                      <a:pt x="532" y="294"/>
                    </a:lnTo>
                    <a:lnTo>
                      <a:pt x="533" y="294"/>
                    </a:lnTo>
                    <a:lnTo>
                      <a:pt x="533" y="296"/>
                    </a:lnTo>
                    <a:lnTo>
                      <a:pt x="535" y="297"/>
                    </a:lnTo>
                    <a:lnTo>
                      <a:pt x="536" y="298"/>
                    </a:lnTo>
                    <a:lnTo>
                      <a:pt x="537" y="299"/>
                    </a:lnTo>
                    <a:lnTo>
                      <a:pt x="539" y="297"/>
                    </a:lnTo>
                    <a:lnTo>
                      <a:pt x="542" y="298"/>
                    </a:lnTo>
                    <a:lnTo>
                      <a:pt x="541" y="299"/>
                    </a:lnTo>
                    <a:lnTo>
                      <a:pt x="541" y="298"/>
                    </a:lnTo>
                    <a:lnTo>
                      <a:pt x="542" y="300"/>
                    </a:lnTo>
                    <a:lnTo>
                      <a:pt x="543" y="300"/>
                    </a:lnTo>
                    <a:lnTo>
                      <a:pt x="545" y="301"/>
                    </a:lnTo>
                    <a:lnTo>
                      <a:pt x="543" y="302"/>
                    </a:lnTo>
                    <a:lnTo>
                      <a:pt x="542" y="302"/>
                    </a:lnTo>
                    <a:lnTo>
                      <a:pt x="543" y="303"/>
                    </a:lnTo>
                    <a:lnTo>
                      <a:pt x="544" y="304"/>
                    </a:lnTo>
                    <a:lnTo>
                      <a:pt x="545" y="304"/>
                    </a:lnTo>
                    <a:lnTo>
                      <a:pt x="546" y="304"/>
                    </a:lnTo>
                    <a:lnTo>
                      <a:pt x="548" y="306"/>
                    </a:lnTo>
                    <a:lnTo>
                      <a:pt x="552" y="304"/>
                    </a:lnTo>
                    <a:lnTo>
                      <a:pt x="552" y="306"/>
                    </a:lnTo>
                    <a:lnTo>
                      <a:pt x="553" y="307"/>
                    </a:lnTo>
                    <a:lnTo>
                      <a:pt x="552" y="307"/>
                    </a:lnTo>
                    <a:lnTo>
                      <a:pt x="552" y="310"/>
                    </a:lnTo>
                    <a:lnTo>
                      <a:pt x="553" y="310"/>
                    </a:lnTo>
                    <a:lnTo>
                      <a:pt x="555" y="306"/>
                    </a:lnTo>
                    <a:lnTo>
                      <a:pt x="555" y="307"/>
                    </a:lnTo>
                    <a:lnTo>
                      <a:pt x="555" y="309"/>
                    </a:lnTo>
                    <a:lnTo>
                      <a:pt x="556" y="309"/>
                    </a:lnTo>
                    <a:lnTo>
                      <a:pt x="555" y="310"/>
                    </a:lnTo>
                    <a:lnTo>
                      <a:pt x="555" y="313"/>
                    </a:lnTo>
                    <a:lnTo>
                      <a:pt x="552" y="314"/>
                    </a:lnTo>
                    <a:lnTo>
                      <a:pt x="552" y="315"/>
                    </a:lnTo>
                    <a:lnTo>
                      <a:pt x="552" y="316"/>
                    </a:lnTo>
                    <a:lnTo>
                      <a:pt x="555" y="319"/>
                    </a:lnTo>
                    <a:lnTo>
                      <a:pt x="562" y="326"/>
                    </a:lnTo>
                    <a:lnTo>
                      <a:pt x="563" y="325"/>
                    </a:lnTo>
                    <a:lnTo>
                      <a:pt x="564" y="325"/>
                    </a:lnTo>
                    <a:lnTo>
                      <a:pt x="564" y="327"/>
                    </a:lnTo>
                    <a:lnTo>
                      <a:pt x="565" y="326"/>
                    </a:lnTo>
                    <a:lnTo>
                      <a:pt x="566" y="327"/>
                    </a:lnTo>
                    <a:lnTo>
                      <a:pt x="566" y="329"/>
                    </a:lnTo>
                    <a:lnTo>
                      <a:pt x="567" y="330"/>
                    </a:lnTo>
                    <a:lnTo>
                      <a:pt x="568" y="328"/>
                    </a:lnTo>
                    <a:lnTo>
                      <a:pt x="569" y="331"/>
                    </a:lnTo>
                    <a:lnTo>
                      <a:pt x="568" y="333"/>
                    </a:lnTo>
                    <a:lnTo>
                      <a:pt x="569" y="333"/>
                    </a:lnTo>
                    <a:lnTo>
                      <a:pt x="568" y="335"/>
                    </a:lnTo>
                    <a:lnTo>
                      <a:pt x="569" y="337"/>
                    </a:lnTo>
                    <a:lnTo>
                      <a:pt x="568" y="336"/>
                    </a:lnTo>
                    <a:lnTo>
                      <a:pt x="566" y="337"/>
                    </a:lnTo>
                    <a:lnTo>
                      <a:pt x="564" y="339"/>
                    </a:lnTo>
                    <a:lnTo>
                      <a:pt x="567" y="344"/>
                    </a:lnTo>
                    <a:lnTo>
                      <a:pt x="568" y="344"/>
                    </a:lnTo>
                    <a:lnTo>
                      <a:pt x="568" y="345"/>
                    </a:lnTo>
                    <a:lnTo>
                      <a:pt x="568" y="347"/>
                    </a:lnTo>
                    <a:lnTo>
                      <a:pt x="568" y="348"/>
                    </a:lnTo>
                    <a:lnTo>
                      <a:pt x="567" y="348"/>
                    </a:lnTo>
                    <a:lnTo>
                      <a:pt x="566" y="347"/>
                    </a:lnTo>
                    <a:lnTo>
                      <a:pt x="566" y="350"/>
                    </a:lnTo>
                    <a:lnTo>
                      <a:pt x="565" y="350"/>
                    </a:lnTo>
                    <a:lnTo>
                      <a:pt x="564" y="352"/>
                    </a:lnTo>
                    <a:lnTo>
                      <a:pt x="564" y="353"/>
                    </a:lnTo>
                    <a:lnTo>
                      <a:pt x="561" y="356"/>
                    </a:lnTo>
                    <a:lnTo>
                      <a:pt x="563" y="357"/>
                    </a:lnTo>
                    <a:lnTo>
                      <a:pt x="561" y="358"/>
                    </a:lnTo>
                    <a:lnTo>
                      <a:pt x="558" y="359"/>
                    </a:lnTo>
                    <a:lnTo>
                      <a:pt x="557" y="359"/>
                    </a:lnTo>
                    <a:lnTo>
                      <a:pt x="557" y="360"/>
                    </a:lnTo>
                    <a:lnTo>
                      <a:pt x="556" y="361"/>
                    </a:lnTo>
                    <a:lnTo>
                      <a:pt x="558" y="363"/>
                    </a:lnTo>
                    <a:lnTo>
                      <a:pt x="558" y="365"/>
                    </a:lnTo>
                    <a:lnTo>
                      <a:pt x="557" y="367"/>
                    </a:lnTo>
                    <a:lnTo>
                      <a:pt x="558" y="368"/>
                    </a:lnTo>
                    <a:lnTo>
                      <a:pt x="557" y="371"/>
                    </a:lnTo>
                    <a:lnTo>
                      <a:pt x="556" y="371"/>
                    </a:lnTo>
                    <a:lnTo>
                      <a:pt x="556" y="369"/>
                    </a:lnTo>
                    <a:lnTo>
                      <a:pt x="555" y="371"/>
                    </a:lnTo>
                    <a:lnTo>
                      <a:pt x="556" y="373"/>
                    </a:lnTo>
                    <a:lnTo>
                      <a:pt x="556" y="375"/>
                    </a:lnTo>
                    <a:lnTo>
                      <a:pt x="555" y="375"/>
                    </a:lnTo>
                    <a:lnTo>
                      <a:pt x="554" y="376"/>
                    </a:lnTo>
                    <a:lnTo>
                      <a:pt x="554" y="378"/>
                    </a:lnTo>
                    <a:lnTo>
                      <a:pt x="552" y="380"/>
                    </a:lnTo>
                    <a:lnTo>
                      <a:pt x="551" y="378"/>
                    </a:lnTo>
                    <a:lnTo>
                      <a:pt x="548" y="379"/>
                    </a:lnTo>
                    <a:lnTo>
                      <a:pt x="548" y="380"/>
                    </a:lnTo>
                    <a:lnTo>
                      <a:pt x="548" y="382"/>
                    </a:lnTo>
                    <a:lnTo>
                      <a:pt x="546" y="383"/>
                    </a:lnTo>
                    <a:lnTo>
                      <a:pt x="544" y="383"/>
                    </a:lnTo>
                    <a:lnTo>
                      <a:pt x="544" y="384"/>
                    </a:lnTo>
                    <a:lnTo>
                      <a:pt x="543" y="382"/>
                    </a:lnTo>
                    <a:lnTo>
                      <a:pt x="541" y="380"/>
                    </a:lnTo>
                    <a:lnTo>
                      <a:pt x="540" y="381"/>
                    </a:lnTo>
                    <a:lnTo>
                      <a:pt x="535" y="385"/>
                    </a:lnTo>
                    <a:lnTo>
                      <a:pt x="535" y="386"/>
                    </a:lnTo>
                    <a:lnTo>
                      <a:pt x="533" y="386"/>
                    </a:lnTo>
                    <a:lnTo>
                      <a:pt x="532" y="388"/>
                    </a:lnTo>
                    <a:lnTo>
                      <a:pt x="530" y="390"/>
                    </a:lnTo>
                    <a:lnTo>
                      <a:pt x="530" y="392"/>
                    </a:lnTo>
                    <a:lnTo>
                      <a:pt x="531" y="394"/>
                    </a:lnTo>
                    <a:lnTo>
                      <a:pt x="533" y="394"/>
                    </a:lnTo>
                    <a:lnTo>
                      <a:pt x="534" y="394"/>
                    </a:lnTo>
                    <a:lnTo>
                      <a:pt x="533" y="395"/>
                    </a:lnTo>
                    <a:lnTo>
                      <a:pt x="535" y="397"/>
                    </a:lnTo>
                    <a:lnTo>
                      <a:pt x="534" y="399"/>
                    </a:lnTo>
                    <a:lnTo>
                      <a:pt x="536" y="400"/>
                    </a:lnTo>
                    <a:lnTo>
                      <a:pt x="535" y="401"/>
                    </a:lnTo>
                    <a:lnTo>
                      <a:pt x="535" y="402"/>
                    </a:lnTo>
                    <a:lnTo>
                      <a:pt x="533" y="403"/>
                    </a:lnTo>
                    <a:lnTo>
                      <a:pt x="532" y="403"/>
                    </a:lnTo>
                    <a:lnTo>
                      <a:pt x="531" y="405"/>
                    </a:lnTo>
                    <a:lnTo>
                      <a:pt x="530" y="404"/>
                    </a:lnTo>
                    <a:lnTo>
                      <a:pt x="529" y="404"/>
                    </a:lnTo>
                    <a:lnTo>
                      <a:pt x="528" y="403"/>
                    </a:lnTo>
                    <a:lnTo>
                      <a:pt x="527" y="404"/>
                    </a:lnTo>
                    <a:lnTo>
                      <a:pt x="524" y="401"/>
                    </a:lnTo>
                    <a:lnTo>
                      <a:pt x="524" y="403"/>
                    </a:lnTo>
                    <a:lnTo>
                      <a:pt x="523" y="403"/>
                    </a:lnTo>
                    <a:lnTo>
                      <a:pt x="522" y="402"/>
                    </a:lnTo>
                    <a:lnTo>
                      <a:pt x="522" y="399"/>
                    </a:lnTo>
                    <a:lnTo>
                      <a:pt x="521" y="400"/>
                    </a:lnTo>
                    <a:lnTo>
                      <a:pt x="520" y="399"/>
                    </a:lnTo>
                    <a:lnTo>
                      <a:pt x="519" y="402"/>
                    </a:lnTo>
                    <a:lnTo>
                      <a:pt x="517" y="404"/>
                    </a:lnTo>
                    <a:lnTo>
                      <a:pt x="516" y="407"/>
                    </a:lnTo>
                    <a:lnTo>
                      <a:pt x="517" y="407"/>
                    </a:lnTo>
                    <a:lnTo>
                      <a:pt x="515" y="408"/>
                    </a:lnTo>
                    <a:lnTo>
                      <a:pt x="515" y="411"/>
                    </a:lnTo>
                    <a:lnTo>
                      <a:pt x="515" y="409"/>
                    </a:lnTo>
                    <a:lnTo>
                      <a:pt x="513" y="408"/>
                    </a:lnTo>
                    <a:lnTo>
                      <a:pt x="510" y="412"/>
                    </a:lnTo>
                    <a:lnTo>
                      <a:pt x="507" y="409"/>
                    </a:lnTo>
                    <a:lnTo>
                      <a:pt x="504" y="411"/>
                    </a:lnTo>
                    <a:lnTo>
                      <a:pt x="501" y="413"/>
                    </a:lnTo>
                    <a:lnTo>
                      <a:pt x="500" y="412"/>
                    </a:lnTo>
                    <a:lnTo>
                      <a:pt x="499" y="413"/>
                    </a:lnTo>
                    <a:lnTo>
                      <a:pt x="498" y="412"/>
                    </a:lnTo>
                    <a:lnTo>
                      <a:pt x="496" y="412"/>
                    </a:lnTo>
                    <a:lnTo>
                      <a:pt x="496" y="411"/>
                    </a:lnTo>
                    <a:lnTo>
                      <a:pt x="496" y="413"/>
                    </a:lnTo>
                    <a:lnTo>
                      <a:pt x="496" y="412"/>
                    </a:lnTo>
                    <a:lnTo>
                      <a:pt x="495" y="412"/>
                    </a:lnTo>
                    <a:lnTo>
                      <a:pt x="492" y="412"/>
                    </a:lnTo>
                    <a:lnTo>
                      <a:pt x="492" y="415"/>
                    </a:lnTo>
                    <a:lnTo>
                      <a:pt x="491" y="414"/>
                    </a:lnTo>
                    <a:lnTo>
                      <a:pt x="490" y="414"/>
                    </a:lnTo>
                    <a:lnTo>
                      <a:pt x="491" y="416"/>
                    </a:lnTo>
                    <a:lnTo>
                      <a:pt x="487" y="417"/>
                    </a:lnTo>
                    <a:lnTo>
                      <a:pt x="487" y="416"/>
                    </a:lnTo>
                    <a:lnTo>
                      <a:pt x="486" y="418"/>
                    </a:lnTo>
                    <a:lnTo>
                      <a:pt x="486" y="416"/>
                    </a:lnTo>
                    <a:lnTo>
                      <a:pt x="484" y="417"/>
                    </a:lnTo>
                    <a:lnTo>
                      <a:pt x="484" y="416"/>
                    </a:lnTo>
                    <a:lnTo>
                      <a:pt x="482" y="416"/>
                    </a:lnTo>
                    <a:lnTo>
                      <a:pt x="484" y="413"/>
                    </a:lnTo>
                    <a:lnTo>
                      <a:pt x="484" y="412"/>
                    </a:lnTo>
                    <a:lnTo>
                      <a:pt x="483" y="412"/>
                    </a:lnTo>
                    <a:lnTo>
                      <a:pt x="481" y="413"/>
                    </a:lnTo>
                    <a:lnTo>
                      <a:pt x="480" y="412"/>
                    </a:lnTo>
                    <a:lnTo>
                      <a:pt x="479" y="414"/>
                    </a:lnTo>
                    <a:lnTo>
                      <a:pt x="477" y="414"/>
                    </a:lnTo>
                    <a:lnTo>
                      <a:pt x="476" y="414"/>
                    </a:lnTo>
                    <a:lnTo>
                      <a:pt x="475" y="416"/>
                    </a:lnTo>
                    <a:lnTo>
                      <a:pt x="474" y="416"/>
                    </a:lnTo>
                    <a:lnTo>
                      <a:pt x="474" y="418"/>
                    </a:lnTo>
                    <a:lnTo>
                      <a:pt x="475" y="418"/>
                    </a:lnTo>
                    <a:lnTo>
                      <a:pt x="475" y="419"/>
                    </a:lnTo>
                    <a:lnTo>
                      <a:pt x="475" y="420"/>
                    </a:lnTo>
                    <a:lnTo>
                      <a:pt x="472" y="421"/>
                    </a:lnTo>
                    <a:lnTo>
                      <a:pt x="472" y="425"/>
                    </a:lnTo>
                    <a:lnTo>
                      <a:pt x="472" y="428"/>
                    </a:lnTo>
                    <a:lnTo>
                      <a:pt x="467" y="429"/>
                    </a:lnTo>
                    <a:lnTo>
                      <a:pt x="467" y="431"/>
                    </a:lnTo>
                    <a:lnTo>
                      <a:pt x="465" y="434"/>
                    </a:lnTo>
                    <a:lnTo>
                      <a:pt x="464" y="434"/>
                    </a:lnTo>
                    <a:lnTo>
                      <a:pt x="464" y="433"/>
                    </a:lnTo>
                    <a:lnTo>
                      <a:pt x="463" y="433"/>
                    </a:lnTo>
                    <a:lnTo>
                      <a:pt x="462" y="433"/>
                    </a:lnTo>
                    <a:lnTo>
                      <a:pt x="463" y="434"/>
                    </a:lnTo>
                    <a:lnTo>
                      <a:pt x="462" y="434"/>
                    </a:lnTo>
                    <a:lnTo>
                      <a:pt x="462" y="435"/>
                    </a:lnTo>
                    <a:lnTo>
                      <a:pt x="461" y="437"/>
                    </a:lnTo>
                    <a:lnTo>
                      <a:pt x="460" y="438"/>
                    </a:lnTo>
                    <a:lnTo>
                      <a:pt x="460" y="440"/>
                    </a:lnTo>
                    <a:lnTo>
                      <a:pt x="460" y="442"/>
                    </a:lnTo>
                    <a:lnTo>
                      <a:pt x="459" y="446"/>
                    </a:lnTo>
                    <a:lnTo>
                      <a:pt x="460" y="448"/>
                    </a:lnTo>
                    <a:lnTo>
                      <a:pt x="459" y="450"/>
                    </a:lnTo>
                    <a:lnTo>
                      <a:pt x="460" y="451"/>
                    </a:lnTo>
                    <a:lnTo>
                      <a:pt x="460" y="454"/>
                    </a:lnTo>
                    <a:lnTo>
                      <a:pt x="462" y="454"/>
                    </a:lnTo>
                    <a:lnTo>
                      <a:pt x="463" y="452"/>
                    </a:lnTo>
                    <a:lnTo>
                      <a:pt x="466" y="457"/>
                    </a:lnTo>
                    <a:lnTo>
                      <a:pt x="469" y="456"/>
                    </a:lnTo>
                    <a:lnTo>
                      <a:pt x="473" y="457"/>
                    </a:lnTo>
                    <a:lnTo>
                      <a:pt x="473" y="459"/>
                    </a:lnTo>
                    <a:lnTo>
                      <a:pt x="474" y="463"/>
                    </a:lnTo>
                    <a:lnTo>
                      <a:pt x="476" y="468"/>
                    </a:lnTo>
                    <a:lnTo>
                      <a:pt x="476" y="469"/>
                    </a:lnTo>
                    <a:lnTo>
                      <a:pt x="475" y="470"/>
                    </a:lnTo>
                    <a:lnTo>
                      <a:pt x="475" y="471"/>
                    </a:lnTo>
                    <a:lnTo>
                      <a:pt x="476" y="473"/>
                    </a:lnTo>
                    <a:lnTo>
                      <a:pt x="474" y="476"/>
                    </a:lnTo>
                    <a:lnTo>
                      <a:pt x="473" y="475"/>
                    </a:lnTo>
                    <a:lnTo>
                      <a:pt x="473" y="477"/>
                    </a:lnTo>
                    <a:lnTo>
                      <a:pt x="472" y="476"/>
                    </a:lnTo>
                    <a:lnTo>
                      <a:pt x="472" y="477"/>
                    </a:lnTo>
                    <a:lnTo>
                      <a:pt x="471" y="477"/>
                    </a:lnTo>
                    <a:lnTo>
                      <a:pt x="470" y="478"/>
                    </a:lnTo>
                    <a:lnTo>
                      <a:pt x="470" y="480"/>
                    </a:lnTo>
                    <a:lnTo>
                      <a:pt x="467" y="481"/>
                    </a:lnTo>
                    <a:lnTo>
                      <a:pt x="467" y="480"/>
                    </a:lnTo>
                    <a:lnTo>
                      <a:pt x="466" y="480"/>
                    </a:lnTo>
                    <a:lnTo>
                      <a:pt x="464" y="481"/>
                    </a:lnTo>
                    <a:lnTo>
                      <a:pt x="463" y="480"/>
                    </a:lnTo>
                    <a:lnTo>
                      <a:pt x="462" y="481"/>
                    </a:lnTo>
                    <a:lnTo>
                      <a:pt x="462" y="478"/>
                    </a:lnTo>
                    <a:lnTo>
                      <a:pt x="459" y="476"/>
                    </a:lnTo>
                    <a:lnTo>
                      <a:pt x="459" y="478"/>
                    </a:lnTo>
                    <a:lnTo>
                      <a:pt x="457" y="477"/>
                    </a:lnTo>
                    <a:lnTo>
                      <a:pt x="457" y="480"/>
                    </a:lnTo>
                    <a:lnTo>
                      <a:pt x="455" y="481"/>
                    </a:lnTo>
                    <a:lnTo>
                      <a:pt x="454" y="480"/>
                    </a:lnTo>
                    <a:lnTo>
                      <a:pt x="455" y="478"/>
                    </a:lnTo>
                    <a:lnTo>
                      <a:pt x="453" y="478"/>
                    </a:lnTo>
                    <a:lnTo>
                      <a:pt x="453" y="480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2" y="483"/>
                    </a:lnTo>
                    <a:lnTo>
                      <a:pt x="452" y="484"/>
                    </a:lnTo>
                    <a:lnTo>
                      <a:pt x="451" y="485"/>
                    </a:lnTo>
                    <a:lnTo>
                      <a:pt x="451" y="486"/>
                    </a:lnTo>
                    <a:lnTo>
                      <a:pt x="451" y="488"/>
                    </a:lnTo>
                    <a:lnTo>
                      <a:pt x="451" y="489"/>
                    </a:lnTo>
                    <a:lnTo>
                      <a:pt x="447" y="488"/>
                    </a:lnTo>
                    <a:lnTo>
                      <a:pt x="447" y="486"/>
                    </a:lnTo>
                    <a:lnTo>
                      <a:pt x="447" y="484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4" y="482"/>
                    </a:lnTo>
                    <a:lnTo>
                      <a:pt x="444" y="483"/>
                    </a:lnTo>
                    <a:lnTo>
                      <a:pt x="442" y="483"/>
                    </a:lnTo>
                    <a:lnTo>
                      <a:pt x="441" y="483"/>
                    </a:lnTo>
                    <a:lnTo>
                      <a:pt x="440" y="482"/>
                    </a:lnTo>
                    <a:lnTo>
                      <a:pt x="439" y="481"/>
                    </a:lnTo>
                    <a:lnTo>
                      <a:pt x="439" y="480"/>
                    </a:lnTo>
                    <a:lnTo>
                      <a:pt x="438" y="480"/>
                    </a:lnTo>
                    <a:lnTo>
                      <a:pt x="438" y="478"/>
                    </a:lnTo>
                    <a:lnTo>
                      <a:pt x="439" y="478"/>
                    </a:lnTo>
                    <a:lnTo>
                      <a:pt x="438" y="478"/>
                    </a:lnTo>
                    <a:lnTo>
                      <a:pt x="437" y="479"/>
                    </a:lnTo>
                    <a:lnTo>
                      <a:pt x="436" y="478"/>
                    </a:lnTo>
                    <a:lnTo>
                      <a:pt x="435" y="478"/>
                    </a:lnTo>
                    <a:lnTo>
                      <a:pt x="435" y="482"/>
                    </a:lnTo>
                    <a:lnTo>
                      <a:pt x="433" y="480"/>
                    </a:lnTo>
                    <a:lnTo>
                      <a:pt x="430" y="481"/>
                    </a:lnTo>
                    <a:lnTo>
                      <a:pt x="429" y="481"/>
                    </a:lnTo>
                    <a:lnTo>
                      <a:pt x="429" y="482"/>
                    </a:lnTo>
                    <a:lnTo>
                      <a:pt x="428" y="482"/>
                    </a:lnTo>
                    <a:lnTo>
                      <a:pt x="427" y="481"/>
                    </a:lnTo>
                    <a:lnTo>
                      <a:pt x="426" y="482"/>
                    </a:lnTo>
                    <a:lnTo>
                      <a:pt x="425" y="482"/>
                    </a:lnTo>
                    <a:lnTo>
                      <a:pt x="424" y="482"/>
                    </a:lnTo>
                    <a:lnTo>
                      <a:pt x="421" y="483"/>
                    </a:lnTo>
                    <a:lnTo>
                      <a:pt x="419" y="480"/>
                    </a:lnTo>
                    <a:lnTo>
                      <a:pt x="417" y="480"/>
                    </a:lnTo>
                    <a:lnTo>
                      <a:pt x="416" y="478"/>
                    </a:lnTo>
                    <a:lnTo>
                      <a:pt x="414" y="479"/>
                    </a:lnTo>
                    <a:lnTo>
                      <a:pt x="413" y="480"/>
                    </a:lnTo>
                    <a:lnTo>
                      <a:pt x="412" y="480"/>
                    </a:lnTo>
                    <a:lnTo>
                      <a:pt x="411" y="478"/>
                    </a:lnTo>
                    <a:lnTo>
                      <a:pt x="411" y="479"/>
                    </a:lnTo>
                    <a:lnTo>
                      <a:pt x="409" y="478"/>
                    </a:lnTo>
                    <a:lnTo>
                      <a:pt x="410" y="477"/>
                    </a:lnTo>
                    <a:lnTo>
                      <a:pt x="408" y="475"/>
                    </a:lnTo>
                    <a:lnTo>
                      <a:pt x="403" y="475"/>
                    </a:lnTo>
                    <a:lnTo>
                      <a:pt x="400" y="475"/>
                    </a:lnTo>
                    <a:lnTo>
                      <a:pt x="398" y="479"/>
                    </a:lnTo>
                    <a:lnTo>
                      <a:pt x="399" y="480"/>
                    </a:lnTo>
                    <a:lnTo>
                      <a:pt x="401" y="481"/>
                    </a:lnTo>
                    <a:lnTo>
                      <a:pt x="402" y="484"/>
                    </a:lnTo>
                    <a:lnTo>
                      <a:pt x="402" y="486"/>
                    </a:lnTo>
                    <a:lnTo>
                      <a:pt x="402" y="487"/>
                    </a:lnTo>
                    <a:lnTo>
                      <a:pt x="399" y="488"/>
                    </a:lnTo>
                    <a:lnTo>
                      <a:pt x="395" y="486"/>
                    </a:lnTo>
                    <a:lnTo>
                      <a:pt x="394" y="488"/>
                    </a:lnTo>
                    <a:lnTo>
                      <a:pt x="391" y="486"/>
                    </a:lnTo>
                    <a:lnTo>
                      <a:pt x="389" y="486"/>
                    </a:lnTo>
                    <a:lnTo>
                      <a:pt x="388" y="487"/>
                    </a:lnTo>
                    <a:lnTo>
                      <a:pt x="388" y="489"/>
                    </a:lnTo>
                    <a:lnTo>
                      <a:pt x="387" y="490"/>
                    </a:lnTo>
                    <a:lnTo>
                      <a:pt x="387" y="491"/>
                    </a:lnTo>
                    <a:lnTo>
                      <a:pt x="388" y="492"/>
                    </a:lnTo>
                    <a:lnTo>
                      <a:pt x="389" y="495"/>
                    </a:lnTo>
                    <a:lnTo>
                      <a:pt x="388" y="495"/>
                    </a:lnTo>
                    <a:lnTo>
                      <a:pt x="386" y="495"/>
                    </a:lnTo>
                    <a:lnTo>
                      <a:pt x="386" y="496"/>
                    </a:lnTo>
                    <a:lnTo>
                      <a:pt x="386" y="499"/>
                    </a:lnTo>
                    <a:lnTo>
                      <a:pt x="384" y="499"/>
                    </a:lnTo>
                    <a:lnTo>
                      <a:pt x="383" y="501"/>
                    </a:lnTo>
                    <a:lnTo>
                      <a:pt x="382" y="501"/>
                    </a:lnTo>
                    <a:lnTo>
                      <a:pt x="381" y="499"/>
                    </a:lnTo>
                    <a:lnTo>
                      <a:pt x="379" y="501"/>
                    </a:lnTo>
                    <a:lnTo>
                      <a:pt x="377" y="501"/>
                    </a:lnTo>
                    <a:lnTo>
                      <a:pt x="377" y="498"/>
                    </a:lnTo>
                    <a:lnTo>
                      <a:pt x="374" y="495"/>
                    </a:lnTo>
                    <a:lnTo>
                      <a:pt x="376" y="494"/>
                    </a:lnTo>
                    <a:lnTo>
                      <a:pt x="374" y="493"/>
                    </a:lnTo>
                    <a:lnTo>
                      <a:pt x="373" y="492"/>
                    </a:lnTo>
                    <a:lnTo>
                      <a:pt x="374" y="491"/>
                    </a:lnTo>
                    <a:lnTo>
                      <a:pt x="373" y="490"/>
                    </a:lnTo>
                    <a:lnTo>
                      <a:pt x="373" y="489"/>
                    </a:lnTo>
                    <a:lnTo>
                      <a:pt x="373" y="485"/>
                    </a:lnTo>
                    <a:lnTo>
                      <a:pt x="371" y="486"/>
                    </a:lnTo>
                    <a:lnTo>
                      <a:pt x="372" y="485"/>
                    </a:lnTo>
                    <a:lnTo>
                      <a:pt x="372" y="484"/>
                    </a:lnTo>
                    <a:lnTo>
                      <a:pt x="371" y="484"/>
                    </a:lnTo>
                    <a:lnTo>
                      <a:pt x="372" y="483"/>
                    </a:lnTo>
                    <a:lnTo>
                      <a:pt x="372" y="481"/>
                    </a:lnTo>
                    <a:lnTo>
                      <a:pt x="370" y="480"/>
                    </a:lnTo>
                    <a:lnTo>
                      <a:pt x="371" y="480"/>
                    </a:lnTo>
                    <a:lnTo>
                      <a:pt x="372" y="480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69" y="479"/>
                    </a:lnTo>
                    <a:lnTo>
                      <a:pt x="368" y="479"/>
                    </a:lnTo>
                    <a:lnTo>
                      <a:pt x="367" y="478"/>
                    </a:lnTo>
                    <a:lnTo>
                      <a:pt x="366" y="478"/>
                    </a:lnTo>
                    <a:lnTo>
                      <a:pt x="364" y="482"/>
                    </a:lnTo>
                    <a:lnTo>
                      <a:pt x="365" y="483"/>
                    </a:lnTo>
                    <a:lnTo>
                      <a:pt x="364" y="484"/>
                    </a:lnTo>
                    <a:lnTo>
                      <a:pt x="363" y="483"/>
                    </a:lnTo>
                    <a:lnTo>
                      <a:pt x="363" y="481"/>
                    </a:lnTo>
                    <a:lnTo>
                      <a:pt x="362" y="479"/>
                    </a:lnTo>
                    <a:lnTo>
                      <a:pt x="361" y="479"/>
                    </a:lnTo>
                    <a:lnTo>
                      <a:pt x="359" y="478"/>
                    </a:lnTo>
                    <a:lnTo>
                      <a:pt x="357" y="475"/>
                    </a:lnTo>
                    <a:lnTo>
                      <a:pt x="356" y="470"/>
                    </a:lnTo>
                    <a:lnTo>
                      <a:pt x="355" y="470"/>
                    </a:lnTo>
                    <a:lnTo>
                      <a:pt x="354" y="470"/>
                    </a:lnTo>
                    <a:lnTo>
                      <a:pt x="348" y="468"/>
                    </a:lnTo>
                    <a:lnTo>
                      <a:pt x="347" y="465"/>
                    </a:lnTo>
                    <a:lnTo>
                      <a:pt x="344" y="460"/>
                    </a:lnTo>
                    <a:lnTo>
                      <a:pt x="345" y="459"/>
                    </a:lnTo>
                    <a:lnTo>
                      <a:pt x="344" y="459"/>
                    </a:lnTo>
                    <a:lnTo>
                      <a:pt x="343" y="461"/>
                    </a:lnTo>
                    <a:lnTo>
                      <a:pt x="343" y="464"/>
                    </a:lnTo>
                    <a:lnTo>
                      <a:pt x="340" y="464"/>
                    </a:lnTo>
                    <a:lnTo>
                      <a:pt x="340" y="465"/>
                    </a:lnTo>
                    <a:lnTo>
                      <a:pt x="338" y="465"/>
                    </a:lnTo>
                    <a:lnTo>
                      <a:pt x="338" y="466"/>
                    </a:lnTo>
                    <a:lnTo>
                      <a:pt x="338" y="465"/>
                    </a:lnTo>
                    <a:lnTo>
                      <a:pt x="337" y="467"/>
                    </a:lnTo>
                    <a:lnTo>
                      <a:pt x="337" y="468"/>
                    </a:lnTo>
                    <a:lnTo>
                      <a:pt x="338" y="468"/>
                    </a:lnTo>
                    <a:lnTo>
                      <a:pt x="337" y="471"/>
                    </a:lnTo>
                    <a:lnTo>
                      <a:pt x="333" y="469"/>
                    </a:lnTo>
                    <a:lnTo>
                      <a:pt x="333" y="470"/>
                    </a:lnTo>
                    <a:lnTo>
                      <a:pt x="333" y="471"/>
                    </a:lnTo>
                    <a:lnTo>
                      <a:pt x="332" y="471"/>
                    </a:lnTo>
                    <a:lnTo>
                      <a:pt x="333" y="472"/>
                    </a:lnTo>
                    <a:lnTo>
                      <a:pt x="332" y="472"/>
                    </a:lnTo>
                    <a:lnTo>
                      <a:pt x="333" y="473"/>
                    </a:lnTo>
                    <a:lnTo>
                      <a:pt x="332" y="475"/>
                    </a:lnTo>
                    <a:lnTo>
                      <a:pt x="333" y="476"/>
                    </a:lnTo>
                    <a:lnTo>
                      <a:pt x="332" y="476"/>
                    </a:lnTo>
                    <a:lnTo>
                      <a:pt x="331" y="477"/>
                    </a:lnTo>
                    <a:lnTo>
                      <a:pt x="330" y="477"/>
                    </a:lnTo>
                    <a:lnTo>
                      <a:pt x="330" y="480"/>
                    </a:lnTo>
                    <a:lnTo>
                      <a:pt x="329" y="480"/>
                    </a:lnTo>
                    <a:lnTo>
                      <a:pt x="329" y="481"/>
                    </a:lnTo>
                    <a:lnTo>
                      <a:pt x="329" y="482"/>
                    </a:lnTo>
                    <a:lnTo>
                      <a:pt x="331" y="483"/>
                    </a:lnTo>
                    <a:lnTo>
                      <a:pt x="330" y="486"/>
                    </a:lnTo>
                    <a:lnTo>
                      <a:pt x="330" y="487"/>
                    </a:lnTo>
                    <a:lnTo>
                      <a:pt x="332" y="486"/>
                    </a:lnTo>
                    <a:lnTo>
                      <a:pt x="332" y="488"/>
                    </a:lnTo>
                    <a:lnTo>
                      <a:pt x="331" y="488"/>
                    </a:lnTo>
                    <a:lnTo>
                      <a:pt x="333" y="489"/>
                    </a:lnTo>
                    <a:lnTo>
                      <a:pt x="333" y="490"/>
                    </a:lnTo>
                    <a:lnTo>
                      <a:pt x="331" y="491"/>
                    </a:lnTo>
                    <a:lnTo>
                      <a:pt x="333" y="491"/>
                    </a:lnTo>
                    <a:lnTo>
                      <a:pt x="332" y="492"/>
                    </a:lnTo>
                    <a:lnTo>
                      <a:pt x="330" y="492"/>
                    </a:lnTo>
                    <a:lnTo>
                      <a:pt x="329" y="492"/>
                    </a:lnTo>
                    <a:lnTo>
                      <a:pt x="329" y="493"/>
                    </a:lnTo>
                    <a:lnTo>
                      <a:pt x="325" y="493"/>
                    </a:lnTo>
                    <a:lnTo>
                      <a:pt x="325" y="494"/>
                    </a:lnTo>
                    <a:lnTo>
                      <a:pt x="324" y="494"/>
                    </a:lnTo>
                    <a:lnTo>
                      <a:pt x="324" y="493"/>
                    </a:lnTo>
                    <a:lnTo>
                      <a:pt x="321" y="493"/>
                    </a:lnTo>
                    <a:lnTo>
                      <a:pt x="320" y="492"/>
                    </a:lnTo>
                    <a:lnTo>
                      <a:pt x="320" y="493"/>
                    </a:lnTo>
                    <a:lnTo>
                      <a:pt x="320" y="494"/>
                    </a:lnTo>
                    <a:lnTo>
                      <a:pt x="318" y="494"/>
                    </a:lnTo>
                    <a:lnTo>
                      <a:pt x="317" y="494"/>
                    </a:lnTo>
                    <a:lnTo>
                      <a:pt x="316" y="496"/>
                    </a:lnTo>
                    <a:lnTo>
                      <a:pt x="313" y="499"/>
                    </a:lnTo>
                    <a:lnTo>
                      <a:pt x="312" y="498"/>
                    </a:lnTo>
                    <a:lnTo>
                      <a:pt x="312" y="499"/>
                    </a:lnTo>
                    <a:lnTo>
                      <a:pt x="310" y="499"/>
                    </a:lnTo>
                    <a:lnTo>
                      <a:pt x="308" y="500"/>
                    </a:lnTo>
                    <a:lnTo>
                      <a:pt x="308" y="501"/>
                    </a:lnTo>
                    <a:lnTo>
                      <a:pt x="307" y="501"/>
                    </a:lnTo>
                    <a:lnTo>
                      <a:pt x="308" y="505"/>
                    </a:lnTo>
                    <a:lnTo>
                      <a:pt x="307" y="506"/>
                    </a:lnTo>
                    <a:lnTo>
                      <a:pt x="307" y="509"/>
                    </a:lnTo>
                    <a:lnTo>
                      <a:pt x="306" y="509"/>
                    </a:lnTo>
                    <a:lnTo>
                      <a:pt x="304" y="509"/>
                    </a:lnTo>
                    <a:lnTo>
                      <a:pt x="303" y="507"/>
                    </a:lnTo>
                    <a:lnTo>
                      <a:pt x="304" y="506"/>
                    </a:lnTo>
                    <a:lnTo>
                      <a:pt x="303" y="502"/>
                    </a:lnTo>
                    <a:lnTo>
                      <a:pt x="301" y="501"/>
                    </a:lnTo>
                    <a:lnTo>
                      <a:pt x="296" y="498"/>
                    </a:lnTo>
                    <a:lnTo>
                      <a:pt x="291" y="499"/>
                    </a:lnTo>
                    <a:lnTo>
                      <a:pt x="289" y="499"/>
                    </a:lnTo>
                    <a:lnTo>
                      <a:pt x="289" y="498"/>
                    </a:lnTo>
                    <a:lnTo>
                      <a:pt x="287" y="498"/>
                    </a:lnTo>
                    <a:lnTo>
                      <a:pt x="287" y="496"/>
                    </a:lnTo>
                    <a:lnTo>
                      <a:pt x="288" y="495"/>
                    </a:lnTo>
                    <a:lnTo>
                      <a:pt x="289" y="495"/>
                    </a:lnTo>
                    <a:lnTo>
                      <a:pt x="290" y="493"/>
                    </a:lnTo>
                    <a:lnTo>
                      <a:pt x="291" y="492"/>
                    </a:lnTo>
                    <a:lnTo>
                      <a:pt x="292" y="489"/>
                    </a:lnTo>
                    <a:lnTo>
                      <a:pt x="292" y="488"/>
                    </a:lnTo>
                    <a:lnTo>
                      <a:pt x="291" y="488"/>
                    </a:lnTo>
                    <a:lnTo>
                      <a:pt x="290" y="490"/>
                    </a:lnTo>
                    <a:lnTo>
                      <a:pt x="289" y="491"/>
                    </a:lnTo>
                    <a:lnTo>
                      <a:pt x="287" y="490"/>
                    </a:lnTo>
                    <a:lnTo>
                      <a:pt x="287" y="492"/>
                    </a:lnTo>
                    <a:lnTo>
                      <a:pt x="286" y="492"/>
                    </a:lnTo>
                    <a:lnTo>
                      <a:pt x="286" y="489"/>
                    </a:lnTo>
                    <a:lnTo>
                      <a:pt x="284" y="493"/>
                    </a:lnTo>
                    <a:lnTo>
                      <a:pt x="282" y="492"/>
                    </a:lnTo>
                    <a:lnTo>
                      <a:pt x="283" y="492"/>
                    </a:lnTo>
                    <a:lnTo>
                      <a:pt x="282" y="492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0" y="492"/>
                    </a:lnTo>
                    <a:lnTo>
                      <a:pt x="280" y="491"/>
                    </a:lnTo>
                    <a:lnTo>
                      <a:pt x="278" y="490"/>
                    </a:lnTo>
                    <a:lnTo>
                      <a:pt x="277" y="489"/>
                    </a:lnTo>
                    <a:lnTo>
                      <a:pt x="276" y="489"/>
                    </a:lnTo>
                    <a:lnTo>
                      <a:pt x="275" y="491"/>
                    </a:lnTo>
                    <a:lnTo>
                      <a:pt x="274" y="489"/>
                    </a:lnTo>
                    <a:lnTo>
                      <a:pt x="273" y="489"/>
                    </a:lnTo>
                    <a:lnTo>
                      <a:pt x="273" y="488"/>
                    </a:lnTo>
                    <a:lnTo>
                      <a:pt x="272" y="489"/>
                    </a:lnTo>
                    <a:lnTo>
                      <a:pt x="272" y="488"/>
                    </a:lnTo>
                    <a:lnTo>
                      <a:pt x="270" y="488"/>
                    </a:lnTo>
                    <a:lnTo>
                      <a:pt x="272" y="485"/>
                    </a:lnTo>
                    <a:lnTo>
                      <a:pt x="271" y="484"/>
                    </a:lnTo>
                    <a:lnTo>
                      <a:pt x="269" y="484"/>
                    </a:lnTo>
                    <a:lnTo>
                      <a:pt x="268" y="486"/>
                    </a:lnTo>
                    <a:lnTo>
                      <a:pt x="266" y="485"/>
                    </a:lnTo>
                    <a:lnTo>
                      <a:pt x="263" y="482"/>
                    </a:lnTo>
                    <a:lnTo>
                      <a:pt x="261" y="482"/>
                    </a:lnTo>
                    <a:lnTo>
                      <a:pt x="261" y="483"/>
                    </a:lnTo>
                    <a:lnTo>
                      <a:pt x="260" y="486"/>
                    </a:lnTo>
                    <a:lnTo>
                      <a:pt x="258" y="486"/>
                    </a:lnTo>
                    <a:lnTo>
                      <a:pt x="258" y="488"/>
                    </a:lnTo>
                    <a:lnTo>
                      <a:pt x="260" y="488"/>
                    </a:lnTo>
                    <a:lnTo>
                      <a:pt x="259" y="488"/>
                    </a:lnTo>
                    <a:lnTo>
                      <a:pt x="258" y="488"/>
                    </a:lnTo>
                    <a:lnTo>
                      <a:pt x="257" y="486"/>
                    </a:lnTo>
                    <a:lnTo>
                      <a:pt x="256" y="488"/>
                    </a:lnTo>
                    <a:lnTo>
                      <a:pt x="255" y="486"/>
                    </a:lnTo>
                    <a:lnTo>
                      <a:pt x="255" y="485"/>
                    </a:lnTo>
                    <a:lnTo>
                      <a:pt x="254" y="483"/>
                    </a:lnTo>
                    <a:lnTo>
                      <a:pt x="252" y="483"/>
                    </a:lnTo>
                    <a:lnTo>
                      <a:pt x="252" y="480"/>
                    </a:lnTo>
                    <a:lnTo>
                      <a:pt x="250" y="480"/>
                    </a:lnTo>
                    <a:lnTo>
                      <a:pt x="249" y="481"/>
                    </a:lnTo>
                    <a:lnTo>
                      <a:pt x="248" y="481"/>
                    </a:lnTo>
                    <a:lnTo>
                      <a:pt x="245" y="475"/>
                    </a:lnTo>
                    <a:lnTo>
                      <a:pt x="244" y="475"/>
                    </a:lnTo>
                    <a:lnTo>
                      <a:pt x="243" y="473"/>
                    </a:lnTo>
                    <a:lnTo>
                      <a:pt x="243" y="476"/>
                    </a:lnTo>
                    <a:lnTo>
                      <a:pt x="242" y="475"/>
                    </a:lnTo>
                    <a:lnTo>
                      <a:pt x="241" y="475"/>
                    </a:lnTo>
                    <a:lnTo>
                      <a:pt x="242" y="475"/>
                    </a:lnTo>
                    <a:lnTo>
                      <a:pt x="243" y="479"/>
                    </a:lnTo>
                    <a:lnTo>
                      <a:pt x="242" y="480"/>
                    </a:lnTo>
                    <a:lnTo>
                      <a:pt x="243" y="480"/>
                    </a:lnTo>
                    <a:lnTo>
                      <a:pt x="242" y="482"/>
                    </a:lnTo>
                    <a:lnTo>
                      <a:pt x="242" y="483"/>
                    </a:lnTo>
                    <a:lnTo>
                      <a:pt x="244" y="483"/>
                    </a:lnTo>
                    <a:lnTo>
                      <a:pt x="243" y="484"/>
                    </a:lnTo>
                    <a:lnTo>
                      <a:pt x="242" y="483"/>
                    </a:lnTo>
                    <a:lnTo>
                      <a:pt x="242" y="484"/>
                    </a:lnTo>
                    <a:lnTo>
                      <a:pt x="241" y="481"/>
                    </a:lnTo>
                    <a:lnTo>
                      <a:pt x="240" y="481"/>
                    </a:lnTo>
                    <a:lnTo>
                      <a:pt x="239" y="480"/>
                    </a:lnTo>
                    <a:lnTo>
                      <a:pt x="237" y="480"/>
                    </a:lnTo>
                    <a:lnTo>
                      <a:pt x="236" y="481"/>
                    </a:lnTo>
                    <a:lnTo>
                      <a:pt x="235" y="480"/>
                    </a:lnTo>
                    <a:lnTo>
                      <a:pt x="235" y="481"/>
                    </a:lnTo>
                    <a:lnTo>
                      <a:pt x="234" y="481"/>
                    </a:lnTo>
                    <a:lnTo>
                      <a:pt x="235" y="482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4" y="482"/>
                    </a:lnTo>
                    <a:lnTo>
                      <a:pt x="234" y="483"/>
                    </a:lnTo>
                    <a:lnTo>
                      <a:pt x="233" y="484"/>
                    </a:lnTo>
                    <a:lnTo>
                      <a:pt x="232" y="482"/>
                    </a:lnTo>
                    <a:lnTo>
                      <a:pt x="232" y="483"/>
                    </a:lnTo>
                    <a:lnTo>
                      <a:pt x="231" y="486"/>
                    </a:lnTo>
                    <a:lnTo>
                      <a:pt x="230" y="486"/>
                    </a:lnTo>
                    <a:lnTo>
                      <a:pt x="231" y="484"/>
                    </a:lnTo>
                    <a:lnTo>
                      <a:pt x="229" y="484"/>
                    </a:lnTo>
                    <a:lnTo>
                      <a:pt x="228" y="485"/>
                    </a:lnTo>
                    <a:lnTo>
                      <a:pt x="227" y="487"/>
                    </a:lnTo>
                    <a:lnTo>
                      <a:pt x="227" y="485"/>
                    </a:lnTo>
                    <a:lnTo>
                      <a:pt x="226" y="485"/>
                    </a:lnTo>
                    <a:lnTo>
                      <a:pt x="226" y="484"/>
                    </a:lnTo>
                    <a:lnTo>
                      <a:pt x="224" y="483"/>
                    </a:lnTo>
                    <a:lnTo>
                      <a:pt x="221" y="485"/>
                    </a:lnTo>
                    <a:lnTo>
                      <a:pt x="220" y="484"/>
                    </a:lnTo>
                    <a:lnTo>
                      <a:pt x="219" y="484"/>
                    </a:lnTo>
                    <a:lnTo>
                      <a:pt x="221" y="484"/>
                    </a:lnTo>
                    <a:lnTo>
                      <a:pt x="221" y="483"/>
                    </a:lnTo>
                    <a:lnTo>
                      <a:pt x="221" y="481"/>
                    </a:lnTo>
                    <a:lnTo>
                      <a:pt x="222" y="480"/>
                    </a:lnTo>
                    <a:lnTo>
                      <a:pt x="222" y="478"/>
                    </a:lnTo>
                    <a:lnTo>
                      <a:pt x="221" y="478"/>
                    </a:lnTo>
                    <a:lnTo>
                      <a:pt x="220" y="478"/>
                    </a:lnTo>
                    <a:lnTo>
                      <a:pt x="219" y="477"/>
                    </a:lnTo>
                    <a:lnTo>
                      <a:pt x="219" y="475"/>
                    </a:lnTo>
                    <a:lnTo>
                      <a:pt x="218" y="476"/>
                    </a:lnTo>
                    <a:lnTo>
                      <a:pt x="216" y="473"/>
                    </a:lnTo>
                    <a:lnTo>
                      <a:pt x="213" y="475"/>
                    </a:lnTo>
                    <a:lnTo>
                      <a:pt x="212" y="473"/>
                    </a:lnTo>
                    <a:lnTo>
                      <a:pt x="212" y="474"/>
                    </a:lnTo>
                    <a:lnTo>
                      <a:pt x="212" y="473"/>
                    </a:lnTo>
                    <a:lnTo>
                      <a:pt x="211" y="472"/>
                    </a:lnTo>
                    <a:lnTo>
                      <a:pt x="212" y="469"/>
                    </a:lnTo>
                    <a:lnTo>
                      <a:pt x="211" y="467"/>
                    </a:lnTo>
                    <a:lnTo>
                      <a:pt x="208" y="466"/>
                    </a:lnTo>
                    <a:lnTo>
                      <a:pt x="208" y="465"/>
                    </a:lnTo>
                    <a:lnTo>
                      <a:pt x="206" y="465"/>
                    </a:lnTo>
                    <a:lnTo>
                      <a:pt x="206" y="463"/>
                    </a:lnTo>
                    <a:lnTo>
                      <a:pt x="203" y="465"/>
                    </a:lnTo>
                    <a:lnTo>
                      <a:pt x="202" y="465"/>
                    </a:lnTo>
                    <a:lnTo>
                      <a:pt x="198" y="465"/>
                    </a:lnTo>
                    <a:lnTo>
                      <a:pt x="197" y="463"/>
                    </a:lnTo>
                    <a:lnTo>
                      <a:pt x="196" y="465"/>
                    </a:lnTo>
                    <a:lnTo>
                      <a:pt x="195" y="465"/>
                    </a:lnTo>
                    <a:lnTo>
                      <a:pt x="194" y="465"/>
                    </a:lnTo>
                    <a:lnTo>
                      <a:pt x="194" y="467"/>
                    </a:lnTo>
                    <a:lnTo>
                      <a:pt x="194" y="470"/>
                    </a:lnTo>
                    <a:lnTo>
                      <a:pt x="192" y="471"/>
                    </a:lnTo>
                    <a:lnTo>
                      <a:pt x="192" y="472"/>
                    </a:lnTo>
                    <a:lnTo>
                      <a:pt x="190" y="473"/>
                    </a:lnTo>
                    <a:lnTo>
                      <a:pt x="189" y="473"/>
                    </a:lnTo>
                    <a:lnTo>
                      <a:pt x="189" y="475"/>
                    </a:lnTo>
                    <a:lnTo>
                      <a:pt x="190" y="474"/>
                    </a:lnTo>
                    <a:lnTo>
                      <a:pt x="188" y="476"/>
                    </a:lnTo>
                    <a:lnTo>
                      <a:pt x="188" y="478"/>
                    </a:lnTo>
                    <a:lnTo>
                      <a:pt x="186" y="477"/>
                    </a:lnTo>
                    <a:lnTo>
                      <a:pt x="186" y="476"/>
                    </a:lnTo>
                    <a:lnTo>
                      <a:pt x="187" y="475"/>
                    </a:lnTo>
                    <a:lnTo>
                      <a:pt x="184" y="475"/>
                    </a:lnTo>
                    <a:lnTo>
                      <a:pt x="181" y="475"/>
                    </a:lnTo>
                    <a:lnTo>
                      <a:pt x="180" y="476"/>
                    </a:lnTo>
                    <a:lnTo>
                      <a:pt x="178" y="475"/>
                    </a:lnTo>
                    <a:lnTo>
                      <a:pt x="177" y="475"/>
                    </a:lnTo>
                    <a:lnTo>
                      <a:pt x="174" y="475"/>
                    </a:lnTo>
                    <a:lnTo>
                      <a:pt x="173" y="475"/>
                    </a:lnTo>
                    <a:lnTo>
                      <a:pt x="172" y="476"/>
                    </a:lnTo>
                    <a:lnTo>
                      <a:pt x="170" y="473"/>
                    </a:lnTo>
                    <a:lnTo>
                      <a:pt x="168" y="473"/>
                    </a:lnTo>
                    <a:lnTo>
                      <a:pt x="165" y="472"/>
                    </a:lnTo>
                    <a:lnTo>
                      <a:pt x="165" y="476"/>
                    </a:lnTo>
                    <a:lnTo>
                      <a:pt x="163" y="475"/>
                    </a:lnTo>
                    <a:lnTo>
                      <a:pt x="161" y="475"/>
                    </a:lnTo>
                    <a:lnTo>
                      <a:pt x="161" y="473"/>
                    </a:lnTo>
                    <a:lnTo>
                      <a:pt x="161" y="472"/>
                    </a:lnTo>
                    <a:lnTo>
                      <a:pt x="161" y="471"/>
                    </a:lnTo>
                    <a:lnTo>
                      <a:pt x="159" y="471"/>
                    </a:lnTo>
                    <a:lnTo>
                      <a:pt x="159" y="473"/>
                    </a:lnTo>
                    <a:lnTo>
                      <a:pt x="158" y="475"/>
                    </a:lnTo>
                    <a:lnTo>
                      <a:pt x="156" y="474"/>
                    </a:lnTo>
                    <a:lnTo>
                      <a:pt x="155" y="475"/>
                    </a:lnTo>
                    <a:lnTo>
                      <a:pt x="155" y="473"/>
                    </a:lnTo>
                    <a:lnTo>
                      <a:pt x="152" y="473"/>
                    </a:lnTo>
                    <a:lnTo>
                      <a:pt x="152" y="472"/>
                    </a:lnTo>
                    <a:lnTo>
                      <a:pt x="151" y="473"/>
                    </a:lnTo>
                    <a:lnTo>
                      <a:pt x="150" y="472"/>
                    </a:lnTo>
                    <a:lnTo>
                      <a:pt x="149" y="469"/>
                    </a:lnTo>
                    <a:lnTo>
                      <a:pt x="150" y="468"/>
                    </a:lnTo>
                    <a:lnTo>
                      <a:pt x="150" y="467"/>
                    </a:lnTo>
                    <a:lnTo>
                      <a:pt x="150" y="464"/>
                    </a:lnTo>
                    <a:lnTo>
                      <a:pt x="150" y="463"/>
                    </a:lnTo>
                    <a:lnTo>
                      <a:pt x="151" y="462"/>
                    </a:lnTo>
                    <a:lnTo>
                      <a:pt x="151" y="461"/>
                    </a:lnTo>
                    <a:lnTo>
                      <a:pt x="153" y="461"/>
                    </a:lnTo>
                    <a:lnTo>
                      <a:pt x="151" y="460"/>
                    </a:lnTo>
                    <a:lnTo>
                      <a:pt x="149" y="458"/>
                    </a:lnTo>
                    <a:lnTo>
                      <a:pt x="145" y="458"/>
                    </a:lnTo>
                    <a:lnTo>
                      <a:pt x="144" y="458"/>
                    </a:lnTo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89" name="Group 134">
              <a:extLst>
                <a:ext uri="{FF2B5EF4-FFF2-40B4-BE49-F238E27FC236}">
                  <a16:creationId xmlns:a16="http://schemas.microsoft.com/office/drawing/2014/main" id="{240B47DB-A998-4662-B21D-83F5AFF1A06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67" y="3058"/>
              <a:ext cx="321" cy="562"/>
              <a:chOff x="1667" y="3058"/>
              <a:chExt cx="321" cy="562"/>
            </a:xfrm>
          </p:grpSpPr>
          <p:sp>
            <p:nvSpPr>
              <p:cNvPr id="481" name="Freeform 132">
                <a:extLst>
                  <a:ext uri="{FF2B5EF4-FFF2-40B4-BE49-F238E27FC236}">
                    <a16:creationId xmlns:a16="http://schemas.microsoft.com/office/drawing/2014/main" id="{D69654DE-68D8-4611-8DA2-01DA92455C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7" y="3058"/>
                <a:ext cx="321" cy="562"/>
              </a:xfrm>
              <a:custGeom>
                <a:avLst/>
                <a:gdLst>
                  <a:gd name="T0" fmla="*/ 307 w 321"/>
                  <a:gd name="T1" fmla="*/ 452 h 562"/>
                  <a:gd name="T2" fmla="*/ 304 w 321"/>
                  <a:gd name="T3" fmla="*/ 431 h 562"/>
                  <a:gd name="T4" fmla="*/ 286 w 321"/>
                  <a:gd name="T5" fmla="*/ 405 h 562"/>
                  <a:gd name="T6" fmla="*/ 263 w 321"/>
                  <a:gd name="T7" fmla="*/ 372 h 562"/>
                  <a:gd name="T8" fmla="*/ 259 w 321"/>
                  <a:gd name="T9" fmla="*/ 355 h 562"/>
                  <a:gd name="T10" fmla="*/ 224 w 321"/>
                  <a:gd name="T11" fmla="*/ 345 h 562"/>
                  <a:gd name="T12" fmla="*/ 194 w 321"/>
                  <a:gd name="T13" fmla="*/ 336 h 562"/>
                  <a:gd name="T14" fmla="*/ 170 w 321"/>
                  <a:gd name="T15" fmla="*/ 316 h 562"/>
                  <a:gd name="T16" fmla="*/ 149 w 321"/>
                  <a:gd name="T17" fmla="*/ 302 h 562"/>
                  <a:gd name="T18" fmla="*/ 145 w 321"/>
                  <a:gd name="T19" fmla="*/ 286 h 562"/>
                  <a:gd name="T20" fmla="*/ 125 w 321"/>
                  <a:gd name="T21" fmla="*/ 275 h 562"/>
                  <a:gd name="T22" fmla="*/ 134 w 321"/>
                  <a:gd name="T23" fmla="*/ 254 h 562"/>
                  <a:gd name="T24" fmla="*/ 137 w 321"/>
                  <a:gd name="T25" fmla="*/ 221 h 562"/>
                  <a:gd name="T26" fmla="*/ 162 w 321"/>
                  <a:gd name="T27" fmla="*/ 157 h 562"/>
                  <a:gd name="T28" fmla="*/ 202 w 321"/>
                  <a:gd name="T29" fmla="*/ 121 h 562"/>
                  <a:gd name="T30" fmla="*/ 212 w 321"/>
                  <a:gd name="T31" fmla="*/ 98 h 562"/>
                  <a:gd name="T32" fmla="*/ 196 w 321"/>
                  <a:gd name="T33" fmla="*/ 73 h 562"/>
                  <a:gd name="T34" fmla="*/ 162 w 321"/>
                  <a:gd name="T35" fmla="*/ 40 h 562"/>
                  <a:gd name="T36" fmla="*/ 116 w 321"/>
                  <a:gd name="T37" fmla="*/ 17 h 562"/>
                  <a:gd name="T38" fmla="*/ 76 w 321"/>
                  <a:gd name="T39" fmla="*/ 7 h 562"/>
                  <a:gd name="T40" fmla="*/ 86 w 321"/>
                  <a:gd name="T41" fmla="*/ 48 h 562"/>
                  <a:gd name="T42" fmla="*/ 105 w 321"/>
                  <a:gd name="T43" fmla="*/ 92 h 562"/>
                  <a:gd name="T44" fmla="*/ 90 w 321"/>
                  <a:gd name="T45" fmla="*/ 106 h 562"/>
                  <a:gd name="T46" fmla="*/ 62 w 321"/>
                  <a:gd name="T47" fmla="*/ 123 h 562"/>
                  <a:gd name="T48" fmla="*/ 43 w 321"/>
                  <a:gd name="T49" fmla="*/ 157 h 562"/>
                  <a:gd name="T50" fmla="*/ 33 w 321"/>
                  <a:gd name="T51" fmla="*/ 196 h 562"/>
                  <a:gd name="T52" fmla="*/ 18 w 321"/>
                  <a:gd name="T53" fmla="*/ 221 h 562"/>
                  <a:gd name="T54" fmla="*/ 23 w 321"/>
                  <a:gd name="T55" fmla="*/ 265 h 562"/>
                  <a:gd name="T56" fmla="*/ 17 w 321"/>
                  <a:gd name="T57" fmla="*/ 293 h 562"/>
                  <a:gd name="T58" fmla="*/ 25 w 321"/>
                  <a:gd name="T59" fmla="*/ 332 h 562"/>
                  <a:gd name="T60" fmla="*/ 37 w 321"/>
                  <a:gd name="T61" fmla="*/ 347 h 562"/>
                  <a:gd name="T62" fmla="*/ 24 w 321"/>
                  <a:gd name="T63" fmla="*/ 381 h 562"/>
                  <a:gd name="T64" fmla="*/ 18 w 321"/>
                  <a:gd name="T65" fmla="*/ 398 h 562"/>
                  <a:gd name="T66" fmla="*/ 5 w 321"/>
                  <a:gd name="T67" fmla="*/ 401 h 562"/>
                  <a:gd name="T68" fmla="*/ 2 w 321"/>
                  <a:gd name="T69" fmla="*/ 420 h 562"/>
                  <a:gd name="T70" fmla="*/ 25 w 321"/>
                  <a:gd name="T71" fmla="*/ 427 h 562"/>
                  <a:gd name="T72" fmla="*/ 12 w 321"/>
                  <a:gd name="T73" fmla="*/ 449 h 562"/>
                  <a:gd name="T74" fmla="*/ 19 w 321"/>
                  <a:gd name="T75" fmla="*/ 474 h 562"/>
                  <a:gd name="T76" fmla="*/ 26 w 321"/>
                  <a:gd name="T77" fmla="*/ 499 h 562"/>
                  <a:gd name="T78" fmla="*/ 41 w 321"/>
                  <a:gd name="T79" fmla="*/ 475 h 562"/>
                  <a:gd name="T80" fmla="*/ 35 w 321"/>
                  <a:gd name="T81" fmla="*/ 458 h 562"/>
                  <a:gd name="T82" fmla="*/ 44 w 321"/>
                  <a:gd name="T83" fmla="*/ 446 h 562"/>
                  <a:gd name="T84" fmla="*/ 61 w 321"/>
                  <a:gd name="T85" fmla="*/ 463 h 562"/>
                  <a:gd name="T86" fmla="*/ 62 w 321"/>
                  <a:gd name="T87" fmla="*/ 482 h 562"/>
                  <a:gd name="T88" fmla="*/ 73 w 321"/>
                  <a:gd name="T89" fmla="*/ 500 h 562"/>
                  <a:gd name="T90" fmla="*/ 79 w 321"/>
                  <a:gd name="T91" fmla="*/ 491 h 562"/>
                  <a:gd name="T92" fmla="*/ 80 w 321"/>
                  <a:gd name="T93" fmla="*/ 520 h 562"/>
                  <a:gd name="T94" fmla="*/ 99 w 321"/>
                  <a:gd name="T95" fmla="*/ 538 h 562"/>
                  <a:gd name="T96" fmla="*/ 105 w 321"/>
                  <a:gd name="T97" fmla="*/ 560 h 562"/>
                  <a:gd name="T98" fmla="*/ 118 w 321"/>
                  <a:gd name="T99" fmla="*/ 554 h 562"/>
                  <a:gd name="T100" fmla="*/ 140 w 321"/>
                  <a:gd name="T101" fmla="*/ 549 h 562"/>
                  <a:gd name="T102" fmla="*/ 160 w 321"/>
                  <a:gd name="T103" fmla="*/ 533 h 562"/>
                  <a:gd name="T104" fmla="*/ 160 w 321"/>
                  <a:gd name="T105" fmla="*/ 507 h 562"/>
                  <a:gd name="T106" fmla="*/ 171 w 321"/>
                  <a:gd name="T107" fmla="*/ 516 h 562"/>
                  <a:gd name="T108" fmla="*/ 192 w 321"/>
                  <a:gd name="T109" fmla="*/ 525 h 562"/>
                  <a:gd name="T110" fmla="*/ 208 w 321"/>
                  <a:gd name="T111" fmla="*/ 512 h 562"/>
                  <a:gd name="T112" fmla="*/ 230 w 321"/>
                  <a:gd name="T113" fmla="*/ 514 h 562"/>
                  <a:gd name="T114" fmla="*/ 238 w 321"/>
                  <a:gd name="T115" fmla="*/ 493 h 562"/>
                  <a:gd name="T116" fmla="*/ 255 w 321"/>
                  <a:gd name="T117" fmla="*/ 487 h 562"/>
                  <a:gd name="T118" fmla="*/ 277 w 321"/>
                  <a:gd name="T119" fmla="*/ 500 h 562"/>
                  <a:gd name="T120" fmla="*/ 284 w 321"/>
                  <a:gd name="T121" fmla="*/ 477 h 562"/>
                  <a:gd name="T122" fmla="*/ 302 w 321"/>
                  <a:gd name="T123" fmla="*/ 465 h 56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21"/>
                  <a:gd name="T187" fmla="*/ 0 h 562"/>
                  <a:gd name="T188" fmla="*/ 321 w 321"/>
                  <a:gd name="T189" fmla="*/ 562 h 56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21" h="562">
                    <a:moveTo>
                      <a:pt x="319" y="456"/>
                    </a:moveTo>
                    <a:lnTo>
                      <a:pt x="320" y="453"/>
                    </a:lnTo>
                    <a:lnTo>
                      <a:pt x="319" y="452"/>
                    </a:lnTo>
                    <a:lnTo>
                      <a:pt x="319" y="451"/>
                    </a:lnTo>
                    <a:lnTo>
                      <a:pt x="318" y="451"/>
                    </a:lnTo>
                    <a:lnTo>
                      <a:pt x="320" y="448"/>
                    </a:lnTo>
                    <a:lnTo>
                      <a:pt x="317" y="446"/>
                    </a:lnTo>
                    <a:lnTo>
                      <a:pt x="318" y="444"/>
                    </a:lnTo>
                    <a:lnTo>
                      <a:pt x="318" y="443"/>
                    </a:lnTo>
                    <a:lnTo>
                      <a:pt x="317" y="443"/>
                    </a:lnTo>
                    <a:lnTo>
                      <a:pt x="317" y="445"/>
                    </a:lnTo>
                    <a:lnTo>
                      <a:pt x="313" y="443"/>
                    </a:lnTo>
                    <a:lnTo>
                      <a:pt x="312" y="444"/>
                    </a:lnTo>
                    <a:lnTo>
                      <a:pt x="312" y="446"/>
                    </a:lnTo>
                    <a:lnTo>
                      <a:pt x="310" y="446"/>
                    </a:lnTo>
                    <a:lnTo>
                      <a:pt x="309" y="446"/>
                    </a:lnTo>
                    <a:lnTo>
                      <a:pt x="307" y="452"/>
                    </a:lnTo>
                    <a:lnTo>
                      <a:pt x="304" y="449"/>
                    </a:lnTo>
                    <a:lnTo>
                      <a:pt x="304" y="446"/>
                    </a:lnTo>
                    <a:lnTo>
                      <a:pt x="303" y="444"/>
                    </a:lnTo>
                    <a:lnTo>
                      <a:pt x="302" y="444"/>
                    </a:lnTo>
                    <a:lnTo>
                      <a:pt x="302" y="443"/>
                    </a:lnTo>
                    <a:lnTo>
                      <a:pt x="305" y="440"/>
                    </a:lnTo>
                    <a:lnTo>
                      <a:pt x="307" y="440"/>
                    </a:lnTo>
                    <a:lnTo>
                      <a:pt x="309" y="438"/>
                    </a:lnTo>
                    <a:lnTo>
                      <a:pt x="307" y="437"/>
                    </a:lnTo>
                    <a:lnTo>
                      <a:pt x="308" y="436"/>
                    </a:lnTo>
                    <a:lnTo>
                      <a:pt x="307" y="436"/>
                    </a:lnTo>
                    <a:lnTo>
                      <a:pt x="309" y="435"/>
                    </a:lnTo>
                    <a:lnTo>
                      <a:pt x="307" y="435"/>
                    </a:lnTo>
                    <a:lnTo>
                      <a:pt x="306" y="434"/>
                    </a:lnTo>
                    <a:lnTo>
                      <a:pt x="306" y="431"/>
                    </a:lnTo>
                    <a:lnTo>
                      <a:pt x="304" y="431"/>
                    </a:lnTo>
                    <a:lnTo>
                      <a:pt x="304" y="429"/>
                    </a:lnTo>
                    <a:lnTo>
                      <a:pt x="304" y="427"/>
                    </a:lnTo>
                    <a:lnTo>
                      <a:pt x="302" y="427"/>
                    </a:lnTo>
                    <a:lnTo>
                      <a:pt x="302" y="424"/>
                    </a:lnTo>
                    <a:lnTo>
                      <a:pt x="301" y="423"/>
                    </a:lnTo>
                    <a:lnTo>
                      <a:pt x="300" y="422"/>
                    </a:lnTo>
                    <a:lnTo>
                      <a:pt x="298" y="419"/>
                    </a:lnTo>
                    <a:lnTo>
                      <a:pt x="297" y="414"/>
                    </a:lnTo>
                    <a:lnTo>
                      <a:pt x="294" y="414"/>
                    </a:lnTo>
                    <a:lnTo>
                      <a:pt x="291" y="411"/>
                    </a:lnTo>
                    <a:lnTo>
                      <a:pt x="289" y="408"/>
                    </a:lnTo>
                    <a:lnTo>
                      <a:pt x="288" y="408"/>
                    </a:lnTo>
                    <a:lnTo>
                      <a:pt x="287" y="409"/>
                    </a:lnTo>
                    <a:lnTo>
                      <a:pt x="286" y="409"/>
                    </a:lnTo>
                    <a:lnTo>
                      <a:pt x="286" y="405"/>
                    </a:lnTo>
                    <a:lnTo>
                      <a:pt x="285" y="403"/>
                    </a:lnTo>
                    <a:lnTo>
                      <a:pt x="286" y="399"/>
                    </a:lnTo>
                    <a:lnTo>
                      <a:pt x="282" y="395"/>
                    </a:lnTo>
                    <a:lnTo>
                      <a:pt x="280" y="388"/>
                    </a:lnTo>
                    <a:lnTo>
                      <a:pt x="277" y="385"/>
                    </a:lnTo>
                    <a:lnTo>
                      <a:pt x="276" y="388"/>
                    </a:lnTo>
                    <a:lnTo>
                      <a:pt x="276" y="392"/>
                    </a:lnTo>
                    <a:lnTo>
                      <a:pt x="275" y="392"/>
                    </a:lnTo>
                    <a:lnTo>
                      <a:pt x="274" y="392"/>
                    </a:lnTo>
                    <a:lnTo>
                      <a:pt x="273" y="393"/>
                    </a:lnTo>
                    <a:lnTo>
                      <a:pt x="272" y="393"/>
                    </a:lnTo>
                    <a:lnTo>
                      <a:pt x="272" y="392"/>
                    </a:lnTo>
                    <a:lnTo>
                      <a:pt x="265" y="385"/>
                    </a:lnTo>
                    <a:lnTo>
                      <a:pt x="264" y="383"/>
                    </a:lnTo>
                    <a:lnTo>
                      <a:pt x="264" y="378"/>
                    </a:lnTo>
                    <a:lnTo>
                      <a:pt x="263" y="372"/>
                    </a:lnTo>
                    <a:lnTo>
                      <a:pt x="264" y="371"/>
                    </a:lnTo>
                    <a:lnTo>
                      <a:pt x="267" y="365"/>
                    </a:lnTo>
                    <a:lnTo>
                      <a:pt x="268" y="365"/>
                    </a:lnTo>
                    <a:lnTo>
                      <a:pt x="268" y="363"/>
                    </a:lnTo>
                    <a:lnTo>
                      <a:pt x="269" y="363"/>
                    </a:lnTo>
                    <a:lnTo>
                      <a:pt x="268" y="362"/>
                    </a:lnTo>
                    <a:lnTo>
                      <a:pt x="269" y="359"/>
                    </a:lnTo>
                    <a:lnTo>
                      <a:pt x="268" y="359"/>
                    </a:lnTo>
                    <a:lnTo>
                      <a:pt x="267" y="361"/>
                    </a:lnTo>
                    <a:lnTo>
                      <a:pt x="266" y="361"/>
                    </a:lnTo>
                    <a:lnTo>
                      <a:pt x="265" y="360"/>
                    </a:lnTo>
                    <a:lnTo>
                      <a:pt x="264" y="359"/>
                    </a:lnTo>
                    <a:lnTo>
                      <a:pt x="263" y="359"/>
                    </a:lnTo>
                    <a:lnTo>
                      <a:pt x="264" y="357"/>
                    </a:lnTo>
                    <a:lnTo>
                      <a:pt x="263" y="355"/>
                    </a:lnTo>
                    <a:lnTo>
                      <a:pt x="261" y="355"/>
                    </a:lnTo>
                    <a:lnTo>
                      <a:pt x="259" y="355"/>
                    </a:lnTo>
                    <a:lnTo>
                      <a:pt x="257" y="352"/>
                    </a:lnTo>
                    <a:lnTo>
                      <a:pt x="255" y="352"/>
                    </a:lnTo>
                    <a:lnTo>
                      <a:pt x="252" y="349"/>
                    </a:lnTo>
                    <a:lnTo>
                      <a:pt x="251" y="352"/>
                    </a:lnTo>
                    <a:lnTo>
                      <a:pt x="250" y="351"/>
                    </a:lnTo>
                    <a:lnTo>
                      <a:pt x="248" y="353"/>
                    </a:lnTo>
                    <a:lnTo>
                      <a:pt x="245" y="354"/>
                    </a:lnTo>
                    <a:lnTo>
                      <a:pt x="245" y="356"/>
                    </a:lnTo>
                    <a:lnTo>
                      <a:pt x="240" y="356"/>
                    </a:lnTo>
                    <a:lnTo>
                      <a:pt x="237" y="355"/>
                    </a:lnTo>
                    <a:lnTo>
                      <a:pt x="233" y="347"/>
                    </a:lnTo>
                    <a:lnTo>
                      <a:pt x="230" y="345"/>
                    </a:lnTo>
                    <a:lnTo>
                      <a:pt x="227" y="344"/>
                    </a:lnTo>
                    <a:lnTo>
                      <a:pt x="227" y="342"/>
                    </a:lnTo>
                    <a:lnTo>
                      <a:pt x="225" y="342"/>
                    </a:lnTo>
                    <a:lnTo>
                      <a:pt x="224" y="344"/>
                    </a:lnTo>
                    <a:lnTo>
                      <a:pt x="224" y="345"/>
                    </a:lnTo>
                    <a:lnTo>
                      <a:pt x="224" y="346"/>
                    </a:lnTo>
                    <a:lnTo>
                      <a:pt x="221" y="351"/>
                    </a:lnTo>
                    <a:lnTo>
                      <a:pt x="216" y="349"/>
                    </a:lnTo>
                    <a:lnTo>
                      <a:pt x="214" y="348"/>
                    </a:lnTo>
                    <a:lnTo>
                      <a:pt x="212" y="342"/>
                    </a:lnTo>
                    <a:lnTo>
                      <a:pt x="211" y="341"/>
                    </a:lnTo>
                    <a:lnTo>
                      <a:pt x="209" y="342"/>
                    </a:lnTo>
                    <a:lnTo>
                      <a:pt x="208" y="341"/>
                    </a:lnTo>
                    <a:lnTo>
                      <a:pt x="202" y="338"/>
                    </a:lnTo>
                    <a:lnTo>
                      <a:pt x="199" y="340"/>
                    </a:lnTo>
                    <a:lnTo>
                      <a:pt x="197" y="341"/>
                    </a:lnTo>
                    <a:lnTo>
                      <a:pt x="195" y="341"/>
                    </a:lnTo>
                    <a:lnTo>
                      <a:pt x="195" y="342"/>
                    </a:lnTo>
                    <a:lnTo>
                      <a:pt x="194" y="341"/>
                    </a:lnTo>
                    <a:lnTo>
                      <a:pt x="192" y="338"/>
                    </a:lnTo>
                    <a:lnTo>
                      <a:pt x="194" y="337"/>
                    </a:lnTo>
                    <a:lnTo>
                      <a:pt x="194" y="336"/>
                    </a:lnTo>
                    <a:lnTo>
                      <a:pt x="191" y="333"/>
                    </a:lnTo>
                    <a:lnTo>
                      <a:pt x="191" y="332"/>
                    </a:lnTo>
                    <a:lnTo>
                      <a:pt x="192" y="331"/>
                    </a:lnTo>
                    <a:lnTo>
                      <a:pt x="192" y="329"/>
                    </a:lnTo>
                    <a:lnTo>
                      <a:pt x="189" y="327"/>
                    </a:lnTo>
                    <a:lnTo>
                      <a:pt x="189" y="325"/>
                    </a:lnTo>
                    <a:lnTo>
                      <a:pt x="188" y="325"/>
                    </a:lnTo>
                    <a:lnTo>
                      <a:pt x="187" y="324"/>
                    </a:lnTo>
                    <a:lnTo>
                      <a:pt x="183" y="317"/>
                    </a:lnTo>
                    <a:lnTo>
                      <a:pt x="183" y="315"/>
                    </a:lnTo>
                    <a:lnTo>
                      <a:pt x="182" y="316"/>
                    </a:lnTo>
                    <a:lnTo>
                      <a:pt x="180" y="312"/>
                    </a:lnTo>
                    <a:lnTo>
                      <a:pt x="176" y="314"/>
                    </a:lnTo>
                    <a:lnTo>
                      <a:pt x="173" y="314"/>
                    </a:lnTo>
                    <a:lnTo>
                      <a:pt x="172" y="315"/>
                    </a:lnTo>
                    <a:lnTo>
                      <a:pt x="170" y="318"/>
                    </a:lnTo>
                    <a:lnTo>
                      <a:pt x="170" y="316"/>
                    </a:lnTo>
                    <a:lnTo>
                      <a:pt x="170" y="314"/>
                    </a:lnTo>
                    <a:lnTo>
                      <a:pt x="166" y="312"/>
                    </a:lnTo>
                    <a:lnTo>
                      <a:pt x="164" y="313"/>
                    </a:lnTo>
                    <a:lnTo>
                      <a:pt x="162" y="312"/>
                    </a:lnTo>
                    <a:lnTo>
                      <a:pt x="162" y="311"/>
                    </a:lnTo>
                    <a:lnTo>
                      <a:pt x="160" y="309"/>
                    </a:lnTo>
                    <a:lnTo>
                      <a:pt x="159" y="309"/>
                    </a:lnTo>
                    <a:lnTo>
                      <a:pt x="159" y="310"/>
                    </a:lnTo>
                    <a:lnTo>
                      <a:pt x="159" y="308"/>
                    </a:lnTo>
                    <a:lnTo>
                      <a:pt x="158" y="307"/>
                    </a:lnTo>
                    <a:lnTo>
                      <a:pt x="156" y="308"/>
                    </a:lnTo>
                    <a:lnTo>
                      <a:pt x="155" y="307"/>
                    </a:lnTo>
                    <a:lnTo>
                      <a:pt x="152" y="306"/>
                    </a:lnTo>
                    <a:lnTo>
                      <a:pt x="151" y="303"/>
                    </a:lnTo>
                    <a:lnTo>
                      <a:pt x="151" y="304"/>
                    </a:lnTo>
                    <a:lnTo>
                      <a:pt x="149" y="302"/>
                    </a:lnTo>
                    <a:lnTo>
                      <a:pt x="147" y="303"/>
                    </a:lnTo>
                    <a:lnTo>
                      <a:pt x="147" y="302"/>
                    </a:lnTo>
                    <a:lnTo>
                      <a:pt x="146" y="303"/>
                    </a:lnTo>
                    <a:lnTo>
                      <a:pt x="145" y="303"/>
                    </a:lnTo>
                    <a:lnTo>
                      <a:pt x="145" y="305"/>
                    </a:lnTo>
                    <a:lnTo>
                      <a:pt x="144" y="305"/>
                    </a:lnTo>
                    <a:lnTo>
                      <a:pt x="143" y="304"/>
                    </a:lnTo>
                    <a:lnTo>
                      <a:pt x="142" y="305"/>
                    </a:lnTo>
                    <a:lnTo>
                      <a:pt x="142" y="304"/>
                    </a:lnTo>
                    <a:lnTo>
                      <a:pt x="141" y="303"/>
                    </a:lnTo>
                    <a:lnTo>
                      <a:pt x="141" y="302"/>
                    </a:lnTo>
                    <a:lnTo>
                      <a:pt x="140" y="302"/>
                    </a:lnTo>
                    <a:lnTo>
                      <a:pt x="141" y="299"/>
                    </a:lnTo>
                    <a:lnTo>
                      <a:pt x="144" y="293"/>
                    </a:lnTo>
                    <a:lnTo>
                      <a:pt x="146" y="286"/>
                    </a:lnTo>
                    <a:lnTo>
                      <a:pt x="145" y="286"/>
                    </a:lnTo>
                    <a:lnTo>
                      <a:pt x="143" y="290"/>
                    </a:lnTo>
                    <a:lnTo>
                      <a:pt x="141" y="288"/>
                    </a:lnTo>
                    <a:lnTo>
                      <a:pt x="140" y="289"/>
                    </a:lnTo>
                    <a:lnTo>
                      <a:pt x="140" y="291"/>
                    </a:lnTo>
                    <a:lnTo>
                      <a:pt x="139" y="290"/>
                    </a:lnTo>
                    <a:lnTo>
                      <a:pt x="137" y="290"/>
                    </a:lnTo>
                    <a:lnTo>
                      <a:pt x="134" y="293"/>
                    </a:lnTo>
                    <a:lnTo>
                      <a:pt x="134" y="291"/>
                    </a:lnTo>
                    <a:lnTo>
                      <a:pt x="132" y="290"/>
                    </a:lnTo>
                    <a:lnTo>
                      <a:pt x="131" y="285"/>
                    </a:lnTo>
                    <a:lnTo>
                      <a:pt x="131" y="283"/>
                    </a:lnTo>
                    <a:lnTo>
                      <a:pt x="131" y="282"/>
                    </a:lnTo>
                    <a:lnTo>
                      <a:pt x="129" y="281"/>
                    </a:lnTo>
                    <a:lnTo>
                      <a:pt x="128" y="283"/>
                    </a:lnTo>
                    <a:lnTo>
                      <a:pt x="129" y="280"/>
                    </a:lnTo>
                    <a:lnTo>
                      <a:pt x="128" y="277"/>
                    </a:lnTo>
                    <a:lnTo>
                      <a:pt x="125" y="275"/>
                    </a:lnTo>
                    <a:lnTo>
                      <a:pt x="126" y="273"/>
                    </a:lnTo>
                    <a:lnTo>
                      <a:pt x="127" y="273"/>
                    </a:lnTo>
                    <a:lnTo>
                      <a:pt x="126" y="270"/>
                    </a:lnTo>
                    <a:lnTo>
                      <a:pt x="128" y="270"/>
                    </a:lnTo>
                    <a:lnTo>
                      <a:pt x="129" y="269"/>
                    </a:lnTo>
                    <a:lnTo>
                      <a:pt x="131" y="267"/>
                    </a:lnTo>
                    <a:lnTo>
                      <a:pt x="132" y="264"/>
                    </a:lnTo>
                    <a:lnTo>
                      <a:pt x="132" y="265"/>
                    </a:lnTo>
                    <a:lnTo>
                      <a:pt x="133" y="264"/>
                    </a:lnTo>
                    <a:lnTo>
                      <a:pt x="133" y="263"/>
                    </a:lnTo>
                    <a:lnTo>
                      <a:pt x="134" y="261"/>
                    </a:lnTo>
                    <a:lnTo>
                      <a:pt x="131" y="260"/>
                    </a:lnTo>
                    <a:lnTo>
                      <a:pt x="132" y="258"/>
                    </a:lnTo>
                    <a:lnTo>
                      <a:pt x="131" y="255"/>
                    </a:lnTo>
                    <a:lnTo>
                      <a:pt x="134" y="255"/>
                    </a:lnTo>
                    <a:lnTo>
                      <a:pt x="134" y="254"/>
                    </a:lnTo>
                    <a:lnTo>
                      <a:pt x="136" y="253"/>
                    </a:lnTo>
                    <a:lnTo>
                      <a:pt x="137" y="251"/>
                    </a:lnTo>
                    <a:lnTo>
                      <a:pt x="139" y="251"/>
                    </a:lnTo>
                    <a:lnTo>
                      <a:pt x="140" y="247"/>
                    </a:lnTo>
                    <a:lnTo>
                      <a:pt x="141" y="248"/>
                    </a:lnTo>
                    <a:lnTo>
                      <a:pt x="142" y="246"/>
                    </a:lnTo>
                    <a:lnTo>
                      <a:pt x="142" y="245"/>
                    </a:lnTo>
                    <a:lnTo>
                      <a:pt x="143" y="244"/>
                    </a:lnTo>
                    <a:lnTo>
                      <a:pt x="142" y="241"/>
                    </a:lnTo>
                    <a:lnTo>
                      <a:pt x="142" y="240"/>
                    </a:lnTo>
                    <a:lnTo>
                      <a:pt x="141" y="237"/>
                    </a:lnTo>
                    <a:lnTo>
                      <a:pt x="136" y="231"/>
                    </a:lnTo>
                    <a:lnTo>
                      <a:pt x="133" y="229"/>
                    </a:lnTo>
                    <a:lnTo>
                      <a:pt x="132" y="226"/>
                    </a:lnTo>
                    <a:lnTo>
                      <a:pt x="133" y="226"/>
                    </a:lnTo>
                    <a:lnTo>
                      <a:pt x="137" y="224"/>
                    </a:lnTo>
                    <a:lnTo>
                      <a:pt x="137" y="221"/>
                    </a:lnTo>
                    <a:lnTo>
                      <a:pt x="137" y="219"/>
                    </a:lnTo>
                    <a:lnTo>
                      <a:pt x="137" y="213"/>
                    </a:lnTo>
                    <a:lnTo>
                      <a:pt x="140" y="210"/>
                    </a:lnTo>
                    <a:lnTo>
                      <a:pt x="143" y="204"/>
                    </a:lnTo>
                    <a:lnTo>
                      <a:pt x="146" y="204"/>
                    </a:lnTo>
                    <a:lnTo>
                      <a:pt x="149" y="201"/>
                    </a:lnTo>
                    <a:lnTo>
                      <a:pt x="150" y="199"/>
                    </a:lnTo>
                    <a:lnTo>
                      <a:pt x="153" y="199"/>
                    </a:lnTo>
                    <a:lnTo>
                      <a:pt x="157" y="191"/>
                    </a:lnTo>
                    <a:lnTo>
                      <a:pt x="157" y="188"/>
                    </a:lnTo>
                    <a:lnTo>
                      <a:pt x="156" y="186"/>
                    </a:lnTo>
                    <a:lnTo>
                      <a:pt x="157" y="182"/>
                    </a:lnTo>
                    <a:lnTo>
                      <a:pt x="155" y="172"/>
                    </a:lnTo>
                    <a:lnTo>
                      <a:pt x="162" y="167"/>
                    </a:lnTo>
                    <a:lnTo>
                      <a:pt x="164" y="165"/>
                    </a:lnTo>
                    <a:lnTo>
                      <a:pt x="162" y="162"/>
                    </a:lnTo>
                    <a:lnTo>
                      <a:pt x="162" y="157"/>
                    </a:lnTo>
                    <a:lnTo>
                      <a:pt x="162" y="154"/>
                    </a:lnTo>
                    <a:lnTo>
                      <a:pt x="166" y="152"/>
                    </a:lnTo>
                    <a:lnTo>
                      <a:pt x="167" y="152"/>
                    </a:lnTo>
                    <a:lnTo>
                      <a:pt x="171" y="147"/>
                    </a:lnTo>
                    <a:lnTo>
                      <a:pt x="173" y="145"/>
                    </a:lnTo>
                    <a:lnTo>
                      <a:pt x="175" y="141"/>
                    </a:lnTo>
                    <a:lnTo>
                      <a:pt x="177" y="143"/>
                    </a:lnTo>
                    <a:lnTo>
                      <a:pt x="178" y="142"/>
                    </a:lnTo>
                    <a:lnTo>
                      <a:pt x="180" y="141"/>
                    </a:lnTo>
                    <a:lnTo>
                      <a:pt x="180" y="138"/>
                    </a:lnTo>
                    <a:lnTo>
                      <a:pt x="182" y="136"/>
                    </a:lnTo>
                    <a:lnTo>
                      <a:pt x="184" y="135"/>
                    </a:lnTo>
                    <a:lnTo>
                      <a:pt x="189" y="138"/>
                    </a:lnTo>
                    <a:lnTo>
                      <a:pt x="192" y="136"/>
                    </a:lnTo>
                    <a:lnTo>
                      <a:pt x="196" y="129"/>
                    </a:lnTo>
                    <a:lnTo>
                      <a:pt x="200" y="125"/>
                    </a:lnTo>
                    <a:lnTo>
                      <a:pt x="202" y="121"/>
                    </a:lnTo>
                    <a:lnTo>
                      <a:pt x="203" y="121"/>
                    </a:lnTo>
                    <a:lnTo>
                      <a:pt x="205" y="126"/>
                    </a:lnTo>
                    <a:lnTo>
                      <a:pt x="207" y="128"/>
                    </a:lnTo>
                    <a:lnTo>
                      <a:pt x="208" y="127"/>
                    </a:lnTo>
                    <a:lnTo>
                      <a:pt x="211" y="129"/>
                    </a:lnTo>
                    <a:lnTo>
                      <a:pt x="214" y="127"/>
                    </a:lnTo>
                    <a:lnTo>
                      <a:pt x="214" y="125"/>
                    </a:lnTo>
                    <a:lnTo>
                      <a:pt x="215" y="124"/>
                    </a:lnTo>
                    <a:lnTo>
                      <a:pt x="215" y="121"/>
                    </a:lnTo>
                    <a:lnTo>
                      <a:pt x="216" y="119"/>
                    </a:lnTo>
                    <a:lnTo>
                      <a:pt x="215" y="115"/>
                    </a:lnTo>
                    <a:lnTo>
                      <a:pt x="216" y="112"/>
                    </a:lnTo>
                    <a:lnTo>
                      <a:pt x="217" y="107"/>
                    </a:lnTo>
                    <a:lnTo>
                      <a:pt x="217" y="105"/>
                    </a:lnTo>
                    <a:lnTo>
                      <a:pt x="218" y="104"/>
                    </a:lnTo>
                    <a:lnTo>
                      <a:pt x="216" y="96"/>
                    </a:lnTo>
                    <a:lnTo>
                      <a:pt x="212" y="98"/>
                    </a:lnTo>
                    <a:lnTo>
                      <a:pt x="211" y="95"/>
                    </a:lnTo>
                    <a:lnTo>
                      <a:pt x="208" y="92"/>
                    </a:lnTo>
                    <a:lnTo>
                      <a:pt x="202" y="92"/>
                    </a:lnTo>
                    <a:lnTo>
                      <a:pt x="201" y="93"/>
                    </a:lnTo>
                    <a:lnTo>
                      <a:pt x="200" y="101"/>
                    </a:lnTo>
                    <a:lnTo>
                      <a:pt x="197" y="101"/>
                    </a:lnTo>
                    <a:lnTo>
                      <a:pt x="196" y="99"/>
                    </a:lnTo>
                    <a:lnTo>
                      <a:pt x="195" y="93"/>
                    </a:lnTo>
                    <a:lnTo>
                      <a:pt x="194" y="91"/>
                    </a:lnTo>
                    <a:lnTo>
                      <a:pt x="197" y="90"/>
                    </a:lnTo>
                    <a:lnTo>
                      <a:pt x="196" y="88"/>
                    </a:lnTo>
                    <a:lnTo>
                      <a:pt x="197" y="85"/>
                    </a:lnTo>
                    <a:lnTo>
                      <a:pt x="200" y="80"/>
                    </a:lnTo>
                    <a:lnTo>
                      <a:pt x="198" y="78"/>
                    </a:lnTo>
                    <a:lnTo>
                      <a:pt x="196" y="78"/>
                    </a:lnTo>
                    <a:lnTo>
                      <a:pt x="195" y="77"/>
                    </a:lnTo>
                    <a:lnTo>
                      <a:pt x="196" y="73"/>
                    </a:lnTo>
                    <a:lnTo>
                      <a:pt x="198" y="74"/>
                    </a:lnTo>
                    <a:lnTo>
                      <a:pt x="200" y="72"/>
                    </a:lnTo>
                    <a:lnTo>
                      <a:pt x="199" y="70"/>
                    </a:lnTo>
                    <a:lnTo>
                      <a:pt x="192" y="70"/>
                    </a:lnTo>
                    <a:lnTo>
                      <a:pt x="189" y="73"/>
                    </a:lnTo>
                    <a:lnTo>
                      <a:pt x="186" y="73"/>
                    </a:lnTo>
                    <a:lnTo>
                      <a:pt x="182" y="74"/>
                    </a:lnTo>
                    <a:lnTo>
                      <a:pt x="178" y="71"/>
                    </a:lnTo>
                    <a:lnTo>
                      <a:pt x="176" y="68"/>
                    </a:lnTo>
                    <a:lnTo>
                      <a:pt x="172" y="66"/>
                    </a:lnTo>
                    <a:lnTo>
                      <a:pt x="171" y="63"/>
                    </a:lnTo>
                    <a:lnTo>
                      <a:pt x="168" y="61"/>
                    </a:lnTo>
                    <a:lnTo>
                      <a:pt x="166" y="58"/>
                    </a:lnTo>
                    <a:lnTo>
                      <a:pt x="164" y="54"/>
                    </a:lnTo>
                    <a:lnTo>
                      <a:pt x="160" y="49"/>
                    </a:lnTo>
                    <a:lnTo>
                      <a:pt x="160" y="44"/>
                    </a:lnTo>
                    <a:lnTo>
                      <a:pt x="162" y="40"/>
                    </a:lnTo>
                    <a:lnTo>
                      <a:pt x="160" y="38"/>
                    </a:lnTo>
                    <a:lnTo>
                      <a:pt x="157" y="37"/>
                    </a:lnTo>
                    <a:lnTo>
                      <a:pt x="156" y="38"/>
                    </a:lnTo>
                    <a:lnTo>
                      <a:pt x="151" y="39"/>
                    </a:lnTo>
                    <a:lnTo>
                      <a:pt x="149" y="40"/>
                    </a:lnTo>
                    <a:lnTo>
                      <a:pt x="145" y="40"/>
                    </a:lnTo>
                    <a:lnTo>
                      <a:pt x="141" y="32"/>
                    </a:lnTo>
                    <a:lnTo>
                      <a:pt x="138" y="32"/>
                    </a:lnTo>
                    <a:lnTo>
                      <a:pt x="138" y="27"/>
                    </a:lnTo>
                    <a:lnTo>
                      <a:pt x="136" y="27"/>
                    </a:lnTo>
                    <a:lnTo>
                      <a:pt x="131" y="27"/>
                    </a:lnTo>
                    <a:lnTo>
                      <a:pt x="131" y="28"/>
                    </a:lnTo>
                    <a:lnTo>
                      <a:pt x="123" y="24"/>
                    </a:lnTo>
                    <a:lnTo>
                      <a:pt x="119" y="20"/>
                    </a:lnTo>
                    <a:lnTo>
                      <a:pt x="117" y="20"/>
                    </a:lnTo>
                    <a:lnTo>
                      <a:pt x="116" y="17"/>
                    </a:lnTo>
                    <a:lnTo>
                      <a:pt x="115" y="17"/>
                    </a:lnTo>
                    <a:lnTo>
                      <a:pt x="113" y="18"/>
                    </a:lnTo>
                    <a:lnTo>
                      <a:pt x="111" y="15"/>
                    </a:lnTo>
                    <a:lnTo>
                      <a:pt x="109" y="14"/>
                    </a:lnTo>
                    <a:lnTo>
                      <a:pt x="105" y="17"/>
                    </a:lnTo>
                    <a:lnTo>
                      <a:pt x="102" y="17"/>
                    </a:lnTo>
                    <a:lnTo>
                      <a:pt x="101" y="15"/>
                    </a:lnTo>
                    <a:lnTo>
                      <a:pt x="96" y="10"/>
                    </a:lnTo>
                    <a:lnTo>
                      <a:pt x="90" y="6"/>
                    </a:lnTo>
                    <a:lnTo>
                      <a:pt x="85" y="0"/>
                    </a:lnTo>
                    <a:lnTo>
                      <a:pt x="85" y="1"/>
                    </a:lnTo>
                    <a:lnTo>
                      <a:pt x="83" y="0"/>
                    </a:lnTo>
                    <a:lnTo>
                      <a:pt x="82" y="3"/>
                    </a:lnTo>
                    <a:lnTo>
                      <a:pt x="80" y="2"/>
                    </a:lnTo>
                    <a:lnTo>
                      <a:pt x="78" y="3"/>
                    </a:lnTo>
                    <a:lnTo>
                      <a:pt x="78" y="6"/>
                    </a:lnTo>
                    <a:lnTo>
                      <a:pt x="76" y="7"/>
                    </a:lnTo>
                    <a:lnTo>
                      <a:pt x="76" y="10"/>
                    </a:lnTo>
                    <a:lnTo>
                      <a:pt x="74" y="12"/>
                    </a:lnTo>
                    <a:lnTo>
                      <a:pt x="74" y="15"/>
                    </a:lnTo>
                    <a:lnTo>
                      <a:pt x="72" y="17"/>
                    </a:lnTo>
                    <a:lnTo>
                      <a:pt x="71" y="19"/>
                    </a:lnTo>
                    <a:lnTo>
                      <a:pt x="72" y="19"/>
                    </a:lnTo>
                    <a:lnTo>
                      <a:pt x="75" y="22"/>
                    </a:lnTo>
                    <a:lnTo>
                      <a:pt x="77" y="24"/>
                    </a:lnTo>
                    <a:lnTo>
                      <a:pt x="79" y="25"/>
                    </a:lnTo>
                    <a:lnTo>
                      <a:pt x="80" y="28"/>
                    </a:lnTo>
                    <a:lnTo>
                      <a:pt x="83" y="28"/>
                    </a:lnTo>
                    <a:lnTo>
                      <a:pt x="83" y="29"/>
                    </a:lnTo>
                    <a:lnTo>
                      <a:pt x="83" y="31"/>
                    </a:lnTo>
                    <a:lnTo>
                      <a:pt x="84" y="32"/>
                    </a:lnTo>
                    <a:lnTo>
                      <a:pt x="85" y="38"/>
                    </a:lnTo>
                    <a:lnTo>
                      <a:pt x="83" y="41"/>
                    </a:lnTo>
                    <a:lnTo>
                      <a:pt x="86" y="48"/>
                    </a:lnTo>
                    <a:lnTo>
                      <a:pt x="88" y="51"/>
                    </a:lnTo>
                    <a:lnTo>
                      <a:pt x="88" y="56"/>
                    </a:lnTo>
                    <a:lnTo>
                      <a:pt x="87" y="57"/>
                    </a:lnTo>
                    <a:lnTo>
                      <a:pt x="88" y="62"/>
                    </a:lnTo>
                    <a:lnTo>
                      <a:pt x="91" y="66"/>
                    </a:lnTo>
                    <a:lnTo>
                      <a:pt x="93" y="67"/>
                    </a:lnTo>
                    <a:lnTo>
                      <a:pt x="94" y="66"/>
                    </a:lnTo>
                    <a:lnTo>
                      <a:pt x="96" y="66"/>
                    </a:lnTo>
                    <a:lnTo>
                      <a:pt x="96" y="68"/>
                    </a:lnTo>
                    <a:lnTo>
                      <a:pt x="102" y="72"/>
                    </a:lnTo>
                    <a:lnTo>
                      <a:pt x="104" y="72"/>
                    </a:lnTo>
                    <a:lnTo>
                      <a:pt x="104" y="75"/>
                    </a:lnTo>
                    <a:lnTo>
                      <a:pt x="106" y="76"/>
                    </a:lnTo>
                    <a:lnTo>
                      <a:pt x="108" y="84"/>
                    </a:lnTo>
                    <a:lnTo>
                      <a:pt x="107" y="89"/>
                    </a:lnTo>
                    <a:lnTo>
                      <a:pt x="105" y="92"/>
                    </a:lnTo>
                    <a:lnTo>
                      <a:pt x="102" y="93"/>
                    </a:lnTo>
                    <a:lnTo>
                      <a:pt x="102" y="95"/>
                    </a:lnTo>
                    <a:lnTo>
                      <a:pt x="104" y="98"/>
                    </a:lnTo>
                    <a:lnTo>
                      <a:pt x="104" y="101"/>
                    </a:lnTo>
                    <a:lnTo>
                      <a:pt x="108" y="107"/>
                    </a:lnTo>
                    <a:lnTo>
                      <a:pt x="106" y="108"/>
                    </a:lnTo>
                    <a:lnTo>
                      <a:pt x="104" y="112"/>
                    </a:lnTo>
                    <a:lnTo>
                      <a:pt x="100" y="112"/>
                    </a:lnTo>
                    <a:lnTo>
                      <a:pt x="99" y="112"/>
                    </a:lnTo>
                    <a:lnTo>
                      <a:pt x="98" y="107"/>
                    </a:lnTo>
                    <a:lnTo>
                      <a:pt x="96" y="104"/>
                    </a:lnTo>
                    <a:lnTo>
                      <a:pt x="96" y="100"/>
                    </a:lnTo>
                    <a:lnTo>
                      <a:pt x="94" y="98"/>
                    </a:lnTo>
                    <a:lnTo>
                      <a:pt x="91" y="101"/>
                    </a:lnTo>
                    <a:lnTo>
                      <a:pt x="91" y="103"/>
                    </a:lnTo>
                    <a:lnTo>
                      <a:pt x="91" y="104"/>
                    </a:lnTo>
                    <a:lnTo>
                      <a:pt x="90" y="106"/>
                    </a:lnTo>
                    <a:lnTo>
                      <a:pt x="89" y="108"/>
                    </a:lnTo>
                    <a:lnTo>
                      <a:pt x="87" y="108"/>
                    </a:lnTo>
                    <a:lnTo>
                      <a:pt x="86" y="107"/>
                    </a:lnTo>
                    <a:lnTo>
                      <a:pt x="81" y="107"/>
                    </a:lnTo>
                    <a:lnTo>
                      <a:pt x="80" y="106"/>
                    </a:lnTo>
                    <a:lnTo>
                      <a:pt x="78" y="105"/>
                    </a:lnTo>
                    <a:lnTo>
                      <a:pt x="74" y="106"/>
                    </a:lnTo>
                    <a:lnTo>
                      <a:pt x="73" y="108"/>
                    </a:lnTo>
                    <a:lnTo>
                      <a:pt x="70" y="109"/>
                    </a:lnTo>
                    <a:lnTo>
                      <a:pt x="69" y="111"/>
                    </a:lnTo>
                    <a:lnTo>
                      <a:pt x="69" y="115"/>
                    </a:lnTo>
                    <a:lnTo>
                      <a:pt x="68" y="117"/>
                    </a:lnTo>
                    <a:lnTo>
                      <a:pt x="66" y="118"/>
                    </a:lnTo>
                    <a:lnTo>
                      <a:pt x="63" y="117"/>
                    </a:lnTo>
                    <a:lnTo>
                      <a:pt x="62" y="119"/>
                    </a:lnTo>
                    <a:lnTo>
                      <a:pt x="63" y="121"/>
                    </a:lnTo>
                    <a:lnTo>
                      <a:pt x="62" y="123"/>
                    </a:lnTo>
                    <a:lnTo>
                      <a:pt x="62" y="126"/>
                    </a:lnTo>
                    <a:lnTo>
                      <a:pt x="61" y="129"/>
                    </a:lnTo>
                    <a:lnTo>
                      <a:pt x="58" y="131"/>
                    </a:lnTo>
                    <a:lnTo>
                      <a:pt x="57" y="133"/>
                    </a:lnTo>
                    <a:lnTo>
                      <a:pt x="55" y="136"/>
                    </a:lnTo>
                    <a:lnTo>
                      <a:pt x="55" y="139"/>
                    </a:lnTo>
                    <a:lnTo>
                      <a:pt x="54" y="141"/>
                    </a:lnTo>
                    <a:lnTo>
                      <a:pt x="52" y="145"/>
                    </a:lnTo>
                    <a:lnTo>
                      <a:pt x="52" y="148"/>
                    </a:lnTo>
                    <a:lnTo>
                      <a:pt x="51" y="150"/>
                    </a:lnTo>
                    <a:lnTo>
                      <a:pt x="50" y="150"/>
                    </a:lnTo>
                    <a:lnTo>
                      <a:pt x="50" y="148"/>
                    </a:lnTo>
                    <a:lnTo>
                      <a:pt x="49" y="148"/>
                    </a:lnTo>
                    <a:lnTo>
                      <a:pt x="49" y="154"/>
                    </a:lnTo>
                    <a:lnTo>
                      <a:pt x="47" y="156"/>
                    </a:lnTo>
                    <a:lnTo>
                      <a:pt x="44" y="156"/>
                    </a:lnTo>
                    <a:lnTo>
                      <a:pt x="43" y="157"/>
                    </a:lnTo>
                    <a:lnTo>
                      <a:pt x="44" y="158"/>
                    </a:lnTo>
                    <a:lnTo>
                      <a:pt x="46" y="164"/>
                    </a:lnTo>
                    <a:lnTo>
                      <a:pt x="46" y="166"/>
                    </a:lnTo>
                    <a:lnTo>
                      <a:pt x="47" y="169"/>
                    </a:lnTo>
                    <a:lnTo>
                      <a:pt x="44" y="170"/>
                    </a:lnTo>
                    <a:lnTo>
                      <a:pt x="41" y="174"/>
                    </a:lnTo>
                    <a:lnTo>
                      <a:pt x="39" y="176"/>
                    </a:lnTo>
                    <a:lnTo>
                      <a:pt x="43" y="180"/>
                    </a:lnTo>
                    <a:lnTo>
                      <a:pt x="41" y="183"/>
                    </a:lnTo>
                    <a:lnTo>
                      <a:pt x="44" y="187"/>
                    </a:lnTo>
                    <a:lnTo>
                      <a:pt x="41" y="189"/>
                    </a:lnTo>
                    <a:lnTo>
                      <a:pt x="41" y="191"/>
                    </a:lnTo>
                    <a:lnTo>
                      <a:pt x="41" y="192"/>
                    </a:lnTo>
                    <a:lnTo>
                      <a:pt x="40" y="193"/>
                    </a:lnTo>
                    <a:lnTo>
                      <a:pt x="37" y="193"/>
                    </a:lnTo>
                    <a:lnTo>
                      <a:pt x="36" y="195"/>
                    </a:lnTo>
                    <a:lnTo>
                      <a:pt x="33" y="196"/>
                    </a:lnTo>
                    <a:lnTo>
                      <a:pt x="31" y="199"/>
                    </a:lnTo>
                    <a:lnTo>
                      <a:pt x="30" y="198"/>
                    </a:lnTo>
                    <a:lnTo>
                      <a:pt x="29" y="199"/>
                    </a:lnTo>
                    <a:lnTo>
                      <a:pt x="29" y="202"/>
                    </a:lnTo>
                    <a:lnTo>
                      <a:pt x="28" y="203"/>
                    </a:lnTo>
                    <a:lnTo>
                      <a:pt x="26" y="204"/>
                    </a:lnTo>
                    <a:lnTo>
                      <a:pt x="25" y="207"/>
                    </a:lnTo>
                    <a:lnTo>
                      <a:pt x="25" y="208"/>
                    </a:lnTo>
                    <a:lnTo>
                      <a:pt x="23" y="208"/>
                    </a:lnTo>
                    <a:lnTo>
                      <a:pt x="21" y="205"/>
                    </a:lnTo>
                    <a:lnTo>
                      <a:pt x="16" y="204"/>
                    </a:lnTo>
                    <a:lnTo>
                      <a:pt x="13" y="204"/>
                    </a:lnTo>
                    <a:lnTo>
                      <a:pt x="14" y="212"/>
                    </a:lnTo>
                    <a:lnTo>
                      <a:pt x="16" y="213"/>
                    </a:lnTo>
                    <a:lnTo>
                      <a:pt x="17" y="216"/>
                    </a:lnTo>
                    <a:lnTo>
                      <a:pt x="17" y="218"/>
                    </a:lnTo>
                    <a:lnTo>
                      <a:pt x="18" y="221"/>
                    </a:lnTo>
                    <a:lnTo>
                      <a:pt x="17" y="224"/>
                    </a:lnTo>
                    <a:lnTo>
                      <a:pt x="17" y="228"/>
                    </a:lnTo>
                    <a:lnTo>
                      <a:pt x="17" y="230"/>
                    </a:lnTo>
                    <a:lnTo>
                      <a:pt x="18" y="231"/>
                    </a:lnTo>
                    <a:lnTo>
                      <a:pt x="18" y="236"/>
                    </a:lnTo>
                    <a:lnTo>
                      <a:pt x="21" y="238"/>
                    </a:lnTo>
                    <a:lnTo>
                      <a:pt x="19" y="241"/>
                    </a:lnTo>
                    <a:lnTo>
                      <a:pt x="22" y="243"/>
                    </a:lnTo>
                    <a:lnTo>
                      <a:pt x="21" y="245"/>
                    </a:lnTo>
                    <a:lnTo>
                      <a:pt x="21" y="247"/>
                    </a:lnTo>
                    <a:lnTo>
                      <a:pt x="20" y="249"/>
                    </a:lnTo>
                    <a:lnTo>
                      <a:pt x="20" y="251"/>
                    </a:lnTo>
                    <a:lnTo>
                      <a:pt x="21" y="253"/>
                    </a:lnTo>
                    <a:lnTo>
                      <a:pt x="19" y="255"/>
                    </a:lnTo>
                    <a:lnTo>
                      <a:pt x="21" y="261"/>
                    </a:lnTo>
                    <a:lnTo>
                      <a:pt x="21" y="264"/>
                    </a:lnTo>
                    <a:lnTo>
                      <a:pt x="23" y="265"/>
                    </a:lnTo>
                    <a:lnTo>
                      <a:pt x="22" y="266"/>
                    </a:lnTo>
                    <a:lnTo>
                      <a:pt x="23" y="267"/>
                    </a:lnTo>
                    <a:lnTo>
                      <a:pt x="19" y="268"/>
                    </a:lnTo>
                    <a:lnTo>
                      <a:pt x="17" y="268"/>
                    </a:lnTo>
                    <a:lnTo>
                      <a:pt x="15" y="270"/>
                    </a:lnTo>
                    <a:lnTo>
                      <a:pt x="14" y="271"/>
                    </a:lnTo>
                    <a:lnTo>
                      <a:pt x="13" y="277"/>
                    </a:lnTo>
                    <a:lnTo>
                      <a:pt x="13" y="279"/>
                    </a:lnTo>
                    <a:lnTo>
                      <a:pt x="14" y="280"/>
                    </a:lnTo>
                    <a:lnTo>
                      <a:pt x="12" y="283"/>
                    </a:lnTo>
                    <a:lnTo>
                      <a:pt x="13" y="286"/>
                    </a:lnTo>
                    <a:lnTo>
                      <a:pt x="15" y="287"/>
                    </a:lnTo>
                    <a:lnTo>
                      <a:pt x="16" y="289"/>
                    </a:lnTo>
                    <a:lnTo>
                      <a:pt x="17" y="290"/>
                    </a:lnTo>
                    <a:lnTo>
                      <a:pt x="18" y="291"/>
                    </a:lnTo>
                    <a:lnTo>
                      <a:pt x="17" y="293"/>
                    </a:lnTo>
                    <a:lnTo>
                      <a:pt x="17" y="295"/>
                    </a:lnTo>
                    <a:lnTo>
                      <a:pt x="17" y="298"/>
                    </a:lnTo>
                    <a:lnTo>
                      <a:pt x="19" y="304"/>
                    </a:lnTo>
                    <a:lnTo>
                      <a:pt x="23" y="311"/>
                    </a:lnTo>
                    <a:lnTo>
                      <a:pt x="25" y="313"/>
                    </a:lnTo>
                    <a:lnTo>
                      <a:pt x="26" y="314"/>
                    </a:lnTo>
                    <a:lnTo>
                      <a:pt x="28" y="316"/>
                    </a:lnTo>
                    <a:lnTo>
                      <a:pt x="26" y="317"/>
                    </a:lnTo>
                    <a:lnTo>
                      <a:pt x="26" y="318"/>
                    </a:lnTo>
                    <a:lnTo>
                      <a:pt x="26" y="319"/>
                    </a:lnTo>
                    <a:lnTo>
                      <a:pt x="25" y="320"/>
                    </a:lnTo>
                    <a:lnTo>
                      <a:pt x="28" y="325"/>
                    </a:lnTo>
                    <a:lnTo>
                      <a:pt x="30" y="326"/>
                    </a:lnTo>
                    <a:lnTo>
                      <a:pt x="28" y="329"/>
                    </a:lnTo>
                    <a:lnTo>
                      <a:pt x="26" y="329"/>
                    </a:lnTo>
                    <a:lnTo>
                      <a:pt x="25" y="332"/>
                    </a:lnTo>
                    <a:lnTo>
                      <a:pt x="23" y="333"/>
                    </a:lnTo>
                    <a:lnTo>
                      <a:pt x="23" y="335"/>
                    </a:lnTo>
                    <a:lnTo>
                      <a:pt x="25" y="335"/>
                    </a:lnTo>
                    <a:lnTo>
                      <a:pt x="26" y="335"/>
                    </a:lnTo>
                    <a:lnTo>
                      <a:pt x="27" y="333"/>
                    </a:lnTo>
                    <a:lnTo>
                      <a:pt x="29" y="333"/>
                    </a:lnTo>
                    <a:lnTo>
                      <a:pt x="29" y="335"/>
                    </a:lnTo>
                    <a:lnTo>
                      <a:pt x="30" y="336"/>
                    </a:lnTo>
                    <a:lnTo>
                      <a:pt x="31" y="335"/>
                    </a:lnTo>
                    <a:lnTo>
                      <a:pt x="34" y="335"/>
                    </a:lnTo>
                    <a:lnTo>
                      <a:pt x="35" y="338"/>
                    </a:lnTo>
                    <a:lnTo>
                      <a:pt x="38" y="340"/>
                    </a:lnTo>
                    <a:lnTo>
                      <a:pt x="37" y="342"/>
                    </a:lnTo>
                    <a:lnTo>
                      <a:pt x="35" y="346"/>
                    </a:lnTo>
                    <a:lnTo>
                      <a:pt x="36" y="346"/>
                    </a:lnTo>
                    <a:lnTo>
                      <a:pt x="36" y="348"/>
                    </a:lnTo>
                    <a:lnTo>
                      <a:pt x="37" y="347"/>
                    </a:lnTo>
                    <a:lnTo>
                      <a:pt x="37" y="349"/>
                    </a:lnTo>
                    <a:lnTo>
                      <a:pt x="35" y="356"/>
                    </a:lnTo>
                    <a:lnTo>
                      <a:pt x="36" y="359"/>
                    </a:lnTo>
                    <a:lnTo>
                      <a:pt x="33" y="361"/>
                    </a:lnTo>
                    <a:lnTo>
                      <a:pt x="32" y="361"/>
                    </a:lnTo>
                    <a:lnTo>
                      <a:pt x="30" y="362"/>
                    </a:lnTo>
                    <a:lnTo>
                      <a:pt x="30" y="364"/>
                    </a:lnTo>
                    <a:lnTo>
                      <a:pt x="30" y="365"/>
                    </a:lnTo>
                    <a:lnTo>
                      <a:pt x="29" y="365"/>
                    </a:lnTo>
                    <a:lnTo>
                      <a:pt x="26" y="365"/>
                    </a:lnTo>
                    <a:lnTo>
                      <a:pt x="25" y="367"/>
                    </a:lnTo>
                    <a:lnTo>
                      <a:pt x="25" y="369"/>
                    </a:lnTo>
                    <a:lnTo>
                      <a:pt x="23" y="369"/>
                    </a:lnTo>
                    <a:lnTo>
                      <a:pt x="23" y="374"/>
                    </a:lnTo>
                    <a:lnTo>
                      <a:pt x="22" y="375"/>
                    </a:lnTo>
                    <a:lnTo>
                      <a:pt x="22" y="377"/>
                    </a:lnTo>
                    <a:lnTo>
                      <a:pt x="24" y="381"/>
                    </a:lnTo>
                    <a:lnTo>
                      <a:pt x="26" y="384"/>
                    </a:lnTo>
                    <a:lnTo>
                      <a:pt x="26" y="385"/>
                    </a:lnTo>
                    <a:lnTo>
                      <a:pt x="25" y="384"/>
                    </a:lnTo>
                    <a:lnTo>
                      <a:pt x="25" y="382"/>
                    </a:lnTo>
                    <a:lnTo>
                      <a:pt x="24" y="382"/>
                    </a:lnTo>
                    <a:lnTo>
                      <a:pt x="24" y="383"/>
                    </a:lnTo>
                    <a:lnTo>
                      <a:pt x="23" y="384"/>
                    </a:lnTo>
                    <a:lnTo>
                      <a:pt x="22" y="388"/>
                    </a:lnTo>
                    <a:lnTo>
                      <a:pt x="20" y="389"/>
                    </a:lnTo>
                    <a:lnTo>
                      <a:pt x="21" y="391"/>
                    </a:lnTo>
                    <a:lnTo>
                      <a:pt x="21" y="392"/>
                    </a:lnTo>
                    <a:lnTo>
                      <a:pt x="19" y="393"/>
                    </a:lnTo>
                    <a:lnTo>
                      <a:pt x="20" y="395"/>
                    </a:lnTo>
                    <a:lnTo>
                      <a:pt x="21" y="396"/>
                    </a:lnTo>
                    <a:lnTo>
                      <a:pt x="18" y="397"/>
                    </a:lnTo>
                    <a:lnTo>
                      <a:pt x="18" y="398"/>
                    </a:lnTo>
                    <a:lnTo>
                      <a:pt x="17" y="399"/>
                    </a:lnTo>
                    <a:lnTo>
                      <a:pt x="16" y="398"/>
                    </a:lnTo>
                    <a:lnTo>
                      <a:pt x="15" y="401"/>
                    </a:lnTo>
                    <a:lnTo>
                      <a:pt x="17" y="401"/>
                    </a:lnTo>
                    <a:lnTo>
                      <a:pt x="17" y="404"/>
                    </a:lnTo>
                    <a:lnTo>
                      <a:pt x="19" y="405"/>
                    </a:lnTo>
                    <a:lnTo>
                      <a:pt x="18" y="406"/>
                    </a:lnTo>
                    <a:lnTo>
                      <a:pt x="17" y="406"/>
                    </a:lnTo>
                    <a:lnTo>
                      <a:pt x="13" y="407"/>
                    </a:lnTo>
                    <a:lnTo>
                      <a:pt x="13" y="406"/>
                    </a:lnTo>
                    <a:lnTo>
                      <a:pt x="12" y="405"/>
                    </a:lnTo>
                    <a:lnTo>
                      <a:pt x="11" y="403"/>
                    </a:lnTo>
                    <a:lnTo>
                      <a:pt x="9" y="404"/>
                    </a:lnTo>
                    <a:lnTo>
                      <a:pt x="9" y="402"/>
                    </a:lnTo>
                    <a:lnTo>
                      <a:pt x="8" y="404"/>
                    </a:lnTo>
                    <a:lnTo>
                      <a:pt x="8" y="403"/>
                    </a:lnTo>
                    <a:lnTo>
                      <a:pt x="5" y="401"/>
                    </a:lnTo>
                    <a:lnTo>
                      <a:pt x="3" y="399"/>
                    </a:lnTo>
                    <a:lnTo>
                      <a:pt x="5" y="401"/>
                    </a:lnTo>
                    <a:lnTo>
                      <a:pt x="3" y="401"/>
                    </a:lnTo>
                    <a:lnTo>
                      <a:pt x="4" y="403"/>
                    </a:lnTo>
                    <a:lnTo>
                      <a:pt x="3" y="404"/>
                    </a:lnTo>
                    <a:lnTo>
                      <a:pt x="3" y="405"/>
                    </a:lnTo>
                    <a:lnTo>
                      <a:pt x="3" y="407"/>
                    </a:lnTo>
                    <a:lnTo>
                      <a:pt x="3" y="410"/>
                    </a:lnTo>
                    <a:lnTo>
                      <a:pt x="5" y="410"/>
                    </a:lnTo>
                    <a:lnTo>
                      <a:pt x="5" y="411"/>
                    </a:lnTo>
                    <a:lnTo>
                      <a:pt x="5" y="412"/>
                    </a:lnTo>
                    <a:lnTo>
                      <a:pt x="3" y="413"/>
                    </a:lnTo>
                    <a:lnTo>
                      <a:pt x="2" y="416"/>
                    </a:lnTo>
                    <a:lnTo>
                      <a:pt x="1" y="417"/>
                    </a:lnTo>
                    <a:lnTo>
                      <a:pt x="0" y="420"/>
                    </a:lnTo>
                    <a:lnTo>
                      <a:pt x="2" y="420"/>
                    </a:lnTo>
                    <a:lnTo>
                      <a:pt x="5" y="420"/>
                    </a:lnTo>
                    <a:lnTo>
                      <a:pt x="6" y="420"/>
                    </a:lnTo>
                    <a:lnTo>
                      <a:pt x="8" y="421"/>
                    </a:lnTo>
                    <a:lnTo>
                      <a:pt x="9" y="420"/>
                    </a:lnTo>
                    <a:lnTo>
                      <a:pt x="11" y="422"/>
                    </a:lnTo>
                    <a:lnTo>
                      <a:pt x="12" y="423"/>
                    </a:lnTo>
                    <a:lnTo>
                      <a:pt x="15" y="426"/>
                    </a:lnTo>
                    <a:lnTo>
                      <a:pt x="18" y="426"/>
                    </a:lnTo>
                    <a:lnTo>
                      <a:pt x="20" y="425"/>
                    </a:lnTo>
                    <a:lnTo>
                      <a:pt x="19" y="426"/>
                    </a:lnTo>
                    <a:lnTo>
                      <a:pt x="19" y="427"/>
                    </a:lnTo>
                    <a:lnTo>
                      <a:pt x="20" y="426"/>
                    </a:lnTo>
                    <a:lnTo>
                      <a:pt x="21" y="426"/>
                    </a:lnTo>
                    <a:lnTo>
                      <a:pt x="23" y="427"/>
                    </a:lnTo>
                    <a:lnTo>
                      <a:pt x="24" y="427"/>
                    </a:lnTo>
                    <a:lnTo>
                      <a:pt x="25" y="427"/>
                    </a:lnTo>
                    <a:lnTo>
                      <a:pt x="25" y="428"/>
                    </a:lnTo>
                    <a:lnTo>
                      <a:pt x="22" y="428"/>
                    </a:lnTo>
                    <a:lnTo>
                      <a:pt x="20" y="427"/>
                    </a:lnTo>
                    <a:lnTo>
                      <a:pt x="18" y="427"/>
                    </a:lnTo>
                    <a:lnTo>
                      <a:pt x="17" y="430"/>
                    </a:lnTo>
                    <a:lnTo>
                      <a:pt x="17" y="431"/>
                    </a:lnTo>
                    <a:lnTo>
                      <a:pt x="17" y="435"/>
                    </a:lnTo>
                    <a:lnTo>
                      <a:pt x="15" y="436"/>
                    </a:lnTo>
                    <a:lnTo>
                      <a:pt x="14" y="435"/>
                    </a:lnTo>
                    <a:lnTo>
                      <a:pt x="11" y="437"/>
                    </a:lnTo>
                    <a:lnTo>
                      <a:pt x="12" y="439"/>
                    </a:lnTo>
                    <a:lnTo>
                      <a:pt x="10" y="443"/>
                    </a:lnTo>
                    <a:lnTo>
                      <a:pt x="11" y="445"/>
                    </a:lnTo>
                    <a:lnTo>
                      <a:pt x="11" y="448"/>
                    </a:lnTo>
                    <a:lnTo>
                      <a:pt x="12" y="449"/>
                    </a:lnTo>
                    <a:lnTo>
                      <a:pt x="12" y="451"/>
                    </a:lnTo>
                    <a:lnTo>
                      <a:pt x="13" y="454"/>
                    </a:lnTo>
                    <a:lnTo>
                      <a:pt x="12" y="454"/>
                    </a:lnTo>
                    <a:lnTo>
                      <a:pt x="13" y="455"/>
                    </a:lnTo>
                    <a:lnTo>
                      <a:pt x="12" y="462"/>
                    </a:lnTo>
                    <a:lnTo>
                      <a:pt x="14" y="463"/>
                    </a:lnTo>
                    <a:lnTo>
                      <a:pt x="15" y="464"/>
                    </a:lnTo>
                    <a:lnTo>
                      <a:pt x="17" y="464"/>
                    </a:lnTo>
                    <a:lnTo>
                      <a:pt x="17" y="465"/>
                    </a:lnTo>
                    <a:lnTo>
                      <a:pt x="17" y="468"/>
                    </a:lnTo>
                    <a:lnTo>
                      <a:pt x="18" y="470"/>
                    </a:lnTo>
                    <a:lnTo>
                      <a:pt x="17" y="471"/>
                    </a:lnTo>
                    <a:lnTo>
                      <a:pt x="19" y="471"/>
                    </a:lnTo>
                    <a:lnTo>
                      <a:pt x="19" y="473"/>
                    </a:lnTo>
                    <a:lnTo>
                      <a:pt x="19" y="474"/>
                    </a:lnTo>
                    <a:lnTo>
                      <a:pt x="18" y="474"/>
                    </a:lnTo>
                    <a:lnTo>
                      <a:pt x="17" y="474"/>
                    </a:lnTo>
                    <a:lnTo>
                      <a:pt x="15" y="474"/>
                    </a:lnTo>
                    <a:lnTo>
                      <a:pt x="15" y="475"/>
                    </a:lnTo>
                    <a:lnTo>
                      <a:pt x="12" y="474"/>
                    </a:lnTo>
                    <a:lnTo>
                      <a:pt x="11" y="477"/>
                    </a:lnTo>
                    <a:lnTo>
                      <a:pt x="11" y="478"/>
                    </a:lnTo>
                    <a:lnTo>
                      <a:pt x="9" y="480"/>
                    </a:lnTo>
                    <a:lnTo>
                      <a:pt x="9" y="483"/>
                    </a:lnTo>
                    <a:lnTo>
                      <a:pt x="11" y="484"/>
                    </a:lnTo>
                    <a:lnTo>
                      <a:pt x="11" y="482"/>
                    </a:lnTo>
                    <a:lnTo>
                      <a:pt x="13" y="483"/>
                    </a:lnTo>
                    <a:lnTo>
                      <a:pt x="12" y="486"/>
                    </a:lnTo>
                    <a:lnTo>
                      <a:pt x="18" y="490"/>
                    </a:lnTo>
                    <a:lnTo>
                      <a:pt x="21" y="494"/>
                    </a:lnTo>
                    <a:lnTo>
                      <a:pt x="25" y="496"/>
                    </a:lnTo>
                    <a:lnTo>
                      <a:pt x="26" y="499"/>
                    </a:lnTo>
                    <a:lnTo>
                      <a:pt x="27" y="498"/>
                    </a:lnTo>
                    <a:lnTo>
                      <a:pt x="27" y="497"/>
                    </a:lnTo>
                    <a:lnTo>
                      <a:pt x="30" y="493"/>
                    </a:lnTo>
                    <a:lnTo>
                      <a:pt x="32" y="491"/>
                    </a:lnTo>
                    <a:lnTo>
                      <a:pt x="34" y="491"/>
                    </a:lnTo>
                    <a:lnTo>
                      <a:pt x="36" y="490"/>
                    </a:lnTo>
                    <a:lnTo>
                      <a:pt x="37" y="491"/>
                    </a:lnTo>
                    <a:lnTo>
                      <a:pt x="36" y="489"/>
                    </a:lnTo>
                    <a:lnTo>
                      <a:pt x="36" y="486"/>
                    </a:lnTo>
                    <a:lnTo>
                      <a:pt x="36" y="484"/>
                    </a:lnTo>
                    <a:lnTo>
                      <a:pt x="37" y="484"/>
                    </a:lnTo>
                    <a:lnTo>
                      <a:pt x="39" y="478"/>
                    </a:lnTo>
                    <a:lnTo>
                      <a:pt x="40" y="481"/>
                    </a:lnTo>
                    <a:lnTo>
                      <a:pt x="41" y="480"/>
                    </a:lnTo>
                    <a:lnTo>
                      <a:pt x="44" y="478"/>
                    </a:lnTo>
                    <a:lnTo>
                      <a:pt x="41" y="475"/>
                    </a:lnTo>
                    <a:lnTo>
                      <a:pt x="42" y="473"/>
                    </a:lnTo>
                    <a:lnTo>
                      <a:pt x="41" y="472"/>
                    </a:lnTo>
                    <a:lnTo>
                      <a:pt x="38" y="471"/>
                    </a:lnTo>
                    <a:lnTo>
                      <a:pt x="38" y="469"/>
                    </a:lnTo>
                    <a:lnTo>
                      <a:pt x="38" y="468"/>
                    </a:lnTo>
                    <a:lnTo>
                      <a:pt x="40" y="467"/>
                    </a:lnTo>
                    <a:lnTo>
                      <a:pt x="41" y="466"/>
                    </a:lnTo>
                    <a:lnTo>
                      <a:pt x="39" y="465"/>
                    </a:lnTo>
                    <a:lnTo>
                      <a:pt x="39" y="463"/>
                    </a:lnTo>
                    <a:lnTo>
                      <a:pt x="38" y="463"/>
                    </a:lnTo>
                    <a:lnTo>
                      <a:pt x="37" y="464"/>
                    </a:lnTo>
                    <a:lnTo>
                      <a:pt x="37" y="462"/>
                    </a:lnTo>
                    <a:lnTo>
                      <a:pt x="36" y="462"/>
                    </a:lnTo>
                    <a:lnTo>
                      <a:pt x="36" y="459"/>
                    </a:lnTo>
                    <a:lnTo>
                      <a:pt x="35" y="459"/>
                    </a:lnTo>
                    <a:lnTo>
                      <a:pt x="35" y="458"/>
                    </a:lnTo>
                    <a:lnTo>
                      <a:pt x="34" y="459"/>
                    </a:lnTo>
                    <a:lnTo>
                      <a:pt x="33" y="458"/>
                    </a:lnTo>
                    <a:lnTo>
                      <a:pt x="32" y="458"/>
                    </a:lnTo>
                    <a:lnTo>
                      <a:pt x="33" y="456"/>
                    </a:lnTo>
                    <a:lnTo>
                      <a:pt x="32" y="454"/>
                    </a:lnTo>
                    <a:lnTo>
                      <a:pt x="30" y="454"/>
                    </a:lnTo>
                    <a:lnTo>
                      <a:pt x="31" y="452"/>
                    </a:lnTo>
                    <a:lnTo>
                      <a:pt x="33" y="454"/>
                    </a:lnTo>
                    <a:lnTo>
                      <a:pt x="34" y="453"/>
                    </a:lnTo>
                    <a:lnTo>
                      <a:pt x="35" y="451"/>
                    </a:lnTo>
                    <a:lnTo>
                      <a:pt x="36" y="451"/>
                    </a:lnTo>
                    <a:lnTo>
                      <a:pt x="36" y="450"/>
                    </a:lnTo>
                    <a:lnTo>
                      <a:pt x="35" y="450"/>
                    </a:lnTo>
                    <a:lnTo>
                      <a:pt x="34" y="450"/>
                    </a:lnTo>
                    <a:lnTo>
                      <a:pt x="36" y="449"/>
                    </a:lnTo>
                    <a:lnTo>
                      <a:pt x="38" y="449"/>
                    </a:lnTo>
                    <a:lnTo>
                      <a:pt x="44" y="446"/>
                    </a:lnTo>
                    <a:lnTo>
                      <a:pt x="45" y="446"/>
                    </a:lnTo>
                    <a:lnTo>
                      <a:pt x="46" y="445"/>
                    </a:lnTo>
                    <a:lnTo>
                      <a:pt x="47" y="446"/>
                    </a:lnTo>
                    <a:lnTo>
                      <a:pt x="50" y="451"/>
                    </a:lnTo>
                    <a:lnTo>
                      <a:pt x="52" y="448"/>
                    </a:lnTo>
                    <a:lnTo>
                      <a:pt x="54" y="449"/>
                    </a:lnTo>
                    <a:lnTo>
                      <a:pt x="54" y="450"/>
                    </a:lnTo>
                    <a:lnTo>
                      <a:pt x="55" y="450"/>
                    </a:lnTo>
                    <a:lnTo>
                      <a:pt x="54" y="451"/>
                    </a:lnTo>
                    <a:lnTo>
                      <a:pt x="55" y="452"/>
                    </a:lnTo>
                    <a:lnTo>
                      <a:pt x="57" y="454"/>
                    </a:lnTo>
                    <a:lnTo>
                      <a:pt x="57" y="458"/>
                    </a:lnTo>
                    <a:lnTo>
                      <a:pt x="55" y="458"/>
                    </a:lnTo>
                    <a:lnTo>
                      <a:pt x="55" y="459"/>
                    </a:lnTo>
                    <a:lnTo>
                      <a:pt x="57" y="459"/>
                    </a:lnTo>
                    <a:lnTo>
                      <a:pt x="57" y="461"/>
                    </a:lnTo>
                    <a:lnTo>
                      <a:pt x="61" y="463"/>
                    </a:lnTo>
                    <a:lnTo>
                      <a:pt x="62" y="464"/>
                    </a:lnTo>
                    <a:lnTo>
                      <a:pt x="61" y="465"/>
                    </a:lnTo>
                    <a:lnTo>
                      <a:pt x="59" y="465"/>
                    </a:lnTo>
                    <a:lnTo>
                      <a:pt x="59" y="466"/>
                    </a:lnTo>
                    <a:lnTo>
                      <a:pt x="60" y="466"/>
                    </a:lnTo>
                    <a:lnTo>
                      <a:pt x="61" y="467"/>
                    </a:lnTo>
                    <a:lnTo>
                      <a:pt x="62" y="467"/>
                    </a:lnTo>
                    <a:lnTo>
                      <a:pt x="63" y="468"/>
                    </a:lnTo>
                    <a:lnTo>
                      <a:pt x="64" y="469"/>
                    </a:lnTo>
                    <a:lnTo>
                      <a:pt x="64" y="472"/>
                    </a:lnTo>
                    <a:lnTo>
                      <a:pt x="63" y="472"/>
                    </a:lnTo>
                    <a:lnTo>
                      <a:pt x="63" y="473"/>
                    </a:lnTo>
                    <a:lnTo>
                      <a:pt x="64" y="477"/>
                    </a:lnTo>
                    <a:lnTo>
                      <a:pt x="64" y="479"/>
                    </a:lnTo>
                    <a:lnTo>
                      <a:pt x="64" y="482"/>
                    </a:lnTo>
                    <a:lnTo>
                      <a:pt x="63" y="481"/>
                    </a:lnTo>
                    <a:lnTo>
                      <a:pt x="62" y="482"/>
                    </a:lnTo>
                    <a:lnTo>
                      <a:pt x="65" y="485"/>
                    </a:lnTo>
                    <a:lnTo>
                      <a:pt x="66" y="486"/>
                    </a:lnTo>
                    <a:lnTo>
                      <a:pt x="69" y="485"/>
                    </a:lnTo>
                    <a:lnTo>
                      <a:pt x="69" y="486"/>
                    </a:lnTo>
                    <a:lnTo>
                      <a:pt x="70" y="486"/>
                    </a:lnTo>
                    <a:lnTo>
                      <a:pt x="70" y="487"/>
                    </a:lnTo>
                    <a:lnTo>
                      <a:pt x="69" y="490"/>
                    </a:lnTo>
                    <a:lnTo>
                      <a:pt x="70" y="490"/>
                    </a:lnTo>
                    <a:lnTo>
                      <a:pt x="70" y="492"/>
                    </a:lnTo>
                    <a:lnTo>
                      <a:pt x="69" y="491"/>
                    </a:lnTo>
                    <a:lnTo>
                      <a:pt x="69" y="494"/>
                    </a:lnTo>
                    <a:lnTo>
                      <a:pt x="72" y="494"/>
                    </a:lnTo>
                    <a:lnTo>
                      <a:pt x="71" y="496"/>
                    </a:lnTo>
                    <a:lnTo>
                      <a:pt x="72" y="496"/>
                    </a:lnTo>
                    <a:lnTo>
                      <a:pt x="72" y="498"/>
                    </a:lnTo>
                    <a:lnTo>
                      <a:pt x="74" y="498"/>
                    </a:lnTo>
                    <a:lnTo>
                      <a:pt x="73" y="500"/>
                    </a:lnTo>
                    <a:lnTo>
                      <a:pt x="73" y="501"/>
                    </a:lnTo>
                    <a:lnTo>
                      <a:pt x="74" y="501"/>
                    </a:lnTo>
                    <a:lnTo>
                      <a:pt x="75" y="501"/>
                    </a:lnTo>
                    <a:lnTo>
                      <a:pt x="77" y="501"/>
                    </a:lnTo>
                    <a:lnTo>
                      <a:pt x="78" y="500"/>
                    </a:lnTo>
                    <a:lnTo>
                      <a:pt x="77" y="500"/>
                    </a:lnTo>
                    <a:lnTo>
                      <a:pt x="77" y="499"/>
                    </a:lnTo>
                    <a:lnTo>
                      <a:pt x="77" y="497"/>
                    </a:lnTo>
                    <a:lnTo>
                      <a:pt x="76" y="496"/>
                    </a:lnTo>
                    <a:lnTo>
                      <a:pt x="78" y="496"/>
                    </a:lnTo>
                    <a:lnTo>
                      <a:pt x="78" y="495"/>
                    </a:lnTo>
                    <a:lnTo>
                      <a:pt x="79" y="494"/>
                    </a:lnTo>
                    <a:lnTo>
                      <a:pt x="78" y="491"/>
                    </a:lnTo>
                    <a:lnTo>
                      <a:pt x="79" y="491"/>
                    </a:lnTo>
                    <a:lnTo>
                      <a:pt x="80" y="494"/>
                    </a:lnTo>
                    <a:lnTo>
                      <a:pt x="80" y="496"/>
                    </a:lnTo>
                    <a:lnTo>
                      <a:pt x="82" y="498"/>
                    </a:lnTo>
                    <a:lnTo>
                      <a:pt x="82" y="501"/>
                    </a:lnTo>
                    <a:lnTo>
                      <a:pt x="80" y="503"/>
                    </a:lnTo>
                    <a:lnTo>
                      <a:pt x="79" y="504"/>
                    </a:lnTo>
                    <a:lnTo>
                      <a:pt x="80" y="506"/>
                    </a:lnTo>
                    <a:lnTo>
                      <a:pt x="78" y="507"/>
                    </a:lnTo>
                    <a:lnTo>
                      <a:pt x="76" y="510"/>
                    </a:lnTo>
                    <a:lnTo>
                      <a:pt x="77" y="512"/>
                    </a:lnTo>
                    <a:lnTo>
                      <a:pt x="77" y="513"/>
                    </a:lnTo>
                    <a:lnTo>
                      <a:pt x="77" y="514"/>
                    </a:lnTo>
                    <a:lnTo>
                      <a:pt x="75" y="515"/>
                    </a:lnTo>
                    <a:lnTo>
                      <a:pt x="76" y="518"/>
                    </a:lnTo>
                    <a:lnTo>
                      <a:pt x="77" y="517"/>
                    </a:lnTo>
                    <a:lnTo>
                      <a:pt x="80" y="519"/>
                    </a:lnTo>
                    <a:lnTo>
                      <a:pt x="80" y="520"/>
                    </a:lnTo>
                    <a:lnTo>
                      <a:pt x="80" y="521"/>
                    </a:lnTo>
                    <a:lnTo>
                      <a:pt x="83" y="522"/>
                    </a:lnTo>
                    <a:lnTo>
                      <a:pt x="83" y="523"/>
                    </a:lnTo>
                    <a:lnTo>
                      <a:pt x="85" y="523"/>
                    </a:lnTo>
                    <a:lnTo>
                      <a:pt x="88" y="525"/>
                    </a:lnTo>
                    <a:lnTo>
                      <a:pt x="90" y="525"/>
                    </a:lnTo>
                    <a:lnTo>
                      <a:pt x="93" y="527"/>
                    </a:lnTo>
                    <a:lnTo>
                      <a:pt x="94" y="527"/>
                    </a:lnTo>
                    <a:lnTo>
                      <a:pt x="94" y="528"/>
                    </a:lnTo>
                    <a:lnTo>
                      <a:pt x="95" y="530"/>
                    </a:lnTo>
                    <a:lnTo>
                      <a:pt x="97" y="534"/>
                    </a:lnTo>
                    <a:lnTo>
                      <a:pt x="100" y="533"/>
                    </a:lnTo>
                    <a:lnTo>
                      <a:pt x="100" y="536"/>
                    </a:lnTo>
                    <a:lnTo>
                      <a:pt x="99" y="537"/>
                    </a:lnTo>
                    <a:lnTo>
                      <a:pt x="99" y="538"/>
                    </a:lnTo>
                    <a:lnTo>
                      <a:pt x="98" y="538"/>
                    </a:lnTo>
                    <a:lnTo>
                      <a:pt x="99" y="541"/>
                    </a:lnTo>
                    <a:lnTo>
                      <a:pt x="100" y="544"/>
                    </a:lnTo>
                    <a:lnTo>
                      <a:pt x="100" y="547"/>
                    </a:lnTo>
                    <a:lnTo>
                      <a:pt x="101" y="549"/>
                    </a:lnTo>
                    <a:lnTo>
                      <a:pt x="101" y="548"/>
                    </a:lnTo>
                    <a:lnTo>
                      <a:pt x="102" y="549"/>
                    </a:lnTo>
                    <a:lnTo>
                      <a:pt x="102" y="551"/>
                    </a:lnTo>
                    <a:lnTo>
                      <a:pt x="102" y="555"/>
                    </a:lnTo>
                    <a:lnTo>
                      <a:pt x="103" y="555"/>
                    </a:lnTo>
                    <a:lnTo>
                      <a:pt x="102" y="557"/>
                    </a:lnTo>
                    <a:lnTo>
                      <a:pt x="104" y="556"/>
                    </a:lnTo>
                    <a:lnTo>
                      <a:pt x="104" y="557"/>
                    </a:lnTo>
                    <a:lnTo>
                      <a:pt x="104" y="558"/>
                    </a:lnTo>
                    <a:lnTo>
                      <a:pt x="103" y="558"/>
                    </a:lnTo>
                    <a:lnTo>
                      <a:pt x="104" y="559"/>
                    </a:lnTo>
                    <a:lnTo>
                      <a:pt x="105" y="560"/>
                    </a:lnTo>
                    <a:lnTo>
                      <a:pt x="106" y="561"/>
                    </a:lnTo>
                    <a:lnTo>
                      <a:pt x="107" y="562"/>
                    </a:lnTo>
                    <a:lnTo>
                      <a:pt x="107" y="561"/>
                    </a:lnTo>
                    <a:lnTo>
                      <a:pt x="108" y="561"/>
                    </a:lnTo>
                    <a:lnTo>
                      <a:pt x="108" y="562"/>
                    </a:lnTo>
                    <a:lnTo>
                      <a:pt x="109" y="560"/>
                    </a:lnTo>
                    <a:lnTo>
                      <a:pt x="110" y="557"/>
                    </a:lnTo>
                    <a:lnTo>
                      <a:pt x="109" y="557"/>
                    </a:lnTo>
                    <a:lnTo>
                      <a:pt x="109" y="554"/>
                    </a:lnTo>
                    <a:lnTo>
                      <a:pt x="111" y="553"/>
                    </a:lnTo>
                    <a:lnTo>
                      <a:pt x="113" y="553"/>
                    </a:lnTo>
                    <a:lnTo>
                      <a:pt x="115" y="552"/>
                    </a:lnTo>
                    <a:lnTo>
                      <a:pt x="113" y="550"/>
                    </a:lnTo>
                    <a:lnTo>
                      <a:pt x="114" y="549"/>
                    </a:lnTo>
                    <a:lnTo>
                      <a:pt x="115" y="549"/>
                    </a:lnTo>
                    <a:lnTo>
                      <a:pt x="116" y="552"/>
                    </a:lnTo>
                    <a:lnTo>
                      <a:pt x="118" y="554"/>
                    </a:lnTo>
                    <a:lnTo>
                      <a:pt x="119" y="553"/>
                    </a:lnTo>
                    <a:lnTo>
                      <a:pt x="119" y="551"/>
                    </a:lnTo>
                    <a:lnTo>
                      <a:pt x="121" y="551"/>
                    </a:lnTo>
                    <a:lnTo>
                      <a:pt x="123" y="551"/>
                    </a:lnTo>
                    <a:lnTo>
                      <a:pt x="124" y="550"/>
                    </a:lnTo>
                    <a:lnTo>
                      <a:pt x="127" y="552"/>
                    </a:lnTo>
                    <a:lnTo>
                      <a:pt x="128" y="551"/>
                    </a:lnTo>
                    <a:lnTo>
                      <a:pt x="130" y="551"/>
                    </a:lnTo>
                    <a:lnTo>
                      <a:pt x="131" y="548"/>
                    </a:lnTo>
                    <a:lnTo>
                      <a:pt x="131" y="551"/>
                    </a:lnTo>
                    <a:lnTo>
                      <a:pt x="132" y="550"/>
                    </a:lnTo>
                    <a:lnTo>
                      <a:pt x="135" y="553"/>
                    </a:lnTo>
                    <a:lnTo>
                      <a:pt x="135" y="552"/>
                    </a:lnTo>
                    <a:lnTo>
                      <a:pt x="137" y="552"/>
                    </a:lnTo>
                    <a:lnTo>
                      <a:pt x="140" y="551"/>
                    </a:lnTo>
                    <a:lnTo>
                      <a:pt x="141" y="550"/>
                    </a:lnTo>
                    <a:lnTo>
                      <a:pt x="140" y="549"/>
                    </a:lnTo>
                    <a:lnTo>
                      <a:pt x="141" y="548"/>
                    </a:lnTo>
                    <a:lnTo>
                      <a:pt x="143" y="547"/>
                    </a:lnTo>
                    <a:lnTo>
                      <a:pt x="143" y="545"/>
                    </a:lnTo>
                    <a:lnTo>
                      <a:pt x="145" y="545"/>
                    </a:lnTo>
                    <a:lnTo>
                      <a:pt x="144" y="544"/>
                    </a:lnTo>
                    <a:lnTo>
                      <a:pt x="145" y="544"/>
                    </a:lnTo>
                    <a:lnTo>
                      <a:pt x="146" y="543"/>
                    </a:lnTo>
                    <a:lnTo>
                      <a:pt x="147" y="543"/>
                    </a:lnTo>
                    <a:lnTo>
                      <a:pt x="149" y="536"/>
                    </a:lnTo>
                    <a:lnTo>
                      <a:pt x="149" y="537"/>
                    </a:lnTo>
                    <a:lnTo>
                      <a:pt x="151" y="537"/>
                    </a:lnTo>
                    <a:lnTo>
                      <a:pt x="151" y="535"/>
                    </a:lnTo>
                    <a:lnTo>
                      <a:pt x="153" y="536"/>
                    </a:lnTo>
                    <a:lnTo>
                      <a:pt x="156" y="533"/>
                    </a:lnTo>
                    <a:lnTo>
                      <a:pt x="157" y="533"/>
                    </a:lnTo>
                    <a:lnTo>
                      <a:pt x="160" y="533"/>
                    </a:lnTo>
                    <a:lnTo>
                      <a:pt x="159" y="530"/>
                    </a:lnTo>
                    <a:lnTo>
                      <a:pt x="160" y="530"/>
                    </a:lnTo>
                    <a:lnTo>
                      <a:pt x="159" y="526"/>
                    </a:lnTo>
                    <a:lnTo>
                      <a:pt x="159" y="525"/>
                    </a:lnTo>
                    <a:lnTo>
                      <a:pt x="157" y="524"/>
                    </a:lnTo>
                    <a:lnTo>
                      <a:pt x="157" y="522"/>
                    </a:lnTo>
                    <a:lnTo>
                      <a:pt x="156" y="520"/>
                    </a:lnTo>
                    <a:lnTo>
                      <a:pt x="156" y="517"/>
                    </a:lnTo>
                    <a:lnTo>
                      <a:pt x="156" y="514"/>
                    </a:lnTo>
                    <a:lnTo>
                      <a:pt x="156" y="513"/>
                    </a:lnTo>
                    <a:lnTo>
                      <a:pt x="156" y="510"/>
                    </a:lnTo>
                    <a:lnTo>
                      <a:pt x="158" y="510"/>
                    </a:lnTo>
                    <a:lnTo>
                      <a:pt x="159" y="508"/>
                    </a:lnTo>
                    <a:lnTo>
                      <a:pt x="160" y="507"/>
                    </a:lnTo>
                    <a:lnTo>
                      <a:pt x="161" y="506"/>
                    </a:lnTo>
                    <a:lnTo>
                      <a:pt x="160" y="506"/>
                    </a:lnTo>
                    <a:lnTo>
                      <a:pt x="162" y="505"/>
                    </a:lnTo>
                    <a:lnTo>
                      <a:pt x="162" y="502"/>
                    </a:lnTo>
                    <a:lnTo>
                      <a:pt x="165" y="502"/>
                    </a:lnTo>
                    <a:lnTo>
                      <a:pt x="165" y="501"/>
                    </a:lnTo>
                    <a:lnTo>
                      <a:pt x="167" y="501"/>
                    </a:lnTo>
                    <a:lnTo>
                      <a:pt x="167" y="500"/>
                    </a:lnTo>
                    <a:lnTo>
                      <a:pt x="169" y="504"/>
                    </a:lnTo>
                    <a:lnTo>
                      <a:pt x="170" y="504"/>
                    </a:lnTo>
                    <a:lnTo>
                      <a:pt x="168" y="507"/>
                    </a:lnTo>
                    <a:lnTo>
                      <a:pt x="167" y="511"/>
                    </a:lnTo>
                    <a:lnTo>
                      <a:pt x="167" y="514"/>
                    </a:lnTo>
                    <a:lnTo>
                      <a:pt x="167" y="515"/>
                    </a:lnTo>
                    <a:lnTo>
                      <a:pt x="170" y="515"/>
                    </a:lnTo>
                    <a:lnTo>
                      <a:pt x="171" y="516"/>
                    </a:lnTo>
                    <a:lnTo>
                      <a:pt x="171" y="512"/>
                    </a:lnTo>
                    <a:lnTo>
                      <a:pt x="175" y="514"/>
                    </a:lnTo>
                    <a:lnTo>
                      <a:pt x="176" y="514"/>
                    </a:lnTo>
                    <a:lnTo>
                      <a:pt x="178" y="516"/>
                    </a:lnTo>
                    <a:lnTo>
                      <a:pt x="177" y="518"/>
                    </a:lnTo>
                    <a:lnTo>
                      <a:pt x="181" y="518"/>
                    </a:lnTo>
                    <a:lnTo>
                      <a:pt x="181" y="520"/>
                    </a:lnTo>
                    <a:lnTo>
                      <a:pt x="182" y="519"/>
                    </a:lnTo>
                    <a:lnTo>
                      <a:pt x="181" y="517"/>
                    </a:lnTo>
                    <a:lnTo>
                      <a:pt x="183" y="518"/>
                    </a:lnTo>
                    <a:lnTo>
                      <a:pt x="183" y="517"/>
                    </a:lnTo>
                    <a:lnTo>
                      <a:pt x="184" y="518"/>
                    </a:lnTo>
                    <a:lnTo>
                      <a:pt x="187" y="518"/>
                    </a:lnTo>
                    <a:lnTo>
                      <a:pt x="186" y="519"/>
                    </a:lnTo>
                    <a:lnTo>
                      <a:pt x="189" y="520"/>
                    </a:lnTo>
                    <a:lnTo>
                      <a:pt x="191" y="523"/>
                    </a:lnTo>
                    <a:lnTo>
                      <a:pt x="192" y="525"/>
                    </a:lnTo>
                    <a:lnTo>
                      <a:pt x="192" y="530"/>
                    </a:lnTo>
                    <a:lnTo>
                      <a:pt x="200" y="524"/>
                    </a:lnTo>
                    <a:lnTo>
                      <a:pt x="202" y="520"/>
                    </a:lnTo>
                    <a:lnTo>
                      <a:pt x="203" y="520"/>
                    </a:lnTo>
                    <a:lnTo>
                      <a:pt x="204" y="520"/>
                    </a:lnTo>
                    <a:lnTo>
                      <a:pt x="205" y="519"/>
                    </a:lnTo>
                    <a:lnTo>
                      <a:pt x="206" y="514"/>
                    </a:lnTo>
                    <a:lnTo>
                      <a:pt x="205" y="513"/>
                    </a:lnTo>
                    <a:lnTo>
                      <a:pt x="204" y="513"/>
                    </a:lnTo>
                    <a:lnTo>
                      <a:pt x="206" y="511"/>
                    </a:lnTo>
                    <a:lnTo>
                      <a:pt x="203" y="509"/>
                    </a:lnTo>
                    <a:lnTo>
                      <a:pt x="206" y="510"/>
                    </a:lnTo>
                    <a:lnTo>
                      <a:pt x="208" y="509"/>
                    </a:lnTo>
                    <a:lnTo>
                      <a:pt x="208" y="511"/>
                    </a:lnTo>
                    <a:lnTo>
                      <a:pt x="208" y="512"/>
                    </a:lnTo>
                    <a:lnTo>
                      <a:pt x="209" y="513"/>
                    </a:lnTo>
                    <a:lnTo>
                      <a:pt x="211" y="510"/>
                    </a:lnTo>
                    <a:lnTo>
                      <a:pt x="212" y="510"/>
                    </a:lnTo>
                    <a:lnTo>
                      <a:pt x="214" y="508"/>
                    </a:lnTo>
                    <a:lnTo>
                      <a:pt x="215" y="510"/>
                    </a:lnTo>
                    <a:lnTo>
                      <a:pt x="221" y="508"/>
                    </a:lnTo>
                    <a:lnTo>
                      <a:pt x="221" y="509"/>
                    </a:lnTo>
                    <a:lnTo>
                      <a:pt x="223" y="509"/>
                    </a:lnTo>
                    <a:lnTo>
                      <a:pt x="224" y="508"/>
                    </a:lnTo>
                    <a:lnTo>
                      <a:pt x="225" y="509"/>
                    </a:lnTo>
                    <a:lnTo>
                      <a:pt x="227" y="511"/>
                    </a:lnTo>
                    <a:lnTo>
                      <a:pt x="227" y="513"/>
                    </a:lnTo>
                    <a:lnTo>
                      <a:pt x="227" y="514"/>
                    </a:lnTo>
                    <a:lnTo>
                      <a:pt x="229" y="513"/>
                    </a:lnTo>
                    <a:lnTo>
                      <a:pt x="229" y="514"/>
                    </a:lnTo>
                    <a:lnTo>
                      <a:pt x="230" y="514"/>
                    </a:lnTo>
                    <a:lnTo>
                      <a:pt x="232" y="514"/>
                    </a:lnTo>
                    <a:lnTo>
                      <a:pt x="232" y="513"/>
                    </a:lnTo>
                    <a:lnTo>
                      <a:pt x="232" y="514"/>
                    </a:lnTo>
                    <a:lnTo>
                      <a:pt x="233" y="514"/>
                    </a:lnTo>
                    <a:lnTo>
                      <a:pt x="235" y="514"/>
                    </a:lnTo>
                    <a:lnTo>
                      <a:pt x="238" y="513"/>
                    </a:lnTo>
                    <a:lnTo>
                      <a:pt x="238" y="510"/>
                    </a:lnTo>
                    <a:lnTo>
                      <a:pt x="240" y="510"/>
                    </a:lnTo>
                    <a:lnTo>
                      <a:pt x="244" y="507"/>
                    </a:lnTo>
                    <a:lnTo>
                      <a:pt x="242" y="504"/>
                    </a:lnTo>
                    <a:lnTo>
                      <a:pt x="244" y="504"/>
                    </a:lnTo>
                    <a:lnTo>
                      <a:pt x="241" y="502"/>
                    </a:lnTo>
                    <a:lnTo>
                      <a:pt x="240" y="500"/>
                    </a:lnTo>
                    <a:lnTo>
                      <a:pt x="240" y="497"/>
                    </a:lnTo>
                    <a:lnTo>
                      <a:pt x="237" y="494"/>
                    </a:lnTo>
                    <a:lnTo>
                      <a:pt x="238" y="493"/>
                    </a:lnTo>
                    <a:lnTo>
                      <a:pt x="237" y="491"/>
                    </a:lnTo>
                    <a:lnTo>
                      <a:pt x="238" y="490"/>
                    </a:lnTo>
                    <a:lnTo>
                      <a:pt x="239" y="492"/>
                    </a:lnTo>
                    <a:lnTo>
                      <a:pt x="240" y="491"/>
                    </a:lnTo>
                    <a:lnTo>
                      <a:pt x="241" y="491"/>
                    </a:lnTo>
                    <a:lnTo>
                      <a:pt x="245" y="490"/>
                    </a:lnTo>
                    <a:lnTo>
                      <a:pt x="247" y="496"/>
                    </a:lnTo>
                    <a:lnTo>
                      <a:pt x="249" y="496"/>
                    </a:lnTo>
                    <a:lnTo>
                      <a:pt x="250" y="495"/>
                    </a:lnTo>
                    <a:lnTo>
                      <a:pt x="250" y="491"/>
                    </a:lnTo>
                    <a:lnTo>
                      <a:pt x="250" y="489"/>
                    </a:lnTo>
                    <a:lnTo>
                      <a:pt x="252" y="488"/>
                    </a:lnTo>
                    <a:lnTo>
                      <a:pt x="252" y="486"/>
                    </a:lnTo>
                    <a:lnTo>
                      <a:pt x="253" y="486"/>
                    </a:lnTo>
                    <a:lnTo>
                      <a:pt x="255" y="487"/>
                    </a:lnTo>
                    <a:lnTo>
                      <a:pt x="257" y="486"/>
                    </a:lnTo>
                    <a:lnTo>
                      <a:pt x="258" y="489"/>
                    </a:lnTo>
                    <a:lnTo>
                      <a:pt x="260" y="491"/>
                    </a:lnTo>
                    <a:lnTo>
                      <a:pt x="261" y="493"/>
                    </a:lnTo>
                    <a:lnTo>
                      <a:pt x="262" y="493"/>
                    </a:lnTo>
                    <a:lnTo>
                      <a:pt x="261" y="495"/>
                    </a:lnTo>
                    <a:lnTo>
                      <a:pt x="261" y="496"/>
                    </a:lnTo>
                    <a:lnTo>
                      <a:pt x="263" y="497"/>
                    </a:lnTo>
                    <a:lnTo>
                      <a:pt x="263" y="498"/>
                    </a:lnTo>
                    <a:lnTo>
                      <a:pt x="265" y="498"/>
                    </a:lnTo>
                    <a:lnTo>
                      <a:pt x="267" y="501"/>
                    </a:lnTo>
                    <a:lnTo>
                      <a:pt x="268" y="501"/>
                    </a:lnTo>
                    <a:lnTo>
                      <a:pt x="269" y="500"/>
                    </a:lnTo>
                    <a:lnTo>
                      <a:pt x="274" y="499"/>
                    </a:lnTo>
                    <a:lnTo>
                      <a:pt x="276" y="499"/>
                    </a:lnTo>
                    <a:lnTo>
                      <a:pt x="276" y="500"/>
                    </a:lnTo>
                    <a:lnTo>
                      <a:pt x="277" y="500"/>
                    </a:lnTo>
                    <a:lnTo>
                      <a:pt x="279" y="500"/>
                    </a:lnTo>
                    <a:lnTo>
                      <a:pt x="279" y="499"/>
                    </a:lnTo>
                    <a:lnTo>
                      <a:pt x="279" y="497"/>
                    </a:lnTo>
                    <a:lnTo>
                      <a:pt x="279" y="496"/>
                    </a:lnTo>
                    <a:lnTo>
                      <a:pt x="281" y="493"/>
                    </a:lnTo>
                    <a:lnTo>
                      <a:pt x="280" y="491"/>
                    </a:lnTo>
                    <a:lnTo>
                      <a:pt x="280" y="490"/>
                    </a:lnTo>
                    <a:lnTo>
                      <a:pt x="283" y="489"/>
                    </a:lnTo>
                    <a:lnTo>
                      <a:pt x="284" y="487"/>
                    </a:lnTo>
                    <a:lnTo>
                      <a:pt x="285" y="487"/>
                    </a:lnTo>
                    <a:lnTo>
                      <a:pt x="285" y="486"/>
                    </a:lnTo>
                    <a:lnTo>
                      <a:pt x="286" y="485"/>
                    </a:lnTo>
                    <a:lnTo>
                      <a:pt x="286" y="482"/>
                    </a:lnTo>
                    <a:lnTo>
                      <a:pt x="284" y="478"/>
                    </a:lnTo>
                    <a:lnTo>
                      <a:pt x="284" y="477"/>
                    </a:lnTo>
                    <a:lnTo>
                      <a:pt x="285" y="478"/>
                    </a:lnTo>
                    <a:lnTo>
                      <a:pt x="286" y="477"/>
                    </a:lnTo>
                    <a:lnTo>
                      <a:pt x="290" y="476"/>
                    </a:lnTo>
                    <a:lnTo>
                      <a:pt x="291" y="474"/>
                    </a:lnTo>
                    <a:lnTo>
                      <a:pt x="291" y="473"/>
                    </a:lnTo>
                    <a:lnTo>
                      <a:pt x="292" y="471"/>
                    </a:lnTo>
                    <a:lnTo>
                      <a:pt x="293" y="472"/>
                    </a:lnTo>
                    <a:lnTo>
                      <a:pt x="299" y="471"/>
                    </a:lnTo>
                    <a:lnTo>
                      <a:pt x="299" y="468"/>
                    </a:lnTo>
                    <a:lnTo>
                      <a:pt x="299" y="467"/>
                    </a:lnTo>
                    <a:lnTo>
                      <a:pt x="300" y="465"/>
                    </a:lnTo>
                    <a:lnTo>
                      <a:pt x="300" y="463"/>
                    </a:lnTo>
                    <a:lnTo>
                      <a:pt x="299" y="462"/>
                    </a:lnTo>
                    <a:lnTo>
                      <a:pt x="301" y="462"/>
                    </a:lnTo>
                    <a:lnTo>
                      <a:pt x="302" y="463"/>
                    </a:lnTo>
                    <a:lnTo>
                      <a:pt x="302" y="465"/>
                    </a:lnTo>
                    <a:lnTo>
                      <a:pt x="306" y="465"/>
                    </a:lnTo>
                    <a:lnTo>
                      <a:pt x="306" y="467"/>
                    </a:lnTo>
                    <a:lnTo>
                      <a:pt x="307" y="467"/>
                    </a:lnTo>
                    <a:lnTo>
                      <a:pt x="308" y="468"/>
                    </a:lnTo>
                    <a:lnTo>
                      <a:pt x="310" y="467"/>
                    </a:lnTo>
                    <a:lnTo>
                      <a:pt x="312" y="470"/>
                    </a:lnTo>
                    <a:lnTo>
                      <a:pt x="315" y="469"/>
                    </a:lnTo>
                    <a:lnTo>
                      <a:pt x="315" y="468"/>
                    </a:lnTo>
                    <a:lnTo>
                      <a:pt x="315" y="467"/>
                    </a:lnTo>
                    <a:lnTo>
                      <a:pt x="319" y="463"/>
                    </a:lnTo>
                    <a:lnTo>
                      <a:pt x="321" y="457"/>
                    </a:lnTo>
                    <a:lnTo>
                      <a:pt x="321" y="456"/>
                    </a:lnTo>
                    <a:lnTo>
                      <a:pt x="319" y="45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2" name="Freeform 133">
                <a:extLst>
                  <a:ext uri="{FF2B5EF4-FFF2-40B4-BE49-F238E27FC236}">
                    <a16:creationId xmlns:a16="http://schemas.microsoft.com/office/drawing/2014/main" id="{5BAFD45F-CFD4-4D38-865D-109614966F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7" y="3058"/>
                <a:ext cx="321" cy="562"/>
              </a:xfrm>
              <a:custGeom>
                <a:avLst/>
                <a:gdLst>
                  <a:gd name="T0" fmla="*/ 307 w 321"/>
                  <a:gd name="T1" fmla="*/ 452 h 562"/>
                  <a:gd name="T2" fmla="*/ 304 w 321"/>
                  <a:gd name="T3" fmla="*/ 431 h 562"/>
                  <a:gd name="T4" fmla="*/ 286 w 321"/>
                  <a:gd name="T5" fmla="*/ 405 h 562"/>
                  <a:gd name="T6" fmla="*/ 263 w 321"/>
                  <a:gd name="T7" fmla="*/ 372 h 562"/>
                  <a:gd name="T8" fmla="*/ 259 w 321"/>
                  <a:gd name="T9" fmla="*/ 355 h 562"/>
                  <a:gd name="T10" fmla="*/ 224 w 321"/>
                  <a:gd name="T11" fmla="*/ 345 h 562"/>
                  <a:gd name="T12" fmla="*/ 194 w 321"/>
                  <a:gd name="T13" fmla="*/ 336 h 562"/>
                  <a:gd name="T14" fmla="*/ 170 w 321"/>
                  <a:gd name="T15" fmla="*/ 316 h 562"/>
                  <a:gd name="T16" fmla="*/ 149 w 321"/>
                  <a:gd name="T17" fmla="*/ 302 h 562"/>
                  <a:gd name="T18" fmla="*/ 145 w 321"/>
                  <a:gd name="T19" fmla="*/ 286 h 562"/>
                  <a:gd name="T20" fmla="*/ 125 w 321"/>
                  <a:gd name="T21" fmla="*/ 275 h 562"/>
                  <a:gd name="T22" fmla="*/ 134 w 321"/>
                  <a:gd name="T23" fmla="*/ 254 h 562"/>
                  <a:gd name="T24" fmla="*/ 137 w 321"/>
                  <a:gd name="T25" fmla="*/ 221 h 562"/>
                  <a:gd name="T26" fmla="*/ 162 w 321"/>
                  <a:gd name="T27" fmla="*/ 157 h 562"/>
                  <a:gd name="T28" fmla="*/ 202 w 321"/>
                  <a:gd name="T29" fmla="*/ 121 h 562"/>
                  <a:gd name="T30" fmla="*/ 212 w 321"/>
                  <a:gd name="T31" fmla="*/ 98 h 562"/>
                  <a:gd name="T32" fmla="*/ 196 w 321"/>
                  <a:gd name="T33" fmla="*/ 73 h 562"/>
                  <a:gd name="T34" fmla="*/ 162 w 321"/>
                  <a:gd name="T35" fmla="*/ 40 h 562"/>
                  <a:gd name="T36" fmla="*/ 116 w 321"/>
                  <a:gd name="T37" fmla="*/ 17 h 562"/>
                  <a:gd name="T38" fmla="*/ 76 w 321"/>
                  <a:gd name="T39" fmla="*/ 7 h 562"/>
                  <a:gd name="T40" fmla="*/ 86 w 321"/>
                  <a:gd name="T41" fmla="*/ 48 h 562"/>
                  <a:gd name="T42" fmla="*/ 105 w 321"/>
                  <a:gd name="T43" fmla="*/ 92 h 562"/>
                  <a:gd name="T44" fmla="*/ 90 w 321"/>
                  <a:gd name="T45" fmla="*/ 106 h 562"/>
                  <a:gd name="T46" fmla="*/ 62 w 321"/>
                  <a:gd name="T47" fmla="*/ 123 h 562"/>
                  <a:gd name="T48" fmla="*/ 43 w 321"/>
                  <a:gd name="T49" fmla="*/ 157 h 562"/>
                  <a:gd name="T50" fmla="*/ 33 w 321"/>
                  <a:gd name="T51" fmla="*/ 196 h 562"/>
                  <a:gd name="T52" fmla="*/ 18 w 321"/>
                  <a:gd name="T53" fmla="*/ 221 h 562"/>
                  <a:gd name="T54" fmla="*/ 23 w 321"/>
                  <a:gd name="T55" fmla="*/ 265 h 562"/>
                  <a:gd name="T56" fmla="*/ 17 w 321"/>
                  <a:gd name="T57" fmla="*/ 293 h 562"/>
                  <a:gd name="T58" fmla="*/ 25 w 321"/>
                  <a:gd name="T59" fmla="*/ 332 h 562"/>
                  <a:gd name="T60" fmla="*/ 37 w 321"/>
                  <a:gd name="T61" fmla="*/ 347 h 562"/>
                  <a:gd name="T62" fmla="*/ 24 w 321"/>
                  <a:gd name="T63" fmla="*/ 381 h 562"/>
                  <a:gd name="T64" fmla="*/ 18 w 321"/>
                  <a:gd name="T65" fmla="*/ 398 h 562"/>
                  <a:gd name="T66" fmla="*/ 5 w 321"/>
                  <a:gd name="T67" fmla="*/ 401 h 562"/>
                  <a:gd name="T68" fmla="*/ 2 w 321"/>
                  <a:gd name="T69" fmla="*/ 420 h 562"/>
                  <a:gd name="T70" fmla="*/ 25 w 321"/>
                  <a:gd name="T71" fmla="*/ 427 h 562"/>
                  <a:gd name="T72" fmla="*/ 12 w 321"/>
                  <a:gd name="T73" fmla="*/ 449 h 562"/>
                  <a:gd name="T74" fmla="*/ 19 w 321"/>
                  <a:gd name="T75" fmla="*/ 474 h 562"/>
                  <a:gd name="T76" fmla="*/ 26 w 321"/>
                  <a:gd name="T77" fmla="*/ 499 h 562"/>
                  <a:gd name="T78" fmla="*/ 41 w 321"/>
                  <a:gd name="T79" fmla="*/ 475 h 562"/>
                  <a:gd name="T80" fmla="*/ 35 w 321"/>
                  <a:gd name="T81" fmla="*/ 458 h 562"/>
                  <a:gd name="T82" fmla="*/ 44 w 321"/>
                  <a:gd name="T83" fmla="*/ 446 h 562"/>
                  <a:gd name="T84" fmla="*/ 61 w 321"/>
                  <a:gd name="T85" fmla="*/ 463 h 562"/>
                  <a:gd name="T86" fmla="*/ 62 w 321"/>
                  <a:gd name="T87" fmla="*/ 482 h 562"/>
                  <a:gd name="T88" fmla="*/ 73 w 321"/>
                  <a:gd name="T89" fmla="*/ 500 h 562"/>
                  <a:gd name="T90" fmla="*/ 79 w 321"/>
                  <a:gd name="T91" fmla="*/ 491 h 562"/>
                  <a:gd name="T92" fmla="*/ 80 w 321"/>
                  <a:gd name="T93" fmla="*/ 520 h 562"/>
                  <a:gd name="T94" fmla="*/ 99 w 321"/>
                  <a:gd name="T95" fmla="*/ 538 h 562"/>
                  <a:gd name="T96" fmla="*/ 105 w 321"/>
                  <a:gd name="T97" fmla="*/ 560 h 562"/>
                  <a:gd name="T98" fmla="*/ 118 w 321"/>
                  <a:gd name="T99" fmla="*/ 554 h 562"/>
                  <a:gd name="T100" fmla="*/ 140 w 321"/>
                  <a:gd name="T101" fmla="*/ 549 h 562"/>
                  <a:gd name="T102" fmla="*/ 160 w 321"/>
                  <a:gd name="T103" fmla="*/ 533 h 562"/>
                  <a:gd name="T104" fmla="*/ 160 w 321"/>
                  <a:gd name="T105" fmla="*/ 507 h 562"/>
                  <a:gd name="T106" fmla="*/ 171 w 321"/>
                  <a:gd name="T107" fmla="*/ 516 h 562"/>
                  <a:gd name="T108" fmla="*/ 192 w 321"/>
                  <a:gd name="T109" fmla="*/ 525 h 562"/>
                  <a:gd name="T110" fmla="*/ 208 w 321"/>
                  <a:gd name="T111" fmla="*/ 512 h 562"/>
                  <a:gd name="T112" fmla="*/ 230 w 321"/>
                  <a:gd name="T113" fmla="*/ 514 h 562"/>
                  <a:gd name="T114" fmla="*/ 238 w 321"/>
                  <a:gd name="T115" fmla="*/ 493 h 562"/>
                  <a:gd name="T116" fmla="*/ 255 w 321"/>
                  <a:gd name="T117" fmla="*/ 487 h 562"/>
                  <a:gd name="T118" fmla="*/ 277 w 321"/>
                  <a:gd name="T119" fmla="*/ 500 h 562"/>
                  <a:gd name="T120" fmla="*/ 284 w 321"/>
                  <a:gd name="T121" fmla="*/ 477 h 562"/>
                  <a:gd name="T122" fmla="*/ 302 w 321"/>
                  <a:gd name="T123" fmla="*/ 465 h 56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21"/>
                  <a:gd name="T187" fmla="*/ 0 h 562"/>
                  <a:gd name="T188" fmla="*/ 321 w 321"/>
                  <a:gd name="T189" fmla="*/ 562 h 56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21" h="562">
                    <a:moveTo>
                      <a:pt x="319" y="456"/>
                    </a:moveTo>
                    <a:lnTo>
                      <a:pt x="320" y="453"/>
                    </a:lnTo>
                    <a:lnTo>
                      <a:pt x="319" y="452"/>
                    </a:lnTo>
                    <a:lnTo>
                      <a:pt x="319" y="451"/>
                    </a:lnTo>
                    <a:lnTo>
                      <a:pt x="318" y="451"/>
                    </a:lnTo>
                    <a:lnTo>
                      <a:pt x="320" y="448"/>
                    </a:lnTo>
                    <a:lnTo>
                      <a:pt x="317" y="446"/>
                    </a:lnTo>
                    <a:lnTo>
                      <a:pt x="318" y="444"/>
                    </a:lnTo>
                    <a:lnTo>
                      <a:pt x="318" y="443"/>
                    </a:lnTo>
                    <a:lnTo>
                      <a:pt x="317" y="443"/>
                    </a:lnTo>
                    <a:lnTo>
                      <a:pt x="317" y="445"/>
                    </a:lnTo>
                    <a:lnTo>
                      <a:pt x="313" y="443"/>
                    </a:lnTo>
                    <a:lnTo>
                      <a:pt x="312" y="444"/>
                    </a:lnTo>
                    <a:lnTo>
                      <a:pt x="312" y="446"/>
                    </a:lnTo>
                    <a:lnTo>
                      <a:pt x="310" y="446"/>
                    </a:lnTo>
                    <a:lnTo>
                      <a:pt x="309" y="446"/>
                    </a:lnTo>
                    <a:lnTo>
                      <a:pt x="307" y="452"/>
                    </a:lnTo>
                    <a:lnTo>
                      <a:pt x="304" y="449"/>
                    </a:lnTo>
                    <a:lnTo>
                      <a:pt x="304" y="446"/>
                    </a:lnTo>
                    <a:lnTo>
                      <a:pt x="303" y="444"/>
                    </a:lnTo>
                    <a:lnTo>
                      <a:pt x="302" y="444"/>
                    </a:lnTo>
                    <a:lnTo>
                      <a:pt x="302" y="443"/>
                    </a:lnTo>
                    <a:lnTo>
                      <a:pt x="305" y="440"/>
                    </a:lnTo>
                    <a:lnTo>
                      <a:pt x="307" y="440"/>
                    </a:lnTo>
                    <a:lnTo>
                      <a:pt x="309" y="438"/>
                    </a:lnTo>
                    <a:lnTo>
                      <a:pt x="307" y="437"/>
                    </a:lnTo>
                    <a:lnTo>
                      <a:pt x="308" y="436"/>
                    </a:lnTo>
                    <a:lnTo>
                      <a:pt x="307" y="436"/>
                    </a:lnTo>
                    <a:lnTo>
                      <a:pt x="309" y="435"/>
                    </a:lnTo>
                    <a:lnTo>
                      <a:pt x="307" y="435"/>
                    </a:lnTo>
                    <a:lnTo>
                      <a:pt x="306" y="434"/>
                    </a:lnTo>
                    <a:lnTo>
                      <a:pt x="306" y="431"/>
                    </a:lnTo>
                    <a:lnTo>
                      <a:pt x="304" y="431"/>
                    </a:lnTo>
                    <a:lnTo>
                      <a:pt x="304" y="429"/>
                    </a:lnTo>
                    <a:lnTo>
                      <a:pt x="304" y="427"/>
                    </a:lnTo>
                    <a:lnTo>
                      <a:pt x="302" y="427"/>
                    </a:lnTo>
                    <a:lnTo>
                      <a:pt x="302" y="424"/>
                    </a:lnTo>
                    <a:lnTo>
                      <a:pt x="301" y="423"/>
                    </a:lnTo>
                    <a:lnTo>
                      <a:pt x="300" y="422"/>
                    </a:lnTo>
                    <a:lnTo>
                      <a:pt x="298" y="419"/>
                    </a:lnTo>
                    <a:lnTo>
                      <a:pt x="297" y="414"/>
                    </a:lnTo>
                    <a:lnTo>
                      <a:pt x="294" y="414"/>
                    </a:lnTo>
                    <a:lnTo>
                      <a:pt x="291" y="411"/>
                    </a:lnTo>
                    <a:lnTo>
                      <a:pt x="289" y="408"/>
                    </a:lnTo>
                    <a:lnTo>
                      <a:pt x="288" y="408"/>
                    </a:lnTo>
                    <a:lnTo>
                      <a:pt x="287" y="409"/>
                    </a:lnTo>
                    <a:lnTo>
                      <a:pt x="286" y="409"/>
                    </a:lnTo>
                    <a:lnTo>
                      <a:pt x="286" y="405"/>
                    </a:lnTo>
                    <a:lnTo>
                      <a:pt x="285" y="403"/>
                    </a:lnTo>
                    <a:lnTo>
                      <a:pt x="286" y="399"/>
                    </a:lnTo>
                    <a:lnTo>
                      <a:pt x="282" y="395"/>
                    </a:lnTo>
                    <a:lnTo>
                      <a:pt x="280" y="388"/>
                    </a:lnTo>
                    <a:lnTo>
                      <a:pt x="277" y="385"/>
                    </a:lnTo>
                    <a:lnTo>
                      <a:pt x="276" y="388"/>
                    </a:lnTo>
                    <a:lnTo>
                      <a:pt x="276" y="392"/>
                    </a:lnTo>
                    <a:lnTo>
                      <a:pt x="275" y="392"/>
                    </a:lnTo>
                    <a:lnTo>
                      <a:pt x="274" y="392"/>
                    </a:lnTo>
                    <a:lnTo>
                      <a:pt x="273" y="393"/>
                    </a:lnTo>
                    <a:lnTo>
                      <a:pt x="272" y="393"/>
                    </a:lnTo>
                    <a:lnTo>
                      <a:pt x="272" y="392"/>
                    </a:lnTo>
                    <a:lnTo>
                      <a:pt x="265" y="385"/>
                    </a:lnTo>
                    <a:lnTo>
                      <a:pt x="264" y="383"/>
                    </a:lnTo>
                    <a:lnTo>
                      <a:pt x="264" y="378"/>
                    </a:lnTo>
                    <a:lnTo>
                      <a:pt x="263" y="372"/>
                    </a:lnTo>
                    <a:lnTo>
                      <a:pt x="264" y="371"/>
                    </a:lnTo>
                    <a:lnTo>
                      <a:pt x="267" y="365"/>
                    </a:lnTo>
                    <a:lnTo>
                      <a:pt x="268" y="365"/>
                    </a:lnTo>
                    <a:lnTo>
                      <a:pt x="268" y="363"/>
                    </a:lnTo>
                    <a:lnTo>
                      <a:pt x="269" y="363"/>
                    </a:lnTo>
                    <a:lnTo>
                      <a:pt x="268" y="362"/>
                    </a:lnTo>
                    <a:lnTo>
                      <a:pt x="269" y="359"/>
                    </a:lnTo>
                    <a:lnTo>
                      <a:pt x="268" y="359"/>
                    </a:lnTo>
                    <a:lnTo>
                      <a:pt x="267" y="361"/>
                    </a:lnTo>
                    <a:lnTo>
                      <a:pt x="266" y="361"/>
                    </a:lnTo>
                    <a:lnTo>
                      <a:pt x="265" y="360"/>
                    </a:lnTo>
                    <a:lnTo>
                      <a:pt x="264" y="359"/>
                    </a:lnTo>
                    <a:lnTo>
                      <a:pt x="263" y="359"/>
                    </a:lnTo>
                    <a:lnTo>
                      <a:pt x="264" y="357"/>
                    </a:lnTo>
                    <a:lnTo>
                      <a:pt x="263" y="355"/>
                    </a:lnTo>
                    <a:lnTo>
                      <a:pt x="261" y="355"/>
                    </a:lnTo>
                    <a:lnTo>
                      <a:pt x="259" y="355"/>
                    </a:lnTo>
                    <a:lnTo>
                      <a:pt x="257" y="352"/>
                    </a:lnTo>
                    <a:lnTo>
                      <a:pt x="255" y="352"/>
                    </a:lnTo>
                    <a:lnTo>
                      <a:pt x="252" y="349"/>
                    </a:lnTo>
                    <a:lnTo>
                      <a:pt x="251" y="352"/>
                    </a:lnTo>
                    <a:lnTo>
                      <a:pt x="250" y="351"/>
                    </a:lnTo>
                    <a:lnTo>
                      <a:pt x="248" y="353"/>
                    </a:lnTo>
                    <a:lnTo>
                      <a:pt x="245" y="354"/>
                    </a:lnTo>
                    <a:lnTo>
                      <a:pt x="245" y="356"/>
                    </a:lnTo>
                    <a:lnTo>
                      <a:pt x="240" y="356"/>
                    </a:lnTo>
                    <a:lnTo>
                      <a:pt x="237" y="355"/>
                    </a:lnTo>
                    <a:lnTo>
                      <a:pt x="233" y="347"/>
                    </a:lnTo>
                    <a:lnTo>
                      <a:pt x="230" y="345"/>
                    </a:lnTo>
                    <a:lnTo>
                      <a:pt x="227" y="344"/>
                    </a:lnTo>
                    <a:lnTo>
                      <a:pt x="227" y="342"/>
                    </a:lnTo>
                    <a:lnTo>
                      <a:pt x="225" y="342"/>
                    </a:lnTo>
                    <a:lnTo>
                      <a:pt x="224" y="344"/>
                    </a:lnTo>
                    <a:lnTo>
                      <a:pt x="224" y="345"/>
                    </a:lnTo>
                    <a:lnTo>
                      <a:pt x="224" y="346"/>
                    </a:lnTo>
                    <a:lnTo>
                      <a:pt x="221" y="351"/>
                    </a:lnTo>
                    <a:lnTo>
                      <a:pt x="216" y="349"/>
                    </a:lnTo>
                    <a:lnTo>
                      <a:pt x="214" y="348"/>
                    </a:lnTo>
                    <a:lnTo>
                      <a:pt x="212" y="342"/>
                    </a:lnTo>
                    <a:lnTo>
                      <a:pt x="211" y="341"/>
                    </a:lnTo>
                    <a:lnTo>
                      <a:pt x="209" y="342"/>
                    </a:lnTo>
                    <a:lnTo>
                      <a:pt x="208" y="341"/>
                    </a:lnTo>
                    <a:lnTo>
                      <a:pt x="202" y="338"/>
                    </a:lnTo>
                    <a:lnTo>
                      <a:pt x="199" y="340"/>
                    </a:lnTo>
                    <a:lnTo>
                      <a:pt x="197" y="341"/>
                    </a:lnTo>
                    <a:lnTo>
                      <a:pt x="195" y="341"/>
                    </a:lnTo>
                    <a:lnTo>
                      <a:pt x="195" y="342"/>
                    </a:lnTo>
                    <a:lnTo>
                      <a:pt x="194" y="341"/>
                    </a:lnTo>
                    <a:lnTo>
                      <a:pt x="192" y="338"/>
                    </a:lnTo>
                    <a:lnTo>
                      <a:pt x="194" y="337"/>
                    </a:lnTo>
                    <a:lnTo>
                      <a:pt x="194" y="336"/>
                    </a:lnTo>
                    <a:lnTo>
                      <a:pt x="191" y="333"/>
                    </a:lnTo>
                    <a:lnTo>
                      <a:pt x="191" y="332"/>
                    </a:lnTo>
                    <a:lnTo>
                      <a:pt x="192" y="331"/>
                    </a:lnTo>
                    <a:lnTo>
                      <a:pt x="192" y="329"/>
                    </a:lnTo>
                    <a:lnTo>
                      <a:pt x="189" y="327"/>
                    </a:lnTo>
                    <a:lnTo>
                      <a:pt x="189" y="325"/>
                    </a:lnTo>
                    <a:lnTo>
                      <a:pt x="188" y="325"/>
                    </a:lnTo>
                    <a:lnTo>
                      <a:pt x="187" y="324"/>
                    </a:lnTo>
                    <a:lnTo>
                      <a:pt x="183" y="317"/>
                    </a:lnTo>
                    <a:lnTo>
                      <a:pt x="183" y="315"/>
                    </a:lnTo>
                    <a:lnTo>
                      <a:pt x="182" y="316"/>
                    </a:lnTo>
                    <a:lnTo>
                      <a:pt x="180" y="312"/>
                    </a:lnTo>
                    <a:lnTo>
                      <a:pt x="176" y="314"/>
                    </a:lnTo>
                    <a:lnTo>
                      <a:pt x="173" y="314"/>
                    </a:lnTo>
                    <a:lnTo>
                      <a:pt x="172" y="315"/>
                    </a:lnTo>
                    <a:lnTo>
                      <a:pt x="170" y="318"/>
                    </a:lnTo>
                    <a:lnTo>
                      <a:pt x="170" y="316"/>
                    </a:lnTo>
                    <a:lnTo>
                      <a:pt x="170" y="314"/>
                    </a:lnTo>
                    <a:lnTo>
                      <a:pt x="166" y="312"/>
                    </a:lnTo>
                    <a:lnTo>
                      <a:pt x="164" y="313"/>
                    </a:lnTo>
                    <a:lnTo>
                      <a:pt x="162" y="312"/>
                    </a:lnTo>
                    <a:lnTo>
                      <a:pt x="162" y="311"/>
                    </a:lnTo>
                    <a:lnTo>
                      <a:pt x="160" y="309"/>
                    </a:lnTo>
                    <a:lnTo>
                      <a:pt x="159" y="309"/>
                    </a:lnTo>
                    <a:lnTo>
                      <a:pt x="159" y="310"/>
                    </a:lnTo>
                    <a:lnTo>
                      <a:pt x="159" y="308"/>
                    </a:lnTo>
                    <a:lnTo>
                      <a:pt x="158" y="307"/>
                    </a:lnTo>
                    <a:lnTo>
                      <a:pt x="156" y="308"/>
                    </a:lnTo>
                    <a:lnTo>
                      <a:pt x="155" y="307"/>
                    </a:lnTo>
                    <a:lnTo>
                      <a:pt x="152" y="306"/>
                    </a:lnTo>
                    <a:lnTo>
                      <a:pt x="151" y="303"/>
                    </a:lnTo>
                    <a:lnTo>
                      <a:pt x="151" y="304"/>
                    </a:lnTo>
                    <a:lnTo>
                      <a:pt x="149" y="302"/>
                    </a:lnTo>
                    <a:lnTo>
                      <a:pt x="147" y="303"/>
                    </a:lnTo>
                    <a:lnTo>
                      <a:pt x="147" y="302"/>
                    </a:lnTo>
                    <a:lnTo>
                      <a:pt x="146" y="303"/>
                    </a:lnTo>
                    <a:lnTo>
                      <a:pt x="145" y="303"/>
                    </a:lnTo>
                    <a:lnTo>
                      <a:pt x="145" y="305"/>
                    </a:lnTo>
                    <a:lnTo>
                      <a:pt x="144" y="305"/>
                    </a:lnTo>
                    <a:lnTo>
                      <a:pt x="143" y="304"/>
                    </a:lnTo>
                    <a:lnTo>
                      <a:pt x="142" y="305"/>
                    </a:lnTo>
                    <a:lnTo>
                      <a:pt x="142" y="304"/>
                    </a:lnTo>
                    <a:lnTo>
                      <a:pt x="141" y="303"/>
                    </a:lnTo>
                    <a:lnTo>
                      <a:pt x="141" y="302"/>
                    </a:lnTo>
                    <a:lnTo>
                      <a:pt x="140" y="302"/>
                    </a:lnTo>
                    <a:lnTo>
                      <a:pt x="141" y="299"/>
                    </a:lnTo>
                    <a:lnTo>
                      <a:pt x="144" y="293"/>
                    </a:lnTo>
                    <a:lnTo>
                      <a:pt x="146" y="286"/>
                    </a:lnTo>
                    <a:lnTo>
                      <a:pt x="145" y="286"/>
                    </a:lnTo>
                    <a:lnTo>
                      <a:pt x="143" y="290"/>
                    </a:lnTo>
                    <a:lnTo>
                      <a:pt x="141" y="288"/>
                    </a:lnTo>
                    <a:lnTo>
                      <a:pt x="140" y="289"/>
                    </a:lnTo>
                    <a:lnTo>
                      <a:pt x="140" y="291"/>
                    </a:lnTo>
                    <a:lnTo>
                      <a:pt x="139" y="290"/>
                    </a:lnTo>
                    <a:lnTo>
                      <a:pt x="137" y="290"/>
                    </a:lnTo>
                    <a:lnTo>
                      <a:pt x="134" y="293"/>
                    </a:lnTo>
                    <a:lnTo>
                      <a:pt x="134" y="291"/>
                    </a:lnTo>
                    <a:lnTo>
                      <a:pt x="132" y="290"/>
                    </a:lnTo>
                    <a:lnTo>
                      <a:pt x="131" y="285"/>
                    </a:lnTo>
                    <a:lnTo>
                      <a:pt x="131" y="283"/>
                    </a:lnTo>
                    <a:lnTo>
                      <a:pt x="131" y="282"/>
                    </a:lnTo>
                    <a:lnTo>
                      <a:pt x="129" y="281"/>
                    </a:lnTo>
                    <a:lnTo>
                      <a:pt x="128" y="283"/>
                    </a:lnTo>
                    <a:lnTo>
                      <a:pt x="129" y="280"/>
                    </a:lnTo>
                    <a:lnTo>
                      <a:pt x="128" y="277"/>
                    </a:lnTo>
                    <a:lnTo>
                      <a:pt x="125" y="275"/>
                    </a:lnTo>
                    <a:lnTo>
                      <a:pt x="126" y="273"/>
                    </a:lnTo>
                    <a:lnTo>
                      <a:pt x="127" y="273"/>
                    </a:lnTo>
                    <a:lnTo>
                      <a:pt x="126" y="270"/>
                    </a:lnTo>
                    <a:lnTo>
                      <a:pt x="128" y="270"/>
                    </a:lnTo>
                    <a:lnTo>
                      <a:pt x="129" y="269"/>
                    </a:lnTo>
                    <a:lnTo>
                      <a:pt x="131" y="267"/>
                    </a:lnTo>
                    <a:lnTo>
                      <a:pt x="132" y="264"/>
                    </a:lnTo>
                    <a:lnTo>
                      <a:pt x="132" y="265"/>
                    </a:lnTo>
                    <a:lnTo>
                      <a:pt x="133" y="264"/>
                    </a:lnTo>
                    <a:lnTo>
                      <a:pt x="133" y="263"/>
                    </a:lnTo>
                    <a:lnTo>
                      <a:pt x="134" y="261"/>
                    </a:lnTo>
                    <a:lnTo>
                      <a:pt x="131" y="260"/>
                    </a:lnTo>
                    <a:lnTo>
                      <a:pt x="132" y="258"/>
                    </a:lnTo>
                    <a:lnTo>
                      <a:pt x="131" y="255"/>
                    </a:lnTo>
                    <a:lnTo>
                      <a:pt x="134" y="255"/>
                    </a:lnTo>
                    <a:lnTo>
                      <a:pt x="134" y="254"/>
                    </a:lnTo>
                    <a:lnTo>
                      <a:pt x="136" y="253"/>
                    </a:lnTo>
                    <a:lnTo>
                      <a:pt x="137" y="251"/>
                    </a:lnTo>
                    <a:lnTo>
                      <a:pt x="139" y="251"/>
                    </a:lnTo>
                    <a:lnTo>
                      <a:pt x="140" y="247"/>
                    </a:lnTo>
                    <a:lnTo>
                      <a:pt x="141" y="248"/>
                    </a:lnTo>
                    <a:lnTo>
                      <a:pt x="142" y="246"/>
                    </a:lnTo>
                    <a:lnTo>
                      <a:pt x="142" y="245"/>
                    </a:lnTo>
                    <a:lnTo>
                      <a:pt x="143" y="244"/>
                    </a:lnTo>
                    <a:lnTo>
                      <a:pt x="142" y="241"/>
                    </a:lnTo>
                    <a:lnTo>
                      <a:pt x="142" y="240"/>
                    </a:lnTo>
                    <a:lnTo>
                      <a:pt x="141" y="237"/>
                    </a:lnTo>
                    <a:lnTo>
                      <a:pt x="136" y="231"/>
                    </a:lnTo>
                    <a:lnTo>
                      <a:pt x="133" y="229"/>
                    </a:lnTo>
                    <a:lnTo>
                      <a:pt x="132" y="226"/>
                    </a:lnTo>
                    <a:lnTo>
                      <a:pt x="133" y="226"/>
                    </a:lnTo>
                    <a:lnTo>
                      <a:pt x="137" y="224"/>
                    </a:lnTo>
                    <a:lnTo>
                      <a:pt x="137" y="221"/>
                    </a:lnTo>
                    <a:lnTo>
                      <a:pt x="137" y="219"/>
                    </a:lnTo>
                    <a:lnTo>
                      <a:pt x="137" y="213"/>
                    </a:lnTo>
                    <a:lnTo>
                      <a:pt x="140" y="210"/>
                    </a:lnTo>
                    <a:lnTo>
                      <a:pt x="143" y="204"/>
                    </a:lnTo>
                    <a:lnTo>
                      <a:pt x="146" y="204"/>
                    </a:lnTo>
                    <a:lnTo>
                      <a:pt x="149" y="201"/>
                    </a:lnTo>
                    <a:lnTo>
                      <a:pt x="150" y="199"/>
                    </a:lnTo>
                    <a:lnTo>
                      <a:pt x="153" y="199"/>
                    </a:lnTo>
                    <a:lnTo>
                      <a:pt x="157" y="191"/>
                    </a:lnTo>
                    <a:lnTo>
                      <a:pt x="157" y="188"/>
                    </a:lnTo>
                    <a:lnTo>
                      <a:pt x="156" y="186"/>
                    </a:lnTo>
                    <a:lnTo>
                      <a:pt x="157" y="182"/>
                    </a:lnTo>
                    <a:lnTo>
                      <a:pt x="155" y="172"/>
                    </a:lnTo>
                    <a:lnTo>
                      <a:pt x="162" y="167"/>
                    </a:lnTo>
                    <a:lnTo>
                      <a:pt x="164" y="165"/>
                    </a:lnTo>
                    <a:lnTo>
                      <a:pt x="162" y="162"/>
                    </a:lnTo>
                    <a:lnTo>
                      <a:pt x="162" y="157"/>
                    </a:lnTo>
                    <a:lnTo>
                      <a:pt x="162" y="154"/>
                    </a:lnTo>
                    <a:lnTo>
                      <a:pt x="166" y="152"/>
                    </a:lnTo>
                    <a:lnTo>
                      <a:pt x="167" y="152"/>
                    </a:lnTo>
                    <a:lnTo>
                      <a:pt x="171" y="147"/>
                    </a:lnTo>
                    <a:lnTo>
                      <a:pt x="173" y="145"/>
                    </a:lnTo>
                    <a:lnTo>
                      <a:pt x="175" y="141"/>
                    </a:lnTo>
                    <a:lnTo>
                      <a:pt x="177" y="143"/>
                    </a:lnTo>
                    <a:lnTo>
                      <a:pt x="178" y="142"/>
                    </a:lnTo>
                    <a:lnTo>
                      <a:pt x="180" y="141"/>
                    </a:lnTo>
                    <a:lnTo>
                      <a:pt x="180" y="138"/>
                    </a:lnTo>
                    <a:lnTo>
                      <a:pt x="182" y="136"/>
                    </a:lnTo>
                    <a:lnTo>
                      <a:pt x="184" y="135"/>
                    </a:lnTo>
                    <a:lnTo>
                      <a:pt x="189" y="138"/>
                    </a:lnTo>
                    <a:lnTo>
                      <a:pt x="192" y="136"/>
                    </a:lnTo>
                    <a:lnTo>
                      <a:pt x="196" y="129"/>
                    </a:lnTo>
                    <a:lnTo>
                      <a:pt x="200" y="125"/>
                    </a:lnTo>
                    <a:lnTo>
                      <a:pt x="202" y="121"/>
                    </a:lnTo>
                    <a:lnTo>
                      <a:pt x="203" y="121"/>
                    </a:lnTo>
                    <a:lnTo>
                      <a:pt x="205" y="126"/>
                    </a:lnTo>
                    <a:lnTo>
                      <a:pt x="207" y="128"/>
                    </a:lnTo>
                    <a:lnTo>
                      <a:pt x="208" y="127"/>
                    </a:lnTo>
                    <a:lnTo>
                      <a:pt x="211" y="129"/>
                    </a:lnTo>
                    <a:lnTo>
                      <a:pt x="214" y="127"/>
                    </a:lnTo>
                    <a:lnTo>
                      <a:pt x="214" y="125"/>
                    </a:lnTo>
                    <a:lnTo>
                      <a:pt x="215" y="124"/>
                    </a:lnTo>
                    <a:lnTo>
                      <a:pt x="215" y="121"/>
                    </a:lnTo>
                    <a:lnTo>
                      <a:pt x="216" y="119"/>
                    </a:lnTo>
                    <a:lnTo>
                      <a:pt x="215" y="115"/>
                    </a:lnTo>
                    <a:lnTo>
                      <a:pt x="216" y="112"/>
                    </a:lnTo>
                    <a:lnTo>
                      <a:pt x="217" y="107"/>
                    </a:lnTo>
                    <a:lnTo>
                      <a:pt x="217" y="105"/>
                    </a:lnTo>
                    <a:lnTo>
                      <a:pt x="218" y="104"/>
                    </a:lnTo>
                    <a:lnTo>
                      <a:pt x="216" y="96"/>
                    </a:lnTo>
                    <a:lnTo>
                      <a:pt x="212" y="98"/>
                    </a:lnTo>
                    <a:lnTo>
                      <a:pt x="211" y="95"/>
                    </a:lnTo>
                    <a:lnTo>
                      <a:pt x="208" y="92"/>
                    </a:lnTo>
                    <a:lnTo>
                      <a:pt x="202" y="92"/>
                    </a:lnTo>
                    <a:lnTo>
                      <a:pt x="201" y="93"/>
                    </a:lnTo>
                    <a:lnTo>
                      <a:pt x="200" y="101"/>
                    </a:lnTo>
                    <a:lnTo>
                      <a:pt x="197" y="101"/>
                    </a:lnTo>
                    <a:lnTo>
                      <a:pt x="196" y="99"/>
                    </a:lnTo>
                    <a:lnTo>
                      <a:pt x="195" y="93"/>
                    </a:lnTo>
                    <a:lnTo>
                      <a:pt x="194" y="91"/>
                    </a:lnTo>
                    <a:lnTo>
                      <a:pt x="197" y="90"/>
                    </a:lnTo>
                    <a:lnTo>
                      <a:pt x="196" y="88"/>
                    </a:lnTo>
                    <a:lnTo>
                      <a:pt x="197" y="85"/>
                    </a:lnTo>
                    <a:lnTo>
                      <a:pt x="200" y="80"/>
                    </a:lnTo>
                    <a:lnTo>
                      <a:pt x="198" y="78"/>
                    </a:lnTo>
                    <a:lnTo>
                      <a:pt x="196" y="78"/>
                    </a:lnTo>
                    <a:lnTo>
                      <a:pt x="195" y="77"/>
                    </a:lnTo>
                    <a:lnTo>
                      <a:pt x="196" y="73"/>
                    </a:lnTo>
                    <a:lnTo>
                      <a:pt x="198" y="74"/>
                    </a:lnTo>
                    <a:lnTo>
                      <a:pt x="200" y="72"/>
                    </a:lnTo>
                    <a:lnTo>
                      <a:pt x="199" y="70"/>
                    </a:lnTo>
                    <a:lnTo>
                      <a:pt x="192" y="70"/>
                    </a:lnTo>
                    <a:lnTo>
                      <a:pt x="189" y="73"/>
                    </a:lnTo>
                    <a:lnTo>
                      <a:pt x="186" y="73"/>
                    </a:lnTo>
                    <a:lnTo>
                      <a:pt x="182" y="74"/>
                    </a:lnTo>
                    <a:lnTo>
                      <a:pt x="178" y="71"/>
                    </a:lnTo>
                    <a:lnTo>
                      <a:pt x="176" y="68"/>
                    </a:lnTo>
                    <a:lnTo>
                      <a:pt x="172" y="66"/>
                    </a:lnTo>
                    <a:lnTo>
                      <a:pt x="171" y="63"/>
                    </a:lnTo>
                    <a:lnTo>
                      <a:pt x="168" y="61"/>
                    </a:lnTo>
                    <a:lnTo>
                      <a:pt x="166" y="58"/>
                    </a:lnTo>
                    <a:lnTo>
                      <a:pt x="164" y="54"/>
                    </a:lnTo>
                    <a:lnTo>
                      <a:pt x="160" y="49"/>
                    </a:lnTo>
                    <a:lnTo>
                      <a:pt x="160" y="44"/>
                    </a:lnTo>
                    <a:lnTo>
                      <a:pt x="162" y="40"/>
                    </a:lnTo>
                    <a:lnTo>
                      <a:pt x="160" y="38"/>
                    </a:lnTo>
                    <a:lnTo>
                      <a:pt x="157" y="37"/>
                    </a:lnTo>
                    <a:lnTo>
                      <a:pt x="156" y="38"/>
                    </a:lnTo>
                    <a:lnTo>
                      <a:pt x="151" y="39"/>
                    </a:lnTo>
                    <a:lnTo>
                      <a:pt x="149" y="40"/>
                    </a:lnTo>
                    <a:lnTo>
                      <a:pt x="145" y="40"/>
                    </a:lnTo>
                    <a:lnTo>
                      <a:pt x="141" y="32"/>
                    </a:lnTo>
                    <a:lnTo>
                      <a:pt x="138" y="32"/>
                    </a:lnTo>
                    <a:lnTo>
                      <a:pt x="138" y="27"/>
                    </a:lnTo>
                    <a:lnTo>
                      <a:pt x="136" y="27"/>
                    </a:lnTo>
                    <a:lnTo>
                      <a:pt x="131" y="27"/>
                    </a:lnTo>
                    <a:lnTo>
                      <a:pt x="131" y="28"/>
                    </a:lnTo>
                    <a:lnTo>
                      <a:pt x="123" y="24"/>
                    </a:lnTo>
                    <a:lnTo>
                      <a:pt x="119" y="20"/>
                    </a:lnTo>
                    <a:lnTo>
                      <a:pt x="117" y="20"/>
                    </a:lnTo>
                    <a:lnTo>
                      <a:pt x="116" y="17"/>
                    </a:lnTo>
                    <a:lnTo>
                      <a:pt x="115" y="17"/>
                    </a:lnTo>
                    <a:lnTo>
                      <a:pt x="113" y="18"/>
                    </a:lnTo>
                    <a:lnTo>
                      <a:pt x="111" y="15"/>
                    </a:lnTo>
                    <a:lnTo>
                      <a:pt x="109" y="14"/>
                    </a:lnTo>
                    <a:lnTo>
                      <a:pt x="105" y="17"/>
                    </a:lnTo>
                    <a:lnTo>
                      <a:pt x="102" y="17"/>
                    </a:lnTo>
                    <a:lnTo>
                      <a:pt x="101" y="15"/>
                    </a:lnTo>
                    <a:lnTo>
                      <a:pt x="96" y="10"/>
                    </a:lnTo>
                    <a:lnTo>
                      <a:pt x="90" y="6"/>
                    </a:lnTo>
                    <a:lnTo>
                      <a:pt x="85" y="0"/>
                    </a:lnTo>
                    <a:lnTo>
                      <a:pt x="85" y="1"/>
                    </a:lnTo>
                    <a:lnTo>
                      <a:pt x="83" y="0"/>
                    </a:lnTo>
                    <a:lnTo>
                      <a:pt x="82" y="3"/>
                    </a:lnTo>
                    <a:lnTo>
                      <a:pt x="80" y="2"/>
                    </a:lnTo>
                    <a:lnTo>
                      <a:pt x="78" y="3"/>
                    </a:lnTo>
                    <a:lnTo>
                      <a:pt x="78" y="6"/>
                    </a:lnTo>
                    <a:lnTo>
                      <a:pt x="76" y="7"/>
                    </a:lnTo>
                    <a:lnTo>
                      <a:pt x="76" y="10"/>
                    </a:lnTo>
                    <a:lnTo>
                      <a:pt x="74" y="12"/>
                    </a:lnTo>
                    <a:lnTo>
                      <a:pt x="74" y="15"/>
                    </a:lnTo>
                    <a:lnTo>
                      <a:pt x="72" y="17"/>
                    </a:lnTo>
                    <a:lnTo>
                      <a:pt x="71" y="19"/>
                    </a:lnTo>
                    <a:lnTo>
                      <a:pt x="72" y="19"/>
                    </a:lnTo>
                    <a:lnTo>
                      <a:pt x="75" y="22"/>
                    </a:lnTo>
                    <a:lnTo>
                      <a:pt x="77" y="24"/>
                    </a:lnTo>
                    <a:lnTo>
                      <a:pt x="79" y="25"/>
                    </a:lnTo>
                    <a:lnTo>
                      <a:pt x="80" y="28"/>
                    </a:lnTo>
                    <a:lnTo>
                      <a:pt x="83" y="28"/>
                    </a:lnTo>
                    <a:lnTo>
                      <a:pt x="83" y="29"/>
                    </a:lnTo>
                    <a:lnTo>
                      <a:pt x="83" y="31"/>
                    </a:lnTo>
                    <a:lnTo>
                      <a:pt x="84" y="32"/>
                    </a:lnTo>
                    <a:lnTo>
                      <a:pt x="85" y="38"/>
                    </a:lnTo>
                    <a:lnTo>
                      <a:pt x="83" y="41"/>
                    </a:lnTo>
                    <a:lnTo>
                      <a:pt x="86" y="48"/>
                    </a:lnTo>
                    <a:lnTo>
                      <a:pt x="88" y="51"/>
                    </a:lnTo>
                    <a:lnTo>
                      <a:pt x="88" y="56"/>
                    </a:lnTo>
                    <a:lnTo>
                      <a:pt x="87" y="57"/>
                    </a:lnTo>
                    <a:lnTo>
                      <a:pt x="88" y="62"/>
                    </a:lnTo>
                    <a:lnTo>
                      <a:pt x="91" y="66"/>
                    </a:lnTo>
                    <a:lnTo>
                      <a:pt x="93" y="67"/>
                    </a:lnTo>
                    <a:lnTo>
                      <a:pt x="94" y="66"/>
                    </a:lnTo>
                    <a:lnTo>
                      <a:pt x="96" y="66"/>
                    </a:lnTo>
                    <a:lnTo>
                      <a:pt x="96" y="68"/>
                    </a:lnTo>
                    <a:lnTo>
                      <a:pt x="102" y="72"/>
                    </a:lnTo>
                    <a:lnTo>
                      <a:pt x="104" y="72"/>
                    </a:lnTo>
                    <a:lnTo>
                      <a:pt x="104" y="75"/>
                    </a:lnTo>
                    <a:lnTo>
                      <a:pt x="106" y="76"/>
                    </a:lnTo>
                    <a:lnTo>
                      <a:pt x="108" y="84"/>
                    </a:lnTo>
                    <a:lnTo>
                      <a:pt x="107" y="89"/>
                    </a:lnTo>
                    <a:lnTo>
                      <a:pt x="105" y="92"/>
                    </a:lnTo>
                    <a:lnTo>
                      <a:pt x="102" y="93"/>
                    </a:lnTo>
                    <a:lnTo>
                      <a:pt x="102" y="95"/>
                    </a:lnTo>
                    <a:lnTo>
                      <a:pt x="104" y="98"/>
                    </a:lnTo>
                    <a:lnTo>
                      <a:pt x="104" y="101"/>
                    </a:lnTo>
                    <a:lnTo>
                      <a:pt x="108" y="107"/>
                    </a:lnTo>
                    <a:lnTo>
                      <a:pt x="106" y="108"/>
                    </a:lnTo>
                    <a:lnTo>
                      <a:pt x="104" y="112"/>
                    </a:lnTo>
                    <a:lnTo>
                      <a:pt x="100" y="112"/>
                    </a:lnTo>
                    <a:lnTo>
                      <a:pt x="99" y="112"/>
                    </a:lnTo>
                    <a:lnTo>
                      <a:pt x="98" y="107"/>
                    </a:lnTo>
                    <a:lnTo>
                      <a:pt x="96" y="104"/>
                    </a:lnTo>
                    <a:lnTo>
                      <a:pt x="96" y="100"/>
                    </a:lnTo>
                    <a:lnTo>
                      <a:pt x="94" y="98"/>
                    </a:lnTo>
                    <a:lnTo>
                      <a:pt x="91" y="101"/>
                    </a:lnTo>
                    <a:lnTo>
                      <a:pt x="91" y="103"/>
                    </a:lnTo>
                    <a:lnTo>
                      <a:pt x="91" y="104"/>
                    </a:lnTo>
                    <a:lnTo>
                      <a:pt x="90" y="106"/>
                    </a:lnTo>
                    <a:lnTo>
                      <a:pt x="89" y="108"/>
                    </a:lnTo>
                    <a:lnTo>
                      <a:pt x="87" y="108"/>
                    </a:lnTo>
                    <a:lnTo>
                      <a:pt x="86" y="107"/>
                    </a:lnTo>
                    <a:lnTo>
                      <a:pt x="81" y="107"/>
                    </a:lnTo>
                    <a:lnTo>
                      <a:pt x="80" y="106"/>
                    </a:lnTo>
                    <a:lnTo>
                      <a:pt x="78" y="105"/>
                    </a:lnTo>
                    <a:lnTo>
                      <a:pt x="74" y="106"/>
                    </a:lnTo>
                    <a:lnTo>
                      <a:pt x="73" y="108"/>
                    </a:lnTo>
                    <a:lnTo>
                      <a:pt x="70" y="109"/>
                    </a:lnTo>
                    <a:lnTo>
                      <a:pt x="69" y="111"/>
                    </a:lnTo>
                    <a:lnTo>
                      <a:pt x="69" y="115"/>
                    </a:lnTo>
                    <a:lnTo>
                      <a:pt x="68" y="117"/>
                    </a:lnTo>
                    <a:lnTo>
                      <a:pt x="66" y="118"/>
                    </a:lnTo>
                    <a:lnTo>
                      <a:pt x="63" y="117"/>
                    </a:lnTo>
                    <a:lnTo>
                      <a:pt x="62" y="119"/>
                    </a:lnTo>
                    <a:lnTo>
                      <a:pt x="63" y="121"/>
                    </a:lnTo>
                    <a:lnTo>
                      <a:pt x="62" y="123"/>
                    </a:lnTo>
                    <a:lnTo>
                      <a:pt x="62" y="126"/>
                    </a:lnTo>
                    <a:lnTo>
                      <a:pt x="61" y="129"/>
                    </a:lnTo>
                    <a:lnTo>
                      <a:pt x="58" y="131"/>
                    </a:lnTo>
                    <a:lnTo>
                      <a:pt x="57" y="133"/>
                    </a:lnTo>
                    <a:lnTo>
                      <a:pt x="55" y="136"/>
                    </a:lnTo>
                    <a:lnTo>
                      <a:pt x="55" y="139"/>
                    </a:lnTo>
                    <a:lnTo>
                      <a:pt x="54" y="141"/>
                    </a:lnTo>
                    <a:lnTo>
                      <a:pt x="52" y="145"/>
                    </a:lnTo>
                    <a:lnTo>
                      <a:pt x="52" y="148"/>
                    </a:lnTo>
                    <a:lnTo>
                      <a:pt x="51" y="150"/>
                    </a:lnTo>
                    <a:lnTo>
                      <a:pt x="50" y="150"/>
                    </a:lnTo>
                    <a:lnTo>
                      <a:pt x="50" y="148"/>
                    </a:lnTo>
                    <a:lnTo>
                      <a:pt x="49" y="148"/>
                    </a:lnTo>
                    <a:lnTo>
                      <a:pt x="49" y="154"/>
                    </a:lnTo>
                    <a:lnTo>
                      <a:pt x="47" y="156"/>
                    </a:lnTo>
                    <a:lnTo>
                      <a:pt x="44" y="156"/>
                    </a:lnTo>
                    <a:lnTo>
                      <a:pt x="43" y="157"/>
                    </a:lnTo>
                    <a:lnTo>
                      <a:pt x="44" y="158"/>
                    </a:lnTo>
                    <a:lnTo>
                      <a:pt x="46" y="164"/>
                    </a:lnTo>
                    <a:lnTo>
                      <a:pt x="46" y="166"/>
                    </a:lnTo>
                    <a:lnTo>
                      <a:pt x="47" y="169"/>
                    </a:lnTo>
                    <a:lnTo>
                      <a:pt x="44" y="170"/>
                    </a:lnTo>
                    <a:lnTo>
                      <a:pt x="41" y="174"/>
                    </a:lnTo>
                    <a:lnTo>
                      <a:pt x="39" y="176"/>
                    </a:lnTo>
                    <a:lnTo>
                      <a:pt x="43" y="180"/>
                    </a:lnTo>
                    <a:lnTo>
                      <a:pt x="41" y="183"/>
                    </a:lnTo>
                    <a:lnTo>
                      <a:pt x="44" y="187"/>
                    </a:lnTo>
                    <a:lnTo>
                      <a:pt x="41" y="189"/>
                    </a:lnTo>
                    <a:lnTo>
                      <a:pt x="41" y="191"/>
                    </a:lnTo>
                    <a:lnTo>
                      <a:pt x="41" y="192"/>
                    </a:lnTo>
                    <a:lnTo>
                      <a:pt x="40" y="193"/>
                    </a:lnTo>
                    <a:lnTo>
                      <a:pt x="37" y="193"/>
                    </a:lnTo>
                    <a:lnTo>
                      <a:pt x="36" y="195"/>
                    </a:lnTo>
                    <a:lnTo>
                      <a:pt x="33" y="196"/>
                    </a:lnTo>
                    <a:lnTo>
                      <a:pt x="31" y="199"/>
                    </a:lnTo>
                    <a:lnTo>
                      <a:pt x="30" y="198"/>
                    </a:lnTo>
                    <a:lnTo>
                      <a:pt x="29" y="199"/>
                    </a:lnTo>
                    <a:lnTo>
                      <a:pt x="29" y="202"/>
                    </a:lnTo>
                    <a:lnTo>
                      <a:pt x="28" y="203"/>
                    </a:lnTo>
                    <a:lnTo>
                      <a:pt x="26" y="204"/>
                    </a:lnTo>
                    <a:lnTo>
                      <a:pt x="25" y="207"/>
                    </a:lnTo>
                    <a:lnTo>
                      <a:pt x="25" y="208"/>
                    </a:lnTo>
                    <a:lnTo>
                      <a:pt x="23" y="208"/>
                    </a:lnTo>
                    <a:lnTo>
                      <a:pt x="21" y="205"/>
                    </a:lnTo>
                    <a:lnTo>
                      <a:pt x="16" y="204"/>
                    </a:lnTo>
                    <a:lnTo>
                      <a:pt x="13" y="204"/>
                    </a:lnTo>
                    <a:lnTo>
                      <a:pt x="14" y="212"/>
                    </a:lnTo>
                    <a:lnTo>
                      <a:pt x="16" y="213"/>
                    </a:lnTo>
                    <a:lnTo>
                      <a:pt x="17" y="216"/>
                    </a:lnTo>
                    <a:lnTo>
                      <a:pt x="17" y="218"/>
                    </a:lnTo>
                    <a:lnTo>
                      <a:pt x="18" y="221"/>
                    </a:lnTo>
                    <a:lnTo>
                      <a:pt x="17" y="224"/>
                    </a:lnTo>
                    <a:lnTo>
                      <a:pt x="17" y="228"/>
                    </a:lnTo>
                    <a:lnTo>
                      <a:pt x="17" y="230"/>
                    </a:lnTo>
                    <a:lnTo>
                      <a:pt x="18" y="231"/>
                    </a:lnTo>
                    <a:lnTo>
                      <a:pt x="18" y="236"/>
                    </a:lnTo>
                    <a:lnTo>
                      <a:pt x="21" y="238"/>
                    </a:lnTo>
                    <a:lnTo>
                      <a:pt x="19" y="241"/>
                    </a:lnTo>
                    <a:lnTo>
                      <a:pt x="22" y="243"/>
                    </a:lnTo>
                    <a:lnTo>
                      <a:pt x="21" y="245"/>
                    </a:lnTo>
                    <a:lnTo>
                      <a:pt x="21" y="247"/>
                    </a:lnTo>
                    <a:lnTo>
                      <a:pt x="20" y="249"/>
                    </a:lnTo>
                    <a:lnTo>
                      <a:pt x="20" y="251"/>
                    </a:lnTo>
                    <a:lnTo>
                      <a:pt x="21" y="253"/>
                    </a:lnTo>
                    <a:lnTo>
                      <a:pt x="19" y="255"/>
                    </a:lnTo>
                    <a:lnTo>
                      <a:pt x="21" y="261"/>
                    </a:lnTo>
                    <a:lnTo>
                      <a:pt x="21" y="264"/>
                    </a:lnTo>
                    <a:lnTo>
                      <a:pt x="23" y="265"/>
                    </a:lnTo>
                    <a:lnTo>
                      <a:pt x="22" y="266"/>
                    </a:lnTo>
                    <a:lnTo>
                      <a:pt x="23" y="267"/>
                    </a:lnTo>
                    <a:lnTo>
                      <a:pt x="19" y="268"/>
                    </a:lnTo>
                    <a:lnTo>
                      <a:pt x="17" y="268"/>
                    </a:lnTo>
                    <a:lnTo>
                      <a:pt x="15" y="270"/>
                    </a:lnTo>
                    <a:lnTo>
                      <a:pt x="14" y="271"/>
                    </a:lnTo>
                    <a:lnTo>
                      <a:pt x="13" y="277"/>
                    </a:lnTo>
                    <a:lnTo>
                      <a:pt x="13" y="279"/>
                    </a:lnTo>
                    <a:lnTo>
                      <a:pt x="14" y="280"/>
                    </a:lnTo>
                    <a:lnTo>
                      <a:pt x="12" y="283"/>
                    </a:lnTo>
                    <a:lnTo>
                      <a:pt x="13" y="286"/>
                    </a:lnTo>
                    <a:lnTo>
                      <a:pt x="15" y="287"/>
                    </a:lnTo>
                    <a:lnTo>
                      <a:pt x="16" y="289"/>
                    </a:lnTo>
                    <a:lnTo>
                      <a:pt x="17" y="290"/>
                    </a:lnTo>
                    <a:lnTo>
                      <a:pt x="18" y="291"/>
                    </a:lnTo>
                    <a:lnTo>
                      <a:pt x="17" y="293"/>
                    </a:lnTo>
                    <a:lnTo>
                      <a:pt x="17" y="295"/>
                    </a:lnTo>
                    <a:lnTo>
                      <a:pt x="17" y="298"/>
                    </a:lnTo>
                    <a:lnTo>
                      <a:pt x="19" y="304"/>
                    </a:lnTo>
                    <a:lnTo>
                      <a:pt x="23" y="311"/>
                    </a:lnTo>
                    <a:lnTo>
                      <a:pt x="25" y="313"/>
                    </a:lnTo>
                    <a:lnTo>
                      <a:pt x="26" y="314"/>
                    </a:lnTo>
                    <a:lnTo>
                      <a:pt x="28" y="316"/>
                    </a:lnTo>
                    <a:lnTo>
                      <a:pt x="26" y="317"/>
                    </a:lnTo>
                    <a:lnTo>
                      <a:pt x="26" y="318"/>
                    </a:lnTo>
                    <a:lnTo>
                      <a:pt x="26" y="319"/>
                    </a:lnTo>
                    <a:lnTo>
                      <a:pt x="25" y="320"/>
                    </a:lnTo>
                    <a:lnTo>
                      <a:pt x="28" y="325"/>
                    </a:lnTo>
                    <a:lnTo>
                      <a:pt x="30" y="326"/>
                    </a:lnTo>
                    <a:lnTo>
                      <a:pt x="28" y="329"/>
                    </a:lnTo>
                    <a:lnTo>
                      <a:pt x="26" y="329"/>
                    </a:lnTo>
                    <a:lnTo>
                      <a:pt x="25" y="332"/>
                    </a:lnTo>
                    <a:lnTo>
                      <a:pt x="23" y="333"/>
                    </a:lnTo>
                    <a:lnTo>
                      <a:pt x="23" y="335"/>
                    </a:lnTo>
                    <a:lnTo>
                      <a:pt x="25" y="335"/>
                    </a:lnTo>
                    <a:lnTo>
                      <a:pt x="26" y="335"/>
                    </a:lnTo>
                    <a:lnTo>
                      <a:pt x="27" y="333"/>
                    </a:lnTo>
                    <a:lnTo>
                      <a:pt x="29" y="333"/>
                    </a:lnTo>
                    <a:lnTo>
                      <a:pt x="29" y="335"/>
                    </a:lnTo>
                    <a:lnTo>
                      <a:pt x="30" y="336"/>
                    </a:lnTo>
                    <a:lnTo>
                      <a:pt x="31" y="335"/>
                    </a:lnTo>
                    <a:lnTo>
                      <a:pt x="34" y="335"/>
                    </a:lnTo>
                    <a:lnTo>
                      <a:pt x="35" y="338"/>
                    </a:lnTo>
                    <a:lnTo>
                      <a:pt x="38" y="340"/>
                    </a:lnTo>
                    <a:lnTo>
                      <a:pt x="37" y="342"/>
                    </a:lnTo>
                    <a:lnTo>
                      <a:pt x="35" y="346"/>
                    </a:lnTo>
                    <a:lnTo>
                      <a:pt x="36" y="346"/>
                    </a:lnTo>
                    <a:lnTo>
                      <a:pt x="36" y="348"/>
                    </a:lnTo>
                    <a:lnTo>
                      <a:pt x="37" y="347"/>
                    </a:lnTo>
                    <a:lnTo>
                      <a:pt x="37" y="349"/>
                    </a:lnTo>
                    <a:lnTo>
                      <a:pt x="35" y="356"/>
                    </a:lnTo>
                    <a:lnTo>
                      <a:pt x="36" y="359"/>
                    </a:lnTo>
                    <a:lnTo>
                      <a:pt x="33" y="361"/>
                    </a:lnTo>
                    <a:lnTo>
                      <a:pt x="32" y="361"/>
                    </a:lnTo>
                    <a:lnTo>
                      <a:pt x="30" y="362"/>
                    </a:lnTo>
                    <a:lnTo>
                      <a:pt x="30" y="364"/>
                    </a:lnTo>
                    <a:lnTo>
                      <a:pt x="30" y="365"/>
                    </a:lnTo>
                    <a:lnTo>
                      <a:pt x="29" y="365"/>
                    </a:lnTo>
                    <a:lnTo>
                      <a:pt x="26" y="365"/>
                    </a:lnTo>
                    <a:lnTo>
                      <a:pt x="25" y="367"/>
                    </a:lnTo>
                    <a:lnTo>
                      <a:pt x="25" y="369"/>
                    </a:lnTo>
                    <a:lnTo>
                      <a:pt x="23" y="369"/>
                    </a:lnTo>
                    <a:lnTo>
                      <a:pt x="23" y="374"/>
                    </a:lnTo>
                    <a:lnTo>
                      <a:pt x="22" y="375"/>
                    </a:lnTo>
                    <a:lnTo>
                      <a:pt x="22" y="377"/>
                    </a:lnTo>
                    <a:lnTo>
                      <a:pt x="24" y="381"/>
                    </a:lnTo>
                    <a:lnTo>
                      <a:pt x="26" y="384"/>
                    </a:lnTo>
                    <a:lnTo>
                      <a:pt x="26" y="385"/>
                    </a:lnTo>
                    <a:lnTo>
                      <a:pt x="25" y="384"/>
                    </a:lnTo>
                    <a:lnTo>
                      <a:pt x="25" y="382"/>
                    </a:lnTo>
                    <a:lnTo>
                      <a:pt x="24" y="382"/>
                    </a:lnTo>
                    <a:lnTo>
                      <a:pt x="24" y="383"/>
                    </a:lnTo>
                    <a:lnTo>
                      <a:pt x="23" y="384"/>
                    </a:lnTo>
                    <a:lnTo>
                      <a:pt x="22" y="388"/>
                    </a:lnTo>
                    <a:lnTo>
                      <a:pt x="20" y="389"/>
                    </a:lnTo>
                    <a:lnTo>
                      <a:pt x="21" y="391"/>
                    </a:lnTo>
                    <a:lnTo>
                      <a:pt x="21" y="392"/>
                    </a:lnTo>
                    <a:lnTo>
                      <a:pt x="19" y="393"/>
                    </a:lnTo>
                    <a:lnTo>
                      <a:pt x="20" y="395"/>
                    </a:lnTo>
                    <a:lnTo>
                      <a:pt x="21" y="396"/>
                    </a:lnTo>
                    <a:lnTo>
                      <a:pt x="18" y="397"/>
                    </a:lnTo>
                    <a:lnTo>
                      <a:pt x="18" y="398"/>
                    </a:lnTo>
                    <a:lnTo>
                      <a:pt x="17" y="399"/>
                    </a:lnTo>
                    <a:lnTo>
                      <a:pt x="16" y="398"/>
                    </a:lnTo>
                    <a:lnTo>
                      <a:pt x="15" y="401"/>
                    </a:lnTo>
                    <a:lnTo>
                      <a:pt x="17" y="401"/>
                    </a:lnTo>
                    <a:lnTo>
                      <a:pt x="17" y="404"/>
                    </a:lnTo>
                    <a:lnTo>
                      <a:pt x="19" y="405"/>
                    </a:lnTo>
                    <a:lnTo>
                      <a:pt x="18" y="406"/>
                    </a:lnTo>
                    <a:lnTo>
                      <a:pt x="17" y="406"/>
                    </a:lnTo>
                    <a:lnTo>
                      <a:pt x="13" y="407"/>
                    </a:lnTo>
                    <a:lnTo>
                      <a:pt x="13" y="406"/>
                    </a:lnTo>
                    <a:lnTo>
                      <a:pt x="12" y="405"/>
                    </a:lnTo>
                    <a:lnTo>
                      <a:pt x="11" y="403"/>
                    </a:lnTo>
                    <a:lnTo>
                      <a:pt x="9" y="404"/>
                    </a:lnTo>
                    <a:lnTo>
                      <a:pt x="9" y="402"/>
                    </a:lnTo>
                    <a:lnTo>
                      <a:pt x="8" y="404"/>
                    </a:lnTo>
                    <a:lnTo>
                      <a:pt x="8" y="403"/>
                    </a:lnTo>
                    <a:lnTo>
                      <a:pt x="5" y="401"/>
                    </a:lnTo>
                    <a:lnTo>
                      <a:pt x="3" y="399"/>
                    </a:lnTo>
                    <a:lnTo>
                      <a:pt x="5" y="401"/>
                    </a:lnTo>
                    <a:lnTo>
                      <a:pt x="3" y="401"/>
                    </a:lnTo>
                    <a:lnTo>
                      <a:pt x="4" y="403"/>
                    </a:lnTo>
                    <a:lnTo>
                      <a:pt x="3" y="404"/>
                    </a:lnTo>
                    <a:lnTo>
                      <a:pt x="3" y="405"/>
                    </a:lnTo>
                    <a:lnTo>
                      <a:pt x="3" y="407"/>
                    </a:lnTo>
                    <a:lnTo>
                      <a:pt x="3" y="410"/>
                    </a:lnTo>
                    <a:lnTo>
                      <a:pt x="5" y="410"/>
                    </a:lnTo>
                    <a:lnTo>
                      <a:pt x="5" y="411"/>
                    </a:lnTo>
                    <a:lnTo>
                      <a:pt x="5" y="412"/>
                    </a:lnTo>
                    <a:lnTo>
                      <a:pt x="3" y="413"/>
                    </a:lnTo>
                    <a:lnTo>
                      <a:pt x="2" y="416"/>
                    </a:lnTo>
                    <a:lnTo>
                      <a:pt x="1" y="417"/>
                    </a:lnTo>
                    <a:lnTo>
                      <a:pt x="0" y="420"/>
                    </a:lnTo>
                    <a:lnTo>
                      <a:pt x="2" y="420"/>
                    </a:lnTo>
                    <a:lnTo>
                      <a:pt x="5" y="420"/>
                    </a:lnTo>
                    <a:lnTo>
                      <a:pt x="6" y="420"/>
                    </a:lnTo>
                    <a:lnTo>
                      <a:pt x="8" y="421"/>
                    </a:lnTo>
                    <a:lnTo>
                      <a:pt x="9" y="420"/>
                    </a:lnTo>
                    <a:lnTo>
                      <a:pt x="11" y="422"/>
                    </a:lnTo>
                    <a:lnTo>
                      <a:pt x="12" y="423"/>
                    </a:lnTo>
                    <a:lnTo>
                      <a:pt x="15" y="426"/>
                    </a:lnTo>
                    <a:lnTo>
                      <a:pt x="18" y="426"/>
                    </a:lnTo>
                    <a:lnTo>
                      <a:pt x="20" y="425"/>
                    </a:lnTo>
                    <a:lnTo>
                      <a:pt x="19" y="426"/>
                    </a:lnTo>
                    <a:lnTo>
                      <a:pt x="19" y="427"/>
                    </a:lnTo>
                    <a:lnTo>
                      <a:pt x="20" y="426"/>
                    </a:lnTo>
                    <a:lnTo>
                      <a:pt x="21" y="426"/>
                    </a:lnTo>
                    <a:lnTo>
                      <a:pt x="23" y="427"/>
                    </a:lnTo>
                    <a:lnTo>
                      <a:pt x="24" y="427"/>
                    </a:lnTo>
                    <a:lnTo>
                      <a:pt x="25" y="427"/>
                    </a:lnTo>
                    <a:lnTo>
                      <a:pt x="25" y="428"/>
                    </a:lnTo>
                    <a:lnTo>
                      <a:pt x="22" y="428"/>
                    </a:lnTo>
                    <a:lnTo>
                      <a:pt x="20" y="427"/>
                    </a:lnTo>
                    <a:lnTo>
                      <a:pt x="18" y="427"/>
                    </a:lnTo>
                    <a:lnTo>
                      <a:pt x="17" y="430"/>
                    </a:lnTo>
                    <a:lnTo>
                      <a:pt x="17" y="431"/>
                    </a:lnTo>
                    <a:lnTo>
                      <a:pt x="17" y="435"/>
                    </a:lnTo>
                    <a:lnTo>
                      <a:pt x="15" y="436"/>
                    </a:lnTo>
                    <a:lnTo>
                      <a:pt x="14" y="435"/>
                    </a:lnTo>
                    <a:lnTo>
                      <a:pt x="11" y="437"/>
                    </a:lnTo>
                    <a:lnTo>
                      <a:pt x="12" y="439"/>
                    </a:lnTo>
                    <a:lnTo>
                      <a:pt x="10" y="443"/>
                    </a:lnTo>
                    <a:lnTo>
                      <a:pt x="11" y="445"/>
                    </a:lnTo>
                    <a:lnTo>
                      <a:pt x="11" y="448"/>
                    </a:lnTo>
                    <a:lnTo>
                      <a:pt x="12" y="449"/>
                    </a:lnTo>
                    <a:lnTo>
                      <a:pt x="12" y="451"/>
                    </a:lnTo>
                    <a:lnTo>
                      <a:pt x="13" y="454"/>
                    </a:lnTo>
                    <a:lnTo>
                      <a:pt x="12" y="454"/>
                    </a:lnTo>
                    <a:lnTo>
                      <a:pt x="13" y="455"/>
                    </a:lnTo>
                    <a:lnTo>
                      <a:pt x="12" y="462"/>
                    </a:lnTo>
                    <a:lnTo>
                      <a:pt x="14" y="463"/>
                    </a:lnTo>
                    <a:lnTo>
                      <a:pt x="15" y="464"/>
                    </a:lnTo>
                    <a:lnTo>
                      <a:pt x="17" y="464"/>
                    </a:lnTo>
                    <a:lnTo>
                      <a:pt x="17" y="465"/>
                    </a:lnTo>
                    <a:lnTo>
                      <a:pt x="17" y="468"/>
                    </a:lnTo>
                    <a:lnTo>
                      <a:pt x="18" y="470"/>
                    </a:lnTo>
                    <a:lnTo>
                      <a:pt x="17" y="471"/>
                    </a:lnTo>
                    <a:lnTo>
                      <a:pt x="19" y="471"/>
                    </a:lnTo>
                    <a:lnTo>
                      <a:pt x="19" y="473"/>
                    </a:lnTo>
                    <a:lnTo>
                      <a:pt x="19" y="474"/>
                    </a:lnTo>
                    <a:lnTo>
                      <a:pt x="18" y="474"/>
                    </a:lnTo>
                    <a:lnTo>
                      <a:pt x="17" y="474"/>
                    </a:lnTo>
                    <a:lnTo>
                      <a:pt x="15" y="474"/>
                    </a:lnTo>
                    <a:lnTo>
                      <a:pt x="15" y="475"/>
                    </a:lnTo>
                    <a:lnTo>
                      <a:pt x="12" y="474"/>
                    </a:lnTo>
                    <a:lnTo>
                      <a:pt x="11" y="477"/>
                    </a:lnTo>
                    <a:lnTo>
                      <a:pt x="11" y="478"/>
                    </a:lnTo>
                    <a:lnTo>
                      <a:pt x="9" y="480"/>
                    </a:lnTo>
                    <a:lnTo>
                      <a:pt x="9" y="483"/>
                    </a:lnTo>
                    <a:lnTo>
                      <a:pt x="11" y="484"/>
                    </a:lnTo>
                    <a:lnTo>
                      <a:pt x="11" y="482"/>
                    </a:lnTo>
                    <a:lnTo>
                      <a:pt x="13" y="483"/>
                    </a:lnTo>
                    <a:lnTo>
                      <a:pt x="12" y="486"/>
                    </a:lnTo>
                    <a:lnTo>
                      <a:pt x="18" y="490"/>
                    </a:lnTo>
                    <a:lnTo>
                      <a:pt x="21" y="494"/>
                    </a:lnTo>
                    <a:lnTo>
                      <a:pt x="25" y="496"/>
                    </a:lnTo>
                    <a:lnTo>
                      <a:pt x="26" y="499"/>
                    </a:lnTo>
                    <a:lnTo>
                      <a:pt x="27" y="498"/>
                    </a:lnTo>
                    <a:lnTo>
                      <a:pt x="27" y="497"/>
                    </a:lnTo>
                    <a:lnTo>
                      <a:pt x="30" y="493"/>
                    </a:lnTo>
                    <a:lnTo>
                      <a:pt x="32" y="491"/>
                    </a:lnTo>
                    <a:lnTo>
                      <a:pt x="34" y="491"/>
                    </a:lnTo>
                    <a:lnTo>
                      <a:pt x="36" y="490"/>
                    </a:lnTo>
                    <a:lnTo>
                      <a:pt x="37" y="491"/>
                    </a:lnTo>
                    <a:lnTo>
                      <a:pt x="36" y="489"/>
                    </a:lnTo>
                    <a:lnTo>
                      <a:pt x="36" y="486"/>
                    </a:lnTo>
                    <a:lnTo>
                      <a:pt x="36" y="484"/>
                    </a:lnTo>
                    <a:lnTo>
                      <a:pt x="37" y="484"/>
                    </a:lnTo>
                    <a:lnTo>
                      <a:pt x="39" y="478"/>
                    </a:lnTo>
                    <a:lnTo>
                      <a:pt x="40" y="481"/>
                    </a:lnTo>
                    <a:lnTo>
                      <a:pt x="41" y="480"/>
                    </a:lnTo>
                    <a:lnTo>
                      <a:pt x="44" y="478"/>
                    </a:lnTo>
                    <a:lnTo>
                      <a:pt x="41" y="475"/>
                    </a:lnTo>
                    <a:lnTo>
                      <a:pt x="42" y="473"/>
                    </a:lnTo>
                    <a:lnTo>
                      <a:pt x="41" y="472"/>
                    </a:lnTo>
                    <a:lnTo>
                      <a:pt x="38" y="471"/>
                    </a:lnTo>
                    <a:lnTo>
                      <a:pt x="38" y="469"/>
                    </a:lnTo>
                    <a:lnTo>
                      <a:pt x="38" y="468"/>
                    </a:lnTo>
                    <a:lnTo>
                      <a:pt x="40" y="467"/>
                    </a:lnTo>
                    <a:lnTo>
                      <a:pt x="41" y="466"/>
                    </a:lnTo>
                    <a:lnTo>
                      <a:pt x="39" y="465"/>
                    </a:lnTo>
                    <a:lnTo>
                      <a:pt x="39" y="463"/>
                    </a:lnTo>
                    <a:lnTo>
                      <a:pt x="38" y="463"/>
                    </a:lnTo>
                    <a:lnTo>
                      <a:pt x="37" y="464"/>
                    </a:lnTo>
                    <a:lnTo>
                      <a:pt x="37" y="462"/>
                    </a:lnTo>
                    <a:lnTo>
                      <a:pt x="36" y="462"/>
                    </a:lnTo>
                    <a:lnTo>
                      <a:pt x="36" y="459"/>
                    </a:lnTo>
                    <a:lnTo>
                      <a:pt x="35" y="459"/>
                    </a:lnTo>
                    <a:lnTo>
                      <a:pt x="35" y="458"/>
                    </a:lnTo>
                    <a:lnTo>
                      <a:pt x="34" y="459"/>
                    </a:lnTo>
                    <a:lnTo>
                      <a:pt x="33" y="458"/>
                    </a:lnTo>
                    <a:lnTo>
                      <a:pt x="32" y="458"/>
                    </a:lnTo>
                    <a:lnTo>
                      <a:pt x="33" y="456"/>
                    </a:lnTo>
                    <a:lnTo>
                      <a:pt x="32" y="454"/>
                    </a:lnTo>
                    <a:lnTo>
                      <a:pt x="30" y="454"/>
                    </a:lnTo>
                    <a:lnTo>
                      <a:pt x="31" y="452"/>
                    </a:lnTo>
                    <a:lnTo>
                      <a:pt x="33" y="454"/>
                    </a:lnTo>
                    <a:lnTo>
                      <a:pt x="34" y="453"/>
                    </a:lnTo>
                    <a:lnTo>
                      <a:pt x="35" y="451"/>
                    </a:lnTo>
                    <a:lnTo>
                      <a:pt x="36" y="451"/>
                    </a:lnTo>
                    <a:lnTo>
                      <a:pt x="36" y="450"/>
                    </a:lnTo>
                    <a:lnTo>
                      <a:pt x="35" y="450"/>
                    </a:lnTo>
                    <a:lnTo>
                      <a:pt x="34" y="450"/>
                    </a:lnTo>
                    <a:lnTo>
                      <a:pt x="36" y="449"/>
                    </a:lnTo>
                    <a:lnTo>
                      <a:pt x="38" y="449"/>
                    </a:lnTo>
                    <a:lnTo>
                      <a:pt x="44" y="446"/>
                    </a:lnTo>
                    <a:lnTo>
                      <a:pt x="45" y="446"/>
                    </a:lnTo>
                    <a:lnTo>
                      <a:pt x="46" y="445"/>
                    </a:lnTo>
                    <a:lnTo>
                      <a:pt x="47" y="446"/>
                    </a:lnTo>
                    <a:lnTo>
                      <a:pt x="50" y="451"/>
                    </a:lnTo>
                    <a:lnTo>
                      <a:pt x="52" y="448"/>
                    </a:lnTo>
                    <a:lnTo>
                      <a:pt x="54" y="449"/>
                    </a:lnTo>
                    <a:lnTo>
                      <a:pt x="54" y="450"/>
                    </a:lnTo>
                    <a:lnTo>
                      <a:pt x="55" y="450"/>
                    </a:lnTo>
                    <a:lnTo>
                      <a:pt x="54" y="451"/>
                    </a:lnTo>
                    <a:lnTo>
                      <a:pt x="55" y="452"/>
                    </a:lnTo>
                    <a:lnTo>
                      <a:pt x="57" y="454"/>
                    </a:lnTo>
                    <a:lnTo>
                      <a:pt x="57" y="458"/>
                    </a:lnTo>
                    <a:lnTo>
                      <a:pt x="55" y="458"/>
                    </a:lnTo>
                    <a:lnTo>
                      <a:pt x="55" y="459"/>
                    </a:lnTo>
                    <a:lnTo>
                      <a:pt x="57" y="459"/>
                    </a:lnTo>
                    <a:lnTo>
                      <a:pt x="57" y="461"/>
                    </a:lnTo>
                    <a:lnTo>
                      <a:pt x="61" y="463"/>
                    </a:lnTo>
                    <a:lnTo>
                      <a:pt x="62" y="464"/>
                    </a:lnTo>
                    <a:lnTo>
                      <a:pt x="61" y="465"/>
                    </a:lnTo>
                    <a:lnTo>
                      <a:pt x="59" y="465"/>
                    </a:lnTo>
                    <a:lnTo>
                      <a:pt x="59" y="466"/>
                    </a:lnTo>
                    <a:lnTo>
                      <a:pt x="60" y="466"/>
                    </a:lnTo>
                    <a:lnTo>
                      <a:pt x="61" y="467"/>
                    </a:lnTo>
                    <a:lnTo>
                      <a:pt x="62" y="467"/>
                    </a:lnTo>
                    <a:lnTo>
                      <a:pt x="63" y="468"/>
                    </a:lnTo>
                    <a:lnTo>
                      <a:pt x="64" y="469"/>
                    </a:lnTo>
                    <a:lnTo>
                      <a:pt x="64" y="472"/>
                    </a:lnTo>
                    <a:lnTo>
                      <a:pt x="63" y="472"/>
                    </a:lnTo>
                    <a:lnTo>
                      <a:pt x="63" y="473"/>
                    </a:lnTo>
                    <a:lnTo>
                      <a:pt x="64" y="477"/>
                    </a:lnTo>
                    <a:lnTo>
                      <a:pt x="64" y="479"/>
                    </a:lnTo>
                    <a:lnTo>
                      <a:pt x="64" y="482"/>
                    </a:lnTo>
                    <a:lnTo>
                      <a:pt x="63" y="481"/>
                    </a:lnTo>
                    <a:lnTo>
                      <a:pt x="62" y="482"/>
                    </a:lnTo>
                    <a:lnTo>
                      <a:pt x="65" y="485"/>
                    </a:lnTo>
                    <a:lnTo>
                      <a:pt x="66" y="486"/>
                    </a:lnTo>
                    <a:lnTo>
                      <a:pt x="69" y="485"/>
                    </a:lnTo>
                    <a:lnTo>
                      <a:pt x="69" y="486"/>
                    </a:lnTo>
                    <a:lnTo>
                      <a:pt x="70" y="486"/>
                    </a:lnTo>
                    <a:lnTo>
                      <a:pt x="70" y="487"/>
                    </a:lnTo>
                    <a:lnTo>
                      <a:pt x="69" y="490"/>
                    </a:lnTo>
                    <a:lnTo>
                      <a:pt x="70" y="490"/>
                    </a:lnTo>
                    <a:lnTo>
                      <a:pt x="70" y="492"/>
                    </a:lnTo>
                    <a:lnTo>
                      <a:pt x="69" y="491"/>
                    </a:lnTo>
                    <a:lnTo>
                      <a:pt x="69" y="494"/>
                    </a:lnTo>
                    <a:lnTo>
                      <a:pt x="72" y="494"/>
                    </a:lnTo>
                    <a:lnTo>
                      <a:pt x="71" y="496"/>
                    </a:lnTo>
                    <a:lnTo>
                      <a:pt x="72" y="496"/>
                    </a:lnTo>
                    <a:lnTo>
                      <a:pt x="72" y="498"/>
                    </a:lnTo>
                    <a:lnTo>
                      <a:pt x="74" y="498"/>
                    </a:lnTo>
                    <a:lnTo>
                      <a:pt x="73" y="500"/>
                    </a:lnTo>
                    <a:lnTo>
                      <a:pt x="73" y="501"/>
                    </a:lnTo>
                    <a:lnTo>
                      <a:pt x="74" y="501"/>
                    </a:lnTo>
                    <a:lnTo>
                      <a:pt x="75" y="501"/>
                    </a:lnTo>
                    <a:lnTo>
                      <a:pt x="77" y="501"/>
                    </a:lnTo>
                    <a:lnTo>
                      <a:pt x="78" y="500"/>
                    </a:lnTo>
                    <a:lnTo>
                      <a:pt x="77" y="500"/>
                    </a:lnTo>
                    <a:lnTo>
                      <a:pt x="77" y="499"/>
                    </a:lnTo>
                    <a:lnTo>
                      <a:pt x="77" y="497"/>
                    </a:lnTo>
                    <a:lnTo>
                      <a:pt x="76" y="496"/>
                    </a:lnTo>
                    <a:lnTo>
                      <a:pt x="78" y="496"/>
                    </a:lnTo>
                    <a:lnTo>
                      <a:pt x="78" y="495"/>
                    </a:lnTo>
                    <a:lnTo>
                      <a:pt x="79" y="494"/>
                    </a:lnTo>
                    <a:lnTo>
                      <a:pt x="78" y="491"/>
                    </a:lnTo>
                    <a:lnTo>
                      <a:pt x="79" y="491"/>
                    </a:lnTo>
                    <a:lnTo>
                      <a:pt x="80" y="494"/>
                    </a:lnTo>
                    <a:lnTo>
                      <a:pt x="80" y="496"/>
                    </a:lnTo>
                    <a:lnTo>
                      <a:pt x="82" y="498"/>
                    </a:lnTo>
                    <a:lnTo>
                      <a:pt x="82" y="501"/>
                    </a:lnTo>
                    <a:lnTo>
                      <a:pt x="80" y="503"/>
                    </a:lnTo>
                    <a:lnTo>
                      <a:pt x="79" y="504"/>
                    </a:lnTo>
                    <a:lnTo>
                      <a:pt x="80" y="506"/>
                    </a:lnTo>
                    <a:lnTo>
                      <a:pt x="78" y="507"/>
                    </a:lnTo>
                    <a:lnTo>
                      <a:pt x="76" y="510"/>
                    </a:lnTo>
                    <a:lnTo>
                      <a:pt x="77" y="512"/>
                    </a:lnTo>
                    <a:lnTo>
                      <a:pt x="77" y="513"/>
                    </a:lnTo>
                    <a:lnTo>
                      <a:pt x="77" y="514"/>
                    </a:lnTo>
                    <a:lnTo>
                      <a:pt x="75" y="515"/>
                    </a:lnTo>
                    <a:lnTo>
                      <a:pt x="76" y="518"/>
                    </a:lnTo>
                    <a:lnTo>
                      <a:pt x="77" y="517"/>
                    </a:lnTo>
                    <a:lnTo>
                      <a:pt x="80" y="519"/>
                    </a:lnTo>
                    <a:lnTo>
                      <a:pt x="80" y="520"/>
                    </a:lnTo>
                    <a:lnTo>
                      <a:pt x="80" y="521"/>
                    </a:lnTo>
                    <a:lnTo>
                      <a:pt x="83" y="522"/>
                    </a:lnTo>
                    <a:lnTo>
                      <a:pt x="83" y="523"/>
                    </a:lnTo>
                    <a:lnTo>
                      <a:pt x="85" y="523"/>
                    </a:lnTo>
                    <a:lnTo>
                      <a:pt x="88" y="525"/>
                    </a:lnTo>
                    <a:lnTo>
                      <a:pt x="90" y="525"/>
                    </a:lnTo>
                    <a:lnTo>
                      <a:pt x="93" y="527"/>
                    </a:lnTo>
                    <a:lnTo>
                      <a:pt x="94" y="527"/>
                    </a:lnTo>
                    <a:lnTo>
                      <a:pt x="94" y="528"/>
                    </a:lnTo>
                    <a:lnTo>
                      <a:pt x="95" y="530"/>
                    </a:lnTo>
                    <a:lnTo>
                      <a:pt x="97" y="534"/>
                    </a:lnTo>
                    <a:lnTo>
                      <a:pt x="100" y="533"/>
                    </a:lnTo>
                    <a:lnTo>
                      <a:pt x="100" y="536"/>
                    </a:lnTo>
                    <a:lnTo>
                      <a:pt x="99" y="537"/>
                    </a:lnTo>
                    <a:lnTo>
                      <a:pt x="99" y="538"/>
                    </a:lnTo>
                    <a:lnTo>
                      <a:pt x="98" y="538"/>
                    </a:lnTo>
                    <a:lnTo>
                      <a:pt x="99" y="541"/>
                    </a:lnTo>
                    <a:lnTo>
                      <a:pt x="100" y="544"/>
                    </a:lnTo>
                    <a:lnTo>
                      <a:pt x="100" y="547"/>
                    </a:lnTo>
                    <a:lnTo>
                      <a:pt x="101" y="549"/>
                    </a:lnTo>
                    <a:lnTo>
                      <a:pt x="101" y="548"/>
                    </a:lnTo>
                    <a:lnTo>
                      <a:pt x="102" y="549"/>
                    </a:lnTo>
                    <a:lnTo>
                      <a:pt x="102" y="551"/>
                    </a:lnTo>
                    <a:lnTo>
                      <a:pt x="102" y="555"/>
                    </a:lnTo>
                    <a:lnTo>
                      <a:pt x="103" y="555"/>
                    </a:lnTo>
                    <a:lnTo>
                      <a:pt x="102" y="557"/>
                    </a:lnTo>
                    <a:lnTo>
                      <a:pt x="104" y="556"/>
                    </a:lnTo>
                    <a:lnTo>
                      <a:pt x="104" y="557"/>
                    </a:lnTo>
                    <a:lnTo>
                      <a:pt x="104" y="558"/>
                    </a:lnTo>
                    <a:lnTo>
                      <a:pt x="103" y="558"/>
                    </a:lnTo>
                    <a:lnTo>
                      <a:pt x="104" y="559"/>
                    </a:lnTo>
                    <a:lnTo>
                      <a:pt x="105" y="560"/>
                    </a:lnTo>
                    <a:lnTo>
                      <a:pt x="106" y="561"/>
                    </a:lnTo>
                    <a:lnTo>
                      <a:pt x="107" y="562"/>
                    </a:lnTo>
                    <a:lnTo>
                      <a:pt x="107" y="561"/>
                    </a:lnTo>
                    <a:lnTo>
                      <a:pt x="108" y="561"/>
                    </a:lnTo>
                    <a:lnTo>
                      <a:pt x="108" y="562"/>
                    </a:lnTo>
                    <a:lnTo>
                      <a:pt x="109" y="560"/>
                    </a:lnTo>
                    <a:lnTo>
                      <a:pt x="110" y="557"/>
                    </a:lnTo>
                    <a:lnTo>
                      <a:pt x="109" y="557"/>
                    </a:lnTo>
                    <a:lnTo>
                      <a:pt x="109" y="554"/>
                    </a:lnTo>
                    <a:lnTo>
                      <a:pt x="111" y="553"/>
                    </a:lnTo>
                    <a:lnTo>
                      <a:pt x="113" y="553"/>
                    </a:lnTo>
                    <a:lnTo>
                      <a:pt x="115" y="552"/>
                    </a:lnTo>
                    <a:lnTo>
                      <a:pt x="113" y="550"/>
                    </a:lnTo>
                    <a:lnTo>
                      <a:pt x="114" y="549"/>
                    </a:lnTo>
                    <a:lnTo>
                      <a:pt x="115" y="549"/>
                    </a:lnTo>
                    <a:lnTo>
                      <a:pt x="116" y="552"/>
                    </a:lnTo>
                    <a:lnTo>
                      <a:pt x="118" y="554"/>
                    </a:lnTo>
                    <a:lnTo>
                      <a:pt x="119" y="553"/>
                    </a:lnTo>
                    <a:lnTo>
                      <a:pt x="119" y="551"/>
                    </a:lnTo>
                    <a:lnTo>
                      <a:pt x="121" y="551"/>
                    </a:lnTo>
                    <a:lnTo>
                      <a:pt x="123" y="551"/>
                    </a:lnTo>
                    <a:lnTo>
                      <a:pt x="124" y="550"/>
                    </a:lnTo>
                    <a:lnTo>
                      <a:pt x="127" y="552"/>
                    </a:lnTo>
                    <a:lnTo>
                      <a:pt x="128" y="551"/>
                    </a:lnTo>
                    <a:lnTo>
                      <a:pt x="130" y="551"/>
                    </a:lnTo>
                    <a:lnTo>
                      <a:pt x="131" y="548"/>
                    </a:lnTo>
                    <a:lnTo>
                      <a:pt x="131" y="551"/>
                    </a:lnTo>
                    <a:lnTo>
                      <a:pt x="132" y="550"/>
                    </a:lnTo>
                    <a:lnTo>
                      <a:pt x="135" y="553"/>
                    </a:lnTo>
                    <a:lnTo>
                      <a:pt x="135" y="552"/>
                    </a:lnTo>
                    <a:lnTo>
                      <a:pt x="137" y="552"/>
                    </a:lnTo>
                    <a:lnTo>
                      <a:pt x="140" y="551"/>
                    </a:lnTo>
                    <a:lnTo>
                      <a:pt x="141" y="550"/>
                    </a:lnTo>
                    <a:lnTo>
                      <a:pt x="140" y="549"/>
                    </a:lnTo>
                    <a:lnTo>
                      <a:pt x="141" y="548"/>
                    </a:lnTo>
                    <a:lnTo>
                      <a:pt x="143" y="547"/>
                    </a:lnTo>
                    <a:lnTo>
                      <a:pt x="143" y="545"/>
                    </a:lnTo>
                    <a:lnTo>
                      <a:pt x="145" y="545"/>
                    </a:lnTo>
                    <a:lnTo>
                      <a:pt x="144" y="544"/>
                    </a:lnTo>
                    <a:lnTo>
                      <a:pt x="145" y="544"/>
                    </a:lnTo>
                    <a:lnTo>
                      <a:pt x="146" y="543"/>
                    </a:lnTo>
                    <a:lnTo>
                      <a:pt x="147" y="543"/>
                    </a:lnTo>
                    <a:lnTo>
                      <a:pt x="149" y="536"/>
                    </a:lnTo>
                    <a:lnTo>
                      <a:pt x="149" y="537"/>
                    </a:lnTo>
                    <a:lnTo>
                      <a:pt x="151" y="537"/>
                    </a:lnTo>
                    <a:lnTo>
                      <a:pt x="151" y="535"/>
                    </a:lnTo>
                    <a:lnTo>
                      <a:pt x="153" y="536"/>
                    </a:lnTo>
                    <a:lnTo>
                      <a:pt x="156" y="533"/>
                    </a:lnTo>
                    <a:lnTo>
                      <a:pt x="157" y="533"/>
                    </a:lnTo>
                    <a:lnTo>
                      <a:pt x="160" y="533"/>
                    </a:lnTo>
                    <a:lnTo>
                      <a:pt x="159" y="530"/>
                    </a:lnTo>
                    <a:lnTo>
                      <a:pt x="160" y="530"/>
                    </a:lnTo>
                    <a:lnTo>
                      <a:pt x="159" y="526"/>
                    </a:lnTo>
                    <a:lnTo>
                      <a:pt x="159" y="525"/>
                    </a:lnTo>
                    <a:lnTo>
                      <a:pt x="157" y="524"/>
                    </a:lnTo>
                    <a:lnTo>
                      <a:pt x="157" y="522"/>
                    </a:lnTo>
                    <a:lnTo>
                      <a:pt x="156" y="520"/>
                    </a:lnTo>
                    <a:lnTo>
                      <a:pt x="156" y="517"/>
                    </a:lnTo>
                    <a:lnTo>
                      <a:pt x="156" y="514"/>
                    </a:lnTo>
                    <a:lnTo>
                      <a:pt x="156" y="513"/>
                    </a:lnTo>
                    <a:lnTo>
                      <a:pt x="156" y="510"/>
                    </a:lnTo>
                    <a:lnTo>
                      <a:pt x="158" y="510"/>
                    </a:lnTo>
                    <a:lnTo>
                      <a:pt x="159" y="508"/>
                    </a:lnTo>
                    <a:lnTo>
                      <a:pt x="160" y="507"/>
                    </a:lnTo>
                    <a:lnTo>
                      <a:pt x="161" y="506"/>
                    </a:lnTo>
                    <a:lnTo>
                      <a:pt x="160" y="506"/>
                    </a:lnTo>
                    <a:lnTo>
                      <a:pt x="162" y="505"/>
                    </a:lnTo>
                    <a:lnTo>
                      <a:pt x="162" y="502"/>
                    </a:lnTo>
                    <a:lnTo>
                      <a:pt x="165" y="502"/>
                    </a:lnTo>
                    <a:lnTo>
                      <a:pt x="165" y="501"/>
                    </a:lnTo>
                    <a:lnTo>
                      <a:pt x="167" y="501"/>
                    </a:lnTo>
                    <a:lnTo>
                      <a:pt x="167" y="500"/>
                    </a:lnTo>
                    <a:lnTo>
                      <a:pt x="169" y="504"/>
                    </a:lnTo>
                    <a:lnTo>
                      <a:pt x="170" y="504"/>
                    </a:lnTo>
                    <a:lnTo>
                      <a:pt x="168" y="507"/>
                    </a:lnTo>
                    <a:lnTo>
                      <a:pt x="167" y="511"/>
                    </a:lnTo>
                    <a:lnTo>
                      <a:pt x="167" y="514"/>
                    </a:lnTo>
                    <a:lnTo>
                      <a:pt x="167" y="515"/>
                    </a:lnTo>
                    <a:lnTo>
                      <a:pt x="170" y="515"/>
                    </a:lnTo>
                    <a:lnTo>
                      <a:pt x="171" y="516"/>
                    </a:lnTo>
                    <a:lnTo>
                      <a:pt x="171" y="512"/>
                    </a:lnTo>
                    <a:lnTo>
                      <a:pt x="175" y="514"/>
                    </a:lnTo>
                    <a:lnTo>
                      <a:pt x="176" y="514"/>
                    </a:lnTo>
                    <a:lnTo>
                      <a:pt x="178" y="516"/>
                    </a:lnTo>
                    <a:lnTo>
                      <a:pt x="177" y="518"/>
                    </a:lnTo>
                    <a:lnTo>
                      <a:pt x="181" y="518"/>
                    </a:lnTo>
                    <a:lnTo>
                      <a:pt x="181" y="520"/>
                    </a:lnTo>
                    <a:lnTo>
                      <a:pt x="182" y="519"/>
                    </a:lnTo>
                    <a:lnTo>
                      <a:pt x="181" y="517"/>
                    </a:lnTo>
                    <a:lnTo>
                      <a:pt x="183" y="518"/>
                    </a:lnTo>
                    <a:lnTo>
                      <a:pt x="183" y="517"/>
                    </a:lnTo>
                    <a:lnTo>
                      <a:pt x="184" y="518"/>
                    </a:lnTo>
                    <a:lnTo>
                      <a:pt x="187" y="518"/>
                    </a:lnTo>
                    <a:lnTo>
                      <a:pt x="186" y="519"/>
                    </a:lnTo>
                    <a:lnTo>
                      <a:pt x="189" y="520"/>
                    </a:lnTo>
                    <a:lnTo>
                      <a:pt x="191" y="523"/>
                    </a:lnTo>
                    <a:lnTo>
                      <a:pt x="192" y="525"/>
                    </a:lnTo>
                    <a:lnTo>
                      <a:pt x="192" y="530"/>
                    </a:lnTo>
                    <a:lnTo>
                      <a:pt x="200" y="524"/>
                    </a:lnTo>
                    <a:lnTo>
                      <a:pt x="202" y="520"/>
                    </a:lnTo>
                    <a:lnTo>
                      <a:pt x="203" y="520"/>
                    </a:lnTo>
                    <a:lnTo>
                      <a:pt x="204" y="520"/>
                    </a:lnTo>
                    <a:lnTo>
                      <a:pt x="205" y="519"/>
                    </a:lnTo>
                    <a:lnTo>
                      <a:pt x="206" y="514"/>
                    </a:lnTo>
                    <a:lnTo>
                      <a:pt x="205" y="513"/>
                    </a:lnTo>
                    <a:lnTo>
                      <a:pt x="204" y="513"/>
                    </a:lnTo>
                    <a:lnTo>
                      <a:pt x="206" y="511"/>
                    </a:lnTo>
                    <a:lnTo>
                      <a:pt x="203" y="509"/>
                    </a:lnTo>
                    <a:lnTo>
                      <a:pt x="206" y="510"/>
                    </a:lnTo>
                    <a:lnTo>
                      <a:pt x="208" y="509"/>
                    </a:lnTo>
                    <a:lnTo>
                      <a:pt x="208" y="511"/>
                    </a:lnTo>
                    <a:lnTo>
                      <a:pt x="208" y="512"/>
                    </a:lnTo>
                    <a:lnTo>
                      <a:pt x="209" y="513"/>
                    </a:lnTo>
                    <a:lnTo>
                      <a:pt x="211" y="510"/>
                    </a:lnTo>
                    <a:lnTo>
                      <a:pt x="212" y="510"/>
                    </a:lnTo>
                    <a:lnTo>
                      <a:pt x="214" y="508"/>
                    </a:lnTo>
                    <a:lnTo>
                      <a:pt x="215" y="510"/>
                    </a:lnTo>
                    <a:lnTo>
                      <a:pt x="221" y="508"/>
                    </a:lnTo>
                    <a:lnTo>
                      <a:pt x="221" y="509"/>
                    </a:lnTo>
                    <a:lnTo>
                      <a:pt x="223" y="509"/>
                    </a:lnTo>
                    <a:lnTo>
                      <a:pt x="224" y="508"/>
                    </a:lnTo>
                    <a:lnTo>
                      <a:pt x="225" y="509"/>
                    </a:lnTo>
                    <a:lnTo>
                      <a:pt x="227" y="511"/>
                    </a:lnTo>
                    <a:lnTo>
                      <a:pt x="227" y="513"/>
                    </a:lnTo>
                    <a:lnTo>
                      <a:pt x="227" y="514"/>
                    </a:lnTo>
                    <a:lnTo>
                      <a:pt x="229" y="513"/>
                    </a:lnTo>
                    <a:lnTo>
                      <a:pt x="229" y="514"/>
                    </a:lnTo>
                    <a:lnTo>
                      <a:pt x="230" y="514"/>
                    </a:lnTo>
                    <a:lnTo>
                      <a:pt x="232" y="514"/>
                    </a:lnTo>
                    <a:lnTo>
                      <a:pt x="232" y="513"/>
                    </a:lnTo>
                    <a:lnTo>
                      <a:pt x="232" y="514"/>
                    </a:lnTo>
                    <a:lnTo>
                      <a:pt x="233" y="514"/>
                    </a:lnTo>
                    <a:lnTo>
                      <a:pt x="235" y="514"/>
                    </a:lnTo>
                    <a:lnTo>
                      <a:pt x="238" y="513"/>
                    </a:lnTo>
                    <a:lnTo>
                      <a:pt x="238" y="510"/>
                    </a:lnTo>
                    <a:lnTo>
                      <a:pt x="240" y="510"/>
                    </a:lnTo>
                    <a:lnTo>
                      <a:pt x="244" y="507"/>
                    </a:lnTo>
                    <a:lnTo>
                      <a:pt x="242" y="504"/>
                    </a:lnTo>
                    <a:lnTo>
                      <a:pt x="244" y="504"/>
                    </a:lnTo>
                    <a:lnTo>
                      <a:pt x="241" y="502"/>
                    </a:lnTo>
                    <a:lnTo>
                      <a:pt x="240" y="500"/>
                    </a:lnTo>
                    <a:lnTo>
                      <a:pt x="240" y="497"/>
                    </a:lnTo>
                    <a:lnTo>
                      <a:pt x="237" y="494"/>
                    </a:lnTo>
                    <a:lnTo>
                      <a:pt x="238" y="493"/>
                    </a:lnTo>
                    <a:lnTo>
                      <a:pt x="237" y="491"/>
                    </a:lnTo>
                    <a:lnTo>
                      <a:pt x="238" y="490"/>
                    </a:lnTo>
                    <a:lnTo>
                      <a:pt x="239" y="492"/>
                    </a:lnTo>
                    <a:lnTo>
                      <a:pt x="240" y="491"/>
                    </a:lnTo>
                    <a:lnTo>
                      <a:pt x="241" y="491"/>
                    </a:lnTo>
                    <a:lnTo>
                      <a:pt x="245" y="490"/>
                    </a:lnTo>
                    <a:lnTo>
                      <a:pt x="247" y="496"/>
                    </a:lnTo>
                    <a:lnTo>
                      <a:pt x="249" y="496"/>
                    </a:lnTo>
                    <a:lnTo>
                      <a:pt x="250" y="495"/>
                    </a:lnTo>
                    <a:lnTo>
                      <a:pt x="250" y="491"/>
                    </a:lnTo>
                    <a:lnTo>
                      <a:pt x="250" y="489"/>
                    </a:lnTo>
                    <a:lnTo>
                      <a:pt x="252" y="488"/>
                    </a:lnTo>
                    <a:lnTo>
                      <a:pt x="252" y="486"/>
                    </a:lnTo>
                    <a:lnTo>
                      <a:pt x="253" y="486"/>
                    </a:lnTo>
                    <a:lnTo>
                      <a:pt x="255" y="487"/>
                    </a:lnTo>
                    <a:lnTo>
                      <a:pt x="257" y="486"/>
                    </a:lnTo>
                    <a:lnTo>
                      <a:pt x="258" y="489"/>
                    </a:lnTo>
                    <a:lnTo>
                      <a:pt x="260" y="491"/>
                    </a:lnTo>
                    <a:lnTo>
                      <a:pt x="261" y="493"/>
                    </a:lnTo>
                    <a:lnTo>
                      <a:pt x="262" y="493"/>
                    </a:lnTo>
                    <a:lnTo>
                      <a:pt x="261" y="495"/>
                    </a:lnTo>
                    <a:lnTo>
                      <a:pt x="261" y="496"/>
                    </a:lnTo>
                    <a:lnTo>
                      <a:pt x="263" y="497"/>
                    </a:lnTo>
                    <a:lnTo>
                      <a:pt x="263" y="498"/>
                    </a:lnTo>
                    <a:lnTo>
                      <a:pt x="265" y="498"/>
                    </a:lnTo>
                    <a:lnTo>
                      <a:pt x="267" y="501"/>
                    </a:lnTo>
                    <a:lnTo>
                      <a:pt x="268" y="501"/>
                    </a:lnTo>
                    <a:lnTo>
                      <a:pt x="269" y="500"/>
                    </a:lnTo>
                    <a:lnTo>
                      <a:pt x="274" y="499"/>
                    </a:lnTo>
                    <a:lnTo>
                      <a:pt x="276" y="499"/>
                    </a:lnTo>
                    <a:lnTo>
                      <a:pt x="276" y="500"/>
                    </a:lnTo>
                    <a:lnTo>
                      <a:pt x="277" y="500"/>
                    </a:lnTo>
                    <a:lnTo>
                      <a:pt x="279" y="500"/>
                    </a:lnTo>
                    <a:lnTo>
                      <a:pt x="279" y="499"/>
                    </a:lnTo>
                    <a:lnTo>
                      <a:pt x="279" y="497"/>
                    </a:lnTo>
                    <a:lnTo>
                      <a:pt x="279" y="496"/>
                    </a:lnTo>
                    <a:lnTo>
                      <a:pt x="281" y="493"/>
                    </a:lnTo>
                    <a:lnTo>
                      <a:pt x="280" y="491"/>
                    </a:lnTo>
                    <a:lnTo>
                      <a:pt x="280" y="490"/>
                    </a:lnTo>
                    <a:lnTo>
                      <a:pt x="283" y="489"/>
                    </a:lnTo>
                    <a:lnTo>
                      <a:pt x="284" y="487"/>
                    </a:lnTo>
                    <a:lnTo>
                      <a:pt x="285" y="487"/>
                    </a:lnTo>
                    <a:lnTo>
                      <a:pt x="285" y="486"/>
                    </a:lnTo>
                    <a:lnTo>
                      <a:pt x="286" y="485"/>
                    </a:lnTo>
                    <a:lnTo>
                      <a:pt x="286" y="482"/>
                    </a:lnTo>
                    <a:lnTo>
                      <a:pt x="284" y="478"/>
                    </a:lnTo>
                    <a:lnTo>
                      <a:pt x="284" y="477"/>
                    </a:lnTo>
                    <a:lnTo>
                      <a:pt x="285" y="478"/>
                    </a:lnTo>
                    <a:lnTo>
                      <a:pt x="286" y="477"/>
                    </a:lnTo>
                    <a:lnTo>
                      <a:pt x="290" y="476"/>
                    </a:lnTo>
                    <a:lnTo>
                      <a:pt x="291" y="474"/>
                    </a:lnTo>
                    <a:lnTo>
                      <a:pt x="291" y="473"/>
                    </a:lnTo>
                    <a:lnTo>
                      <a:pt x="292" y="471"/>
                    </a:lnTo>
                    <a:lnTo>
                      <a:pt x="293" y="472"/>
                    </a:lnTo>
                    <a:lnTo>
                      <a:pt x="299" y="471"/>
                    </a:lnTo>
                    <a:lnTo>
                      <a:pt x="299" y="468"/>
                    </a:lnTo>
                    <a:lnTo>
                      <a:pt x="299" y="467"/>
                    </a:lnTo>
                    <a:lnTo>
                      <a:pt x="300" y="465"/>
                    </a:lnTo>
                    <a:lnTo>
                      <a:pt x="300" y="463"/>
                    </a:lnTo>
                    <a:lnTo>
                      <a:pt x="299" y="462"/>
                    </a:lnTo>
                    <a:lnTo>
                      <a:pt x="301" y="462"/>
                    </a:lnTo>
                    <a:lnTo>
                      <a:pt x="302" y="463"/>
                    </a:lnTo>
                    <a:lnTo>
                      <a:pt x="302" y="465"/>
                    </a:lnTo>
                    <a:lnTo>
                      <a:pt x="306" y="465"/>
                    </a:lnTo>
                    <a:lnTo>
                      <a:pt x="306" y="467"/>
                    </a:lnTo>
                    <a:lnTo>
                      <a:pt x="307" y="467"/>
                    </a:lnTo>
                    <a:lnTo>
                      <a:pt x="308" y="468"/>
                    </a:lnTo>
                    <a:lnTo>
                      <a:pt x="310" y="467"/>
                    </a:lnTo>
                    <a:lnTo>
                      <a:pt x="312" y="470"/>
                    </a:lnTo>
                    <a:lnTo>
                      <a:pt x="315" y="469"/>
                    </a:lnTo>
                    <a:lnTo>
                      <a:pt x="315" y="468"/>
                    </a:lnTo>
                    <a:lnTo>
                      <a:pt x="315" y="467"/>
                    </a:lnTo>
                    <a:lnTo>
                      <a:pt x="319" y="463"/>
                    </a:lnTo>
                    <a:lnTo>
                      <a:pt x="321" y="457"/>
                    </a:lnTo>
                    <a:lnTo>
                      <a:pt x="321" y="456"/>
                    </a:lnTo>
                    <a:lnTo>
                      <a:pt x="319" y="456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90" name="Group 137">
              <a:extLst>
                <a:ext uri="{FF2B5EF4-FFF2-40B4-BE49-F238E27FC236}">
                  <a16:creationId xmlns:a16="http://schemas.microsoft.com/office/drawing/2014/main" id="{452D7C06-7C08-4373-99AB-DDF07F3E578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7" y="2893"/>
              <a:ext cx="313" cy="258"/>
              <a:chOff x="457" y="2893"/>
              <a:chExt cx="313" cy="258"/>
            </a:xfrm>
          </p:grpSpPr>
          <p:sp>
            <p:nvSpPr>
              <p:cNvPr id="479" name="Freeform 135">
                <a:extLst>
                  <a:ext uri="{FF2B5EF4-FFF2-40B4-BE49-F238E27FC236}">
                    <a16:creationId xmlns:a16="http://schemas.microsoft.com/office/drawing/2014/main" id="{051771D4-B2B0-426D-8310-7FCB9A7A7D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" y="2893"/>
                <a:ext cx="313" cy="258"/>
              </a:xfrm>
              <a:custGeom>
                <a:avLst/>
                <a:gdLst>
                  <a:gd name="T0" fmla="*/ 302 w 313"/>
                  <a:gd name="T1" fmla="*/ 176 h 258"/>
                  <a:gd name="T2" fmla="*/ 301 w 313"/>
                  <a:gd name="T3" fmla="*/ 168 h 258"/>
                  <a:gd name="T4" fmla="*/ 311 w 313"/>
                  <a:gd name="T5" fmla="*/ 169 h 258"/>
                  <a:gd name="T6" fmla="*/ 311 w 313"/>
                  <a:gd name="T7" fmla="*/ 156 h 258"/>
                  <a:gd name="T8" fmla="*/ 306 w 313"/>
                  <a:gd name="T9" fmla="*/ 139 h 258"/>
                  <a:gd name="T10" fmla="*/ 306 w 313"/>
                  <a:gd name="T11" fmla="*/ 125 h 258"/>
                  <a:gd name="T12" fmla="*/ 305 w 313"/>
                  <a:gd name="T13" fmla="*/ 111 h 258"/>
                  <a:gd name="T14" fmla="*/ 305 w 313"/>
                  <a:gd name="T15" fmla="*/ 98 h 258"/>
                  <a:gd name="T16" fmla="*/ 305 w 313"/>
                  <a:gd name="T17" fmla="*/ 86 h 258"/>
                  <a:gd name="T18" fmla="*/ 305 w 313"/>
                  <a:gd name="T19" fmla="*/ 65 h 258"/>
                  <a:gd name="T20" fmla="*/ 289 w 313"/>
                  <a:gd name="T21" fmla="*/ 65 h 258"/>
                  <a:gd name="T22" fmla="*/ 277 w 313"/>
                  <a:gd name="T23" fmla="*/ 63 h 258"/>
                  <a:gd name="T24" fmla="*/ 274 w 313"/>
                  <a:gd name="T25" fmla="*/ 50 h 258"/>
                  <a:gd name="T26" fmla="*/ 250 w 313"/>
                  <a:gd name="T27" fmla="*/ 40 h 258"/>
                  <a:gd name="T28" fmla="*/ 228 w 313"/>
                  <a:gd name="T29" fmla="*/ 21 h 258"/>
                  <a:gd name="T30" fmla="*/ 200 w 313"/>
                  <a:gd name="T31" fmla="*/ 4 h 258"/>
                  <a:gd name="T32" fmla="*/ 166 w 313"/>
                  <a:gd name="T33" fmla="*/ 13 h 258"/>
                  <a:gd name="T34" fmla="*/ 140 w 313"/>
                  <a:gd name="T35" fmla="*/ 13 h 258"/>
                  <a:gd name="T36" fmla="*/ 118 w 313"/>
                  <a:gd name="T37" fmla="*/ 19 h 258"/>
                  <a:gd name="T38" fmla="*/ 99 w 313"/>
                  <a:gd name="T39" fmla="*/ 37 h 258"/>
                  <a:gd name="T40" fmla="*/ 85 w 313"/>
                  <a:gd name="T41" fmla="*/ 50 h 258"/>
                  <a:gd name="T42" fmla="*/ 69 w 313"/>
                  <a:gd name="T43" fmla="*/ 74 h 258"/>
                  <a:gd name="T44" fmla="*/ 62 w 313"/>
                  <a:gd name="T45" fmla="*/ 82 h 258"/>
                  <a:gd name="T46" fmla="*/ 61 w 313"/>
                  <a:gd name="T47" fmla="*/ 101 h 258"/>
                  <a:gd name="T48" fmla="*/ 49 w 313"/>
                  <a:gd name="T49" fmla="*/ 107 h 258"/>
                  <a:gd name="T50" fmla="*/ 49 w 313"/>
                  <a:gd name="T51" fmla="*/ 93 h 258"/>
                  <a:gd name="T52" fmla="*/ 47 w 313"/>
                  <a:gd name="T53" fmla="*/ 79 h 258"/>
                  <a:gd name="T54" fmla="*/ 44 w 313"/>
                  <a:gd name="T55" fmla="*/ 70 h 258"/>
                  <a:gd name="T56" fmla="*/ 31 w 313"/>
                  <a:gd name="T57" fmla="*/ 56 h 258"/>
                  <a:gd name="T58" fmla="*/ 15 w 313"/>
                  <a:gd name="T59" fmla="*/ 32 h 258"/>
                  <a:gd name="T60" fmla="*/ 11 w 313"/>
                  <a:gd name="T61" fmla="*/ 40 h 258"/>
                  <a:gd name="T62" fmla="*/ 2 w 313"/>
                  <a:gd name="T63" fmla="*/ 57 h 258"/>
                  <a:gd name="T64" fmla="*/ 12 w 313"/>
                  <a:gd name="T65" fmla="*/ 73 h 258"/>
                  <a:gd name="T66" fmla="*/ 15 w 313"/>
                  <a:gd name="T67" fmla="*/ 84 h 258"/>
                  <a:gd name="T68" fmla="*/ 24 w 313"/>
                  <a:gd name="T69" fmla="*/ 91 h 258"/>
                  <a:gd name="T70" fmla="*/ 22 w 313"/>
                  <a:gd name="T71" fmla="*/ 114 h 258"/>
                  <a:gd name="T72" fmla="*/ 26 w 313"/>
                  <a:gd name="T73" fmla="*/ 138 h 258"/>
                  <a:gd name="T74" fmla="*/ 36 w 313"/>
                  <a:gd name="T75" fmla="*/ 152 h 258"/>
                  <a:gd name="T76" fmla="*/ 47 w 313"/>
                  <a:gd name="T77" fmla="*/ 172 h 258"/>
                  <a:gd name="T78" fmla="*/ 62 w 313"/>
                  <a:gd name="T79" fmla="*/ 187 h 258"/>
                  <a:gd name="T80" fmla="*/ 71 w 313"/>
                  <a:gd name="T81" fmla="*/ 199 h 258"/>
                  <a:gd name="T82" fmla="*/ 87 w 313"/>
                  <a:gd name="T83" fmla="*/ 207 h 258"/>
                  <a:gd name="T84" fmla="*/ 86 w 313"/>
                  <a:gd name="T85" fmla="*/ 229 h 258"/>
                  <a:gd name="T86" fmla="*/ 110 w 313"/>
                  <a:gd name="T87" fmla="*/ 253 h 258"/>
                  <a:gd name="T88" fmla="*/ 130 w 313"/>
                  <a:gd name="T89" fmla="*/ 249 h 258"/>
                  <a:gd name="T90" fmla="*/ 142 w 313"/>
                  <a:gd name="T91" fmla="*/ 246 h 258"/>
                  <a:gd name="T92" fmla="*/ 158 w 313"/>
                  <a:gd name="T93" fmla="*/ 241 h 258"/>
                  <a:gd name="T94" fmla="*/ 172 w 313"/>
                  <a:gd name="T95" fmla="*/ 244 h 258"/>
                  <a:gd name="T96" fmla="*/ 187 w 313"/>
                  <a:gd name="T97" fmla="*/ 252 h 258"/>
                  <a:gd name="T98" fmla="*/ 203 w 313"/>
                  <a:gd name="T99" fmla="*/ 254 h 258"/>
                  <a:gd name="T100" fmla="*/ 212 w 313"/>
                  <a:gd name="T101" fmla="*/ 243 h 258"/>
                  <a:gd name="T102" fmla="*/ 224 w 313"/>
                  <a:gd name="T103" fmla="*/ 232 h 258"/>
                  <a:gd name="T104" fmla="*/ 235 w 313"/>
                  <a:gd name="T105" fmla="*/ 225 h 258"/>
                  <a:gd name="T106" fmla="*/ 245 w 313"/>
                  <a:gd name="T107" fmla="*/ 216 h 258"/>
                  <a:gd name="T108" fmla="*/ 254 w 313"/>
                  <a:gd name="T109" fmla="*/ 215 h 258"/>
                  <a:gd name="T110" fmla="*/ 269 w 313"/>
                  <a:gd name="T111" fmla="*/ 219 h 258"/>
                  <a:gd name="T112" fmla="*/ 274 w 313"/>
                  <a:gd name="T113" fmla="*/ 226 h 258"/>
                  <a:gd name="T114" fmla="*/ 287 w 313"/>
                  <a:gd name="T115" fmla="*/ 231 h 258"/>
                  <a:gd name="T116" fmla="*/ 290 w 313"/>
                  <a:gd name="T117" fmla="*/ 210 h 258"/>
                  <a:gd name="T118" fmla="*/ 303 w 313"/>
                  <a:gd name="T119" fmla="*/ 211 h 258"/>
                  <a:gd name="T120" fmla="*/ 309 w 313"/>
                  <a:gd name="T121" fmla="*/ 200 h 258"/>
                  <a:gd name="T122" fmla="*/ 312 w 313"/>
                  <a:gd name="T123" fmla="*/ 190 h 25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13"/>
                  <a:gd name="T187" fmla="*/ 0 h 258"/>
                  <a:gd name="T188" fmla="*/ 313 w 313"/>
                  <a:gd name="T189" fmla="*/ 258 h 25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13" h="258">
                    <a:moveTo>
                      <a:pt x="311" y="188"/>
                    </a:moveTo>
                    <a:lnTo>
                      <a:pt x="311" y="183"/>
                    </a:lnTo>
                    <a:lnTo>
                      <a:pt x="311" y="182"/>
                    </a:lnTo>
                    <a:lnTo>
                      <a:pt x="308" y="182"/>
                    </a:lnTo>
                    <a:lnTo>
                      <a:pt x="310" y="181"/>
                    </a:lnTo>
                    <a:lnTo>
                      <a:pt x="308" y="179"/>
                    </a:lnTo>
                    <a:lnTo>
                      <a:pt x="307" y="176"/>
                    </a:lnTo>
                    <a:lnTo>
                      <a:pt x="305" y="175"/>
                    </a:lnTo>
                    <a:lnTo>
                      <a:pt x="302" y="176"/>
                    </a:lnTo>
                    <a:lnTo>
                      <a:pt x="300" y="174"/>
                    </a:lnTo>
                    <a:lnTo>
                      <a:pt x="299" y="176"/>
                    </a:lnTo>
                    <a:lnTo>
                      <a:pt x="297" y="173"/>
                    </a:lnTo>
                    <a:lnTo>
                      <a:pt x="296" y="173"/>
                    </a:lnTo>
                    <a:lnTo>
                      <a:pt x="295" y="171"/>
                    </a:lnTo>
                    <a:lnTo>
                      <a:pt x="298" y="171"/>
                    </a:lnTo>
                    <a:lnTo>
                      <a:pt x="298" y="170"/>
                    </a:lnTo>
                    <a:lnTo>
                      <a:pt x="297" y="169"/>
                    </a:lnTo>
                    <a:lnTo>
                      <a:pt x="298" y="168"/>
                    </a:lnTo>
                    <a:lnTo>
                      <a:pt x="301" y="167"/>
                    </a:lnTo>
                    <a:lnTo>
                      <a:pt x="301" y="168"/>
                    </a:lnTo>
                    <a:lnTo>
                      <a:pt x="301" y="167"/>
                    </a:lnTo>
                    <a:lnTo>
                      <a:pt x="305" y="169"/>
                    </a:lnTo>
                    <a:lnTo>
                      <a:pt x="305" y="168"/>
                    </a:lnTo>
                    <a:lnTo>
                      <a:pt x="305" y="169"/>
                    </a:lnTo>
                    <a:lnTo>
                      <a:pt x="306" y="168"/>
                    </a:lnTo>
                    <a:lnTo>
                      <a:pt x="307" y="169"/>
                    </a:lnTo>
                    <a:lnTo>
                      <a:pt x="306" y="169"/>
                    </a:lnTo>
                    <a:lnTo>
                      <a:pt x="309" y="172"/>
                    </a:lnTo>
                    <a:lnTo>
                      <a:pt x="310" y="172"/>
                    </a:lnTo>
                    <a:lnTo>
                      <a:pt x="309" y="169"/>
                    </a:lnTo>
                    <a:lnTo>
                      <a:pt x="311" y="169"/>
                    </a:lnTo>
                    <a:lnTo>
                      <a:pt x="309" y="167"/>
                    </a:lnTo>
                    <a:lnTo>
                      <a:pt x="309" y="166"/>
                    </a:lnTo>
                    <a:lnTo>
                      <a:pt x="306" y="164"/>
                    </a:lnTo>
                    <a:lnTo>
                      <a:pt x="307" y="162"/>
                    </a:lnTo>
                    <a:lnTo>
                      <a:pt x="306" y="162"/>
                    </a:lnTo>
                    <a:lnTo>
                      <a:pt x="308" y="162"/>
                    </a:lnTo>
                    <a:lnTo>
                      <a:pt x="311" y="163"/>
                    </a:lnTo>
                    <a:lnTo>
                      <a:pt x="313" y="158"/>
                    </a:lnTo>
                    <a:lnTo>
                      <a:pt x="309" y="157"/>
                    </a:lnTo>
                    <a:lnTo>
                      <a:pt x="311" y="156"/>
                    </a:lnTo>
                    <a:lnTo>
                      <a:pt x="311" y="153"/>
                    </a:lnTo>
                    <a:lnTo>
                      <a:pt x="311" y="152"/>
                    </a:lnTo>
                    <a:lnTo>
                      <a:pt x="311" y="149"/>
                    </a:lnTo>
                    <a:lnTo>
                      <a:pt x="309" y="146"/>
                    </a:lnTo>
                    <a:lnTo>
                      <a:pt x="310" y="145"/>
                    </a:lnTo>
                    <a:lnTo>
                      <a:pt x="308" y="142"/>
                    </a:lnTo>
                    <a:lnTo>
                      <a:pt x="307" y="142"/>
                    </a:lnTo>
                    <a:lnTo>
                      <a:pt x="306" y="141"/>
                    </a:lnTo>
                    <a:lnTo>
                      <a:pt x="308" y="139"/>
                    </a:lnTo>
                    <a:lnTo>
                      <a:pt x="306" y="139"/>
                    </a:lnTo>
                    <a:lnTo>
                      <a:pt x="303" y="137"/>
                    </a:lnTo>
                    <a:lnTo>
                      <a:pt x="303" y="135"/>
                    </a:lnTo>
                    <a:lnTo>
                      <a:pt x="306" y="135"/>
                    </a:lnTo>
                    <a:lnTo>
                      <a:pt x="306" y="132"/>
                    </a:lnTo>
                    <a:lnTo>
                      <a:pt x="306" y="131"/>
                    </a:lnTo>
                    <a:lnTo>
                      <a:pt x="307" y="131"/>
                    </a:lnTo>
                    <a:lnTo>
                      <a:pt x="306" y="129"/>
                    </a:lnTo>
                    <a:lnTo>
                      <a:pt x="308" y="129"/>
                    </a:lnTo>
                    <a:lnTo>
                      <a:pt x="308" y="128"/>
                    </a:lnTo>
                    <a:lnTo>
                      <a:pt x="306" y="127"/>
                    </a:lnTo>
                    <a:lnTo>
                      <a:pt x="306" y="125"/>
                    </a:lnTo>
                    <a:lnTo>
                      <a:pt x="305" y="125"/>
                    </a:lnTo>
                    <a:lnTo>
                      <a:pt x="303" y="126"/>
                    </a:lnTo>
                    <a:lnTo>
                      <a:pt x="301" y="125"/>
                    </a:lnTo>
                    <a:lnTo>
                      <a:pt x="300" y="122"/>
                    </a:lnTo>
                    <a:lnTo>
                      <a:pt x="301" y="121"/>
                    </a:lnTo>
                    <a:lnTo>
                      <a:pt x="300" y="120"/>
                    </a:lnTo>
                    <a:lnTo>
                      <a:pt x="301" y="119"/>
                    </a:lnTo>
                    <a:lnTo>
                      <a:pt x="303" y="119"/>
                    </a:lnTo>
                    <a:lnTo>
                      <a:pt x="305" y="118"/>
                    </a:lnTo>
                    <a:lnTo>
                      <a:pt x="305" y="115"/>
                    </a:lnTo>
                    <a:lnTo>
                      <a:pt x="305" y="111"/>
                    </a:lnTo>
                    <a:lnTo>
                      <a:pt x="303" y="111"/>
                    </a:lnTo>
                    <a:lnTo>
                      <a:pt x="304" y="108"/>
                    </a:lnTo>
                    <a:lnTo>
                      <a:pt x="305" y="107"/>
                    </a:lnTo>
                    <a:lnTo>
                      <a:pt x="301" y="105"/>
                    </a:lnTo>
                    <a:lnTo>
                      <a:pt x="300" y="105"/>
                    </a:lnTo>
                    <a:lnTo>
                      <a:pt x="301" y="105"/>
                    </a:lnTo>
                    <a:lnTo>
                      <a:pt x="303" y="101"/>
                    </a:lnTo>
                    <a:lnTo>
                      <a:pt x="302" y="100"/>
                    </a:lnTo>
                    <a:lnTo>
                      <a:pt x="303" y="100"/>
                    </a:lnTo>
                    <a:lnTo>
                      <a:pt x="305" y="98"/>
                    </a:lnTo>
                    <a:lnTo>
                      <a:pt x="304" y="98"/>
                    </a:lnTo>
                    <a:lnTo>
                      <a:pt x="304" y="96"/>
                    </a:lnTo>
                    <a:lnTo>
                      <a:pt x="306" y="95"/>
                    </a:lnTo>
                    <a:lnTo>
                      <a:pt x="307" y="93"/>
                    </a:lnTo>
                    <a:lnTo>
                      <a:pt x="305" y="92"/>
                    </a:lnTo>
                    <a:lnTo>
                      <a:pt x="306" y="90"/>
                    </a:lnTo>
                    <a:lnTo>
                      <a:pt x="305" y="90"/>
                    </a:lnTo>
                    <a:lnTo>
                      <a:pt x="305" y="89"/>
                    </a:lnTo>
                    <a:lnTo>
                      <a:pt x="305" y="88"/>
                    </a:lnTo>
                    <a:lnTo>
                      <a:pt x="305" y="86"/>
                    </a:lnTo>
                    <a:lnTo>
                      <a:pt x="306" y="85"/>
                    </a:lnTo>
                    <a:lnTo>
                      <a:pt x="307" y="84"/>
                    </a:lnTo>
                    <a:lnTo>
                      <a:pt x="309" y="84"/>
                    </a:lnTo>
                    <a:lnTo>
                      <a:pt x="309" y="82"/>
                    </a:lnTo>
                    <a:lnTo>
                      <a:pt x="309" y="78"/>
                    </a:lnTo>
                    <a:lnTo>
                      <a:pt x="310" y="77"/>
                    </a:lnTo>
                    <a:lnTo>
                      <a:pt x="308" y="75"/>
                    </a:lnTo>
                    <a:lnTo>
                      <a:pt x="307" y="70"/>
                    </a:lnTo>
                    <a:lnTo>
                      <a:pt x="303" y="67"/>
                    </a:lnTo>
                    <a:lnTo>
                      <a:pt x="305" y="65"/>
                    </a:lnTo>
                    <a:lnTo>
                      <a:pt x="302" y="65"/>
                    </a:lnTo>
                    <a:lnTo>
                      <a:pt x="300" y="67"/>
                    </a:lnTo>
                    <a:lnTo>
                      <a:pt x="298" y="67"/>
                    </a:lnTo>
                    <a:lnTo>
                      <a:pt x="297" y="68"/>
                    </a:lnTo>
                    <a:lnTo>
                      <a:pt x="297" y="67"/>
                    </a:lnTo>
                    <a:lnTo>
                      <a:pt x="293" y="67"/>
                    </a:lnTo>
                    <a:lnTo>
                      <a:pt x="292" y="66"/>
                    </a:lnTo>
                    <a:lnTo>
                      <a:pt x="290" y="66"/>
                    </a:lnTo>
                    <a:lnTo>
                      <a:pt x="290" y="65"/>
                    </a:lnTo>
                    <a:lnTo>
                      <a:pt x="289" y="65"/>
                    </a:lnTo>
                    <a:lnTo>
                      <a:pt x="289" y="63"/>
                    </a:lnTo>
                    <a:lnTo>
                      <a:pt x="285" y="63"/>
                    </a:lnTo>
                    <a:lnTo>
                      <a:pt x="284" y="62"/>
                    </a:lnTo>
                    <a:lnTo>
                      <a:pt x="281" y="63"/>
                    </a:lnTo>
                    <a:lnTo>
                      <a:pt x="281" y="65"/>
                    </a:lnTo>
                    <a:lnTo>
                      <a:pt x="280" y="65"/>
                    </a:lnTo>
                    <a:lnTo>
                      <a:pt x="279" y="66"/>
                    </a:lnTo>
                    <a:lnTo>
                      <a:pt x="277" y="65"/>
                    </a:lnTo>
                    <a:lnTo>
                      <a:pt x="278" y="64"/>
                    </a:lnTo>
                    <a:lnTo>
                      <a:pt x="277" y="63"/>
                    </a:lnTo>
                    <a:lnTo>
                      <a:pt x="276" y="63"/>
                    </a:lnTo>
                    <a:lnTo>
                      <a:pt x="274" y="61"/>
                    </a:lnTo>
                    <a:lnTo>
                      <a:pt x="273" y="62"/>
                    </a:lnTo>
                    <a:lnTo>
                      <a:pt x="273" y="60"/>
                    </a:lnTo>
                    <a:lnTo>
                      <a:pt x="275" y="60"/>
                    </a:lnTo>
                    <a:lnTo>
                      <a:pt x="276" y="56"/>
                    </a:lnTo>
                    <a:lnTo>
                      <a:pt x="279" y="56"/>
                    </a:lnTo>
                    <a:lnTo>
                      <a:pt x="279" y="55"/>
                    </a:lnTo>
                    <a:lnTo>
                      <a:pt x="276" y="50"/>
                    </a:lnTo>
                    <a:lnTo>
                      <a:pt x="276" y="49"/>
                    </a:lnTo>
                    <a:lnTo>
                      <a:pt x="274" y="50"/>
                    </a:lnTo>
                    <a:lnTo>
                      <a:pt x="272" y="49"/>
                    </a:lnTo>
                    <a:lnTo>
                      <a:pt x="269" y="44"/>
                    </a:lnTo>
                    <a:lnTo>
                      <a:pt x="269" y="46"/>
                    </a:lnTo>
                    <a:lnTo>
                      <a:pt x="263" y="44"/>
                    </a:lnTo>
                    <a:lnTo>
                      <a:pt x="262" y="46"/>
                    </a:lnTo>
                    <a:lnTo>
                      <a:pt x="257" y="43"/>
                    </a:lnTo>
                    <a:lnTo>
                      <a:pt x="257" y="39"/>
                    </a:lnTo>
                    <a:lnTo>
                      <a:pt x="254" y="40"/>
                    </a:lnTo>
                    <a:lnTo>
                      <a:pt x="250" y="42"/>
                    </a:lnTo>
                    <a:lnTo>
                      <a:pt x="249" y="41"/>
                    </a:lnTo>
                    <a:lnTo>
                      <a:pt x="250" y="40"/>
                    </a:lnTo>
                    <a:lnTo>
                      <a:pt x="249" y="40"/>
                    </a:lnTo>
                    <a:lnTo>
                      <a:pt x="248" y="39"/>
                    </a:lnTo>
                    <a:lnTo>
                      <a:pt x="244" y="40"/>
                    </a:lnTo>
                    <a:lnTo>
                      <a:pt x="243" y="37"/>
                    </a:lnTo>
                    <a:lnTo>
                      <a:pt x="242" y="34"/>
                    </a:lnTo>
                    <a:lnTo>
                      <a:pt x="238" y="32"/>
                    </a:lnTo>
                    <a:lnTo>
                      <a:pt x="235" y="31"/>
                    </a:lnTo>
                    <a:lnTo>
                      <a:pt x="235" y="28"/>
                    </a:lnTo>
                    <a:lnTo>
                      <a:pt x="230" y="22"/>
                    </a:lnTo>
                    <a:lnTo>
                      <a:pt x="229" y="21"/>
                    </a:lnTo>
                    <a:lnTo>
                      <a:pt x="228" y="21"/>
                    </a:lnTo>
                    <a:lnTo>
                      <a:pt x="225" y="18"/>
                    </a:lnTo>
                    <a:lnTo>
                      <a:pt x="215" y="8"/>
                    </a:lnTo>
                    <a:lnTo>
                      <a:pt x="212" y="4"/>
                    </a:lnTo>
                    <a:lnTo>
                      <a:pt x="207" y="0"/>
                    </a:lnTo>
                    <a:lnTo>
                      <a:pt x="206" y="4"/>
                    </a:lnTo>
                    <a:lnTo>
                      <a:pt x="203" y="7"/>
                    </a:lnTo>
                    <a:lnTo>
                      <a:pt x="203" y="9"/>
                    </a:lnTo>
                    <a:lnTo>
                      <a:pt x="203" y="11"/>
                    </a:lnTo>
                    <a:lnTo>
                      <a:pt x="203" y="13"/>
                    </a:lnTo>
                    <a:lnTo>
                      <a:pt x="202" y="9"/>
                    </a:lnTo>
                    <a:lnTo>
                      <a:pt x="200" y="4"/>
                    </a:lnTo>
                    <a:lnTo>
                      <a:pt x="183" y="9"/>
                    </a:lnTo>
                    <a:lnTo>
                      <a:pt x="181" y="14"/>
                    </a:lnTo>
                    <a:lnTo>
                      <a:pt x="178" y="15"/>
                    </a:lnTo>
                    <a:lnTo>
                      <a:pt x="175" y="19"/>
                    </a:lnTo>
                    <a:lnTo>
                      <a:pt x="173" y="21"/>
                    </a:lnTo>
                    <a:lnTo>
                      <a:pt x="174" y="22"/>
                    </a:lnTo>
                    <a:lnTo>
                      <a:pt x="173" y="24"/>
                    </a:lnTo>
                    <a:lnTo>
                      <a:pt x="171" y="21"/>
                    </a:lnTo>
                    <a:lnTo>
                      <a:pt x="170" y="20"/>
                    </a:lnTo>
                    <a:lnTo>
                      <a:pt x="168" y="17"/>
                    </a:lnTo>
                    <a:lnTo>
                      <a:pt x="166" y="13"/>
                    </a:lnTo>
                    <a:lnTo>
                      <a:pt x="161" y="15"/>
                    </a:lnTo>
                    <a:lnTo>
                      <a:pt x="158" y="15"/>
                    </a:lnTo>
                    <a:lnTo>
                      <a:pt x="157" y="14"/>
                    </a:lnTo>
                    <a:lnTo>
                      <a:pt x="153" y="11"/>
                    </a:lnTo>
                    <a:lnTo>
                      <a:pt x="150" y="11"/>
                    </a:lnTo>
                    <a:lnTo>
                      <a:pt x="150" y="12"/>
                    </a:lnTo>
                    <a:lnTo>
                      <a:pt x="146" y="15"/>
                    </a:lnTo>
                    <a:lnTo>
                      <a:pt x="145" y="15"/>
                    </a:lnTo>
                    <a:lnTo>
                      <a:pt x="144" y="14"/>
                    </a:lnTo>
                    <a:lnTo>
                      <a:pt x="142" y="14"/>
                    </a:lnTo>
                    <a:lnTo>
                      <a:pt x="140" y="13"/>
                    </a:lnTo>
                    <a:lnTo>
                      <a:pt x="139" y="15"/>
                    </a:lnTo>
                    <a:lnTo>
                      <a:pt x="134" y="16"/>
                    </a:lnTo>
                    <a:lnTo>
                      <a:pt x="132" y="16"/>
                    </a:lnTo>
                    <a:lnTo>
                      <a:pt x="131" y="15"/>
                    </a:lnTo>
                    <a:lnTo>
                      <a:pt x="130" y="16"/>
                    </a:lnTo>
                    <a:lnTo>
                      <a:pt x="127" y="14"/>
                    </a:lnTo>
                    <a:lnTo>
                      <a:pt x="126" y="16"/>
                    </a:lnTo>
                    <a:lnTo>
                      <a:pt x="122" y="15"/>
                    </a:lnTo>
                    <a:lnTo>
                      <a:pt x="121" y="14"/>
                    </a:lnTo>
                    <a:lnTo>
                      <a:pt x="121" y="17"/>
                    </a:lnTo>
                    <a:lnTo>
                      <a:pt x="118" y="19"/>
                    </a:lnTo>
                    <a:lnTo>
                      <a:pt x="116" y="22"/>
                    </a:lnTo>
                    <a:lnTo>
                      <a:pt x="114" y="24"/>
                    </a:lnTo>
                    <a:lnTo>
                      <a:pt x="113" y="26"/>
                    </a:lnTo>
                    <a:lnTo>
                      <a:pt x="114" y="33"/>
                    </a:lnTo>
                    <a:lnTo>
                      <a:pt x="113" y="35"/>
                    </a:lnTo>
                    <a:lnTo>
                      <a:pt x="111" y="37"/>
                    </a:lnTo>
                    <a:lnTo>
                      <a:pt x="107" y="32"/>
                    </a:lnTo>
                    <a:lnTo>
                      <a:pt x="104" y="33"/>
                    </a:lnTo>
                    <a:lnTo>
                      <a:pt x="104" y="34"/>
                    </a:lnTo>
                    <a:lnTo>
                      <a:pt x="101" y="36"/>
                    </a:lnTo>
                    <a:lnTo>
                      <a:pt x="99" y="37"/>
                    </a:lnTo>
                    <a:lnTo>
                      <a:pt x="98" y="39"/>
                    </a:lnTo>
                    <a:lnTo>
                      <a:pt x="96" y="40"/>
                    </a:lnTo>
                    <a:lnTo>
                      <a:pt x="97" y="43"/>
                    </a:lnTo>
                    <a:lnTo>
                      <a:pt x="95" y="45"/>
                    </a:lnTo>
                    <a:lnTo>
                      <a:pt x="94" y="44"/>
                    </a:lnTo>
                    <a:lnTo>
                      <a:pt x="93" y="45"/>
                    </a:lnTo>
                    <a:lnTo>
                      <a:pt x="91" y="44"/>
                    </a:lnTo>
                    <a:lnTo>
                      <a:pt x="88" y="44"/>
                    </a:lnTo>
                    <a:lnTo>
                      <a:pt x="86" y="44"/>
                    </a:lnTo>
                    <a:lnTo>
                      <a:pt x="86" y="46"/>
                    </a:lnTo>
                    <a:lnTo>
                      <a:pt x="85" y="50"/>
                    </a:lnTo>
                    <a:lnTo>
                      <a:pt x="86" y="53"/>
                    </a:lnTo>
                    <a:lnTo>
                      <a:pt x="85" y="57"/>
                    </a:lnTo>
                    <a:lnTo>
                      <a:pt x="83" y="59"/>
                    </a:lnTo>
                    <a:lnTo>
                      <a:pt x="80" y="59"/>
                    </a:lnTo>
                    <a:lnTo>
                      <a:pt x="76" y="60"/>
                    </a:lnTo>
                    <a:lnTo>
                      <a:pt x="76" y="61"/>
                    </a:lnTo>
                    <a:lnTo>
                      <a:pt x="75" y="62"/>
                    </a:lnTo>
                    <a:lnTo>
                      <a:pt x="73" y="63"/>
                    </a:lnTo>
                    <a:lnTo>
                      <a:pt x="73" y="67"/>
                    </a:lnTo>
                    <a:lnTo>
                      <a:pt x="70" y="69"/>
                    </a:lnTo>
                    <a:lnTo>
                      <a:pt x="69" y="74"/>
                    </a:lnTo>
                    <a:lnTo>
                      <a:pt x="70" y="77"/>
                    </a:lnTo>
                    <a:lnTo>
                      <a:pt x="70" y="79"/>
                    </a:lnTo>
                    <a:lnTo>
                      <a:pt x="68" y="80"/>
                    </a:lnTo>
                    <a:lnTo>
                      <a:pt x="69" y="81"/>
                    </a:lnTo>
                    <a:lnTo>
                      <a:pt x="67" y="81"/>
                    </a:lnTo>
                    <a:lnTo>
                      <a:pt x="67" y="82"/>
                    </a:lnTo>
                    <a:lnTo>
                      <a:pt x="66" y="78"/>
                    </a:lnTo>
                    <a:lnTo>
                      <a:pt x="63" y="77"/>
                    </a:lnTo>
                    <a:lnTo>
                      <a:pt x="63" y="79"/>
                    </a:lnTo>
                    <a:lnTo>
                      <a:pt x="62" y="81"/>
                    </a:lnTo>
                    <a:lnTo>
                      <a:pt x="62" y="82"/>
                    </a:lnTo>
                    <a:lnTo>
                      <a:pt x="62" y="85"/>
                    </a:lnTo>
                    <a:lnTo>
                      <a:pt x="62" y="88"/>
                    </a:lnTo>
                    <a:lnTo>
                      <a:pt x="62" y="90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59" y="94"/>
                    </a:lnTo>
                    <a:lnTo>
                      <a:pt x="59" y="97"/>
                    </a:lnTo>
                    <a:lnTo>
                      <a:pt x="61" y="97"/>
                    </a:lnTo>
                    <a:lnTo>
                      <a:pt x="60" y="99"/>
                    </a:lnTo>
                    <a:lnTo>
                      <a:pt x="61" y="101"/>
                    </a:lnTo>
                    <a:lnTo>
                      <a:pt x="61" y="103"/>
                    </a:lnTo>
                    <a:lnTo>
                      <a:pt x="59" y="103"/>
                    </a:lnTo>
                    <a:lnTo>
                      <a:pt x="58" y="105"/>
                    </a:lnTo>
                    <a:lnTo>
                      <a:pt x="57" y="105"/>
                    </a:lnTo>
                    <a:lnTo>
                      <a:pt x="58" y="107"/>
                    </a:lnTo>
                    <a:lnTo>
                      <a:pt x="58" y="108"/>
                    </a:lnTo>
                    <a:lnTo>
                      <a:pt x="60" y="110"/>
                    </a:lnTo>
                    <a:lnTo>
                      <a:pt x="59" y="111"/>
                    </a:lnTo>
                    <a:lnTo>
                      <a:pt x="54" y="109"/>
                    </a:lnTo>
                    <a:lnTo>
                      <a:pt x="50" y="107"/>
                    </a:lnTo>
                    <a:lnTo>
                      <a:pt x="49" y="107"/>
                    </a:lnTo>
                    <a:lnTo>
                      <a:pt x="47" y="106"/>
                    </a:lnTo>
                    <a:lnTo>
                      <a:pt x="49" y="103"/>
                    </a:lnTo>
                    <a:lnTo>
                      <a:pt x="48" y="101"/>
                    </a:lnTo>
                    <a:lnTo>
                      <a:pt x="47" y="102"/>
                    </a:lnTo>
                    <a:lnTo>
                      <a:pt x="47" y="99"/>
                    </a:lnTo>
                    <a:lnTo>
                      <a:pt x="45" y="100"/>
                    </a:lnTo>
                    <a:lnTo>
                      <a:pt x="45" y="98"/>
                    </a:lnTo>
                    <a:lnTo>
                      <a:pt x="45" y="96"/>
                    </a:lnTo>
                    <a:lnTo>
                      <a:pt x="45" y="95"/>
                    </a:lnTo>
                    <a:lnTo>
                      <a:pt x="49" y="94"/>
                    </a:lnTo>
                    <a:lnTo>
                      <a:pt x="49" y="93"/>
                    </a:lnTo>
                    <a:lnTo>
                      <a:pt x="48" y="92"/>
                    </a:lnTo>
                    <a:lnTo>
                      <a:pt x="49" y="91"/>
                    </a:lnTo>
                    <a:lnTo>
                      <a:pt x="47" y="91"/>
                    </a:lnTo>
                    <a:lnTo>
                      <a:pt x="48" y="89"/>
                    </a:lnTo>
                    <a:lnTo>
                      <a:pt x="51" y="86"/>
                    </a:lnTo>
                    <a:lnTo>
                      <a:pt x="49" y="84"/>
                    </a:lnTo>
                    <a:lnTo>
                      <a:pt x="47" y="84"/>
                    </a:lnTo>
                    <a:lnTo>
                      <a:pt x="49" y="84"/>
                    </a:lnTo>
                    <a:lnTo>
                      <a:pt x="48" y="84"/>
                    </a:lnTo>
                    <a:lnTo>
                      <a:pt x="50" y="84"/>
                    </a:lnTo>
                    <a:lnTo>
                      <a:pt x="47" y="79"/>
                    </a:lnTo>
                    <a:lnTo>
                      <a:pt x="45" y="80"/>
                    </a:lnTo>
                    <a:lnTo>
                      <a:pt x="44" y="78"/>
                    </a:lnTo>
                    <a:lnTo>
                      <a:pt x="42" y="76"/>
                    </a:lnTo>
                    <a:lnTo>
                      <a:pt x="42" y="74"/>
                    </a:lnTo>
                    <a:lnTo>
                      <a:pt x="39" y="71"/>
                    </a:lnTo>
                    <a:lnTo>
                      <a:pt x="40" y="70"/>
                    </a:lnTo>
                    <a:lnTo>
                      <a:pt x="42" y="68"/>
                    </a:lnTo>
                    <a:lnTo>
                      <a:pt x="41" y="66"/>
                    </a:lnTo>
                    <a:lnTo>
                      <a:pt x="42" y="68"/>
                    </a:lnTo>
                    <a:lnTo>
                      <a:pt x="44" y="70"/>
                    </a:lnTo>
                    <a:lnTo>
                      <a:pt x="46" y="71"/>
                    </a:lnTo>
                    <a:lnTo>
                      <a:pt x="45" y="69"/>
                    </a:lnTo>
                    <a:lnTo>
                      <a:pt x="46" y="67"/>
                    </a:lnTo>
                    <a:lnTo>
                      <a:pt x="45" y="65"/>
                    </a:lnTo>
                    <a:lnTo>
                      <a:pt x="44" y="61"/>
                    </a:lnTo>
                    <a:lnTo>
                      <a:pt x="42" y="61"/>
                    </a:lnTo>
                    <a:lnTo>
                      <a:pt x="39" y="61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1" y="57"/>
                    </a:lnTo>
                    <a:lnTo>
                      <a:pt x="31" y="56"/>
                    </a:lnTo>
                    <a:lnTo>
                      <a:pt x="32" y="50"/>
                    </a:lnTo>
                    <a:lnTo>
                      <a:pt x="31" y="48"/>
                    </a:lnTo>
                    <a:lnTo>
                      <a:pt x="33" y="40"/>
                    </a:lnTo>
                    <a:lnTo>
                      <a:pt x="32" y="41"/>
                    </a:lnTo>
                    <a:lnTo>
                      <a:pt x="31" y="39"/>
                    </a:lnTo>
                    <a:lnTo>
                      <a:pt x="29" y="38"/>
                    </a:lnTo>
                    <a:lnTo>
                      <a:pt x="29" y="36"/>
                    </a:lnTo>
                    <a:lnTo>
                      <a:pt x="29" y="33"/>
                    </a:lnTo>
                    <a:lnTo>
                      <a:pt x="24" y="33"/>
                    </a:lnTo>
                    <a:lnTo>
                      <a:pt x="20" y="31"/>
                    </a:lnTo>
                    <a:lnTo>
                      <a:pt x="15" y="32"/>
                    </a:lnTo>
                    <a:lnTo>
                      <a:pt x="13" y="33"/>
                    </a:lnTo>
                    <a:lnTo>
                      <a:pt x="10" y="33"/>
                    </a:lnTo>
                    <a:lnTo>
                      <a:pt x="11" y="31"/>
                    </a:lnTo>
                    <a:lnTo>
                      <a:pt x="10" y="31"/>
                    </a:lnTo>
                    <a:lnTo>
                      <a:pt x="9" y="29"/>
                    </a:lnTo>
                    <a:lnTo>
                      <a:pt x="7" y="31"/>
                    </a:lnTo>
                    <a:lnTo>
                      <a:pt x="8" y="33"/>
                    </a:lnTo>
                    <a:lnTo>
                      <a:pt x="10" y="34"/>
                    </a:lnTo>
                    <a:lnTo>
                      <a:pt x="13" y="37"/>
                    </a:lnTo>
                    <a:lnTo>
                      <a:pt x="13" y="38"/>
                    </a:lnTo>
                    <a:lnTo>
                      <a:pt x="11" y="40"/>
                    </a:lnTo>
                    <a:lnTo>
                      <a:pt x="11" y="44"/>
                    </a:lnTo>
                    <a:lnTo>
                      <a:pt x="14" y="49"/>
                    </a:lnTo>
                    <a:lnTo>
                      <a:pt x="14" y="50"/>
                    </a:lnTo>
                    <a:lnTo>
                      <a:pt x="15" y="51"/>
                    </a:lnTo>
                    <a:lnTo>
                      <a:pt x="14" y="53"/>
                    </a:lnTo>
                    <a:lnTo>
                      <a:pt x="10" y="55"/>
                    </a:lnTo>
                    <a:lnTo>
                      <a:pt x="9" y="55"/>
                    </a:lnTo>
                    <a:lnTo>
                      <a:pt x="9" y="56"/>
                    </a:lnTo>
                    <a:lnTo>
                      <a:pt x="7" y="55"/>
                    </a:lnTo>
                    <a:lnTo>
                      <a:pt x="5" y="56"/>
                    </a:lnTo>
                    <a:lnTo>
                      <a:pt x="2" y="57"/>
                    </a:lnTo>
                    <a:lnTo>
                      <a:pt x="4" y="59"/>
                    </a:lnTo>
                    <a:lnTo>
                      <a:pt x="3" y="60"/>
                    </a:lnTo>
                    <a:lnTo>
                      <a:pt x="2" y="61"/>
                    </a:lnTo>
                    <a:lnTo>
                      <a:pt x="0" y="61"/>
                    </a:lnTo>
                    <a:lnTo>
                      <a:pt x="0" y="62"/>
                    </a:lnTo>
                    <a:lnTo>
                      <a:pt x="2" y="65"/>
                    </a:lnTo>
                    <a:lnTo>
                      <a:pt x="4" y="65"/>
                    </a:lnTo>
                    <a:lnTo>
                      <a:pt x="4" y="68"/>
                    </a:lnTo>
                    <a:lnTo>
                      <a:pt x="8" y="72"/>
                    </a:lnTo>
                    <a:lnTo>
                      <a:pt x="12" y="74"/>
                    </a:lnTo>
                    <a:lnTo>
                      <a:pt x="12" y="73"/>
                    </a:lnTo>
                    <a:lnTo>
                      <a:pt x="15" y="72"/>
                    </a:lnTo>
                    <a:lnTo>
                      <a:pt x="15" y="73"/>
                    </a:lnTo>
                    <a:lnTo>
                      <a:pt x="12" y="74"/>
                    </a:lnTo>
                    <a:lnTo>
                      <a:pt x="15" y="75"/>
                    </a:lnTo>
                    <a:lnTo>
                      <a:pt x="16" y="77"/>
                    </a:lnTo>
                    <a:lnTo>
                      <a:pt x="15" y="78"/>
                    </a:lnTo>
                    <a:lnTo>
                      <a:pt x="17" y="78"/>
                    </a:lnTo>
                    <a:lnTo>
                      <a:pt x="16" y="80"/>
                    </a:lnTo>
                    <a:lnTo>
                      <a:pt x="17" y="80"/>
                    </a:lnTo>
                    <a:lnTo>
                      <a:pt x="15" y="82"/>
                    </a:lnTo>
                    <a:lnTo>
                      <a:pt x="15" y="84"/>
                    </a:lnTo>
                    <a:lnTo>
                      <a:pt x="17" y="83"/>
                    </a:lnTo>
                    <a:lnTo>
                      <a:pt x="20" y="84"/>
                    </a:lnTo>
                    <a:lnTo>
                      <a:pt x="20" y="88"/>
                    </a:lnTo>
                    <a:lnTo>
                      <a:pt x="21" y="88"/>
                    </a:lnTo>
                    <a:lnTo>
                      <a:pt x="21" y="89"/>
                    </a:lnTo>
                    <a:lnTo>
                      <a:pt x="20" y="90"/>
                    </a:lnTo>
                    <a:lnTo>
                      <a:pt x="22" y="90"/>
                    </a:lnTo>
                    <a:lnTo>
                      <a:pt x="23" y="91"/>
                    </a:lnTo>
                    <a:lnTo>
                      <a:pt x="24" y="91"/>
                    </a:lnTo>
                    <a:lnTo>
                      <a:pt x="22" y="91"/>
                    </a:lnTo>
                    <a:lnTo>
                      <a:pt x="21" y="93"/>
                    </a:lnTo>
                    <a:lnTo>
                      <a:pt x="25" y="97"/>
                    </a:lnTo>
                    <a:lnTo>
                      <a:pt x="25" y="101"/>
                    </a:lnTo>
                    <a:lnTo>
                      <a:pt x="25" y="103"/>
                    </a:lnTo>
                    <a:lnTo>
                      <a:pt x="25" y="105"/>
                    </a:lnTo>
                    <a:lnTo>
                      <a:pt x="27" y="107"/>
                    </a:lnTo>
                    <a:lnTo>
                      <a:pt x="25" y="110"/>
                    </a:lnTo>
                    <a:lnTo>
                      <a:pt x="21" y="113"/>
                    </a:lnTo>
                    <a:lnTo>
                      <a:pt x="22" y="114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9" y="118"/>
                    </a:lnTo>
                    <a:lnTo>
                      <a:pt x="20" y="120"/>
                    </a:lnTo>
                    <a:lnTo>
                      <a:pt x="19" y="127"/>
                    </a:lnTo>
                    <a:lnTo>
                      <a:pt x="20" y="130"/>
                    </a:lnTo>
                    <a:lnTo>
                      <a:pt x="19" y="132"/>
                    </a:lnTo>
                    <a:lnTo>
                      <a:pt x="20" y="135"/>
                    </a:lnTo>
                    <a:lnTo>
                      <a:pt x="21" y="137"/>
                    </a:lnTo>
                    <a:lnTo>
                      <a:pt x="24" y="137"/>
                    </a:lnTo>
                    <a:lnTo>
                      <a:pt x="26" y="138"/>
                    </a:lnTo>
                    <a:lnTo>
                      <a:pt x="25" y="140"/>
                    </a:lnTo>
                    <a:lnTo>
                      <a:pt x="26" y="142"/>
                    </a:lnTo>
                    <a:lnTo>
                      <a:pt x="28" y="141"/>
                    </a:lnTo>
                    <a:lnTo>
                      <a:pt x="29" y="141"/>
                    </a:lnTo>
                    <a:lnTo>
                      <a:pt x="29" y="142"/>
                    </a:lnTo>
                    <a:lnTo>
                      <a:pt x="29" y="144"/>
                    </a:lnTo>
                    <a:lnTo>
                      <a:pt x="31" y="145"/>
                    </a:lnTo>
                    <a:lnTo>
                      <a:pt x="31" y="146"/>
                    </a:lnTo>
                    <a:lnTo>
                      <a:pt x="33" y="148"/>
                    </a:lnTo>
                    <a:lnTo>
                      <a:pt x="34" y="150"/>
                    </a:lnTo>
                    <a:lnTo>
                      <a:pt x="36" y="152"/>
                    </a:lnTo>
                    <a:lnTo>
                      <a:pt x="31" y="158"/>
                    </a:lnTo>
                    <a:lnTo>
                      <a:pt x="31" y="160"/>
                    </a:lnTo>
                    <a:lnTo>
                      <a:pt x="34" y="159"/>
                    </a:lnTo>
                    <a:lnTo>
                      <a:pt x="36" y="162"/>
                    </a:lnTo>
                    <a:lnTo>
                      <a:pt x="41" y="162"/>
                    </a:lnTo>
                    <a:lnTo>
                      <a:pt x="45" y="163"/>
                    </a:lnTo>
                    <a:lnTo>
                      <a:pt x="45" y="165"/>
                    </a:lnTo>
                    <a:lnTo>
                      <a:pt x="46" y="165"/>
                    </a:lnTo>
                    <a:lnTo>
                      <a:pt x="46" y="167"/>
                    </a:lnTo>
                    <a:lnTo>
                      <a:pt x="45" y="168"/>
                    </a:lnTo>
                    <a:lnTo>
                      <a:pt x="47" y="172"/>
                    </a:lnTo>
                    <a:lnTo>
                      <a:pt x="47" y="175"/>
                    </a:lnTo>
                    <a:lnTo>
                      <a:pt x="48" y="175"/>
                    </a:lnTo>
                    <a:lnTo>
                      <a:pt x="50" y="173"/>
                    </a:lnTo>
                    <a:lnTo>
                      <a:pt x="53" y="173"/>
                    </a:lnTo>
                    <a:lnTo>
                      <a:pt x="53" y="175"/>
                    </a:lnTo>
                    <a:lnTo>
                      <a:pt x="53" y="176"/>
                    </a:lnTo>
                    <a:lnTo>
                      <a:pt x="57" y="182"/>
                    </a:lnTo>
                    <a:lnTo>
                      <a:pt x="58" y="184"/>
                    </a:lnTo>
                    <a:lnTo>
                      <a:pt x="60" y="184"/>
                    </a:lnTo>
                    <a:lnTo>
                      <a:pt x="60" y="186"/>
                    </a:lnTo>
                    <a:lnTo>
                      <a:pt x="62" y="187"/>
                    </a:lnTo>
                    <a:lnTo>
                      <a:pt x="66" y="187"/>
                    </a:lnTo>
                    <a:lnTo>
                      <a:pt x="66" y="188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66" y="192"/>
                    </a:lnTo>
                    <a:lnTo>
                      <a:pt x="70" y="192"/>
                    </a:lnTo>
                    <a:lnTo>
                      <a:pt x="71" y="194"/>
                    </a:lnTo>
                    <a:lnTo>
                      <a:pt x="73" y="194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1" y="199"/>
                    </a:lnTo>
                    <a:lnTo>
                      <a:pt x="72" y="201"/>
                    </a:lnTo>
                    <a:lnTo>
                      <a:pt x="72" y="203"/>
                    </a:lnTo>
                    <a:lnTo>
                      <a:pt x="75" y="202"/>
                    </a:lnTo>
                    <a:lnTo>
                      <a:pt x="76" y="201"/>
                    </a:lnTo>
                    <a:lnTo>
                      <a:pt x="78" y="200"/>
                    </a:lnTo>
                    <a:lnTo>
                      <a:pt x="79" y="199"/>
                    </a:lnTo>
                    <a:lnTo>
                      <a:pt x="80" y="199"/>
                    </a:lnTo>
                    <a:lnTo>
                      <a:pt x="83" y="202"/>
                    </a:lnTo>
                    <a:lnTo>
                      <a:pt x="82" y="203"/>
                    </a:lnTo>
                    <a:lnTo>
                      <a:pt x="84" y="206"/>
                    </a:lnTo>
                    <a:lnTo>
                      <a:pt x="87" y="207"/>
                    </a:lnTo>
                    <a:lnTo>
                      <a:pt x="89" y="211"/>
                    </a:lnTo>
                    <a:lnTo>
                      <a:pt x="88" y="213"/>
                    </a:lnTo>
                    <a:lnTo>
                      <a:pt x="86" y="217"/>
                    </a:lnTo>
                    <a:lnTo>
                      <a:pt x="83" y="217"/>
                    </a:lnTo>
                    <a:lnTo>
                      <a:pt x="83" y="218"/>
                    </a:lnTo>
                    <a:lnTo>
                      <a:pt x="80" y="221"/>
                    </a:lnTo>
                    <a:lnTo>
                      <a:pt x="80" y="223"/>
                    </a:lnTo>
                    <a:lnTo>
                      <a:pt x="81" y="227"/>
                    </a:lnTo>
                    <a:lnTo>
                      <a:pt x="85" y="228"/>
                    </a:lnTo>
                    <a:lnTo>
                      <a:pt x="85" y="229"/>
                    </a:lnTo>
                    <a:lnTo>
                      <a:pt x="86" y="229"/>
                    </a:lnTo>
                    <a:lnTo>
                      <a:pt x="87" y="232"/>
                    </a:lnTo>
                    <a:lnTo>
                      <a:pt x="90" y="233"/>
                    </a:lnTo>
                    <a:lnTo>
                      <a:pt x="93" y="233"/>
                    </a:lnTo>
                    <a:lnTo>
                      <a:pt x="95" y="236"/>
                    </a:lnTo>
                    <a:lnTo>
                      <a:pt x="98" y="237"/>
                    </a:lnTo>
                    <a:lnTo>
                      <a:pt x="98" y="238"/>
                    </a:lnTo>
                    <a:lnTo>
                      <a:pt x="98" y="245"/>
                    </a:lnTo>
                    <a:lnTo>
                      <a:pt x="102" y="247"/>
                    </a:lnTo>
                    <a:lnTo>
                      <a:pt x="106" y="247"/>
                    </a:lnTo>
                    <a:lnTo>
                      <a:pt x="109" y="250"/>
                    </a:lnTo>
                    <a:lnTo>
                      <a:pt x="110" y="253"/>
                    </a:lnTo>
                    <a:lnTo>
                      <a:pt x="111" y="250"/>
                    </a:lnTo>
                    <a:lnTo>
                      <a:pt x="114" y="252"/>
                    </a:lnTo>
                    <a:lnTo>
                      <a:pt x="114" y="247"/>
                    </a:lnTo>
                    <a:lnTo>
                      <a:pt x="116" y="247"/>
                    </a:lnTo>
                    <a:lnTo>
                      <a:pt x="118" y="247"/>
                    </a:lnTo>
                    <a:lnTo>
                      <a:pt x="118" y="245"/>
                    </a:lnTo>
                    <a:lnTo>
                      <a:pt x="119" y="246"/>
                    </a:lnTo>
                    <a:lnTo>
                      <a:pt x="119" y="244"/>
                    </a:lnTo>
                    <a:lnTo>
                      <a:pt x="124" y="244"/>
                    </a:lnTo>
                    <a:lnTo>
                      <a:pt x="128" y="247"/>
                    </a:lnTo>
                    <a:lnTo>
                      <a:pt x="130" y="249"/>
                    </a:lnTo>
                    <a:lnTo>
                      <a:pt x="130" y="255"/>
                    </a:lnTo>
                    <a:lnTo>
                      <a:pt x="130" y="256"/>
                    </a:lnTo>
                    <a:lnTo>
                      <a:pt x="130" y="257"/>
                    </a:lnTo>
                    <a:lnTo>
                      <a:pt x="133" y="258"/>
                    </a:lnTo>
                    <a:lnTo>
                      <a:pt x="133" y="256"/>
                    </a:lnTo>
                    <a:lnTo>
                      <a:pt x="133" y="252"/>
                    </a:lnTo>
                    <a:lnTo>
                      <a:pt x="132" y="250"/>
                    </a:lnTo>
                    <a:lnTo>
                      <a:pt x="137" y="249"/>
                    </a:lnTo>
                    <a:lnTo>
                      <a:pt x="142" y="250"/>
                    </a:lnTo>
                    <a:lnTo>
                      <a:pt x="142" y="246"/>
                    </a:lnTo>
                    <a:lnTo>
                      <a:pt x="140" y="243"/>
                    </a:lnTo>
                    <a:lnTo>
                      <a:pt x="141" y="243"/>
                    </a:lnTo>
                    <a:lnTo>
                      <a:pt x="143" y="244"/>
                    </a:lnTo>
                    <a:lnTo>
                      <a:pt x="146" y="246"/>
                    </a:lnTo>
                    <a:lnTo>
                      <a:pt x="148" y="246"/>
                    </a:lnTo>
                    <a:lnTo>
                      <a:pt x="151" y="243"/>
                    </a:lnTo>
                    <a:lnTo>
                      <a:pt x="152" y="241"/>
                    </a:lnTo>
                    <a:lnTo>
                      <a:pt x="154" y="243"/>
                    </a:lnTo>
                    <a:lnTo>
                      <a:pt x="157" y="243"/>
                    </a:lnTo>
                    <a:lnTo>
                      <a:pt x="157" y="242"/>
                    </a:lnTo>
                    <a:lnTo>
                      <a:pt x="158" y="241"/>
                    </a:lnTo>
                    <a:lnTo>
                      <a:pt x="158" y="243"/>
                    </a:lnTo>
                    <a:lnTo>
                      <a:pt x="160" y="244"/>
                    </a:lnTo>
                    <a:lnTo>
                      <a:pt x="162" y="243"/>
                    </a:lnTo>
                    <a:lnTo>
                      <a:pt x="164" y="242"/>
                    </a:lnTo>
                    <a:lnTo>
                      <a:pt x="165" y="240"/>
                    </a:lnTo>
                    <a:lnTo>
                      <a:pt x="167" y="240"/>
                    </a:lnTo>
                    <a:lnTo>
                      <a:pt x="168" y="242"/>
                    </a:lnTo>
                    <a:lnTo>
                      <a:pt x="170" y="242"/>
                    </a:lnTo>
                    <a:lnTo>
                      <a:pt x="171" y="243"/>
                    </a:lnTo>
                    <a:lnTo>
                      <a:pt x="171" y="244"/>
                    </a:lnTo>
                    <a:lnTo>
                      <a:pt x="172" y="244"/>
                    </a:lnTo>
                    <a:lnTo>
                      <a:pt x="171" y="245"/>
                    </a:lnTo>
                    <a:lnTo>
                      <a:pt x="172" y="247"/>
                    </a:lnTo>
                    <a:lnTo>
                      <a:pt x="173" y="247"/>
                    </a:lnTo>
                    <a:lnTo>
                      <a:pt x="173" y="245"/>
                    </a:lnTo>
                    <a:lnTo>
                      <a:pt x="175" y="247"/>
                    </a:lnTo>
                    <a:lnTo>
                      <a:pt x="178" y="245"/>
                    </a:lnTo>
                    <a:lnTo>
                      <a:pt x="180" y="248"/>
                    </a:lnTo>
                    <a:lnTo>
                      <a:pt x="180" y="251"/>
                    </a:lnTo>
                    <a:lnTo>
                      <a:pt x="181" y="250"/>
                    </a:lnTo>
                    <a:lnTo>
                      <a:pt x="184" y="250"/>
                    </a:lnTo>
                    <a:lnTo>
                      <a:pt x="187" y="252"/>
                    </a:lnTo>
                    <a:lnTo>
                      <a:pt x="191" y="248"/>
                    </a:lnTo>
                    <a:lnTo>
                      <a:pt x="193" y="249"/>
                    </a:lnTo>
                    <a:lnTo>
                      <a:pt x="195" y="250"/>
                    </a:lnTo>
                    <a:lnTo>
                      <a:pt x="195" y="251"/>
                    </a:lnTo>
                    <a:lnTo>
                      <a:pt x="196" y="253"/>
                    </a:lnTo>
                    <a:lnTo>
                      <a:pt x="199" y="256"/>
                    </a:lnTo>
                    <a:lnTo>
                      <a:pt x="200" y="256"/>
                    </a:lnTo>
                    <a:lnTo>
                      <a:pt x="200" y="253"/>
                    </a:lnTo>
                    <a:lnTo>
                      <a:pt x="203" y="254"/>
                    </a:lnTo>
                    <a:lnTo>
                      <a:pt x="203" y="253"/>
                    </a:lnTo>
                    <a:lnTo>
                      <a:pt x="204" y="253"/>
                    </a:lnTo>
                    <a:lnTo>
                      <a:pt x="206" y="251"/>
                    </a:lnTo>
                    <a:lnTo>
                      <a:pt x="207" y="250"/>
                    </a:lnTo>
                    <a:lnTo>
                      <a:pt x="208" y="249"/>
                    </a:lnTo>
                    <a:lnTo>
                      <a:pt x="210" y="250"/>
                    </a:lnTo>
                    <a:lnTo>
                      <a:pt x="211" y="249"/>
                    </a:lnTo>
                    <a:lnTo>
                      <a:pt x="212" y="247"/>
                    </a:lnTo>
                    <a:lnTo>
                      <a:pt x="212" y="245"/>
                    </a:lnTo>
                    <a:lnTo>
                      <a:pt x="211" y="244"/>
                    </a:lnTo>
                    <a:lnTo>
                      <a:pt x="212" y="243"/>
                    </a:lnTo>
                    <a:lnTo>
                      <a:pt x="211" y="243"/>
                    </a:lnTo>
                    <a:lnTo>
                      <a:pt x="212" y="242"/>
                    </a:lnTo>
                    <a:lnTo>
                      <a:pt x="214" y="243"/>
                    </a:lnTo>
                    <a:lnTo>
                      <a:pt x="214" y="241"/>
                    </a:lnTo>
                    <a:lnTo>
                      <a:pt x="211" y="236"/>
                    </a:lnTo>
                    <a:lnTo>
                      <a:pt x="212" y="233"/>
                    </a:lnTo>
                    <a:lnTo>
                      <a:pt x="214" y="232"/>
                    </a:lnTo>
                    <a:lnTo>
                      <a:pt x="217" y="232"/>
                    </a:lnTo>
                    <a:lnTo>
                      <a:pt x="220" y="233"/>
                    </a:lnTo>
                    <a:lnTo>
                      <a:pt x="222" y="231"/>
                    </a:lnTo>
                    <a:lnTo>
                      <a:pt x="224" y="232"/>
                    </a:lnTo>
                    <a:lnTo>
                      <a:pt x="223" y="233"/>
                    </a:lnTo>
                    <a:lnTo>
                      <a:pt x="224" y="233"/>
                    </a:lnTo>
                    <a:lnTo>
                      <a:pt x="224" y="227"/>
                    </a:lnTo>
                    <a:lnTo>
                      <a:pt x="228" y="227"/>
                    </a:lnTo>
                    <a:lnTo>
                      <a:pt x="229" y="229"/>
                    </a:lnTo>
                    <a:lnTo>
                      <a:pt x="230" y="228"/>
                    </a:lnTo>
                    <a:lnTo>
                      <a:pt x="230" y="227"/>
                    </a:lnTo>
                    <a:lnTo>
                      <a:pt x="232" y="226"/>
                    </a:lnTo>
                    <a:lnTo>
                      <a:pt x="234" y="226"/>
                    </a:lnTo>
                    <a:lnTo>
                      <a:pt x="235" y="225"/>
                    </a:lnTo>
                    <a:lnTo>
                      <a:pt x="235" y="223"/>
                    </a:lnTo>
                    <a:lnTo>
                      <a:pt x="238" y="223"/>
                    </a:lnTo>
                    <a:lnTo>
                      <a:pt x="239" y="223"/>
                    </a:lnTo>
                    <a:lnTo>
                      <a:pt x="240" y="221"/>
                    </a:lnTo>
                    <a:lnTo>
                      <a:pt x="241" y="220"/>
                    </a:lnTo>
                    <a:lnTo>
                      <a:pt x="244" y="222"/>
                    </a:lnTo>
                    <a:lnTo>
                      <a:pt x="246" y="220"/>
                    </a:lnTo>
                    <a:lnTo>
                      <a:pt x="246" y="219"/>
                    </a:lnTo>
                    <a:lnTo>
                      <a:pt x="244" y="219"/>
                    </a:lnTo>
                    <a:lnTo>
                      <a:pt x="245" y="216"/>
                    </a:lnTo>
                    <a:lnTo>
                      <a:pt x="247" y="218"/>
                    </a:lnTo>
                    <a:lnTo>
                      <a:pt x="249" y="218"/>
                    </a:lnTo>
                    <a:lnTo>
                      <a:pt x="249" y="214"/>
                    </a:lnTo>
                    <a:lnTo>
                      <a:pt x="249" y="213"/>
                    </a:lnTo>
                    <a:lnTo>
                      <a:pt x="249" y="214"/>
                    </a:lnTo>
                    <a:lnTo>
                      <a:pt x="251" y="213"/>
                    </a:lnTo>
                    <a:lnTo>
                      <a:pt x="254" y="210"/>
                    </a:lnTo>
                    <a:lnTo>
                      <a:pt x="254" y="213"/>
                    </a:lnTo>
                    <a:lnTo>
                      <a:pt x="254" y="215"/>
                    </a:lnTo>
                    <a:lnTo>
                      <a:pt x="256" y="216"/>
                    </a:lnTo>
                    <a:lnTo>
                      <a:pt x="257" y="215"/>
                    </a:lnTo>
                    <a:lnTo>
                      <a:pt x="259" y="218"/>
                    </a:lnTo>
                    <a:lnTo>
                      <a:pt x="260" y="216"/>
                    </a:lnTo>
                    <a:lnTo>
                      <a:pt x="262" y="218"/>
                    </a:lnTo>
                    <a:lnTo>
                      <a:pt x="262" y="217"/>
                    </a:lnTo>
                    <a:lnTo>
                      <a:pt x="264" y="218"/>
                    </a:lnTo>
                    <a:lnTo>
                      <a:pt x="267" y="216"/>
                    </a:lnTo>
                    <a:lnTo>
                      <a:pt x="267" y="218"/>
                    </a:lnTo>
                    <a:lnTo>
                      <a:pt x="266" y="218"/>
                    </a:lnTo>
                    <a:lnTo>
                      <a:pt x="269" y="219"/>
                    </a:lnTo>
                    <a:lnTo>
                      <a:pt x="270" y="219"/>
                    </a:lnTo>
                    <a:lnTo>
                      <a:pt x="270" y="221"/>
                    </a:lnTo>
                    <a:lnTo>
                      <a:pt x="271" y="221"/>
                    </a:lnTo>
                    <a:lnTo>
                      <a:pt x="271" y="220"/>
                    </a:lnTo>
                    <a:lnTo>
                      <a:pt x="272" y="222"/>
                    </a:lnTo>
                    <a:lnTo>
                      <a:pt x="273" y="222"/>
                    </a:lnTo>
                    <a:lnTo>
                      <a:pt x="273" y="223"/>
                    </a:lnTo>
                    <a:lnTo>
                      <a:pt x="274" y="223"/>
                    </a:lnTo>
                    <a:lnTo>
                      <a:pt x="274" y="226"/>
                    </a:lnTo>
                    <a:lnTo>
                      <a:pt x="275" y="227"/>
                    </a:lnTo>
                    <a:lnTo>
                      <a:pt x="276" y="223"/>
                    </a:lnTo>
                    <a:lnTo>
                      <a:pt x="276" y="225"/>
                    </a:lnTo>
                    <a:lnTo>
                      <a:pt x="276" y="226"/>
                    </a:lnTo>
                    <a:lnTo>
                      <a:pt x="278" y="228"/>
                    </a:lnTo>
                    <a:lnTo>
                      <a:pt x="281" y="233"/>
                    </a:lnTo>
                    <a:lnTo>
                      <a:pt x="285" y="236"/>
                    </a:lnTo>
                    <a:lnTo>
                      <a:pt x="287" y="235"/>
                    </a:lnTo>
                    <a:lnTo>
                      <a:pt x="289" y="234"/>
                    </a:lnTo>
                    <a:lnTo>
                      <a:pt x="287" y="231"/>
                    </a:lnTo>
                    <a:lnTo>
                      <a:pt x="287" y="227"/>
                    </a:lnTo>
                    <a:lnTo>
                      <a:pt x="290" y="223"/>
                    </a:lnTo>
                    <a:lnTo>
                      <a:pt x="292" y="223"/>
                    </a:lnTo>
                    <a:lnTo>
                      <a:pt x="292" y="222"/>
                    </a:lnTo>
                    <a:lnTo>
                      <a:pt x="290" y="216"/>
                    </a:lnTo>
                    <a:lnTo>
                      <a:pt x="292" y="216"/>
                    </a:lnTo>
                    <a:lnTo>
                      <a:pt x="290" y="214"/>
                    </a:lnTo>
                    <a:lnTo>
                      <a:pt x="289" y="214"/>
                    </a:lnTo>
                    <a:lnTo>
                      <a:pt x="290" y="213"/>
                    </a:lnTo>
                    <a:lnTo>
                      <a:pt x="291" y="212"/>
                    </a:lnTo>
                    <a:lnTo>
                      <a:pt x="290" y="210"/>
                    </a:lnTo>
                    <a:lnTo>
                      <a:pt x="292" y="210"/>
                    </a:lnTo>
                    <a:lnTo>
                      <a:pt x="293" y="212"/>
                    </a:lnTo>
                    <a:lnTo>
                      <a:pt x="294" y="213"/>
                    </a:lnTo>
                    <a:lnTo>
                      <a:pt x="295" y="210"/>
                    </a:lnTo>
                    <a:lnTo>
                      <a:pt x="295" y="213"/>
                    </a:lnTo>
                    <a:lnTo>
                      <a:pt x="297" y="213"/>
                    </a:lnTo>
                    <a:lnTo>
                      <a:pt x="297" y="210"/>
                    </a:lnTo>
                    <a:lnTo>
                      <a:pt x="300" y="211"/>
                    </a:lnTo>
                    <a:lnTo>
                      <a:pt x="301" y="210"/>
                    </a:lnTo>
                    <a:lnTo>
                      <a:pt x="303" y="211"/>
                    </a:lnTo>
                    <a:lnTo>
                      <a:pt x="304" y="210"/>
                    </a:lnTo>
                    <a:lnTo>
                      <a:pt x="303" y="206"/>
                    </a:lnTo>
                    <a:lnTo>
                      <a:pt x="303" y="207"/>
                    </a:lnTo>
                    <a:lnTo>
                      <a:pt x="305" y="209"/>
                    </a:lnTo>
                    <a:lnTo>
                      <a:pt x="308" y="208"/>
                    </a:lnTo>
                    <a:lnTo>
                      <a:pt x="308" y="205"/>
                    </a:lnTo>
                    <a:lnTo>
                      <a:pt x="309" y="204"/>
                    </a:lnTo>
                    <a:lnTo>
                      <a:pt x="309" y="202"/>
                    </a:lnTo>
                    <a:lnTo>
                      <a:pt x="309" y="200"/>
                    </a:lnTo>
                    <a:lnTo>
                      <a:pt x="306" y="201"/>
                    </a:lnTo>
                    <a:lnTo>
                      <a:pt x="305" y="199"/>
                    </a:lnTo>
                    <a:lnTo>
                      <a:pt x="309" y="192"/>
                    </a:lnTo>
                    <a:lnTo>
                      <a:pt x="308" y="191"/>
                    </a:lnTo>
                    <a:lnTo>
                      <a:pt x="307" y="190"/>
                    </a:lnTo>
                    <a:lnTo>
                      <a:pt x="309" y="190"/>
                    </a:lnTo>
                    <a:lnTo>
                      <a:pt x="309" y="191"/>
                    </a:lnTo>
                    <a:lnTo>
                      <a:pt x="311" y="192"/>
                    </a:lnTo>
                    <a:lnTo>
                      <a:pt x="312" y="191"/>
                    </a:lnTo>
                    <a:lnTo>
                      <a:pt x="312" y="190"/>
                    </a:lnTo>
                    <a:lnTo>
                      <a:pt x="311" y="190"/>
                    </a:lnTo>
                    <a:lnTo>
                      <a:pt x="311" y="18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0" name="Freeform 136">
                <a:extLst>
                  <a:ext uri="{FF2B5EF4-FFF2-40B4-BE49-F238E27FC236}">
                    <a16:creationId xmlns:a16="http://schemas.microsoft.com/office/drawing/2014/main" id="{107A0566-0D14-4508-846B-D57D699BA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" y="2893"/>
                <a:ext cx="313" cy="258"/>
              </a:xfrm>
              <a:custGeom>
                <a:avLst/>
                <a:gdLst>
                  <a:gd name="T0" fmla="*/ 302 w 313"/>
                  <a:gd name="T1" fmla="*/ 176 h 258"/>
                  <a:gd name="T2" fmla="*/ 301 w 313"/>
                  <a:gd name="T3" fmla="*/ 168 h 258"/>
                  <a:gd name="T4" fmla="*/ 311 w 313"/>
                  <a:gd name="T5" fmla="*/ 169 h 258"/>
                  <a:gd name="T6" fmla="*/ 311 w 313"/>
                  <a:gd name="T7" fmla="*/ 156 h 258"/>
                  <a:gd name="T8" fmla="*/ 306 w 313"/>
                  <a:gd name="T9" fmla="*/ 139 h 258"/>
                  <a:gd name="T10" fmla="*/ 306 w 313"/>
                  <a:gd name="T11" fmla="*/ 125 h 258"/>
                  <a:gd name="T12" fmla="*/ 305 w 313"/>
                  <a:gd name="T13" fmla="*/ 111 h 258"/>
                  <a:gd name="T14" fmla="*/ 305 w 313"/>
                  <a:gd name="T15" fmla="*/ 98 h 258"/>
                  <a:gd name="T16" fmla="*/ 305 w 313"/>
                  <a:gd name="T17" fmla="*/ 86 h 258"/>
                  <a:gd name="T18" fmla="*/ 305 w 313"/>
                  <a:gd name="T19" fmla="*/ 65 h 258"/>
                  <a:gd name="T20" fmla="*/ 289 w 313"/>
                  <a:gd name="T21" fmla="*/ 65 h 258"/>
                  <a:gd name="T22" fmla="*/ 277 w 313"/>
                  <a:gd name="T23" fmla="*/ 63 h 258"/>
                  <a:gd name="T24" fmla="*/ 274 w 313"/>
                  <a:gd name="T25" fmla="*/ 50 h 258"/>
                  <a:gd name="T26" fmla="*/ 250 w 313"/>
                  <a:gd name="T27" fmla="*/ 40 h 258"/>
                  <a:gd name="T28" fmla="*/ 228 w 313"/>
                  <a:gd name="T29" fmla="*/ 21 h 258"/>
                  <a:gd name="T30" fmla="*/ 200 w 313"/>
                  <a:gd name="T31" fmla="*/ 4 h 258"/>
                  <a:gd name="T32" fmla="*/ 166 w 313"/>
                  <a:gd name="T33" fmla="*/ 13 h 258"/>
                  <a:gd name="T34" fmla="*/ 140 w 313"/>
                  <a:gd name="T35" fmla="*/ 13 h 258"/>
                  <a:gd name="T36" fmla="*/ 118 w 313"/>
                  <a:gd name="T37" fmla="*/ 19 h 258"/>
                  <a:gd name="T38" fmla="*/ 99 w 313"/>
                  <a:gd name="T39" fmla="*/ 37 h 258"/>
                  <a:gd name="T40" fmla="*/ 85 w 313"/>
                  <a:gd name="T41" fmla="*/ 50 h 258"/>
                  <a:gd name="T42" fmla="*/ 69 w 313"/>
                  <a:gd name="T43" fmla="*/ 74 h 258"/>
                  <a:gd name="T44" fmla="*/ 62 w 313"/>
                  <a:gd name="T45" fmla="*/ 82 h 258"/>
                  <a:gd name="T46" fmla="*/ 61 w 313"/>
                  <a:gd name="T47" fmla="*/ 101 h 258"/>
                  <a:gd name="T48" fmla="*/ 49 w 313"/>
                  <a:gd name="T49" fmla="*/ 107 h 258"/>
                  <a:gd name="T50" fmla="*/ 49 w 313"/>
                  <a:gd name="T51" fmla="*/ 93 h 258"/>
                  <a:gd name="T52" fmla="*/ 47 w 313"/>
                  <a:gd name="T53" fmla="*/ 79 h 258"/>
                  <a:gd name="T54" fmla="*/ 44 w 313"/>
                  <a:gd name="T55" fmla="*/ 70 h 258"/>
                  <a:gd name="T56" fmla="*/ 31 w 313"/>
                  <a:gd name="T57" fmla="*/ 56 h 258"/>
                  <a:gd name="T58" fmla="*/ 15 w 313"/>
                  <a:gd name="T59" fmla="*/ 32 h 258"/>
                  <a:gd name="T60" fmla="*/ 11 w 313"/>
                  <a:gd name="T61" fmla="*/ 40 h 258"/>
                  <a:gd name="T62" fmla="*/ 2 w 313"/>
                  <a:gd name="T63" fmla="*/ 57 h 258"/>
                  <a:gd name="T64" fmla="*/ 12 w 313"/>
                  <a:gd name="T65" fmla="*/ 73 h 258"/>
                  <a:gd name="T66" fmla="*/ 15 w 313"/>
                  <a:gd name="T67" fmla="*/ 84 h 258"/>
                  <a:gd name="T68" fmla="*/ 24 w 313"/>
                  <a:gd name="T69" fmla="*/ 91 h 258"/>
                  <a:gd name="T70" fmla="*/ 22 w 313"/>
                  <a:gd name="T71" fmla="*/ 114 h 258"/>
                  <a:gd name="T72" fmla="*/ 26 w 313"/>
                  <a:gd name="T73" fmla="*/ 138 h 258"/>
                  <a:gd name="T74" fmla="*/ 36 w 313"/>
                  <a:gd name="T75" fmla="*/ 152 h 258"/>
                  <a:gd name="T76" fmla="*/ 47 w 313"/>
                  <a:gd name="T77" fmla="*/ 172 h 258"/>
                  <a:gd name="T78" fmla="*/ 62 w 313"/>
                  <a:gd name="T79" fmla="*/ 187 h 258"/>
                  <a:gd name="T80" fmla="*/ 71 w 313"/>
                  <a:gd name="T81" fmla="*/ 199 h 258"/>
                  <a:gd name="T82" fmla="*/ 87 w 313"/>
                  <a:gd name="T83" fmla="*/ 207 h 258"/>
                  <a:gd name="T84" fmla="*/ 86 w 313"/>
                  <a:gd name="T85" fmla="*/ 229 h 258"/>
                  <a:gd name="T86" fmla="*/ 110 w 313"/>
                  <a:gd name="T87" fmla="*/ 253 h 258"/>
                  <a:gd name="T88" fmla="*/ 130 w 313"/>
                  <a:gd name="T89" fmla="*/ 249 h 258"/>
                  <a:gd name="T90" fmla="*/ 142 w 313"/>
                  <a:gd name="T91" fmla="*/ 246 h 258"/>
                  <a:gd name="T92" fmla="*/ 158 w 313"/>
                  <a:gd name="T93" fmla="*/ 241 h 258"/>
                  <a:gd name="T94" fmla="*/ 172 w 313"/>
                  <a:gd name="T95" fmla="*/ 244 h 258"/>
                  <a:gd name="T96" fmla="*/ 187 w 313"/>
                  <a:gd name="T97" fmla="*/ 252 h 258"/>
                  <a:gd name="T98" fmla="*/ 203 w 313"/>
                  <a:gd name="T99" fmla="*/ 254 h 258"/>
                  <a:gd name="T100" fmla="*/ 212 w 313"/>
                  <a:gd name="T101" fmla="*/ 243 h 258"/>
                  <a:gd name="T102" fmla="*/ 224 w 313"/>
                  <a:gd name="T103" fmla="*/ 232 h 258"/>
                  <a:gd name="T104" fmla="*/ 235 w 313"/>
                  <a:gd name="T105" fmla="*/ 225 h 258"/>
                  <a:gd name="T106" fmla="*/ 245 w 313"/>
                  <a:gd name="T107" fmla="*/ 216 h 258"/>
                  <a:gd name="T108" fmla="*/ 254 w 313"/>
                  <a:gd name="T109" fmla="*/ 215 h 258"/>
                  <a:gd name="T110" fmla="*/ 269 w 313"/>
                  <a:gd name="T111" fmla="*/ 219 h 258"/>
                  <a:gd name="T112" fmla="*/ 274 w 313"/>
                  <a:gd name="T113" fmla="*/ 226 h 258"/>
                  <a:gd name="T114" fmla="*/ 287 w 313"/>
                  <a:gd name="T115" fmla="*/ 231 h 258"/>
                  <a:gd name="T116" fmla="*/ 290 w 313"/>
                  <a:gd name="T117" fmla="*/ 210 h 258"/>
                  <a:gd name="T118" fmla="*/ 303 w 313"/>
                  <a:gd name="T119" fmla="*/ 211 h 258"/>
                  <a:gd name="T120" fmla="*/ 309 w 313"/>
                  <a:gd name="T121" fmla="*/ 200 h 258"/>
                  <a:gd name="T122" fmla="*/ 312 w 313"/>
                  <a:gd name="T123" fmla="*/ 190 h 25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13"/>
                  <a:gd name="T187" fmla="*/ 0 h 258"/>
                  <a:gd name="T188" fmla="*/ 313 w 313"/>
                  <a:gd name="T189" fmla="*/ 258 h 25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13" h="258">
                    <a:moveTo>
                      <a:pt x="311" y="188"/>
                    </a:moveTo>
                    <a:lnTo>
                      <a:pt x="311" y="183"/>
                    </a:lnTo>
                    <a:lnTo>
                      <a:pt x="311" y="182"/>
                    </a:lnTo>
                    <a:lnTo>
                      <a:pt x="308" y="182"/>
                    </a:lnTo>
                    <a:lnTo>
                      <a:pt x="310" y="181"/>
                    </a:lnTo>
                    <a:lnTo>
                      <a:pt x="308" y="179"/>
                    </a:lnTo>
                    <a:lnTo>
                      <a:pt x="307" y="176"/>
                    </a:lnTo>
                    <a:lnTo>
                      <a:pt x="305" y="175"/>
                    </a:lnTo>
                    <a:lnTo>
                      <a:pt x="302" y="176"/>
                    </a:lnTo>
                    <a:lnTo>
                      <a:pt x="300" y="174"/>
                    </a:lnTo>
                    <a:lnTo>
                      <a:pt x="299" y="176"/>
                    </a:lnTo>
                    <a:lnTo>
                      <a:pt x="297" y="173"/>
                    </a:lnTo>
                    <a:lnTo>
                      <a:pt x="296" y="173"/>
                    </a:lnTo>
                    <a:lnTo>
                      <a:pt x="295" y="171"/>
                    </a:lnTo>
                    <a:lnTo>
                      <a:pt x="298" y="171"/>
                    </a:lnTo>
                    <a:lnTo>
                      <a:pt x="298" y="170"/>
                    </a:lnTo>
                    <a:lnTo>
                      <a:pt x="297" y="169"/>
                    </a:lnTo>
                    <a:lnTo>
                      <a:pt x="298" y="168"/>
                    </a:lnTo>
                    <a:lnTo>
                      <a:pt x="301" y="167"/>
                    </a:lnTo>
                    <a:lnTo>
                      <a:pt x="301" y="168"/>
                    </a:lnTo>
                    <a:lnTo>
                      <a:pt x="301" y="167"/>
                    </a:lnTo>
                    <a:lnTo>
                      <a:pt x="305" y="169"/>
                    </a:lnTo>
                    <a:lnTo>
                      <a:pt x="305" y="168"/>
                    </a:lnTo>
                    <a:lnTo>
                      <a:pt x="305" y="169"/>
                    </a:lnTo>
                    <a:lnTo>
                      <a:pt x="306" y="168"/>
                    </a:lnTo>
                    <a:lnTo>
                      <a:pt x="307" y="169"/>
                    </a:lnTo>
                    <a:lnTo>
                      <a:pt x="306" y="169"/>
                    </a:lnTo>
                    <a:lnTo>
                      <a:pt x="309" y="172"/>
                    </a:lnTo>
                    <a:lnTo>
                      <a:pt x="310" y="172"/>
                    </a:lnTo>
                    <a:lnTo>
                      <a:pt x="309" y="169"/>
                    </a:lnTo>
                    <a:lnTo>
                      <a:pt x="311" y="169"/>
                    </a:lnTo>
                    <a:lnTo>
                      <a:pt x="309" y="167"/>
                    </a:lnTo>
                    <a:lnTo>
                      <a:pt x="309" y="166"/>
                    </a:lnTo>
                    <a:lnTo>
                      <a:pt x="306" y="164"/>
                    </a:lnTo>
                    <a:lnTo>
                      <a:pt x="307" y="162"/>
                    </a:lnTo>
                    <a:lnTo>
                      <a:pt x="306" y="162"/>
                    </a:lnTo>
                    <a:lnTo>
                      <a:pt x="308" y="162"/>
                    </a:lnTo>
                    <a:lnTo>
                      <a:pt x="311" y="163"/>
                    </a:lnTo>
                    <a:lnTo>
                      <a:pt x="313" y="158"/>
                    </a:lnTo>
                    <a:lnTo>
                      <a:pt x="309" y="157"/>
                    </a:lnTo>
                    <a:lnTo>
                      <a:pt x="311" y="156"/>
                    </a:lnTo>
                    <a:lnTo>
                      <a:pt x="311" y="153"/>
                    </a:lnTo>
                    <a:lnTo>
                      <a:pt x="311" y="152"/>
                    </a:lnTo>
                    <a:lnTo>
                      <a:pt x="311" y="149"/>
                    </a:lnTo>
                    <a:lnTo>
                      <a:pt x="309" y="146"/>
                    </a:lnTo>
                    <a:lnTo>
                      <a:pt x="310" y="145"/>
                    </a:lnTo>
                    <a:lnTo>
                      <a:pt x="308" y="142"/>
                    </a:lnTo>
                    <a:lnTo>
                      <a:pt x="307" y="142"/>
                    </a:lnTo>
                    <a:lnTo>
                      <a:pt x="306" y="141"/>
                    </a:lnTo>
                    <a:lnTo>
                      <a:pt x="308" y="139"/>
                    </a:lnTo>
                    <a:lnTo>
                      <a:pt x="306" y="139"/>
                    </a:lnTo>
                    <a:lnTo>
                      <a:pt x="303" y="137"/>
                    </a:lnTo>
                    <a:lnTo>
                      <a:pt x="303" y="135"/>
                    </a:lnTo>
                    <a:lnTo>
                      <a:pt x="306" y="135"/>
                    </a:lnTo>
                    <a:lnTo>
                      <a:pt x="306" y="132"/>
                    </a:lnTo>
                    <a:lnTo>
                      <a:pt x="306" y="131"/>
                    </a:lnTo>
                    <a:lnTo>
                      <a:pt x="307" y="131"/>
                    </a:lnTo>
                    <a:lnTo>
                      <a:pt x="306" y="129"/>
                    </a:lnTo>
                    <a:lnTo>
                      <a:pt x="308" y="129"/>
                    </a:lnTo>
                    <a:lnTo>
                      <a:pt x="308" y="128"/>
                    </a:lnTo>
                    <a:lnTo>
                      <a:pt x="306" y="127"/>
                    </a:lnTo>
                    <a:lnTo>
                      <a:pt x="306" y="125"/>
                    </a:lnTo>
                    <a:lnTo>
                      <a:pt x="305" y="125"/>
                    </a:lnTo>
                    <a:lnTo>
                      <a:pt x="303" y="126"/>
                    </a:lnTo>
                    <a:lnTo>
                      <a:pt x="301" y="125"/>
                    </a:lnTo>
                    <a:lnTo>
                      <a:pt x="300" y="122"/>
                    </a:lnTo>
                    <a:lnTo>
                      <a:pt x="301" y="121"/>
                    </a:lnTo>
                    <a:lnTo>
                      <a:pt x="300" y="120"/>
                    </a:lnTo>
                    <a:lnTo>
                      <a:pt x="301" y="119"/>
                    </a:lnTo>
                    <a:lnTo>
                      <a:pt x="303" y="119"/>
                    </a:lnTo>
                    <a:lnTo>
                      <a:pt x="305" y="118"/>
                    </a:lnTo>
                    <a:lnTo>
                      <a:pt x="305" y="115"/>
                    </a:lnTo>
                    <a:lnTo>
                      <a:pt x="305" y="111"/>
                    </a:lnTo>
                    <a:lnTo>
                      <a:pt x="303" y="111"/>
                    </a:lnTo>
                    <a:lnTo>
                      <a:pt x="304" y="108"/>
                    </a:lnTo>
                    <a:lnTo>
                      <a:pt x="305" y="107"/>
                    </a:lnTo>
                    <a:lnTo>
                      <a:pt x="301" y="105"/>
                    </a:lnTo>
                    <a:lnTo>
                      <a:pt x="300" y="105"/>
                    </a:lnTo>
                    <a:lnTo>
                      <a:pt x="301" y="105"/>
                    </a:lnTo>
                    <a:lnTo>
                      <a:pt x="303" y="101"/>
                    </a:lnTo>
                    <a:lnTo>
                      <a:pt x="302" y="100"/>
                    </a:lnTo>
                    <a:lnTo>
                      <a:pt x="303" y="100"/>
                    </a:lnTo>
                    <a:lnTo>
                      <a:pt x="305" y="98"/>
                    </a:lnTo>
                    <a:lnTo>
                      <a:pt x="304" y="98"/>
                    </a:lnTo>
                    <a:lnTo>
                      <a:pt x="304" y="96"/>
                    </a:lnTo>
                    <a:lnTo>
                      <a:pt x="306" y="95"/>
                    </a:lnTo>
                    <a:lnTo>
                      <a:pt x="307" y="93"/>
                    </a:lnTo>
                    <a:lnTo>
                      <a:pt x="305" y="92"/>
                    </a:lnTo>
                    <a:lnTo>
                      <a:pt x="306" y="90"/>
                    </a:lnTo>
                    <a:lnTo>
                      <a:pt x="305" y="90"/>
                    </a:lnTo>
                    <a:lnTo>
                      <a:pt x="305" y="89"/>
                    </a:lnTo>
                    <a:lnTo>
                      <a:pt x="305" y="88"/>
                    </a:lnTo>
                    <a:lnTo>
                      <a:pt x="305" y="86"/>
                    </a:lnTo>
                    <a:lnTo>
                      <a:pt x="306" y="85"/>
                    </a:lnTo>
                    <a:lnTo>
                      <a:pt x="307" y="84"/>
                    </a:lnTo>
                    <a:lnTo>
                      <a:pt x="309" y="84"/>
                    </a:lnTo>
                    <a:lnTo>
                      <a:pt x="309" y="82"/>
                    </a:lnTo>
                    <a:lnTo>
                      <a:pt x="309" y="78"/>
                    </a:lnTo>
                    <a:lnTo>
                      <a:pt x="310" y="77"/>
                    </a:lnTo>
                    <a:lnTo>
                      <a:pt x="308" y="75"/>
                    </a:lnTo>
                    <a:lnTo>
                      <a:pt x="307" y="70"/>
                    </a:lnTo>
                    <a:lnTo>
                      <a:pt x="303" y="67"/>
                    </a:lnTo>
                    <a:lnTo>
                      <a:pt x="305" y="65"/>
                    </a:lnTo>
                    <a:lnTo>
                      <a:pt x="302" y="65"/>
                    </a:lnTo>
                    <a:lnTo>
                      <a:pt x="300" y="67"/>
                    </a:lnTo>
                    <a:lnTo>
                      <a:pt x="298" y="67"/>
                    </a:lnTo>
                    <a:lnTo>
                      <a:pt x="297" y="68"/>
                    </a:lnTo>
                    <a:lnTo>
                      <a:pt x="297" y="67"/>
                    </a:lnTo>
                    <a:lnTo>
                      <a:pt x="293" y="67"/>
                    </a:lnTo>
                    <a:lnTo>
                      <a:pt x="292" y="66"/>
                    </a:lnTo>
                    <a:lnTo>
                      <a:pt x="290" y="66"/>
                    </a:lnTo>
                    <a:lnTo>
                      <a:pt x="290" y="65"/>
                    </a:lnTo>
                    <a:lnTo>
                      <a:pt x="289" y="65"/>
                    </a:lnTo>
                    <a:lnTo>
                      <a:pt x="289" y="63"/>
                    </a:lnTo>
                    <a:lnTo>
                      <a:pt x="285" y="63"/>
                    </a:lnTo>
                    <a:lnTo>
                      <a:pt x="284" y="62"/>
                    </a:lnTo>
                    <a:lnTo>
                      <a:pt x="281" y="63"/>
                    </a:lnTo>
                    <a:lnTo>
                      <a:pt x="281" y="65"/>
                    </a:lnTo>
                    <a:lnTo>
                      <a:pt x="280" y="65"/>
                    </a:lnTo>
                    <a:lnTo>
                      <a:pt x="279" y="66"/>
                    </a:lnTo>
                    <a:lnTo>
                      <a:pt x="277" y="65"/>
                    </a:lnTo>
                    <a:lnTo>
                      <a:pt x="278" y="64"/>
                    </a:lnTo>
                    <a:lnTo>
                      <a:pt x="277" y="63"/>
                    </a:lnTo>
                    <a:lnTo>
                      <a:pt x="276" y="63"/>
                    </a:lnTo>
                    <a:lnTo>
                      <a:pt x="274" y="61"/>
                    </a:lnTo>
                    <a:lnTo>
                      <a:pt x="273" y="62"/>
                    </a:lnTo>
                    <a:lnTo>
                      <a:pt x="273" y="60"/>
                    </a:lnTo>
                    <a:lnTo>
                      <a:pt x="275" y="60"/>
                    </a:lnTo>
                    <a:lnTo>
                      <a:pt x="276" y="56"/>
                    </a:lnTo>
                    <a:lnTo>
                      <a:pt x="279" y="56"/>
                    </a:lnTo>
                    <a:lnTo>
                      <a:pt x="279" y="55"/>
                    </a:lnTo>
                    <a:lnTo>
                      <a:pt x="276" y="50"/>
                    </a:lnTo>
                    <a:lnTo>
                      <a:pt x="276" y="49"/>
                    </a:lnTo>
                    <a:lnTo>
                      <a:pt x="274" y="50"/>
                    </a:lnTo>
                    <a:lnTo>
                      <a:pt x="272" y="49"/>
                    </a:lnTo>
                    <a:lnTo>
                      <a:pt x="269" y="44"/>
                    </a:lnTo>
                    <a:lnTo>
                      <a:pt x="269" y="46"/>
                    </a:lnTo>
                    <a:lnTo>
                      <a:pt x="263" y="44"/>
                    </a:lnTo>
                    <a:lnTo>
                      <a:pt x="262" y="46"/>
                    </a:lnTo>
                    <a:lnTo>
                      <a:pt x="257" y="43"/>
                    </a:lnTo>
                    <a:lnTo>
                      <a:pt x="257" y="39"/>
                    </a:lnTo>
                    <a:lnTo>
                      <a:pt x="254" y="40"/>
                    </a:lnTo>
                    <a:lnTo>
                      <a:pt x="250" y="42"/>
                    </a:lnTo>
                    <a:lnTo>
                      <a:pt x="249" y="41"/>
                    </a:lnTo>
                    <a:lnTo>
                      <a:pt x="250" y="40"/>
                    </a:lnTo>
                    <a:lnTo>
                      <a:pt x="249" y="40"/>
                    </a:lnTo>
                    <a:lnTo>
                      <a:pt x="248" y="39"/>
                    </a:lnTo>
                    <a:lnTo>
                      <a:pt x="244" y="40"/>
                    </a:lnTo>
                    <a:lnTo>
                      <a:pt x="243" y="37"/>
                    </a:lnTo>
                    <a:lnTo>
                      <a:pt x="242" y="34"/>
                    </a:lnTo>
                    <a:lnTo>
                      <a:pt x="238" y="32"/>
                    </a:lnTo>
                    <a:lnTo>
                      <a:pt x="235" y="31"/>
                    </a:lnTo>
                    <a:lnTo>
                      <a:pt x="235" y="28"/>
                    </a:lnTo>
                    <a:lnTo>
                      <a:pt x="230" y="22"/>
                    </a:lnTo>
                    <a:lnTo>
                      <a:pt x="229" y="21"/>
                    </a:lnTo>
                    <a:lnTo>
                      <a:pt x="228" y="21"/>
                    </a:lnTo>
                    <a:lnTo>
                      <a:pt x="225" y="18"/>
                    </a:lnTo>
                    <a:lnTo>
                      <a:pt x="215" y="8"/>
                    </a:lnTo>
                    <a:lnTo>
                      <a:pt x="212" y="4"/>
                    </a:lnTo>
                    <a:lnTo>
                      <a:pt x="207" y="0"/>
                    </a:lnTo>
                    <a:lnTo>
                      <a:pt x="206" y="4"/>
                    </a:lnTo>
                    <a:lnTo>
                      <a:pt x="203" y="7"/>
                    </a:lnTo>
                    <a:lnTo>
                      <a:pt x="203" y="9"/>
                    </a:lnTo>
                    <a:lnTo>
                      <a:pt x="203" y="11"/>
                    </a:lnTo>
                    <a:lnTo>
                      <a:pt x="203" y="13"/>
                    </a:lnTo>
                    <a:lnTo>
                      <a:pt x="202" y="9"/>
                    </a:lnTo>
                    <a:lnTo>
                      <a:pt x="200" y="4"/>
                    </a:lnTo>
                    <a:lnTo>
                      <a:pt x="183" y="9"/>
                    </a:lnTo>
                    <a:lnTo>
                      <a:pt x="181" y="14"/>
                    </a:lnTo>
                    <a:lnTo>
                      <a:pt x="178" y="15"/>
                    </a:lnTo>
                    <a:lnTo>
                      <a:pt x="175" y="19"/>
                    </a:lnTo>
                    <a:lnTo>
                      <a:pt x="173" y="21"/>
                    </a:lnTo>
                    <a:lnTo>
                      <a:pt x="174" y="22"/>
                    </a:lnTo>
                    <a:lnTo>
                      <a:pt x="173" y="24"/>
                    </a:lnTo>
                    <a:lnTo>
                      <a:pt x="171" y="21"/>
                    </a:lnTo>
                    <a:lnTo>
                      <a:pt x="170" y="20"/>
                    </a:lnTo>
                    <a:lnTo>
                      <a:pt x="168" y="17"/>
                    </a:lnTo>
                    <a:lnTo>
                      <a:pt x="166" y="13"/>
                    </a:lnTo>
                    <a:lnTo>
                      <a:pt x="161" y="15"/>
                    </a:lnTo>
                    <a:lnTo>
                      <a:pt x="158" y="15"/>
                    </a:lnTo>
                    <a:lnTo>
                      <a:pt x="157" y="14"/>
                    </a:lnTo>
                    <a:lnTo>
                      <a:pt x="153" y="11"/>
                    </a:lnTo>
                    <a:lnTo>
                      <a:pt x="150" y="11"/>
                    </a:lnTo>
                    <a:lnTo>
                      <a:pt x="150" y="12"/>
                    </a:lnTo>
                    <a:lnTo>
                      <a:pt x="146" y="15"/>
                    </a:lnTo>
                    <a:lnTo>
                      <a:pt x="145" y="15"/>
                    </a:lnTo>
                    <a:lnTo>
                      <a:pt x="144" y="14"/>
                    </a:lnTo>
                    <a:lnTo>
                      <a:pt x="142" y="14"/>
                    </a:lnTo>
                    <a:lnTo>
                      <a:pt x="140" y="13"/>
                    </a:lnTo>
                    <a:lnTo>
                      <a:pt x="139" y="15"/>
                    </a:lnTo>
                    <a:lnTo>
                      <a:pt x="134" y="16"/>
                    </a:lnTo>
                    <a:lnTo>
                      <a:pt x="132" y="16"/>
                    </a:lnTo>
                    <a:lnTo>
                      <a:pt x="131" y="15"/>
                    </a:lnTo>
                    <a:lnTo>
                      <a:pt x="130" y="16"/>
                    </a:lnTo>
                    <a:lnTo>
                      <a:pt x="127" y="14"/>
                    </a:lnTo>
                    <a:lnTo>
                      <a:pt x="126" y="16"/>
                    </a:lnTo>
                    <a:lnTo>
                      <a:pt x="122" y="15"/>
                    </a:lnTo>
                    <a:lnTo>
                      <a:pt x="121" y="14"/>
                    </a:lnTo>
                    <a:lnTo>
                      <a:pt x="121" y="17"/>
                    </a:lnTo>
                    <a:lnTo>
                      <a:pt x="118" y="19"/>
                    </a:lnTo>
                    <a:lnTo>
                      <a:pt x="116" y="22"/>
                    </a:lnTo>
                    <a:lnTo>
                      <a:pt x="114" y="24"/>
                    </a:lnTo>
                    <a:lnTo>
                      <a:pt x="113" y="26"/>
                    </a:lnTo>
                    <a:lnTo>
                      <a:pt x="114" y="33"/>
                    </a:lnTo>
                    <a:lnTo>
                      <a:pt x="113" y="35"/>
                    </a:lnTo>
                    <a:lnTo>
                      <a:pt x="111" y="37"/>
                    </a:lnTo>
                    <a:lnTo>
                      <a:pt x="107" y="32"/>
                    </a:lnTo>
                    <a:lnTo>
                      <a:pt x="104" y="33"/>
                    </a:lnTo>
                    <a:lnTo>
                      <a:pt x="104" y="34"/>
                    </a:lnTo>
                    <a:lnTo>
                      <a:pt x="101" y="36"/>
                    </a:lnTo>
                    <a:lnTo>
                      <a:pt x="99" y="37"/>
                    </a:lnTo>
                    <a:lnTo>
                      <a:pt x="98" y="39"/>
                    </a:lnTo>
                    <a:lnTo>
                      <a:pt x="96" y="40"/>
                    </a:lnTo>
                    <a:lnTo>
                      <a:pt x="97" y="43"/>
                    </a:lnTo>
                    <a:lnTo>
                      <a:pt x="95" y="45"/>
                    </a:lnTo>
                    <a:lnTo>
                      <a:pt x="94" y="44"/>
                    </a:lnTo>
                    <a:lnTo>
                      <a:pt x="93" y="45"/>
                    </a:lnTo>
                    <a:lnTo>
                      <a:pt x="91" y="44"/>
                    </a:lnTo>
                    <a:lnTo>
                      <a:pt x="88" y="44"/>
                    </a:lnTo>
                    <a:lnTo>
                      <a:pt x="86" y="44"/>
                    </a:lnTo>
                    <a:lnTo>
                      <a:pt x="86" y="46"/>
                    </a:lnTo>
                    <a:lnTo>
                      <a:pt x="85" y="50"/>
                    </a:lnTo>
                    <a:lnTo>
                      <a:pt x="86" y="53"/>
                    </a:lnTo>
                    <a:lnTo>
                      <a:pt x="85" y="57"/>
                    </a:lnTo>
                    <a:lnTo>
                      <a:pt x="83" y="59"/>
                    </a:lnTo>
                    <a:lnTo>
                      <a:pt x="80" y="59"/>
                    </a:lnTo>
                    <a:lnTo>
                      <a:pt x="76" y="60"/>
                    </a:lnTo>
                    <a:lnTo>
                      <a:pt x="76" y="61"/>
                    </a:lnTo>
                    <a:lnTo>
                      <a:pt x="75" y="62"/>
                    </a:lnTo>
                    <a:lnTo>
                      <a:pt x="73" y="63"/>
                    </a:lnTo>
                    <a:lnTo>
                      <a:pt x="73" y="67"/>
                    </a:lnTo>
                    <a:lnTo>
                      <a:pt x="70" y="69"/>
                    </a:lnTo>
                    <a:lnTo>
                      <a:pt x="69" y="74"/>
                    </a:lnTo>
                    <a:lnTo>
                      <a:pt x="70" y="77"/>
                    </a:lnTo>
                    <a:lnTo>
                      <a:pt x="70" y="79"/>
                    </a:lnTo>
                    <a:lnTo>
                      <a:pt x="68" y="80"/>
                    </a:lnTo>
                    <a:lnTo>
                      <a:pt x="69" y="81"/>
                    </a:lnTo>
                    <a:lnTo>
                      <a:pt x="67" y="81"/>
                    </a:lnTo>
                    <a:lnTo>
                      <a:pt x="67" y="82"/>
                    </a:lnTo>
                    <a:lnTo>
                      <a:pt x="66" y="78"/>
                    </a:lnTo>
                    <a:lnTo>
                      <a:pt x="63" y="77"/>
                    </a:lnTo>
                    <a:lnTo>
                      <a:pt x="63" y="79"/>
                    </a:lnTo>
                    <a:lnTo>
                      <a:pt x="62" y="81"/>
                    </a:lnTo>
                    <a:lnTo>
                      <a:pt x="62" y="82"/>
                    </a:lnTo>
                    <a:lnTo>
                      <a:pt x="62" y="85"/>
                    </a:lnTo>
                    <a:lnTo>
                      <a:pt x="62" y="88"/>
                    </a:lnTo>
                    <a:lnTo>
                      <a:pt x="62" y="90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59" y="94"/>
                    </a:lnTo>
                    <a:lnTo>
                      <a:pt x="59" y="97"/>
                    </a:lnTo>
                    <a:lnTo>
                      <a:pt x="61" y="97"/>
                    </a:lnTo>
                    <a:lnTo>
                      <a:pt x="60" y="99"/>
                    </a:lnTo>
                    <a:lnTo>
                      <a:pt x="61" y="101"/>
                    </a:lnTo>
                    <a:lnTo>
                      <a:pt x="61" y="103"/>
                    </a:lnTo>
                    <a:lnTo>
                      <a:pt x="59" y="103"/>
                    </a:lnTo>
                    <a:lnTo>
                      <a:pt x="58" y="105"/>
                    </a:lnTo>
                    <a:lnTo>
                      <a:pt x="57" y="105"/>
                    </a:lnTo>
                    <a:lnTo>
                      <a:pt x="58" y="107"/>
                    </a:lnTo>
                    <a:lnTo>
                      <a:pt x="58" y="108"/>
                    </a:lnTo>
                    <a:lnTo>
                      <a:pt x="60" y="110"/>
                    </a:lnTo>
                    <a:lnTo>
                      <a:pt x="59" y="111"/>
                    </a:lnTo>
                    <a:lnTo>
                      <a:pt x="54" y="109"/>
                    </a:lnTo>
                    <a:lnTo>
                      <a:pt x="50" y="107"/>
                    </a:lnTo>
                    <a:lnTo>
                      <a:pt x="49" y="107"/>
                    </a:lnTo>
                    <a:lnTo>
                      <a:pt x="47" y="106"/>
                    </a:lnTo>
                    <a:lnTo>
                      <a:pt x="49" y="103"/>
                    </a:lnTo>
                    <a:lnTo>
                      <a:pt x="48" y="101"/>
                    </a:lnTo>
                    <a:lnTo>
                      <a:pt x="47" y="102"/>
                    </a:lnTo>
                    <a:lnTo>
                      <a:pt x="47" y="99"/>
                    </a:lnTo>
                    <a:lnTo>
                      <a:pt x="45" y="100"/>
                    </a:lnTo>
                    <a:lnTo>
                      <a:pt x="45" y="98"/>
                    </a:lnTo>
                    <a:lnTo>
                      <a:pt x="45" y="96"/>
                    </a:lnTo>
                    <a:lnTo>
                      <a:pt x="45" y="95"/>
                    </a:lnTo>
                    <a:lnTo>
                      <a:pt x="49" y="94"/>
                    </a:lnTo>
                    <a:lnTo>
                      <a:pt x="49" y="93"/>
                    </a:lnTo>
                    <a:lnTo>
                      <a:pt x="48" y="92"/>
                    </a:lnTo>
                    <a:lnTo>
                      <a:pt x="49" y="91"/>
                    </a:lnTo>
                    <a:lnTo>
                      <a:pt x="47" y="91"/>
                    </a:lnTo>
                    <a:lnTo>
                      <a:pt x="48" y="89"/>
                    </a:lnTo>
                    <a:lnTo>
                      <a:pt x="51" y="86"/>
                    </a:lnTo>
                    <a:lnTo>
                      <a:pt x="49" y="84"/>
                    </a:lnTo>
                    <a:lnTo>
                      <a:pt x="47" y="84"/>
                    </a:lnTo>
                    <a:lnTo>
                      <a:pt x="49" y="84"/>
                    </a:lnTo>
                    <a:lnTo>
                      <a:pt x="48" y="84"/>
                    </a:lnTo>
                    <a:lnTo>
                      <a:pt x="50" y="84"/>
                    </a:lnTo>
                    <a:lnTo>
                      <a:pt x="47" y="79"/>
                    </a:lnTo>
                    <a:lnTo>
                      <a:pt x="45" y="80"/>
                    </a:lnTo>
                    <a:lnTo>
                      <a:pt x="44" y="78"/>
                    </a:lnTo>
                    <a:lnTo>
                      <a:pt x="42" y="76"/>
                    </a:lnTo>
                    <a:lnTo>
                      <a:pt x="42" y="74"/>
                    </a:lnTo>
                    <a:lnTo>
                      <a:pt x="39" y="71"/>
                    </a:lnTo>
                    <a:lnTo>
                      <a:pt x="40" y="70"/>
                    </a:lnTo>
                    <a:lnTo>
                      <a:pt x="42" y="68"/>
                    </a:lnTo>
                    <a:lnTo>
                      <a:pt x="41" y="66"/>
                    </a:lnTo>
                    <a:lnTo>
                      <a:pt x="42" y="68"/>
                    </a:lnTo>
                    <a:lnTo>
                      <a:pt x="44" y="70"/>
                    </a:lnTo>
                    <a:lnTo>
                      <a:pt x="46" y="71"/>
                    </a:lnTo>
                    <a:lnTo>
                      <a:pt x="45" y="69"/>
                    </a:lnTo>
                    <a:lnTo>
                      <a:pt x="46" y="67"/>
                    </a:lnTo>
                    <a:lnTo>
                      <a:pt x="45" y="65"/>
                    </a:lnTo>
                    <a:lnTo>
                      <a:pt x="44" y="61"/>
                    </a:lnTo>
                    <a:lnTo>
                      <a:pt x="42" y="61"/>
                    </a:lnTo>
                    <a:lnTo>
                      <a:pt x="39" y="61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1" y="57"/>
                    </a:lnTo>
                    <a:lnTo>
                      <a:pt x="31" y="56"/>
                    </a:lnTo>
                    <a:lnTo>
                      <a:pt x="32" y="50"/>
                    </a:lnTo>
                    <a:lnTo>
                      <a:pt x="31" y="48"/>
                    </a:lnTo>
                    <a:lnTo>
                      <a:pt x="33" y="40"/>
                    </a:lnTo>
                    <a:lnTo>
                      <a:pt x="32" y="41"/>
                    </a:lnTo>
                    <a:lnTo>
                      <a:pt x="31" y="39"/>
                    </a:lnTo>
                    <a:lnTo>
                      <a:pt x="29" y="38"/>
                    </a:lnTo>
                    <a:lnTo>
                      <a:pt x="29" y="36"/>
                    </a:lnTo>
                    <a:lnTo>
                      <a:pt x="29" y="33"/>
                    </a:lnTo>
                    <a:lnTo>
                      <a:pt x="24" y="33"/>
                    </a:lnTo>
                    <a:lnTo>
                      <a:pt x="20" y="31"/>
                    </a:lnTo>
                    <a:lnTo>
                      <a:pt x="15" y="32"/>
                    </a:lnTo>
                    <a:lnTo>
                      <a:pt x="13" y="33"/>
                    </a:lnTo>
                    <a:lnTo>
                      <a:pt x="10" y="33"/>
                    </a:lnTo>
                    <a:lnTo>
                      <a:pt x="11" y="31"/>
                    </a:lnTo>
                    <a:lnTo>
                      <a:pt x="10" y="31"/>
                    </a:lnTo>
                    <a:lnTo>
                      <a:pt x="9" y="29"/>
                    </a:lnTo>
                    <a:lnTo>
                      <a:pt x="7" y="31"/>
                    </a:lnTo>
                    <a:lnTo>
                      <a:pt x="8" y="33"/>
                    </a:lnTo>
                    <a:lnTo>
                      <a:pt x="10" y="34"/>
                    </a:lnTo>
                    <a:lnTo>
                      <a:pt x="13" y="37"/>
                    </a:lnTo>
                    <a:lnTo>
                      <a:pt x="13" y="38"/>
                    </a:lnTo>
                    <a:lnTo>
                      <a:pt x="11" y="40"/>
                    </a:lnTo>
                    <a:lnTo>
                      <a:pt x="11" y="44"/>
                    </a:lnTo>
                    <a:lnTo>
                      <a:pt x="14" y="49"/>
                    </a:lnTo>
                    <a:lnTo>
                      <a:pt x="14" y="50"/>
                    </a:lnTo>
                    <a:lnTo>
                      <a:pt x="15" y="51"/>
                    </a:lnTo>
                    <a:lnTo>
                      <a:pt x="14" y="53"/>
                    </a:lnTo>
                    <a:lnTo>
                      <a:pt x="10" y="55"/>
                    </a:lnTo>
                    <a:lnTo>
                      <a:pt x="9" y="55"/>
                    </a:lnTo>
                    <a:lnTo>
                      <a:pt x="9" y="56"/>
                    </a:lnTo>
                    <a:lnTo>
                      <a:pt x="7" y="55"/>
                    </a:lnTo>
                    <a:lnTo>
                      <a:pt x="5" y="56"/>
                    </a:lnTo>
                    <a:lnTo>
                      <a:pt x="2" y="57"/>
                    </a:lnTo>
                    <a:lnTo>
                      <a:pt x="4" y="59"/>
                    </a:lnTo>
                    <a:lnTo>
                      <a:pt x="3" y="60"/>
                    </a:lnTo>
                    <a:lnTo>
                      <a:pt x="2" y="61"/>
                    </a:lnTo>
                    <a:lnTo>
                      <a:pt x="0" y="61"/>
                    </a:lnTo>
                    <a:lnTo>
                      <a:pt x="0" y="62"/>
                    </a:lnTo>
                    <a:lnTo>
                      <a:pt x="2" y="65"/>
                    </a:lnTo>
                    <a:lnTo>
                      <a:pt x="4" y="65"/>
                    </a:lnTo>
                    <a:lnTo>
                      <a:pt x="4" y="68"/>
                    </a:lnTo>
                    <a:lnTo>
                      <a:pt x="8" y="72"/>
                    </a:lnTo>
                    <a:lnTo>
                      <a:pt x="12" y="74"/>
                    </a:lnTo>
                    <a:lnTo>
                      <a:pt x="12" y="73"/>
                    </a:lnTo>
                    <a:lnTo>
                      <a:pt x="15" y="72"/>
                    </a:lnTo>
                    <a:lnTo>
                      <a:pt x="15" y="73"/>
                    </a:lnTo>
                    <a:lnTo>
                      <a:pt x="12" y="74"/>
                    </a:lnTo>
                    <a:lnTo>
                      <a:pt x="15" y="75"/>
                    </a:lnTo>
                    <a:lnTo>
                      <a:pt x="16" y="77"/>
                    </a:lnTo>
                    <a:lnTo>
                      <a:pt x="15" y="78"/>
                    </a:lnTo>
                    <a:lnTo>
                      <a:pt x="17" y="78"/>
                    </a:lnTo>
                    <a:lnTo>
                      <a:pt x="16" y="80"/>
                    </a:lnTo>
                    <a:lnTo>
                      <a:pt x="17" y="80"/>
                    </a:lnTo>
                    <a:lnTo>
                      <a:pt x="15" y="82"/>
                    </a:lnTo>
                    <a:lnTo>
                      <a:pt x="15" y="84"/>
                    </a:lnTo>
                    <a:lnTo>
                      <a:pt x="17" y="83"/>
                    </a:lnTo>
                    <a:lnTo>
                      <a:pt x="20" y="84"/>
                    </a:lnTo>
                    <a:lnTo>
                      <a:pt x="20" y="88"/>
                    </a:lnTo>
                    <a:lnTo>
                      <a:pt x="21" y="88"/>
                    </a:lnTo>
                    <a:lnTo>
                      <a:pt x="21" y="89"/>
                    </a:lnTo>
                    <a:lnTo>
                      <a:pt x="20" y="90"/>
                    </a:lnTo>
                    <a:lnTo>
                      <a:pt x="22" y="90"/>
                    </a:lnTo>
                    <a:lnTo>
                      <a:pt x="23" y="91"/>
                    </a:lnTo>
                    <a:lnTo>
                      <a:pt x="24" y="91"/>
                    </a:lnTo>
                    <a:lnTo>
                      <a:pt x="22" y="91"/>
                    </a:lnTo>
                    <a:lnTo>
                      <a:pt x="21" y="93"/>
                    </a:lnTo>
                    <a:lnTo>
                      <a:pt x="25" y="97"/>
                    </a:lnTo>
                    <a:lnTo>
                      <a:pt x="25" y="101"/>
                    </a:lnTo>
                    <a:lnTo>
                      <a:pt x="25" y="103"/>
                    </a:lnTo>
                    <a:lnTo>
                      <a:pt x="25" y="105"/>
                    </a:lnTo>
                    <a:lnTo>
                      <a:pt x="27" y="107"/>
                    </a:lnTo>
                    <a:lnTo>
                      <a:pt x="25" y="110"/>
                    </a:lnTo>
                    <a:lnTo>
                      <a:pt x="21" y="113"/>
                    </a:lnTo>
                    <a:lnTo>
                      <a:pt x="22" y="114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9" y="118"/>
                    </a:lnTo>
                    <a:lnTo>
                      <a:pt x="20" y="120"/>
                    </a:lnTo>
                    <a:lnTo>
                      <a:pt x="19" y="127"/>
                    </a:lnTo>
                    <a:lnTo>
                      <a:pt x="20" y="130"/>
                    </a:lnTo>
                    <a:lnTo>
                      <a:pt x="19" y="132"/>
                    </a:lnTo>
                    <a:lnTo>
                      <a:pt x="20" y="135"/>
                    </a:lnTo>
                    <a:lnTo>
                      <a:pt x="21" y="137"/>
                    </a:lnTo>
                    <a:lnTo>
                      <a:pt x="24" y="137"/>
                    </a:lnTo>
                    <a:lnTo>
                      <a:pt x="26" y="138"/>
                    </a:lnTo>
                    <a:lnTo>
                      <a:pt x="25" y="140"/>
                    </a:lnTo>
                    <a:lnTo>
                      <a:pt x="26" y="142"/>
                    </a:lnTo>
                    <a:lnTo>
                      <a:pt x="28" y="141"/>
                    </a:lnTo>
                    <a:lnTo>
                      <a:pt x="29" y="141"/>
                    </a:lnTo>
                    <a:lnTo>
                      <a:pt x="29" y="142"/>
                    </a:lnTo>
                    <a:lnTo>
                      <a:pt x="29" y="144"/>
                    </a:lnTo>
                    <a:lnTo>
                      <a:pt x="31" y="145"/>
                    </a:lnTo>
                    <a:lnTo>
                      <a:pt x="31" y="146"/>
                    </a:lnTo>
                    <a:lnTo>
                      <a:pt x="33" y="148"/>
                    </a:lnTo>
                    <a:lnTo>
                      <a:pt x="34" y="150"/>
                    </a:lnTo>
                    <a:lnTo>
                      <a:pt x="36" y="152"/>
                    </a:lnTo>
                    <a:lnTo>
                      <a:pt x="31" y="158"/>
                    </a:lnTo>
                    <a:lnTo>
                      <a:pt x="31" y="160"/>
                    </a:lnTo>
                    <a:lnTo>
                      <a:pt x="34" y="159"/>
                    </a:lnTo>
                    <a:lnTo>
                      <a:pt x="36" y="162"/>
                    </a:lnTo>
                    <a:lnTo>
                      <a:pt x="41" y="162"/>
                    </a:lnTo>
                    <a:lnTo>
                      <a:pt x="45" y="163"/>
                    </a:lnTo>
                    <a:lnTo>
                      <a:pt x="45" y="165"/>
                    </a:lnTo>
                    <a:lnTo>
                      <a:pt x="46" y="165"/>
                    </a:lnTo>
                    <a:lnTo>
                      <a:pt x="46" y="167"/>
                    </a:lnTo>
                    <a:lnTo>
                      <a:pt x="45" y="168"/>
                    </a:lnTo>
                    <a:lnTo>
                      <a:pt x="47" y="172"/>
                    </a:lnTo>
                    <a:lnTo>
                      <a:pt x="47" y="175"/>
                    </a:lnTo>
                    <a:lnTo>
                      <a:pt x="48" y="175"/>
                    </a:lnTo>
                    <a:lnTo>
                      <a:pt x="50" y="173"/>
                    </a:lnTo>
                    <a:lnTo>
                      <a:pt x="53" y="173"/>
                    </a:lnTo>
                    <a:lnTo>
                      <a:pt x="53" y="175"/>
                    </a:lnTo>
                    <a:lnTo>
                      <a:pt x="53" y="176"/>
                    </a:lnTo>
                    <a:lnTo>
                      <a:pt x="57" y="182"/>
                    </a:lnTo>
                    <a:lnTo>
                      <a:pt x="58" y="184"/>
                    </a:lnTo>
                    <a:lnTo>
                      <a:pt x="60" y="184"/>
                    </a:lnTo>
                    <a:lnTo>
                      <a:pt x="60" y="186"/>
                    </a:lnTo>
                    <a:lnTo>
                      <a:pt x="62" y="187"/>
                    </a:lnTo>
                    <a:lnTo>
                      <a:pt x="66" y="187"/>
                    </a:lnTo>
                    <a:lnTo>
                      <a:pt x="66" y="188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66" y="192"/>
                    </a:lnTo>
                    <a:lnTo>
                      <a:pt x="70" y="192"/>
                    </a:lnTo>
                    <a:lnTo>
                      <a:pt x="71" y="194"/>
                    </a:lnTo>
                    <a:lnTo>
                      <a:pt x="73" y="194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1" y="199"/>
                    </a:lnTo>
                    <a:lnTo>
                      <a:pt x="72" y="201"/>
                    </a:lnTo>
                    <a:lnTo>
                      <a:pt x="72" y="203"/>
                    </a:lnTo>
                    <a:lnTo>
                      <a:pt x="75" y="202"/>
                    </a:lnTo>
                    <a:lnTo>
                      <a:pt x="76" y="201"/>
                    </a:lnTo>
                    <a:lnTo>
                      <a:pt x="78" y="200"/>
                    </a:lnTo>
                    <a:lnTo>
                      <a:pt x="79" y="199"/>
                    </a:lnTo>
                    <a:lnTo>
                      <a:pt x="80" y="199"/>
                    </a:lnTo>
                    <a:lnTo>
                      <a:pt x="83" y="202"/>
                    </a:lnTo>
                    <a:lnTo>
                      <a:pt x="82" y="203"/>
                    </a:lnTo>
                    <a:lnTo>
                      <a:pt x="84" y="206"/>
                    </a:lnTo>
                    <a:lnTo>
                      <a:pt x="87" y="207"/>
                    </a:lnTo>
                    <a:lnTo>
                      <a:pt x="89" y="211"/>
                    </a:lnTo>
                    <a:lnTo>
                      <a:pt x="88" y="213"/>
                    </a:lnTo>
                    <a:lnTo>
                      <a:pt x="86" y="217"/>
                    </a:lnTo>
                    <a:lnTo>
                      <a:pt x="83" y="217"/>
                    </a:lnTo>
                    <a:lnTo>
                      <a:pt x="83" y="218"/>
                    </a:lnTo>
                    <a:lnTo>
                      <a:pt x="80" y="221"/>
                    </a:lnTo>
                    <a:lnTo>
                      <a:pt x="80" y="223"/>
                    </a:lnTo>
                    <a:lnTo>
                      <a:pt x="81" y="227"/>
                    </a:lnTo>
                    <a:lnTo>
                      <a:pt x="85" y="228"/>
                    </a:lnTo>
                    <a:lnTo>
                      <a:pt x="85" y="229"/>
                    </a:lnTo>
                    <a:lnTo>
                      <a:pt x="86" y="229"/>
                    </a:lnTo>
                    <a:lnTo>
                      <a:pt x="87" y="232"/>
                    </a:lnTo>
                    <a:lnTo>
                      <a:pt x="90" y="233"/>
                    </a:lnTo>
                    <a:lnTo>
                      <a:pt x="93" y="233"/>
                    </a:lnTo>
                    <a:lnTo>
                      <a:pt x="95" y="236"/>
                    </a:lnTo>
                    <a:lnTo>
                      <a:pt x="98" y="237"/>
                    </a:lnTo>
                    <a:lnTo>
                      <a:pt x="98" y="238"/>
                    </a:lnTo>
                    <a:lnTo>
                      <a:pt x="98" y="245"/>
                    </a:lnTo>
                    <a:lnTo>
                      <a:pt x="102" y="247"/>
                    </a:lnTo>
                    <a:lnTo>
                      <a:pt x="106" y="247"/>
                    </a:lnTo>
                    <a:lnTo>
                      <a:pt x="109" y="250"/>
                    </a:lnTo>
                    <a:lnTo>
                      <a:pt x="110" y="253"/>
                    </a:lnTo>
                    <a:lnTo>
                      <a:pt x="111" y="250"/>
                    </a:lnTo>
                    <a:lnTo>
                      <a:pt x="114" y="252"/>
                    </a:lnTo>
                    <a:lnTo>
                      <a:pt x="114" y="247"/>
                    </a:lnTo>
                    <a:lnTo>
                      <a:pt x="116" y="247"/>
                    </a:lnTo>
                    <a:lnTo>
                      <a:pt x="118" y="247"/>
                    </a:lnTo>
                    <a:lnTo>
                      <a:pt x="118" y="245"/>
                    </a:lnTo>
                    <a:lnTo>
                      <a:pt x="119" y="246"/>
                    </a:lnTo>
                    <a:lnTo>
                      <a:pt x="119" y="244"/>
                    </a:lnTo>
                    <a:lnTo>
                      <a:pt x="124" y="244"/>
                    </a:lnTo>
                    <a:lnTo>
                      <a:pt x="128" y="247"/>
                    </a:lnTo>
                    <a:lnTo>
                      <a:pt x="130" y="249"/>
                    </a:lnTo>
                    <a:lnTo>
                      <a:pt x="130" y="255"/>
                    </a:lnTo>
                    <a:lnTo>
                      <a:pt x="130" y="256"/>
                    </a:lnTo>
                    <a:lnTo>
                      <a:pt x="130" y="257"/>
                    </a:lnTo>
                    <a:lnTo>
                      <a:pt x="133" y="258"/>
                    </a:lnTo>
                    <a:lnTo>
                      <a:pt x="133" y="256"/>
                    </a:lnTo>
                    <a:lnTo>
                      <a:pt x="133" y="252"/>
                    </a:lnTo>
                    <a:lnTo>
                      <a:pt x="132" y="250"/>
                    </a:lnTo>
                    <a:lnTo>
                      <a:pt x="137" y="249"/>
                    </a:lnTo>
                    <a:lnTo>
                      <a:pt x="142" y="250"/>
                    </a:lnTo>
                    <a:lnTo>
                      <a:pt x="142" y="246"/>
                    </a:lnTo>
                    <a:lnTo>
                      <a:pt x="140" y="243"/>
                    </a:lnTo>
                    <a:lnTo>
                      <a:pt x="141" y="243"/>
                    </a:lnTo>
                    <a:lnTo>
                      <a:pt x="143" y="244"/>
                    </a:lnTo>
                    <a:lnTo>
                      <a:pt x="146" y="246"/>
                    </a:lnTo>
                    <a:lnTo>
                      <a:pt x="148" y="246"/>
                    </a:lnTo>
                    <a:lnTo>
                      <a:pt x="151" y="243"/>
                    </a:lnTo>
                    <a:lnTo>
                      <a:pt x="152" y="241"/>
                    </a:lnTo>
                    <a:lnTo>
                      <a:pt x="154" y="243"/>
                    </a:lnTo>
                    <a:lnTo>
                      <a:pt x="157" y="243"/>
                    </a:lnTo>
                    <a:lnTo>
                      <a:pt x="157" y="242"/>
                    </a:lnTo>
                    <a:lnTo>
                      <a:pt x="158" y="241"/>
                    </a:lnTo>
                    <a:lnTo>
                      <a:pt x="158" y="243"/>
                    </a:lnTo>
                    <a:lnTo>
                      <a:pt x="160" y="244"/>
                    </a:lnTo>
                    <a:lnTo>
                      <a:pt x="162" y="243"/>
                    </a:lnTo>
                    <a:lnTo>
                      <a:pt x="164" y="242"/>
                    </a:lnTo>
                    <a:lnTo>
                      <a:pt x="165" y="240"/>
                    </a:lnTo>
                    <a:lnTo>
                      <a:pt x="167" y="240"/>
                    </a:lnTo>
                    <a:lnTo>
                      <a:pt x="168" y="242"/>
                    </a:lnTo>
                    <a:lnTo>
                      <a:pt x="170" y="242"/>
                    </a:lnTo>
                    <a:lnTo>
                      <a:pt x="171" y="243"/>
                    </a:lnTo>
                    <a:lnTo>
                      <a:pt x="171" y="244"/>
                    </a:lnTo>
                    <a:lnTo>
                      <a:pt x="172" y="244"/>
                    </a:lnTo>
                    <a:lnTo>
                      <a:pt x="171" y="245"/>
                    </a:lnTo>
                    <a:lnTo>
                      <a:pt x="172" y="247"/>
                    </a:lnTo>
                    <a:lnTo>
                      <a:pt x="173" y="247"/>
                    </a:lnTo>
                    <a:lnTo>
                      <a:pt x="173" y="245"/>
                    </a:lnTo>
                    <a:lnTo>
                      <a:pt x="175" y="247"/>
                    </a:lnTo>
                    <a:lnTo>
                      <a:pt x="178" y="245"/>
                    </a:lnTo>
                    <a:lnTo>
                      <a:pt x="180" y="248"/>
                    </a:lnTo>
                    <a:lnTo>
                      <a:pt x="180" y="251"/>
                    </a:lnTo>
                    <a:lnTo>
                      <a:pt x="181" y="250"/>
                    </a:lnTo>
                    <a:lnTo>
                      <a:pt x="184" y="250"/>
                    </a:lnTo>
                    <a:lnTo>
                      <a:pt x="187" y="252"/>
                    </a:lnTo>
                    <a:lnTo>
                      <a:pt x="191" y="248"/>
                    </a:lnTo>
                    <a:lnTo>
                      <a:pt x="193" y="249"/>
                    </a:lnTo>
                    <a:lnTo>
                      <a:pt x="195" y="250"/>
                    </a:lnTo>
                    <a:lnTo>
                      <a:pt x="195" y="251"/>
                    </a:lnTo>
                    <a:lnTo>
                      <a:pt x="196" y="253"/>
                    </a:lnTo>
                    <a:lnTo>
                      <a:pt x="199" y="256"/>
                    </a:lnTo>
                    <a:lnTo>
                      <a:pt x="200" y="256"/>
                    </a:lnTo>
                    <a:lnTo>
                      <a:pt x="200" y="253"/>
                    </a:lnTo>
                    <a:lnTo>
                      <a:pt x="203" y="254"/>
                    </a:lnTo>
                    <a:lnTo>
                      <a:pt x="203" y="253"/>
                    </a:lnTo>
                    <a:lnTo>
                      <a:pt x="204" y="253"/>
                    </a:lnTo>
                    <a:lnTo>
                      <a:pt x="206" y="251"/>
                    </a:lnTo>
                    <a:lnTo>
                      <a:pt x="207" y="250"/>
                    </a:lnTo>
                    <a:lnTo>
                      <a:pt x="208" y="249"/>
                    </a:lnTo>
                    <a:lnTo>
                      <a:pt x="210" y="250"/>
                    </a:lnTo>
                    <a:lnTo>
                      <a:pt x="211" y="249"/>
                    </a:lnTo>
                    <a:lnTo>
                      <a:pt x="212" y="247"/>
                    </a:lnTo>
                    <a:lnTo>
                      <a:pt x="212" y="245"/>
                    </a:lnTo>
                    <a:lnTo>
                      <a:pt x="211" y="244"/>
                    </a:lnTo>
                    <a:lnTo>
                      <a:pt x="212" y="243"/>
                    </a:lnTo>
                    <a:lnTo>
                      <a:pt x="211" y="243"/>
                    </a:lnTo>
                    <a:lnTo>
                      <a:pt x="212" y="242"/>
                    </a:lnTo>
                    <a:lnTo>
                      <a:pt x="214" y="243"/>
                    </a:lnTo>
                    <a:lnTo>
                      <a:pt x="214" y="241"/>
                    </a:lnTo>
                    <a:lnTo>
                      <a:pt x="211" y="236"/>
                    </a:lnTo>
                    <a:lnTo>
                      <a:pt x="212" y="233"/>
                    </a:lnTo>
                    <a:lnTo>
                      <a:pt x="214" y="232"/>
                    </a:lnTo>
                    <a:lnTo>
                      <a:pt x="217" y="232"/>
                    </a:lnTo>
                    <a:lnTo>
                      <a:pt x="220" y="233"/>
                    </a:lnTo>
                    <a:lnTo>
                      <a:pt x="222" y="231"/>
                    </a:lnTo>
                    <a:lnTo>
                      <a:pt x="224" y="232"/>
                    </a:lnTo>
                    <a:lnTo>
                      <a:pt x="223" y="233"/>
                    </a:lnTo>
                    <a:lnTo>
                      <a:pt x="224" y="233"/>
                    </a:lnTo>
                    <a:lnTo>
                      <a:pt x="224" y="227"/>
                    </a:lnTo>
                    <a:lnTo>
                      <a:pt x="228" y="227"/>
                    </a:lnTo>
                    <a:lnTo>
                      <a:pt x="229" y="229"/>
                    </a:lnTo>
                    <a:lnTo>
                      <a:pt x="230" y="228"/>
                    </a:lnTo>
                    <a:lnTo>
                      <a:pt x="230" y="227"/>
                    </a:lnTo>
                    <a:lnTo>
                      <a:pt x="232" y="226"/>
                    </a:lnTo>
                    <a:lnTo>
                      <a:pt x="234" y="226"/>
                    </a:lnTo>
                    <a:lnTo>
                      <a:pt x="235" y="225"/>
                    </a:lnTo>
                    <a:lnTo>
                      <a:pt x="235" y="223"/>
                    </a:lnTo>
                    <a:lnTo>
                      <a:pt x="238" y="223"/>
                    </a:lnTo>
                    <a:lnTo>
                      <a:pt x="239" y="223"/>
                    </a:lnTo>
                    <a:lnTo>
                      <a:pt x="240" y="221"/>
                    </a:lnTo>
                    <a:lnTo>
                      <a:pt x="241" y="220"/>
                    </a:lnTo>
                    <a:lnTo>
                      <a:pt x="244" y="222"/>
                    </a:lnTo>
                    <a:lnTo>
                      <a:pt x="246" y="220"/>
                    </a:lnTo>
                    <a:lnTo>
                      <a:pt x="246" y="219"/>
                    </a:lnTo>
                    <a:lnTo>
                      <a:pt x="244" y="219"/>
                    </a:lnTo>
                    <a:lnTo>
                      <a:pt x="245" y="216"/>
                    </a:lnTo>
                    <a:lnTo>
                      <a:pt x="247" y="218"/>
                    </a:lnTo>
                    <a:lnTo>
                      <a:pt x="249" y="218"/>
                    </a:lnTo>
                    <a:lnTo>
                      <a:pt x="249" y="214"/>
                    </a:lnTo>
                    <a:lnTo>
                      <a:pt x="249" y="213"/>
                    </a:lnTo>
                    <a:lnTo>
                      <a:pt x="249" y="214"/>
                    </a:lnTo>
                    <a:lnTo>
                      <a:pt x="251" y="213"/>
                    </a:lnTo>
                    <a:lnTo>
                      <a:pt x="254" y="210"/>
                    </a:lnTo>
                    <a:lnTo>
                      <a:pt x="254" y="213"/>
                    </a:lnTo>
                    <a:lnTo>
                      <a:pt x="254" y="215"/>
                    </a:lnTo>
                    <a:lnTo>
                      <a:pt x="256" y="216"/>
                    </a:lnTo>
                    <a:lnTo>
                      <a:pt x="257" y="215"/>
                    </a:lnTo>
                    <a:lnTo>
                      <a:pt x="259" y="218"/>
                    </a:lnTo>
                    <a:lnTo>
                      <a:pt x="260" y="216"/>
                    </a:lnTo>
                    <a:lnTo>
                      <a:pt x="262" y="218"/>
                    </a:lnTo>
                    <a:lnTo>
                      <a:pt x="262" y="217"/>
                    </a:lnTo>
                    <a:lnTo>
                      <a:pt x="264" y="218"/>
                    </a:lnTo>
                    <a:lnTo>
                      <a:pt x="267" y="216"/>
                    </a:lnTo>
                    <a:lnTo>
                      <a:pt x="267" y="218"/>
                    </a:lnTo>
                    <a:lnTo>
                      <a:pt x="266" y="218"/>
                    </a:lnTo>
                    <a:lnTo>
                      <a:pt x="269" y="219"/>
                    </a:lnTo>
                    <a:lnTo>
                      <a:pt x="270" y="219"/>
                    </a:lnTo>
                    <a:lnTo>
                      <a:pt x="270" y="221"/>
                    </a:lnTo>
                    <a:lnTo>
                      <a:pt x="271" y="221"/>
                    </a:lnTo>
                    <a:lnTo>
                      <a:pt x="271" y="220"/>
                    </a:lnTo>
                    <a:lnTo>
                      <a:pt x="272" y="222"/>
                    </a:lnTo>
                    <a:lnTo>
                      <a:pt x="273" y="222"/>
                    </a:lnTo>
                    <a:lnTo>
                      <a:pt x="273" y="223"/>
                    </a:lnTo>
                    <a:lnTo>
                      <a:pt x="274" y="223"/>
                    </a:lnTo>
                    <a:lnTo>
                      <a:pt x="274" y="226"/>
                    </a:lnTo>
                    <a:lnTo>
                      <a:pt x="275" y="227"/>
                    </a:lnTo>
                    <a:lnTo>
                      <a:pt x="276" y="223"/>
                    </a:lnTo>
                    <a:lnTo>
                      <a:pt x="276" y="225"/>
                    </a:lnTo>
                    <a:lnTo>
                      <a:pt x="276" y="226"/>
                    </a:lnTo>
                    <a:lnTo>
                      <a:pt x="278" y="228"/>
                    </a:lnTo>
                    <a:lnTo>
                      <a:pt x="281" y="233"/>
                    </a:lnTo>
                    <a:lnTo>
                      <a:pt x="285" y="236"/>
                    </a:lnTo>
                    <a:lnTo>
                      <a:pt x="287" y="235"/>
                    </a:lnTo>
                    <a:lnTo>
                      <a:pt x="289" y="234"/>
                    </a:lnTo>
                    <a:lnTo>
                      <a:pt x="287" y="231"/>
                    </a:lnTo>
                    <a:lnTo>
                      <a:pt x="287" y="227"/>
                    </a:lnTo>
                    <a:lnTo>
                      <a:pt x="290" y="223"/>
                    </a:lnTo>
                    <a:lnTo>
                      <a:pt x="292" y="223"/>
                    </a:lnTo>
                    <a:lnTo>
                      <a:pt x="292" y="222"/>
                    </a:lnTo>
                    <a:lnTo>
                      <a:pt x="290" y="216"/>
                    </a:lnTo>
                    <a:lnTo>
                      <a:pt x="292" y="216"/>
                    </a:lnTo>
                    <a:lnTo>
                      <a:pt x="290" y="214"/>
                    </a:lnTo>
                    <a:lnTo>
                      <a:pt x="289" y="214"/>
                    </a:lnTo>
                    <a:lnTo>
                      <a:pt x="290" y="213"/>
                    </a:lnTo>
                    <a:lnTo>
                      <a:pt x="291" y="212"/>
                    </a:lnTo>
                    <a:lnTo>
                      <a:pt x="290" y="210"/>
                    </a:lnTo>
                    <a:lnTo>
                      <a:pt x="292" y="210"/>
                    </a:lnTo>
                    <a:lnTo>
                      <a:pt x="293" y="212"/>
                    </a:lnTo>
                    <a:lnTo>
                      <a:pt x="294" y="213"/>
                    </a:lnTo>
                    <a:lnTo>
                      <a:pt x="295" y="210"/>
                    </a:lnTo>
                    <a:lnTo>
                      <a:pt x="295" y="213"/>
                    </a:lnTo>
                    <a:lnTo>
                      <a:pt x="297" y="213"/>
                    </a:lnTo>
                    <a:lnTo>
                      <a:pt x="297" y="210"/>
                    </a:lnTo>
                    <a:lnTo>
                      <a:pt x="300" y="211"/>
                    </a:lnTo>
                    <a:lnTo>
                      <a:pt x="301" y="210"/>
                    </a:lnTo>
                    <a:lnTo>
                      <a:pt x="303" y="211"/>
                    </a:lnTo>
                    <a:lnTo>
                      <a:pt x="304" y="210"/>
                    </a:lnTo>
                    <a:lnTo>
                      <a:pt x="303" y="206"/>
                    </a:lnTo>
                    <a:lnTo>
                      <a:pt x="303" y="207"/>
                    </a:lnTo>
                    <a:lnTo>
                      <a:pt x="305" y="209"/>
                    </a:lnTo>
                    <a:lnTo>
                      <a:pt x="308" y="208"/>
                    </a:lnTo>
                    <a:lnTo>
                      <a:pt x="308" y="205"/>
                    </a:lnTo>
                    <a:lnTo>
                      <a:pt x="309" y="204"/>
                    </a:lnTo>
                    <a:lnTo>
                      <a:pt x="309" y="202"/>
                    </a:lnTo>
                    <a:lnTo>
                      <a:pt x="309" y="200"/>
                    </a:lnTo>
                    <a:lnTo>
                      <a:pt x="306" y="201"/>
                    </a:lnTo>
                    <a:lnTo>
                      <a:pt x="305" y="199"/>
                    </a:lnTo>
                    <a:lnTo>
                      <a:pt x="309" y="192"/>
                    </a:lnTo>
                    <a:lnTo>
                      <a:pt x="308" y="191"/>
                    </a:lnTo>
                    <a:lnTo>
                      <a:pt x="307" y="190"/>
                    </a:lnTo>
                    <a:lnTo>
                      <a:pt x="309" y="190"/>
                    </a:lnTo>
                    <a:lnTo>
                      <a:pt x="309" y="191"/>
                    </a:lnTo>
                    <a:lnTo>
                      <a:pt x="311" y="192"/>
                    </a:lnTo>
                    <a:lnTo>
                      <a:pt x="312" y="191"/>
                    </a:lnTo>
                    <a:lnTo>
                      <a:pt x="312" y="190"/>
                    </a:lnTo>
                    <a:lnTo>
                      <a:pt x="311" y="190"/>
                    </a:lnTo>
                    <a:lnTo>
                      <a:pt x="311" y="188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91" name="Group 140">
              <a:extLst>
                <a:ext uri="{FF2B5EF4-FFF2-40B4-BE49-F238E27FC236}">
                  <a16:creationId xmlns:a16="http://schemas.microsoft.com/office/drawing/2014/main" id="{350D2296-1639-4F72-B276-FED0E29BC4E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17" y="3100"/>
              <a:ext cx="129" cy="104"/>
              <a:chOff x="1017" y="3100"/>
              <a:chExt cx="129" cy="104"/>
            </a:xfrm>
          </p:grpSpPr>
          <p:sp>
            <p:nvSpPr>
              <p:cNvPr id="477" name="Freeform 138">
                <a:extLst>
                  <a:ext uri="{FF2B5EF4-FFF2-40B4-BE49-F238E27FC236}">
                    <a16:creationId xmlns:a16="http://schemas.microsoft.com/office/drawing/2014/main" id="{D35D2AB3-9F50-43CD-8778-D93EB927DF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7" y="3100"/>
                <a:ext cx="129" cy="104"/>
              </a:xfrm>
              <a:custGeom>
                <a:avLst/>
                <a:gdLst>
                  <a:gd name="T0" fmla="*/ 111 w 129"/>
                  <a:gd name="T1" fmla="*/ 86 h 104"/>
                  <a:gd name="T2" fmla="*/ 107 w 129"/>
                  <a:gd name="T3" fmla="*/ 84 h 104"/>
                  <a:gd name="T4" fmla="*/ 100 w 129"/>
                  <a:gd name="T5" fmla="*/ 87 h 104"/>
                  <a:gd name="T6" fmla="*/ 98 w 129"/>
                  <a:gd name="T7" fmla="*/ 87 h 104"/>
                  <a:gd name="T8" fmla="*/ 94 w 129"/>
                  <a:gd name="T9" fmla="*/ 82 h 104"/>
                  <a:gd name="T10" fmla="*/ 92 w 129"/>
                  <a:gd name="T11" fmla="*/ 79 h 104"/>
                  <a:gd name="T12" fmla="*/ 88 w 129"/>
                  <a:gd name="T13" fmla="*/ 80 h 104"/>
                  <a:gd name="T14" fmla="*/ 85 w 129"/>
                  <a:gd name="T15" fmla="*/ 79 h 104"/>
                  <a:gd name="T16" fmla="*/ 78 w 129"/>
                  <a:gd name="T17" fmla="*/ 77 h 104"/>
                  <a:gd name="T18" fmla="*/ 73 w 129"/>
                  <a:gd name="T19" fmla="*/ 85 h 104"/>
                  <a:gd name="T20" fmla="*/ 70 w 129"/>
                  <a:gd name="T21" fmla="*/ 83 h 104"/>
                  <a:gd name="T22" fmla="*/ 60 w 129"/>
                  <a:gd name="T23" fmla="*/ 88 h 104"/>
                  <a:gd name="T24" fmla="*/ 54 w 129"/>
                  <a:gd name="T25" fmla="*/ 93 h 104"/>
                  <a:gd name="T26" fmla="*/ 44 w 129"/>
                  <a:gd name="T27" fmla="*/ 95 h 104"/>
                  <a:gd name="T28" fmla="*/ 37 w 129"/>
                  <a:gd name="T29" fmla="*/ 103 h 104"/>
                  <a:gd name="T30" fmla="*/ 31 w 129"/>
                  <a:gd name="T31" fmla="*/ 102 h 104"/>
                  <a:gd name="T32" fmla="*/ 27 w 129"/>
                  <a:gd name="T33" fmla="*/ 99 h 104"/>
                  <a:gd name="T34" fmla="*/ 20 w 129"/>
                  <a:gd name="T35" fmla="*/ 90 h 104"/>
                  <a:gd name="T36" fmla="*/ 25 w 129"/>
                  <a:gd name="T37" fmla="*/ 87 h 104"/>
                  <a:gd name="T38" fmla="*/ 24 w 129"/>
                  <a:gd name="T39" fmla="*/ 82 h 104"/>
                  <a:gd name="T40" fmla="*/ 18 w 129"/>
                  <a:gd name="T41" fmla="*/ 79 h 104"/>
                  <a:gd name="T42" fmla="*/ 14 w 129"/>
                  <a:gd name="T43" fmla="*/ 74 h 104"/>
                  <a:gd name="T44" fmla="*/ 20 w 129"/>
                  <a:gd name="T45" fmla="*/ 63 h 104"/>
                  <a:gd name="T46" fmla="*/ 8 w 129"/>
                  <a:gd name="T47" fmla="*/ 53 h 104"/>
                  <a:gd name="T48" fmla="*/ 9 w 129"/>
                  <a:gd name="T49" fmla="*/ 47 h 104"/>
                  <a:gd name="T50" fmla="*/ 4 w 129"/>
                  <a:gd name="T51" fmla="*/ 44 h 104"/>
                  <a:gd name="T52" fmla="*/ 12 w 129"/>
                  <a:gd name="T53" fmla="*/ 38 h 104"/>
                  <a:gd name="T54" fmla="*/ 16 w 129"/>
                  <a:gd name="T55" fmla="*/ 37 h 104"/>
                  <a:gd name="T56" fmla="*/ 12 w 129"/>
                  <a:gd name="T57" fmla="*/ 31 h 104"/>
                  <a:gd name="T58" fmla="*/ 9 w 129"/>
                  <a:gd name="T59" fmla="*/ 25 h 104"/>
                  <a:gd name="T60" fmla="*/ 0 w 129"/>
                  <a:gd name="T61" fmla="*/ 24 h 104"/>
                  <a:gd name="T62" fmla="*/ 5 w 129"/>
                  <a:gd name="T63" fmla="*/ 18 h 104"/>
                  <a:gd name="T64" fmla="*/ 9 w 129"/>
                  <a:gd name="T65" fmla="*/ 18 h 104"/>
                  <a:gd name="T66" fmla="*/ 18 w 129"/>
                  <a:gd name="T67" fmla="*/ 18 h 104"/>
                  <a:gd name="T68" fmla="*/ 24 w 129"/>
                  <a:gd name="T69" fmla="*/ 13 h 104"/>
                  <a:gd name="T70" fmla="*/ 26 w 129"/>
                  <a:gd name="T71" fmla="*/ 20 h 104"/>
                  <a:gd name="T72" fmla="*/ 38 w 129"/>
                  <a:gd name="T73" fmla="*/ 15 h 104"/>
                  <a:gd name="T74" fmla="*/ 38 w 129"/>
                  <a:gd name="T75" fmla="*/ 10 h 104"/>
                  <a:gd name="T76" fmla="*/ 47 w 129"/>
                  <a:gd name="T77" fmla="*/ 11 h 104"/>
                  <a:gd name="T78" fmla="*/ 55 w 129"/>
                  <a:gd name="T79" fmla="*/ 7 h 104"/>
                  <a:gd name="T80" fmla="*/ 68 w 129"/>
                  <a:gd name="T81" fmla="*/ 6 h 104"/>
                  <a:gd name="T82" fmla="*/ 72 w 129"/>
                  <a:gd name="T83" fmla="*/ 0 h 104"/>
                  <a:gd name="T84" fmla="*/ 85 w 129"/>
                  <a:gd name="T85" fmla="*/ 0 h 104"/>
                  <a:gd name="T86" fmla="*/ 88 w 129"/>
                  <a:gd name="T87" fmla="*/ 7 h 104"/>
                  <a:gd name="T88" fmla="*/ 93 w 129"/>
                  <a:gd name="T89" fmla="*/ 8 h 104"/>
                  <a:gd name="T90" fmla="*/ 95 w 129"/>
                  <a:gd name="T91" fmla="*/ 14 h 104"/>
                  <a:gd name="T92" fmla="*/ 101 w 129"/>
                  <a:gd name="T93" fmla="*/ 16 h 104"/>
                  <a:gd name="T94" fmla="*/ 103 w 129"/>
                  <a:gd name="T95" fmla="*/ 25 h 104"/>
                  <a:gd name="T96" fmla="*/ 111 w 129"/>
                  <a:gd name="T97" fmla="*/ 26 h 104"/>
                  <a:gd name="T98" fmla="*/ 119 w 129"/>
                  <a:gd name="T99" fmla="*/ 39 h 104"/>
                  <a:gd name="T100" fmla="*/ 128 w 129"/>
                  <a:gd name="T101" fmla="*/ 46 h 104"/>
                  <a:gd name="T102" fmla="*/ 118 w 129"/>
                  <a:gd name="T103" fmla="*/ 58 h 104"/>
                  <a:gd name="T104" fmla="*/ 110 w 129"/>
                  <a:gd name="T105" fmla="*/ 59 h 104"/>
                  <a:gd name="T106" fmla="*/ 109 w 129"/>
                  <a:gd name="T107" fmla="*/ 68 h 104"/>
                  <a:gd name="T108" fmla="*/ 113 w 129"/>
                  <a:gd name="T109" fmla="*/ 70 h 1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29"/>
                  <a:gd name="T166" fmla="*/ 0 h 104"/>
                  <a:gd name="T167" fmla="*/ 129 w 129"/>
                  <a:gd name="T168" fmla="*/ 104 h 1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29" h="104">
                    <a:moveTo>
                      <a:pt x="114" y="80"/>
                    </a:moveTo>
                    <a:lnTo>
                      <a:pt x="114" y="82"/>
                    </a:lnTo>
                    <a:lnTo>
                      <a:pt x="112" y="82"/>
                    </a:lnTo>
                    <a:lnTo>
                      <a:pt x="112" y="84"/>
                    </a:lnTo>
                    <a:lnTo>
                      <a:pt x="111" y="86"/>
                    </a:lnTo>
                    <a:lnTo>
                      <a:pt x="109" y="83"/>
                    </a:lnTo>
                    <a:lnTo>
                      <a:pt x="108" y="84"/>
                    </a:lnTo>
                    <a:lnTo>
                      <a:pt x="108" y="86"/>
                    </a:lnTo>
                    <a:lnTo>
                      <a:pt x="107" y="84"/>
                    </a:lnTo>
                    <a:lnTo>
                      <a:pt x="108" y="88"/>
                    </a:lnTo>
                    <a:lnTo>
                      <a:pt x="106" y="90"/>
                    </a:lnTo>
                    <a:lnTo>
                      <a:pt x="104" y="88"/>
                    </a:lnTo>
                    <a:lnTo>
                      <a:pt x="102" y="88"/>
                    </a:lnTo>
                    <a:lnTo>
                      <a:pt x="100" y="87"/>
                    </a:lnTo>
                    <a:lnTo>
                      <a:pt x="100" y="88"/>
                    </a:lnTo>
                    <a:lnTo>
                      <a:pt x="99" y="87"/>
                    </a:lnTo>
                    <a:lnTo>
                      <a:pt x="99" y="88"/>
                    </a:lnTo>
                    <a:lnTo>
                      <a:pt x="98" y="86"/>
                    </a:lnTo>
                    <a:lnTo>
                      <a:pt x="98" y="87"/>
                    </a:lnTo>
                    <a:lnTo>
                      <a:pt x="97" y="86"/>
                    </a:lnTo>
                    <a:lnTo>
                      <a:pt x="97" y="84"/>
                    </a:lnTo>
                    <a:lnTo>
                      <a:pt x="96" y="85"/>
                    </a:lnTo>
                    <a:lnTo>
                      <a:pt x="96" y="81"/>
                    </a:lnTo>
                    <a:lnTo>
                      <a:pt x="94" y="82"/>
                    </a:lnTo>
                    <a:lnTo>
                      <a:pt x="94" y="81"/>
                    </a:lnTo>
                    <a:lnTo>
                      <a:pt x="93" y="80"/>
                    </a:lnTo>
                    <a:lnTo>
                      <a:pt x="92" y="81"/>
                    </a:lnTo>
                    <a:lnTo>
                      <a:pt x="92" y="80"/>
                    </a:lnTo>
                    <a:lnTo>
                      <a:pt x="92" y="79"/>
                    </a:lnTo>
                    <a:lnTo>
                      <a:pt x="91" y="80"/>
                    </a:lnTo>
                    <a:lnTo>
                      <a:pt x="91" y="77"/>
                    </a:lnTo>
                    <a:lnTo>
                      <a:pt x="90" y="78"/>
                    </a:lnTo>
                    <a:lnTo>
                      <a:pt x="89" y="79"/>
                    </a:lnTo>
                    <a:lnTo>
                      <a:pt x="88" y="80"/>
                    </a:lnTo>
                    <a:lnTo>
                      <a:pt x="87" y="80"/>
                    </a:lnTo>
                    <a:lnTo>
                      <a:pt x="86" y="80"/>
                    </a:lnTo>
                    <a:lnTo>
                      <a:pt x="86" y="79"/>
                    </a:lnTo>
                    <a:lnTo>
                      <a:pt x="85" y="79"/>
                    </a:lnTo>
                    <a:lnTo>
                      <a:pt x="83" y="78"/>
                    </a:lnTo>
                    <a:lnTo>
                      <a:pt x="83" y="79"/>
                    </a:lnTo>
                    <a:lnTo>
                      <a:pt x="82" y="80"/>
                    </a:lnTo>
                    <a:lnTo>
                      <a:pt x="80" y="80"/>
                    </a:lnTo>
                    <a:lnTo>
                      <a:pt x="78" y="77"/>
                    </a:lnTo>
                    <a:lnTo>
                      <a:pt x="77" y="78"/>
                    </a:lnTo>
                    <a:lnTo>
                      <a:pt x="74" y="79"/>
                    </a:lnTo>
                    <a:lnTo>
                      <a:pt x="76" y="82"/>
                    </a:lnTo>
                    <a:lnTo>
                      <a:pt x="73" y="84"/>
                    </a:lnTo>
                    <a:lnTo>
                      <a:pt x="73" y="85"/>
                    </a:lnTo>
                    <a:lnTo>
                      <a:pt x="72" y="84"/>
                    </a:lnTo>
                    <a:lnTo>
                      <a:pt x="72" y="85"/>
                    </a:lnTo>
                    <a:lnTo>
                      <a:pt x="71" y="86"/>
                    </a:lnTo>
                    <a:lnTo>
                      <a:pt x="70" y="86"/>
                    </a:lnTo>
                    <a:lnTo>
                      <a:pt x="70" y="83"/>
                    </a:lnTo>
                    <a:lnTo>
                      <a:pt x="64" y="84"/>
                    </a:lnTo>
                    <a:lnTo>
                      <a:pt x="64" y="87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0" y="90"/>
                    </a:lnTo>
                    <a:lnTo>
                      <a:pt x="58" y="88"/>
                    </a:lnTo>
                    <a:lnTo>
                      <a:pt x="57" y="92"/>
                    </a:lnTo>
                    <a:lnTo>
                      <a:pt x="56" y="93"/>
                    </a:lnTo>
                    <a:lnTo>
                      <a:pt x="54" y="93"/>
                    </a:lnTo>
                    <a:lnTo>
                      <a:pt x="53" y="92"/>
                    </a:lnTo>
                    <a:lnTo>
                      <a:pt x="52" y="92"/>
                    </a:lnTo>
                    <a:lnTo>
                      <a:pt x="50" y="93"/>
                    </a:lnTo>
                    <a:lnTo>
                      <a:pt x="46" y="95"/>
                    </a:lnTo>
                    <a:lnTo>
                      <a:pt x="44" y="95"/>
                    </a:lnTo>
                    <a:lnTo>
                      <a:pt x="40" y="90"/>
                    </a:lnTo>
                    <a:lnTo>
                      <a:pt x="39" y="91"/>
                    </a:lnTo>
                    <a:lnTo>
                      <a:pt x="37" y="99"/>
                    </a:lnTo>
                    <a:lnTo>
                      <a:pt x="37" y="102"/>
                    </a:lnTo>
                    <a:lnTo>
                      <a:pt x="37" y="103"/>
                    </a:lnTo>
                    <a:lnTo>
                      <a:pt x="37" y="104"/>
                    </a:lnTo>
                    <a:lnTo>
                      <a:pt x="36" y="103"/>
                    </a:lnTo>
                    <a:lnTo>
                      <a:pt x="35" y="101"/>
                    </a:lnTo>
                    <a:lnTo>
                      <a:pt x="33" y="100"/>
                    </a:lnTo>
                    <a:lnTo>
                      <a:pt x="31" y="102"/>
                    </a:lnTo>
                    <a:lnTo>
                      <a:pt x="31" y="101"/>
                    </a:lnTo>
                    <a:lnTo>
                      <a:pt x="31" y="99"/>
                    </a:lnTo>
                    <a:lnTo>
                      <a:pt x="30" y="99"/>
                    </a:lnTo>
                    <a:lnTo>
                      <a:pt x="27" y="100"/>
                    </a:lnTo>
                    <a:lnTo>
                      <a:pt x="27" y="99"/>
                    </a:lnTo>
                    <a:lnTo>
                      <a:pt x="22" y="99"/>
                    </a:lnTo>
                    <a:lnTo>
                      <a:pt x="21" y="97"/>
                    </a:lnTo>
                    <a:lnTo>
                      <a:pt x="19" y="95"/>
                    </a:lnTo>
                    <a:lnTo>
                      <a:pt x="18" y="93"/>
                    </a:lnTo>
                    <a:lnTo>
                      <a:pt x="20" y="90"/>
                    </a:lnTo>
                    <a:lnTo>
                      <a:pt x="22" y="90"/>
                    </a:lnTo>
                    <a:lnTo>
                      <a:pt x="23" y="91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1" y="88"/>
                    </a:lnTo>
                    <a:lnTo>
                      <a:pt x="20" y="88"/>
                    </a:lnTo>
                    <a:lnTo>
                      <a:pt x="20" y="87"/>
                    </a:lnTo>
                    <a:lnTo>
                      <a:pt x="24" y="84"/>
                    </a:lnTo>
                    <a:lnTo>
                      <a:pt x="24" y="82"/>
                    </a:lnTo>
                    <a:lnTo>
                      <a:pt x="23" y="80"/>
                    </a:lnTo>
                    <a:lnTo>
                      <a:pt x="25" y="80"/>
                    </a:lnTo>
                    <a:lnTo>
                      <a:pt x="23" y="78"/>
                    </a:lnTo>
                    <a:lnTo>
                      <a:pt x="18" y="79"/>
                    </a:lnTo>
                    <a:lnTo>
                      <a:pt x="18" y="76"/>
                    </a:lnTo>
                    <a:lnTo>
                      <a:pt x="17" y="76"/>
                    </a:lnTo>
                    <a:lnTo>
                      <a:pt x="16" y="75"/>
                    </a:lnTo>
                    <a:lnTo>
                      <a:pt x="14" y="75"/>
                    </a:lnTo>
                    <a:lnTo>
                      <a:pt x="14" y="74"/>
                    </a:lnTo>
                    <a:lnTo>
                      <a:pt x="14" y="72"/>
                    </a:lnTo>
                    <a:lnTo>
                      <a:pt x="14" y="71"/>
                    </a:lnTo>
                    <a:lnTo>
                      <a:pt x="15" y="67"/>
                    </a:lnTo>
                    <a:lnTo>
                      <a:pt x="18" y="70"/>
                    </a:lnTo>
                    <a:lnTo>
                      <a:pt x="20" y="63"/>
                    </a:lnTo>
                    <a:lnTo>
                      <a:pt x="15" y="62"/>
                    </a:lnTo>
                    <a:lnTo>
                      <a:pt x="13" y="59"/>
                    </a:lnTo>
                    <a:lnTo>
                      <a:pt x="12" y="58"/>
                    </a:lnTo>
                    <a:lnTo>
                      <a:pt x="8" y="53"/>
                    </a:lnTo>
                    <a:lnTo>
                      <a:pt x="8" y="52"/>
                    </a:lnTo>
                    <a:lnTo>
                      <a:pt x="9" y="50"/>
                    </a:lnTo>
                    <a:lnTo>
                      <a:pt x="8" y="50"/>
                    </a:lnTo>
                    <a:lnTo>
                      <a:pt x="9" y="48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8" y="46"/>
                    </a:lnTo>
                    <a:lnTo>
                      <a:pt x="6" y="46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5" y="42"/>
                    </a:lnTo>
                    <a:lnTo>
                      <a:pt x="7" y="41"/>
                    </a:lnTo>
                    <a:lnTo>
                      <a:pt x="7" y="38"/>
                    </a:lnTo>
                    <a:lnTo>
                      <a:pt x="12" y="38"/>
                    </a:lnTo>
                    <a:lnTo>
                      <a:pt x="13" y="39"/>
                    </a:lnTo>
                    <a:lnTo>
                      <a:pt x="14" y="38"/>
                    </a:lnTo>
                    <a:lnTo>
                      <a:pt x="16" y="38"/>
                    </a:lnTo>
                    <a:lnTo>
                      <a:pt x="16" y="37"/>
                    </a:lnTo>
                    <a:lnTo>
                      <a:pt x="14" y="36"/>
                    </a:lnTo>
                    <a:lnTo>
                      <a:pt x="15" y="35"/>
                    </a:lnTo>
                    <a:lnTo>
                      <a:pt x="12" y="35"/>
                    </a:lnTo>
                    <a:lnTo>
                      <a:pt x="12" y="31"/>
                    </a:lnTo>
                    <a:lnTo>
                      <a:pt x="11" y="32"/>
                    </a:lnTo>
                    <a:lnTo>
                      <a:pt x="9" y="31"/>
                    </a:lnTo>
                    <a:lnTo>
                      <a:pt x="9" y="27"/>
                    </a:lnTo>
                    <a:lnTo>
                      <a:pt x="8" y="25"/>
                    </a:lnTo>
                    <a:lnTo>
                      <a:pt x="9" y="25"/>
                    </a:lnTo>
                    <a:lnTo>
                      <a:pt x="8" y="22"/>
                    </a:lnTo>
                    <a:lnTo>
                      <a:pt x="5" y="23"/>
                    </a:lnTo>
                    <a:lnTo>
                      <a:pt x="3" y="24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0" y="22"/>
                    </a:lnTo>
                    <a:lnTo>
                      <a:pt x="0" y="21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5" y="18"/>
                    </a:lnTo>
                    <a:lnTo>
                      <a:pt x="5" y="19"/>
                    </a:lnTo>
                    <a:lnTo>
                      <a:pt x="6" y="20"/>
                    </a:lnTo>
                    <a:lnTo>
                      <a:pt x="9" y="19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6" y="16"/>
                    </a:lnTo>
                    <a:lnTo>
                      <a:pt x="17" y="19"/>
                    </a:lnTo>
                    <a:lnTo>
                      <a:pt x="18" y="18"/>
                    </a:lnTo>
                    <a:lnTo>
                      <a:pt x="21" y="16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4" y="13"/>
                    </a:lnTo>
                    <a:lnTo>
                      <a:pt x="25" y="14"/>
                    </a:lnTo>
                    <a:lnTo>
                      <a:pt x="26" y="14"/>
                    </a:lnTo>
                    <a:lnTo>
                      <a:pt x="26" y="15"/>
                    </a:lnTo>
                    <a:lnTo>
                      <a:pt x="26" y="18"/>
                    </a:lnTo>
                    <a:lnTo>
                      <a:pt x="26" y="20"/>
                    </a:lnTo>
                    <a:lnTo>
                      <a:pt x="29" y="20"/>
                    </a:lnTo>
                    <a:lnTo>
                      <a:pt x="36" y="21"/>
                    </a:lnTo>
                    <a:lnTo>
                      <a:pt x="38" y="21"/>
                    </a:lnTo>
                    <a:lnTo>
                      <a:pt x="36" y="18"/>
                    </a:lnTo>
                    <a:lnTo>
                      <a:pt x="38" y="15"/>
                    </a:lnTo>
                    <a:lnTo>
                      <a:pt x="37" y="15"/>
                    </a:lnTo>
                    <a:lnTo>
                      <a:pt x="37" y="14"/>
                    </a:lnTo>
                    <a:lnTo>
                      <a:pt x="37" y="11"/>
                    </a:lnTo>
                    <a:lnTo>
                      <a:pt x="38" y="11"/>
                    </a:lnTo>
                    <a:lnTo>
                      <a:pt x="38" y="10"/>
                    </a:lnTo>
                    <a:lnTo>
                      <a:pt x="40" y="7"/>
                    </a:lnTo>
                    <a:lnTo>
                      <a:pt x="42" y="7"/>
                    </a:lnTo>
                    <a:lnTo>
                      <a:pt x="44" y="8"/>
                    </a:lnTo>
                    <a:lnTo>
                      <a:pt x="46" y="8"/>
                    </a:lnTo>
                    <a:lnTo>
                      <a:pt x="47" y="11"/>
                    </a:lnTo>
                    <a:lnTo>
                      <a:pt x="49" y="10"/>
                    </a:lnTo>
                    <a:lnTo>
                      <a:pt x="50" y="8"/>
                    </a:lnTo>
                    <a:lnTo>
                      <a:pt x="51" y="9"/>
                    </a:lnTo>
                    <a:lnTo>
                      <a:pt x="55" y="8"/>
                    </a:lnTo>
                    <a:lnTo>
                      <a:pt x="55" y="7"/>
                    </a:lnTo>
                    <a:lnTo>
                      <a:pt x="57" y="7"/>
                    </a:lnTo>
                    <a:lnTo>
                      <a:pt x="57" y="4"/>
                    </a:lnTo>
                    <a:lnTo>
                      <a:pt x="61" y="6"/>
                    </a:lnTo>
                    <a:lnTo>
                      <a:pt x="66" y="6"/>
                    </a:lnTo>
                    <a:lnTo>
                      <a:pt x="68" y="6"/>
                    </a:lnTo>
                    <a:lnTo>
                      <a:pt x="68" y="3"/>
                    </a:lnTo>
                    <a:lnTo>
                      <a:pt x="69" y="3"/>
                    </a:lnTo>
                    <a:lnTo>
                      <a:pt x="69" y="1"/>
                    </a:lnTo>
                    <a:lnTo>
                      <a:pt x="72" y="1"/>
                    </a:lnTo>
                    <a:lnTo>
                      <a:pt x="72" y="0"/>
                    </a:lnTo>
                    <a:lnTo>
                      <a:pt x="77" y="1"/>
                    </a:lnTo>
                    <a:lnTo>
                      <a:pt x="80" y="2"/>
                    </a:lnTo>
                    <a:lnTo>
                      <a:pt x="80" y="0"/>
                    </a:lnTo>
                    <a:lnTo>
                      <a:pt x="83" y="1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87" y="5"/>
                    </a:lnTo>
                    <a:lnTo>
                      <a:pt x="86" y="5"/>
                    </a:lnTo>
                    <a:lnTo>
                      <a:pt x="86" y="8"/>
                    </a:lnTo>
                    <a:lnTo>
                      <a:pt x="88" y="7"/>
                    </a:lnTo>
                    <a:lnTo>
                      <a:pt x="88" y="8"/>
                    </a:lnTo>
                    <a:lnTo>
                      <a:pt x="90" y="7"/>
                    </a:lnTo>
                    <a:lnTo>
                      <a:pt x="90" y="6"/>
                    </a:lnTo>
                    <a:lnTo>
                      <a:pt x="91" y="8"/>
                    </a:lnTo>
                    <a:lnTo>
                      <a:pt x="93" y="8"/>
                    </a:lnTo>
                    <a:lnTo>
                      <a:pt x="94" y="11"/>
                    </a:lnTo>
                    <a:lnTo>
                      <a:pt x="93" y="11"/>
                    </a:lnTo>
                    <a:lnTo>
                      <a:pt x="93" y="14"/>
                    </a:lnTo>
                    <a:lnTo>
                      <a:pt x="95" y="14"/>
                    </a:lnTo>
                    <a:lnTo>
                      <a:pt x="98" y="15"/>
                    </a:lnTo>
                    <a:lnTo>
                      <a:pt x="99" y="13"/>
                    </a:lnTo>
                    <a:lnTo>
                      <a:pt x="101" y="13"/>
                    </a:lnTo>
                    <a:lnTo>
                      <a:pt x="103" y="14"/>
                    </a:lnTo>
                    <a:lnTo>
                      <a:pt x="101" y="16"/>
                    </a:lnTo>
                    <a:lnTo>
                      <a:pt x="99" y="17"/>
                    </a:lnTo>
                    <a:lnTo>
                      <a:pt x="100" y="19"/>
                    </a:lnTo>
                    <a:lnTo>
                      <a:pt x="100" y="20"/>
                    </a:lnTo>
                    <a:lnTo>
                      <a:pt x="101" y="22"/>
                    </a:lnTo>
                    <a:lnTo>
                      <a:pt x="103" y="25"/>
                    </a:lnTo>
                    <a:lnTo>
                      <a:pt x="103" y="26"/>
                    </a:lnTo>
                    <a:lnTo>
                      <a:pt x="104" y="27"/>
                    </a:lnTo>
                    <a:lnTo>
                      <a:pt x="108" y="26"/>
                    </a:lnTo>
                    <a:lnTo>
                      <a:pt x="108" y="27"/>
                    </a:lnTo>
                    <a:lnTo>
                      <a:pt x="111" y="26"/>
                    </a:lnTo>
                    <a:lnTo>
                      <a:pt x="111" y="29"/>
                    </a:lnTo>
                    <a:lnTo>
                      <a:pt x="118" y="31"/>
                    </a:lnTo>
                    <a:lnTo>
                      <a:pt x="116" y="38"/>
                    </a:lnTo>
                    <a:lnTo>
                      <a:pt x="118" y="40"/>
                    </a:lnTo>
                    <a:lnTo>
                      <a:pt x="119" y="39"/>
                    </a:lnTo>
                    <a:lnTo>
                      <a:pt x="121" y="41"/>
                    </a:lnTo>
                    <a:lnTo>
                      <a:pt x="125" y="42"/>
                    </a:lnTo>
                    <a:lnTo>
                      <a:pt x="124" y="43"/>
                    </a:lnTo>
                    <a:lnTo>
                      <a:pt x="124" y="44"/>
                    </a:lnTo>
                    <a:lnTo>
                      <a:pt x="128" y="46"/>
                    </a:lnTo>
                    <a:lnTo>
                      <a:pt x="129" y="49"/>
                    </a:lnTo>
                    <a:lnTo>
                      <a:pt x="126" y="55"/>
                    </a:lnTo>
                    <a:lnTo>
                      <a:pt x="123" y="55"/>
                    </a:lnTo>
                    <a:lnTo>
                      <a:pt x="123" y="56"/>
                    </a:lnTo>
                    <a:lnTo>
                      <a:pt x="118" y="58"/>
                    </a:lnTo>
                    <a:lnTo>
                      <a:pt x="115" y="58"/>
                    </a:lnTo>
                    <a:lnTo>
                      <a:pt x="114" y="59"/>
                    </a:lnTo>
                    <a:lnTo>
                      <a:pt x="112" y="59"/>
                    </a:lnTo>
                    <a:lnTo>
                      <a:pt x="110" y="59"/>
                    </a:lnTo>
                    <a:lnTo>
                      <a:pt x="111" y="60"/>
                    </a:lnTo>
                    <a:lnTo>
                      <a:pt x="110" y="61"/>
                    </a:lnTo>
                    <a:lnTo>
                      <a:pt x="109" y="61"/>
                    </a:lnTo>
                    <a:lnTo>
                      <a:pt x="108" y="64"/>
                    </a:lnTo>
                    <a:lnTo>
                      <a:pt x="109" y="68"/>
                    </a:lnTo>
                    <a:lnTo>
                      <a:pt x="111" y="67"/>
                    </a:lnTo>
                    <a:lnTo>
                      <a:pt x="112" y="65"/>
                    </a:lnTo>
                    <a:lnTo>
                      <a:pt x="114" y="67"/>
                    </a:lnTo>
                    <a:lnTo>
                      <a:pt x="115" y="70"/>
                    </a:lnTo>
                    <a:lnTo>
                      <a:pt x="113" y="70"/>
                    </a:lnTo>
                    <a:lnTo>
                      <a:pt x="112" y="73"/>
                    </a:lnTo>
                    <a:lnTo>
                      <a:pt x="113" y="76"/>
                    </a:lnTo>
                    <a:lnTo>
                      <a:pt x="115" y="79"/>
                    </a:lnTo>
                    <a:lnTo>
                      <a:pt x="114" y="8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8" name="Freeform 139">
                <a:extLst>
                  <a:ext uri="{FF2B5EF4-FFF2-40B4-BE49-F238E27FC236}">
                    <a16:creationId xmlns:a16="http://schemas.microsoft.com/office/drawing/2014/main" id="{8D6BC56B-A552-4988-A8AA-606C50147B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7" y="3100"/>
                <a:ext cx="129" cy="104"/>
              </a:xfrm>
              <a:custGeom>
                <a:avLst/>
                <a:gdLst>
                  <a:gd name="T0" fmla="*/ 111 w 129"/>
                  <a:gd name="T1" fmla="*/ 86 h 104"/>
                  <a:gd name="T2" fmla="*/ 107 w 129"/>
                  <a:gd name="T3" fmla="*/ 84 h 104"/>
                  <a:gd name="T4" fmla="*/ 100 w 129"/>
                  <a:gd name="T5" fmla="*/ 87 h 104"/>
                  <a:gd name="T6" fmla="*/ 98 w 129"/>
                  <a:gd name="T7" fmla="*/ 87 h 104"/>
                  <a:gd name="T8" fmla="*/ 94 w 129"/>
                  <a:gd name="T9" fmla="*/ 82 h 104"/>
                  <a:gd name="T10" fmla="*/ 92 w 129"/>
                  <a:gd name="T11" fmla="*/ 79 h 104"/>
                  <a:gd name="T12" fmla="*/ 88 w 129"/>
                  <a:gd name="T13" fmla="*/ 80 h 104"/>
                  <a:gd name="T14" fmla="*/ 85 w 129"/>
                  <a:gd name="T15" fmla="*/ 79 h 104"/>
                  <a:gd name="T16" fmla="*/ 78 w 129"/>
                  <a:gd name="T17" fmla="*/ 77 h 104"/>
                  <a:gd name="T18" fmla="*/ 73 w 129"/>
                  <a:gd name="T19" fmla="*/ 85 h 104"/>
                  <a:gd name="T20" fmla="*/ 70 w 129"/>
                  <a:gd name="T21" fmla="*/ 83 h 104"/>
                  <a:gd name="T22" fmla="*/ 60 w 129"/>
                  <a:gd name="T23" fmla="*/ 88 h 104"/>
                  <a:gd name="T24" fmla="*/ 54 w 129"/>
                  <a:gd name="T25" fmla="*/ 93 h 104"/>
                  <a:gd name="T26" fmla="*/ 44 w 129"/>
                  <a:gd name="T27" fmla="*/ 95 h 104"/>
                  <a:gd name="T28" fmla="*/ 37 w 129"/>
                  <a:gd name="T29" fmla="*/ 103 h 104"/>
                  <a:gd name="T30" fmla="*/ 31 w 129"/>
                  <a:gd name="T31" fmla="*/ 102 h 104"/>
                  <a:gd name="T32" fmla="*/ 27 w 129"/>
                  <a:gd name="T33" fmla="*/ 99 h 104"/>
                  <a:gd name="T34" fmla="*/ 20 w 129"/>
                  <a:gd name="T35" fmla="*/ 90 h 104"/>
                  <a:gd name="T36" fmla="*/ 25 w 129"/>
                  <a:gd name="T37" fmla="*/ 87 h 104"/>
                  <a:gd name="T38" fmla="*/ 24 w 129"/>
                  <a:gd name="T39" fmla="*/ 82 h 104"/>
                  <a:gd name="T40" fmla="*/ 18 w 129"/>
                  <a:gd name="T41" fmla="*/ 79 h 104"/>
                  <a:gd name="T42" fmla="*/ 14 w 129"/>
                  <a:gd name="T43" fmla="*/ 74 h 104"/>
                  <a:gd name="T44" fmla="*/ 20 w 129"/>
                  <a:gd name="T45" fmla="*/ 63 h 104"/>
                  <a:gd name="T46" fmla="*/ 8 w 129"/>
                  <a:gd name="T47" fmla="*/ 53 h 104"/>
                  <a:gd name="T48" fmla="*/ 9 w 129"/>
                  <a:gd name="T49" fmla="*/ 47 h 104"/>
                  <a:gd name="T50" fmla="*/ 4 w 129"/>
                  <a:gd name="T51" fmla="*/ 44 h 104"/>
                  <a:gd name="T52" fmla="*/ 12 w 129"/>
                  <a:gd name="T53" fmla="*/ 38 h 104"/>
                  <a:gd name="T54" fmla="*/ 16 w 129"/>
                  <a:gd name="T55" fmla="*/ 37 h 104"/>
                  <a:gd name="T56" fmla="*/ 12 w 129"/>
                  <a:gd name="T57" fmla="*/ 31 h 104"/>
                  <a:gd name="T58" fmla="*/ 9 w 129"/>
                  <a:gd name="T59" fmla="*/ 25 h 104"/>
                  <a:gd name="T60" fmla="*/ 0 w 129"/>
                  <a:gd name="T61" fmla="*/ 24 h 104"/>
                  <a:gd name="T62" fmla="*/ 5 w 129"/>
                  <a:gd name="T63" fmla="*/ 18 h 104"/>
                  <a:gd name="T64" fmla="*/ 9 w 129"/>
                  <a:gd name="T65" fmla="*/ 18 h 104"/>
                  <a:gd name="T66" fmla="*/ 18 w 129"/>
                  <a:gd name="T67" fmla="*/ 18 h 104"/>
                  <a:gd name="T68" fmla="*/ 24 w 129"/>
                  <a:gd name="T69" fmla="*/ 13 h 104"/>
                  <a:gd name="T70" fmla="*/ 26 w 129"/>
                  <a:gd name="T71" fmla="*/ 20 h 104"/>
                  <a:gd name="T72" fmla="*/ 38 w 129"/>
                  <a:gd name="T73" fmla="*/ 15 h 104"/>
                  <a:gd name="T74" fmla="*/ 38 w 129"/>
                  <a:gd name="T75" fmla="*/ 10 h 104"/>
                  <a:gd name="T76" fmla="*/ 47 w 129"/>
                  <a:gd name="T77" fmla="*/ 11 h 104"/>
                  <a:gd name="T78" fmla="*/ 55 w 129"/>
                  <a:gd name="T79" fmla="*/ 7 h 104"/>
                  <a:gd name="T80" fmla="*/ 68 w 129"/>
                  <a:gd name="T81" fmla="*/ 6 h 104"/>
                  <a:gd name="T82" fmla="*/ 72 w 129"/>
                  <a:gd name="T83" fmla="*/ 0 h 104"/>
                  <a:gd name="T84" fmla="*/ 85 w 129"/>
                  <a:gd name="T85" fmla="*/ 0 h 104"/>
                  <a:gd name="T86" fmla="*/ 88 w 129"/>
                  <a:gd name="T87" fmla="*/ 7 h 104"/>
                  <a:gd name="T88" fmla="*/ 93 w 129"/>
                  <a:gd name="T89" fmla="*/ 8 h 104"/>
                  <a:gd name="T90" fmla="*/ 95 w 129"/>
                  <a:gd name="T91" fmla="*/ 14 h 104"/>
                  <a:gd name="T92" fmla="*/ 101 w 129"/>
                  <a:gd name="T93" fmla="*/ 16 h 104"/>
                  <a:gd name="T94" fmla="*/ 103 w 129"/>
                  <a:gd name="T95" fmla="*/ 25 h 104"/>
                  <a:gd name="T96" fmla="*/ 111 w 129"/>
                  <a:gd name="T97" fmla="*/ 26 h 104"/>
                  <a:gd name="T98" fmla="*/ 119 w 129"/>
                  <a:gd name="T99" fmla="*/ 39 h 104"/>
                  <a:gd name="T100" fmla="*/ 128 w 129"/>
                  <a:gd name="T101" fmla="*/ 46 h 104"/>
                  <a:gd name="T102" fmla="*/ 118 w 129"/>
                  <a:gd name="T103" fmla="*/ 58 h 104"/>
                  <a:gd name="T104" fmla="*/ 110 w 129"/>
                  <a:gd name="T105" fmla="*/ 59 h 104"/>
                  <a:gd name="T106" fmla="*/ 109 w 129"/>
                  <a:gd name="T107" fmla="*/ 68 h 104"/>
                  <a:gd name="T108" fmla="*/ 113 w 129"/>
                  <a:gd name="T109" fmla="*/ 70 h 1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29"/>
                  <a:gd name="T166" fmla="*/ 0 h 104"/>
                  <a:gd name="T167" fmla="*/ 129 w 129"/>
                  <a:gd name="T168" fmla="*/ 104 h 10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29" h="104">
                    <a:moveTo>
                      <a:pt x="114" y="80"/>
                    </a:moveTo>
                    <a:lnTo>
                      <a:pt x="114" y="82"/>
                    </a:lnTo>
                    <a:lnTo>
                      <a:pt x="112" y="82"/>
                    </a:lnTo>
                    <a:lnTo>
                      <a:pt x="112" y="84"/>
                    </a:lnTo>
                    <a:lnTo>
                      <a:pt x="111" y="86"/>
                    </a:lnTo>
                    <a:lnTo>
                      <a:pt x="109" y="83"/>
                    </a:lnTo>
                    <a:lnTo>
                      <a:pt x="108" y="84"/>
                    </a:lnTo>
                    <a:lnTo>
                      <a:pt x="108" y="86"/>
                    </a:lnTo>
                    <a:lnTo>
                      <a:pt x="107" y="84"/>
                    </a:lnTo>
                    <a:lnTo>
                      <a:pt x="108" y="88"/>
                    </a:lnTo>
                    <a:lnTo>
                      <a:pt x="106" y="90"/>
                    </a:lnTo>
                    <a:lnTo>
                      <a:pt x="104" y="88"/>
                    </a:lnTo>
                    <a:lnTo>
                      <a:pt x="102" y="88"/>
                    </a:lnTo>
                    <a:lnTo>
                      <a:pt x="100" y="87"/>
                    </a:lnTo>
                    <a:lnTo>
                      <a:pt x="100" y="88"/>
                    </a:lnTo>
                    <a:lnTo>
                      <a:pt x="99" y="87"/>
                    </a:lnTo>
                    <a:lnTo>
                      <a:pt x="99" y="88"/>
                    </a:lnTo>
                    <a:lnTo>
                      <a:pt x="98" y="86"/>
                    </a:lnTo>
                    <a:lnTo>
                      <a:pt x="98" y="87"/>
                    </a:lnTo>
                    <a:lnTo>
                      <a:pt x="97" y="86"/>
                    </a:lnTo>
                    <a:lnTo>
                      <a:pt x="97" y="84"/>
                    </a:lnTo>
                    <a:lnTo>
                      <a:pt x="96" y="85"/>
                    </a:lnTo>
                    <a:lnTo>
                      <a:pt x="96" y="81"/>
                    </a:lnTo>
                    <a:lnTo>
                      <a:pt x="94" y="82"/>
                    </a:lnTo>
                    <a:lnTo>
                      <a:pt x="94" y="81"/>
                    </a:lnTo>
                    <a:lnTo>
                      <a:pt x="93" y="80"/>
                    </a:lnTo>
                    <a:lnTo>
                      <a:pt x="92" y="81"/>
                    </a:lnTo>
                    <a:lnTo>
                      <a:pt x="92" y="80"/>
                    </a:lnTo>
                    <a:lnTo>
                      <a:pt x="92" y="79"/>
                    </a:lnTo>
                    <a:lnTo>
                      <a:pt x="91" y="80"/>
                    </a:lnTo>
                    <a:lnTo>
                      <a:pt x="91" y="77"/>
                    </a:lnTo>
                    <a:lnTo>
                      <a:pt x="90" y="78"/>
                    </a:lnTo>
                    <a:lnTo>
                      <a:pt x="89" y="79"/>
                    </a:lnTo>
                    <a:lnTo>
                      <a:pt x="88" y="80"/>
                    </a:lnTo>
                    <a:lnTo>
                      <a:pt x="87" y="80"/>
                    </a:lnTo>
                    <a:lnTo>
                      <a:pt x="86" y="80"/>
                    </a:lnTo>
                    <a:lnTo>
                      <a:pt x="86" y="79"/>
                    </a:lnTo>
                    <a:lnTo>
                      <a:pt x="85" y="79"/>
                    </a:lnTo>
                    <a:lnTo>
                      <a:pt x="83" y="78"/>
                    </a:lnTo>
                    <a:lnTo>
                      <a:pt x="83" y="79"/>
                    </a:lnTo>
                    <a:lnTo>
                      <a:pt x="82" y="80"/>
                    </a:lnTo>
                    <a:lnTo>
                      <a:pt x="80" y="80"/>
                    </a:lnTo>
                    <a:lnTo>
                      <a:pt x="78" y="77"/>
                    </a:lnTo>
                    <a:lnTo>
                      <a:pt x="77" y="78"/>
                    </a:lnTo>
                    <a:lnTo>
                      <a:pt x="74" y="79"/>
                    </a:lnTo>
                    <a:lnTo>
                      <a:pt x="76" y="82"/>
                    </a:lnTo>
                    <a:lnTo>
                      <a:pt x="73" y="84"/>
                    </a:lnTo>
                    <a:lnTo>
                      <a:pt x="73" y="85"/>
                    </a:lnTo>
                    <a:lnTo>
                      <a:pt x="72" y="84"/>
                    </a:lnTo>
                    <a:lnTo>
                      <a:pt x="72" y="85"/>
                    </a:lnTo>
                    <a:lnTo>
                      <a:pt x="71" y="86"/>
                    </a:lnTo>
                    <a:lnTo>
                      <a:pt x="70" y="86"/>
                    </a:lnTo>
                    <a:lnTo>
                      <a:pt x="70" y="83"/>
                    </a:lnTo>
                    <a:lnTo>
                      <a:pt x="64" y="84"/>
                    </a:lnTo>
                    <a:lnTo>
                      <a:pt x="64" y="87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0" y="90"/>
                    </a:lnTo>
                    <a:lnTo>
                      <a:pt x="58" y="88"/>
                    </a:lnTo>
                    <a:lnTo>
                      <a:pt x="57" y="92"/>
                    </a:lnTo>
                    <a:lnTo>
                      <a:pt x="56" y="93"/>
                    </a:lnTo>
                    <a:lnTo>
                      <a:pt x="54" y="93"/>
                    </a:lnTo>
                    <a:lnTo>
                      <a:pt x="53" y="92"/>
                    </a:lnTo>
                    <a:lnTo>
                      <a:pt x="52" y="92"/>
                    </a:lnTo>
                    <a:lnTo>
                      <a:pt x="50" y="93"/>
                    </a:lnTo>
                    <a:lnTo>
                      <a:pt x="46" y="95"/>
                    </a:lnTo>
                    <a:lnTo>
                      <a:pt x="44" y="95"/>
                    </a:lnTo>
                    <a:lnTo>
                      <a:pt x="40" y="90"/>
                    </a:lnTo>
                    <a:lnTo>
                      <a:pt x="39" y="91"/>
                    </a:lnTo>
                    <a:lnTo>
                      <a:pt x="37" y="99"/>
                    </a:lnTo>
                    <a:lnTo>
                      <a:pt x="37" y="102"/>
                    </a:lnTo>
                    <a:lnTo>
                      <a:pt x="37" y="103"/>
                    </a:lnTo>
                    <a:lnTo>
                      <a:pt x="37" y="104"/>
                    </a:lnTo>
                    <a:lnTo>
                      <a:pt x="36" y="103"/>
                    </a:lnTo>
                    <a:lnTo>
                      <a:pt x="35" y="101"/>
                    </a:lnTo>
                    <a:lnTo>
                      <a:pt x="33" y="100"/>
                    </a:lnTo>
                    <a:lnTo>
                      <a:pt x="31" y="102"/>
                    </a:lnTo>
                    <a:lnTo>
                      <a:pt x="31" y="101"/>
                    </a:lnTo>
                    <a:lnTo>
                      <a:pt x="31" y="99"/>
                    </a:lnTo>
                    <a:lnTo>
                      <a:pt x="30" y="99"/>
                    </a:lnTo>
                    <a:lnTo>
                      <a:pt x="27" y="100"/>
                    </a:lnTo>
                    <a:lnTo>
                      <a:pt x="27" y="99"/>
                    </a:lnTo>
                    <a:lnTo>
                      <a:pt x="22" y="99"/>
                    </a:lnTo>
                    <a:lnTo>
                      <a:pt x="21" y="97"/>
                    </a:lnTo>
                    <a:lnTo>
                      <a:pt x="19" y="95"/>
                    </a:lnTo>
                    <a:lnTo>
                      <a:pt x="18" y="93"/>
                    </a:lnTo>
                    <a:lnTo>
                      <a:pt x="20" y="90"/>
                    </a:lnTo>
                    <a:lnTo>
                      <a:pt x="22" y="90"/>
                    </a:lnTo>
                    <a:lnTo>
                      <a:pt x="23" y="91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1" y="88"/>
                    </a:lnTo>
                    <a:lnTo>
                      <a:pt x="20" y="88"/>
                    </a:lnTo>
                    <a:lnTo>
                      <a:pt x="20" y="87"/>
                    </a:lnTo>
                    <a:lnTo>
                      <a:pt x="24" y="84"/>
                    </a:lnTo>
                    <a:lnTo>
                      <a:pt x="24" y="82"/>
                    </a:lnTo>
                    <a:lnTo>
                      <a:pt x="23" y="80"/>
                    </a:lnTo>
                    <a:lnTo>
                      <a:pt x="25" y="80"/>
                    </a:lnTo>
                    <a:lnTo>
                      <a:pt x="23" y="78"/>
                    </a:lnTo>
                    <a:lnTo>
                      <a:pt x="18" y="79"/>
                    </a:lnTo>
                    <a:lnTo>
                      <a:pt x="18" y="76"/>
                    </a:lnTo>
                    <a:lnTo>
                      <a:pt x="17" y="76"/>
                    </a:lnTo>
                    <a:lnTo>
                      <a:pt x="16" y="75"/>
                    </a:lnTo>
                    <a:lnTo>
                      <a:pt x="14" y="75"/>
                    </a:lnTo>
                    <a:lnTo>
                      <a:pt x="14" y="74"/>
                    </a:lnTo>
                    <a:lnTo>
                      <a:pt x="14" y="72"/>
                    </a:lnTo>
                    <a:lnTo>
                      <a:pt x="14" y="71"/>
                    </a:lnTo>
                    <a:lnTo>
                      <a:pt x="15" y="67"/>
                    </a:lnTo>
                    <a:lnTo>
                      <a:pt x="18" y="70"/>
                    </a:lnTo>
                    <a:lnTo>
                      <a:pt x="20" y="63"/>
                    </a:lnTo>
                    <a:lnTo>
                      <a:pt x="15" y="62"/>
                    </a:lnTo>
                    <a:lnTo>
                      <a:pt x="13" y="59"/>
                    </a:lnTo>
                    <a:lnTo>
                      <a:pt x="12" y="58"/>
                    </a:lnTo>
                    <a:lnTo>
                      <a:pt x="8" y="53"/>
                    </a:lnTo>
                    <a:lnTo>
                      <a:pt x="8" y="52"/>
                    </a:lnTo>
                    <a:lnTo>
                      <a:pt x="9" y="50"/>
                    </a:lnTo>
                    <a:lnTo>
                      <a:pt x="8" y="50"/>
                    </a:lnTo>
                    <a:lnTo>
                      <a:pt x="9" y="48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8" y="46"/>
                    </a:lnTo>
                    <a:lnTo>
                      <a:pt x="6" y="46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5" y="42"/>
                    </a:lnTo>
                    <a:lnTo>
                      <a:pt x="7" y="41"/>
                    </a:lnTo>
                    <a:lnTo>
                      <a:pt x="7" y="38"/>
                    </a:lnTo>
                    <a:lnTo>
                      <a:pt x="12" y="38"/>
                    </a:lnTo>
                    <a:lnTo>
                      <a:pt x="13" y="39"/>
                    </a:lnTo>
                    <a:lnTo>
                      <a:pt x="14" y="38"/>
                    </a:lnTo>
                    <a:lnTo>
                      <a:pt x="16" y="38"/>
                    </a:lnTo>
                    <a:lnTo>
                      <a:pt x="16" y="37"/>
                    </a:lnTo>
                    <a:lnTo>
                      <a:pt x="14" y="36"/>
                    </a:lnTo>
                    <a:lnTo>
                      <a:pt x="15" y="35"/>
                    </a:lnTo>
                    <a:lnTo>
                      <a:pt x="12" y="35"/>
                    </a:lnTo>
                    <a:lnTo>
                      <a:pt x="12" y="31"/>
                    </a:lnTo>
                    <a:lnTo>
                      <a:pt x="11" y="32"/>
                    </a:lnTo>
                    <a:lnTo>
                      <a:pt x="9" y="31"/>
                    </a:lnTo>
                    <a:lnTo>
                      <a:pt x="9" y="27"/>
                    </a:lnTo>
                    <a:lnTo>
                      <a:pt x="8" y="25"/>
                    </a:lnTo>
                    <a:lnTo>
                      <a:pt x="9" y="25"/>
                    </a:lnTo>
                    <a:lnTo>
                      <a:pt x="8" y="22"/>
                    </a:lnTo>
                    <a:lnTo>
                      <a:pt x="5" y="23"/>
                    </a:lnTo>
                    <a:lnTo>
                      <a:pt x="3" y="24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0" y="22"/>
                    </a:lnTo>
                    <a:lnTo>
                      <a:pt x="0" y="21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5" y="18"/>
                    </a:lnTo>
                    <a:lnTo>
                      <a:pt x="5" y="19"/>
                    </a:lnTo>
                    <a:lnTo>
                      <a:pt x="6" y="20"/>
                    </a:lnTo>
                    <a:lnTo>
                      <a:pt x="9" y="19"/>
                    </a:lnTo>
                    <a:lnTo>
                      <a:pt x="9" y="18"/>
                    </a:lnTo>
                    <a:lnTo>
                      <a:pt x="14" y="17"/>
                    </a:lnTo>
                    <a:lnTo>
                      <a:pt x="16" y="16"/>
                    </a:lnTo>
                    <a:lnTo>
                      <a:pt x="17" y="19"/>
                    </a:lnTo>
                    <a:lnTo>
                      <a:pt x="18" y="18"/>
                    </a:lnTo>
                    <a:lnTo>
                      <a:pt x="21" y="16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4" y="13"/>
                    </a:lnTo>
                    <a:lnTo>
                      <a:pt x="25" y="14"/>
                    </a:lnTo>
                    <a:lnTo>
                      <a:pt x="26" y="14"/>
                    </a:lnTo>
                    <a:lnTo>
                      <a:pt x="26" y="15"/>
                    </a:lnTo>
                    <a:lnTo>
                      <a:pt x="26" y="18"/>
                    </a:lnTo>
                    <a:lnTo>
                      <a:pt x="26" y="20"/>
                    </a:lnTo>
                    <a:lnTo>
                      <a:pt x="29" y="20"/>
                    </a:lnTo>
                    <a:lnTo>
                      <a:pt x="36" y="21"/>
                    </a:lnTo>
                    <a:lnTo>
                      <a:pt x="38" y="21"/>
                    </a:lnTo>
                    <a:lnTo>
                      <a:pt x="36" y="18"/>
                    </a:lnTo>
                    <a:lnTo>
                      <a:pt x="38" y="15"/>
                    </a:lnTo>
                    <a:lnTo>
                      <a:pt x="37" y="15"/>
                    </a:lnTo>
                    <a:lnTo>
                      <a:pt x="37" y="14"/>
                    </a:lnTo>
                    <a:lnTo>
                      <a:pt x="37" y="11"/>
                    </a:lnTo>
                    <a:lnTo>
                      <a:pt x="38" y="11"/>
                    </a:lnTo>
                    <a:lnTo>
                      <a:pt x="38" y="10"/>
                    </a:lnTo>
                    <a:lnTo>
                      <a:pt x="40" y="7"/>
                    </a:lnTo>
                    <a:lnTo>
                      <a:pt x="42" y="7"/>
                    </a:lnTo>
                    <a:lnTo>
                      <a:pt x="44" y="8"/>
                    </a:lnTo>
                    <a:lnTo>
                      <a:pt x="46" y="8"/>
                    </a:lnTo>
                    <a:lnTo>
                      <a:pt x="47" y="11"/>
                    </a:lnTo>
                    <a:lnTo>
                      <a:pt x="49" y="10"/>
                    </a:lnTo>
                    <a:lnTo>
                      <a:pt x="50" y="8"/>
                    </a:lnTo>
                    <a:lnTo>
                      <a:pt x="51" y="9"/>
                    </a:lnTo>
                    <a:lnTo>
                      <a:pt x="55" y="8"/>
                    </a:lnTo>
                    <a:lnTo>
                      <a:pt x="55" y="7"/>
                    </a:lnTo>
                    <a:lnTo>
                      <a:pt x="57" y="7"/>
                    </a:lnTo>
                    <a:lnTo>
                      <a:pt x="57" y="4"/>
                    </a:lnTo>
                    <a:lnTo>
                      <a:pt x="61" y="6"/>
                    </a:lnTo>
                    <a:lnTo>
                      <a:pt x="66" y="6"/>
                    </a:lnTo>
                    <a:lnTo>
                      <a:pt x="68" y="6"/>
                    </a:lnTo>
                    <a:lnTo>
                      <a:pt x="68" y="3"/>
                    </a:lnTo>
                    <a:lnTo>
                      <a:pt x="69" y="3"/>
                    </a:lnTo>
                    <a:lnTo>
                      <a:pt x="69" y="1"/>
                    </a:lnTo>
                    <a:lnTo>
                      <a:pt x="72" y="1"/>
                    </a:lnTo>
                    <a:lnTo>
                      <a:pt x="72" y="0"/>
                    </a:lnTo>
                    <a:lnTo>
                      <a:pt x="77" y="1"/>
                    </a:lnTo>
                    <a:lnTo>
                      <a:pt x="80" y="2"/>
                    </a:lnTo>
                    <a:lnTo>
                      <a:pt x="80" y="0"/>
                    </a:lnTo>
                    <a:lnTo>
                      <a:pt x="83" y="1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87" y="5"/>
                    </a:lnTo>
                    <a:lnTo>
                      <a:pt x="86" y="5"/>
                    </a:lnTo>
                    <a:lnTo>
                      <a:pt x="86" y="8"/>
                    </a:lnTo>
                    <a:lnTo>
                      <a:pt x="88" y="7"/>
                    </a:lnTo>
                    <a:lnTo>
                      <a:pt x="88" y="8"/>
                    </a:lnTo>
                    <a:lnTo>
                      <a:pt x="90" y="7"/>
                    </a:lnTo>
                    <a:lnTo>
                      <a:pt x="90" y="6"/>
                    </a:lnTo>
                    <a:lnTo>
                      <a:pt x="91" y="8"/>
                    </a:lnTo>
                    <a:lnTo>
                      <a:pt x="93" y="8"/>
                    </a:lnTo>
                    <a:lnTo>
                      <a:pt x="94" y="11"/>
                    </a:lnTo>
                    <a:lnTo>
                      <a:pt x="93" y="11"/>
                    </a:lnTo>
                    <a:lnTo>
                      <a:pt x="93" y="14"/>
                    </a:lnTo>
                    <a:lnTo>
                      <a:pt x="95" y="14"/>
                    </a:lnTo>
                    <a:lnTo>
                      <a:pt x="98" y="15"/>
                    </a:lnTo>
                    <a:lnTo>
                      <a:pt x="99" y="13"/>
                    </a:lnTo>
                    <a:lnTo>
                      <a:pt x="101" y="13"/>
                    </a:lnTo>
                    <a:lnTo>
                      <a:pt x="103" y="14"/>
                    </a:lnTo>
                    <a:lnTo>
                      <a:pt x="101" y="16"/>
                    </a:lnTo>
                    <a:lnTo>
                      <a:pt x="99" y="17"/>
                    </a:lnTo>
                    <a:lnTo>
                      <a:pt x="100" y="19"/>
                    </a:lnTo>
                    <a:lnTo>
                      <a:pt x="100" y="20"/>
                    </a:lnTo>
                    <a:lnTo>
                      <a:pt x="101" y="22"/>
                    </a:lnTo>
                    <a:lnTo>
                      <a:pt x="103" y="25"/>
                    </a:lnTo>
                    <a:lnTo>
                      <a:pt x="103" y="26"/>
                    </a:lnTo>
                    <a:lnTo>
                      <a:pt x="104" y="27"/>
                    </a:lnTo>
                    <a:lnTo>
                      <a:pt x="108" y="26"/>
                    </a:lnTo>
                    <a:lnTo>
                      <a:pt x="108" y="27"/>
                    </a:lnTo>
                    <a:lnTo>
                      <a:pt x="111" y="26"/>
                    </a:lnTo>
                    <a:lnTo>
                      <a:pt x="111" y="29"/>
                    </a:lnTo>
                    <a:lnTo>
                      <a:pt x="118" y="31"/>
                    </a:lnTo>
                    <a:lnTo>
                      <a:pt x="116" y="38"/>
                    </a:lnTo>
                    <a:lnTo>
                      <a:pt x="118" y="40"/>
                    </a:lnTo>
                    <a:lnTo>
                      <a:pt x="119" y="39"/>
                    </a:lnTo>
                    <a:lnTo>
                      <a:pt x="121" y="41"/>
                    </a:lnTo>
                    <a:lnTo>
                      <a:pt x="125" y="42"/>
                    </a:lnTo>
                    <a:lnTo>
                      <a:pt x="124" y="43"/>
                    </a:lnTo>
                    <a:lnTo>
                      <a:pt x="124" y="44"/>
                    </a:lnTo>
                    <a:lnTo>
                      <a:pt x="128" y="46"/>
                    </a:lnTo>
                    <a:lnTo>
                      <a:pt x="129" y="49"/>
                    </a:lnTo>
                    <a:lnTo>
                      <a:pt x="126" y="55"/>
                    </a:lnTo>
                    <a:lnTo>
                      <a:pt x="123" y="55"/>
                    </a:lnTo>
                    <a:lnTo>
                      <a:pt x="123" y="56"/>
                    </a:lnTo>
                    <a:lnTo>
                      <a:pt x="118" y="58"/>
                    </a:lnTo>
                    <a:lnTo>
                      <a:pt x="115" y="58"/>
                    </a:lnTo>
                    <a:lnTo>
                      <a:pt x="114" y="59"/>
                    </a:lnTo>
                    <a:lnTo>
                      <a:pt x="112" y="59"/>
                    </a:lnTo>
                    <a:lnTo>
                      <a:pt x="110" y="59"/>
                    </a:lnTo>
                    <a:lnTo>
                      <a:pt x="111" y="60"/>
                    </a:lnTo>
                    <a:lnTo>
                      <a:pt x="110" y="61"/>
                    </a:lnTo>
                    <a:lnTo>
                      <a:pt x="109" y="61"/>
                    </a:lnTo>
                    <a:lnTo>
                      <a:pt x="108" y="64"/>
                    </a:lnTo>
                    <a:lnTo>
                      <a:pt x="109" y="68"/>
                    </a:lnTo>
                    <a:lnTo>
                      <a:pt x="111" y="67"/>
                    </a:lnTo>
                    <a:lnTo>
                      <a:pt x="112" y="65"/>
                    </a:lnTo>
                    <a:lnTo>
                      <a:pt x="114" y="67"/>
                    </a:lnTo>
                    <a:lnTo>
                      <a:pt x="115" y="70"/>
                    </a:lnTo>
                    <a:lnTo>
                      <a:pt x="113" y="70"/>
                    </a:lnTo>
                    <a:lnTo>
                      <a:pt x="112" y="73"/>
                    </a:lnTo>
                    <a:lnTo>
                      <a:pt x="113" y="76"/>
                    </a:lnTo>
                    <a:lnTo>
                      <a:pt x="115" y="79"/>
                    </a:lnTo>
                    <a:lnTo>
                      <a:pt x="114" y="80"/>
                    </a:lnTo>
                    <a:close/>
                  </a:path>
                </a:pathLst>
              </a:custGeom>
              <a:noFill/>
              <a:ln w="4763" cap="rnd">
                <a:solidFill>
                  <a:srgbClr val="EAEAEA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8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92" name="Group 143">
              <a:extLst>
                <a:ext uri="{FF2B5EF4-FFF2-40B4-BE49-F238E27FC236}">
                  <a16:creationId xmlns:a16="http://schemas.microsoft.com/office/drawing/2014/main" id="{765EA842-8FBB-4E93-9F41-C6F5D3983A7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96" y="3246"/>
              <a:ext cx="26" cy="26"/>
              <a:chOff x="696" y="3246"/>
              <a:chExt cx="26" cy="26"/>
            </a:xfrm>
          </p:grpSpPr>
          <p:sp>
            <p:nvSpPr>
              <p:cNvPr id="475" name="Rectangle 141">
                <a:extLst>
                  <a:ext uri="{FF2B5EF4-FFF2-40B4-BE49-F238E27FC236}">
                    <a16:creationId xmlns:a16="http://schemas.microsoft.com/office/drawing/2014/main" id="{9477520A-FFAE-4557-80EA-AD1D432D25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6" y="3246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76" name="Rectangle 142">
                <a:extLst>
                  <a:ext uri="{FF2B5EF4-FFF2-40B4-BE49-F238E27FC236}">
                    <a16:creationId xmlns:a16="http://schemas.microsoft.com/office/drawing/2014/main" id="{C95C70E0-65F1-48B8-977D-DCC20BC2F0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6" y="3246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393" name="Rectangle 144">
              <a:extLst>
                <a:ext uri="{FF2B5EF4-FFF2-40B4-BE49-F238E27FC236}">
                  <a16:creationId xmlns:a16="http://schemas.microsoft.com/office/drawing/2014/main" id="{BDFEFB3F-C12B-49D1-A00D-90F81A47DB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" y="3279"/>
              <a:ext cx="150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FN Plzeň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grpSp>
          <p:nvGrpSpPr>
            <p:cNvPr id="394" name="Group 147">
              <a:extLst>
                <a:ext uri="{FF2B5EF4-FFF2-40B4-BE49-F238E27FC236}">
                  <a16:creationId xmlns:a16="http://schemas.microsoft.com/office/drawing/2014/main" id="{DE59DA4B-1DDD-4B0F-AB80-DEBC4276C03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20" y="2889"/>
              <a:ext cx="26" cy="26"/>
              <a:chOff x="820" y="2889"/>
              <a:chExt cx="26" cy="26"/>
            </a:xfrm>
          </p:grpSpPr>
          <p:sp>
            <p:nvSpPr>
              <p:cNvPr id="473" name="Rectangle 145">
                <a:extLst>
                  <a:ext uri="{FF2B5EF4-FFF2-40B4-BE49-F238E27FC236}">
                    <a16:creationId xmlns:a16="http://schemas.microsoft.com/office/drawing/2014/main" id="{2023FB1E-58A6-499F-9002-C36CC10FE7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0" y="2889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74" name="Rectangle 146">
                <a:extLst>
                  <a:ext uri="{FF2B5EF4-FFF2-40B4-BE49-F238E27FC236}">
                    <a16:creationId xmlns:a16="http://schemas.microsoft.com/office/drawing/2014/main" id="{9FB0ECD4-4CFB-4763-9651-29FF0046C2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0" y="2889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395" name="Rectangle 148">
              <a:extLst>
                <a:ext uri="{FF2B5EF4-FFF2-40B4-BE49-F238E27FC236}">
                  <a16:creationId xmlns:a16="http://schemas.microsoft.com/office/drawing/2014/main" id="{0775477B-45F1-4211-A83C-F70EF8C1E2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" y="2919"/>
              <a:ext cx="195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Nemocnice 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96" name="Rectangle 149">
              <a:extLst>
                <a:ext uri="{FF2B5EF4-FFF2-40B4-BE49-F238E27FC236}">
                  <a16:creationId xmlns:a16="http://schemas.microsoft.com/office/drawing/2014/main" id="{6796A862-0C79-4FE4-BCC9-5265CC1684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" y="2956"/>
              <a:ext cx="170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Chomutov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grpSp>
          <p:nvGrpSpPr>
            <p:cNvPr id="397" name="Group 152">
              <a:extLst>
                <a:ext uri="{FF2B5EF4-FFF2-40B4-BE49-F238E27FC236}">
                  <a16:creationId xmlns:a16="http://schemas.microsoft.com/office/drawing/2014/main" id="{F4548D2D-9B51-43D2-A382-5C978F56AB6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12" y="2820"/>
              <a:ext cx="26" cy="26"/>
              <a:chOff x="1012" y="2820"/>
              <a:chExt cx="26" cy="26"/>
            </a:xfrm>
          </p:grpSpPr>
          <p:sp>
            <p:nvSpPr>
              <p:cNvPr id="471" name="Rectangle 150">
                <a:extLst>
                  <a:ext uri="{FF2B5EF4-FFF2-40B4-BE49-F238E27FC236}">
                    <a16:creationId xmlns:a16="http://schemas.microsoft.com/office/drawing/2014/main" id="{3F3F7BF1-02C6-49F9-8107-9AA913E147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2" y="2820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72" name="Rectangle 151">
                <a:extLst>
                  <a:ext uri="{FF2B5EF4-FFF2-40B4-BE49-F238E27FC236}">
                    <a16:creationId xmlns:a16="http://schemas.microsoft.com/office/drawing/2014/main" id="{DB0F7E3B-8342-4BC7-87E6-5AB19C024F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2" y="2820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398" name="Rectangle 153">
              <a:extLst>
                <a:ext uri="{FF2B5EF4-FFF2-40B4-BE49-F238E27FC236}">
                  <a16:creationId xmlns:a16="http://schemas.microsoft.com/office/drawing/2014/main" id="{39B4A8DF-ECE7-44C5-9F68-E7422AA2CD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0" y="2849"/>
              <a:ext cx="207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Masarykova </a:t>
              </a:r>
              <a:endParaRPr kumimoji="1" lang="cs-CZ" altLang="cs-CZ" sz="16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399" name="Rectangle 154">
              <a:extLst>
                <a:ext uri="{FF2B5EF4-FFF2-40B4-BE49-F238E27FC236}">
                  <a16:creationId xmlns:a16="http://schemas.microsoft.com/office/drawing/2014/main" id="{AD2F11ED-FD4D-4FDB-9D69-12AFC9A6D7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0" y="2886"/>
              <a:ext cx="318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nemocnice               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00" name="Rectangle 155">
              <a:extLst>
                <a:ext uri="{FF2B5EF4-FFF2-40B4-BE49-F238E27FC236}">
                  <a16:creationId xmlns:a16="http://schemas.microsoft.com/office/drawing/2014/main" id="{DB655DA4-AB03-4253-85AC-07B1A85D2C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80" y="2922"/>
              <a:ext cx="254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Ústí nad Labem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grpSp>
          <p:nvGrpSpPr>
            <p:cNvPr id="401" name="Group 158">
              <a:extLst>
                <a:ext uri="{FF2B5EF4-FFF2-40B4-BE49-F238E27FC236}">
                  <a16:creationId xmlns:a16="http://schemas.microsoft.com/office/drawing/2014/main" id="{B8E9EA13-E736-4E74-94E9-BC09983EF35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75" y="2816"/>
              <a:ext cx="26" cy="26"/>
              <a:chOff x="1275" y="2816"/>
              <a:chExt cx="26" cy="26"/>
            </a:xfrm>
          </p:grpSpPr>
          <p:sp>
            <p:nvSpPr>
              <p:cNvPr id="469" name="Rectangle 156">
                <a:extLst>
                  <a:ext uri="{FF2B5EF4-FFF2-40B4-BE49-F238E27FC236}">
                    <a16:creationId xmlns:a16="http://schemas.microsoft.com/office/drawing/2014/main" id="{5E08D507-332D-47AD-84C0-2EFEB9089D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" y="2816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70" name="Rectangle 157">
                <a:extLst>
                  <a:ext uri="{FF2B5EF4-FFF2-40B4-BE49-F238E27FC236}">
                    <a16:creationId xmlns:a16="http://schemas.microsoft.com/office/drawing/2014/main" id="{7F6CC2BD-62FD-4A86-9808-8EBDE6DCAA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5" y="2816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402" name="Rectangle 159">
              <a:extLst>
                <a:ext uri="{FF2B5EF4-FFF2-40B4-BE49-F238E27FC236}">
                  <a16:creationId xmlns:a16="http://schemas.microsoft.com/office/drawing/2014/main" id="{4EBA21E5-8741-4E8B-B239-FF94AAB69D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8" y="2866"/>
              <a:ext cx="195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Nemocnice 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03" name="Rectangle 160">
              <a:extLst>
                <a:ext uri="{FF2B5EF4-FFF2-40B4-BE49-F238E27FC236}">
                  <a16:creationId xmlns:a16="http://schemas.microsoft.com/office/drawing/2014/main" id="{C370936F-F032-4B3A-9ABB-8D8AE00BAB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8" y="2903"/>
              <a:ext cx="131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Liberec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grpSp>
          <p:nvGrpSpPr>
            <p:cNvPr id="404" name="Group 163">
              <a:extLst>
                <a:ext uri="{FF2B5EF4-FFF2-40B4-BE49-F238E27FC236}">
                  <a16:creationId xmlns:a16="http://schemas.microsoft.com/office/drawing/2014/main" id="{82875B01-663F-4717-A7BE-BA8EF65AF9F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71" y="3111"/>
              <a:ext cx="26" cy="26"/>
              <a:chOff x="1471" y="3111"/>
              <a:chExt cx="26" cy="26"/>
            </a:xfrm>
          </p:grpSpPr>
          <p:sp>
            <p:nvSpPr>
              <p:cNvPr id="467" name="Rectangle 161">
                <a:extLst>
                  <a:ext uri="{FF2B5EF4-FFF2-40B4-BE49-F238E27FC236}">
                    <a16:creationId xmlns:a16="http://schemas.microsoft.com/office/drawing/2014/main" id="{A4E48B01-D606-4EC7-A6DE-A3885C5D19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1" y="3111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68" name="Rectangle 162">
                <a:extLst>
                  <a:ext uri="{FF2B5EF4-FFF2-40B4-BE49-F238E27FC236}">
                    <a16:creationId xmlns:a16="http://schemas.microsoft.com/office/drawing/2014/main" id="{F1B0E348-39B9-45BF-9CC5-5777C16F43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1" y="3111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405" name="Group 166">
              <a:extLst>
                <a:ext uri="{FF2B5EF4-FFF2-40B4-BE49-F238E27FC236}">
                  <a16:creationId xmlns:a16="http://schemas.microsoft.com/office/drawing/2014/main" id="{F3581CEC-3F27-448F-ADBF-B08AC43A153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49" y="3184"/>
              <a:ext cx="26" cy="26"/>
              <a:chOff x="1449" y="3184"/>
              <a:chExt cx="26" cy="26"/>
            </a:xfrm>
          </p:grpSpPr>
          <p:sp>
            <p:nvSpPr>
              <p:cNvPr id="465" name="Rectangle 164">
                <a:extLst>
                  <a:ext uri="{FF2B5EF4-FFF2-40B4-BE49-F238E27FC236}">
                    <a16:creationId xmlns:a16="http://schemas.microsoft.com/office/drawing/2014/main" id="{94DF310D-3679-4526-B385-960DB96112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9" y="3184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66" name="Rectangle 165">
                <a:extLst>
                  <a:ext uri="{FF2B5EF4-FFF2-40B4-BE49-F238E27FC236}">
                    <a16:creationId xmlns:a16="http://schemas.microsoft.com/office/drawing/2014/main" id="{2651A85C-88EF-4E72-B610-AFADF19851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9" y="3184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406" name="Rectangle 167">
              <a:extLst>
                <a:ext uri="{FF2B5EF4-FFF2-40B4-BE49-F238E27FC236}">
                  <a16:creationId xmlns:a16="http://schemas.microsoft.com/office/drawing/2014/main" id="{08011440-B9D3-4C75-A5C7-87D50DA31F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0" y="3078"/>
              <a:ext cx="183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FN Hradec 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07" name="Rectangle 168">
              <a:extLst>
                <a:ext uri="{FF2B5EF4-FFF2-40B4-BE49-F238E27FC236}">
                  <a16:creationId xmlns:a16="http://schemas.microsoft.com/office/drawing/2014/main" id="{E959E9C9-1615-4AAA-A980-43D0174F17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0" y="3115"/>
              <a:ext cx="133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Králové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08" name="Rectangle 169">
              <a:extLst>
                <a:ext uri="{FF2B5EF4-FFF2-40B4-BE49-F238E27FC236}">
                  <a16:creationId xmlns:a16="http://schemas.microsoft.com/office/drawing/2014/main" id="{CFC457B6-4308-44D5-A426-EEC412A791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6" y="3225"/>
              <a:ext cx="195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Nemocnice 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09" name="Rectangle 170">
              <a:extLst>
                <a:ext uri="{FF2B5EF4-FFF2-40B4-BE49-F238E27FC236}">
                  <a16:creationId xmlns:a16="http://schemas.microsoft.com/office/drawing/2014/main" id="{72FEAF87-A3CA-4CA0-BD43-B4B88E9925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46" y="3262"/>
              <a:ext cx="169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Pardubice</a:t>
              </a:r>
              <a:endParaRPr kumimoji="1" lang="cs-CZ" altLang="cs-CZ" sz="16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grpSp>
          <p:nvGrpSpPr>
            <p:cNvPr id="410" name="Group 173">
              <a:extLst>
                <a:ext uri="{FF2B5EF4-FFF2-40B4-BE49-F238E27FC236}">
                  <a16:creationId xmlns:a16="http://schemas.microsoft.com/office/drawing/2014/main" id="{5CEAB567-D43A-4A72-8A48-985D341736F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89" y="3675"/>
              <a:ext cx="26" cy="26"/>
              <a:chOff x="989" y="3675"/>
              <a:chExt cx="26" cy="26"/>
            </a:xfrm>
          </p:grpSpPr>
          <p:sp>
            <p:nvSpPr>
              <p:cNvPr id="463" name="Rectangle 171">
                <a:extLst>
                  <a:ext uri="{FF2B5EF4-FFF2-40B4-BE49-F238E27FC236}">
                    <a16:creationId xmlns:a16="http://schemas.microsoft.com/office/drawing/2014/main" id="{D0DC3D5F-4693-49B3-8077-E739FBD87F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9" y="3675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64" name="Rectangle 172">
                <a:extLst>
                  <a:ext uri="{FF2B5EF4-FFF2-40B4-BE49-F238E27FC236}">
                    <a16:creationId xmlns:a16="http://schemas.microsoft.com/office/drawing/2014/main" id="{768D21A9-12FC-4794-AB14-DD87DA677F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9" y="3675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411" name="Rectangle 174">
              <a:extLst>
                <a:ext uri="{FF2B5EF4-FFF2-40B4-BE49-F238E27FC236}">
                  <a16:creationId xmlns:a16="http://schemas.microsoft.com/office/drawing/2014/main" id="{3E847AD0-FF84-4815-A72F-4E1B13408E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0" y="3701"/>
              <a:ext cx="266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Nemocnice         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12" name="Rectangle 175">
              <a:extLst>
                <a:ext uri="{FF2B5EF4-FFF2-40B4-BE49-F238E27FC236}">
                  <a16:creationId xmlns:a16="http://schemas.microsoft.com/office/drawing/2014/main" id="{ED6BABEE-3C4B-4DEB-8C89-3D0B7FF0DD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0" y="3738"/>
              <a:ext cx="119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České 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13" name="Rectangle 176">
              <a:extLst>
                <a:ext uri="{FF2B5EF4-FFF2-40B4-BE49-F238E27FC236}">
                  <a16:creationId xmlns:a16="http://schemas.microsoft.com/office/drawing/2014/main" id="{3A05F4F5-496A-45D3-9906-FA5560C835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0" y="3775"/>
              <a:ext cx="186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Budějovice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grpSp>
          <p:nvGrpSpPr>
            <p:cNvPr id="414" name="Group 179">
              <a:extLst>
                <a:ext uri="{FF2B5EF4-FFF2-40B4-BE49-F238E27FC236}">
                  <a16:creationId xmlns:a16="http://schemas.microsoft.com/office/drawing/2014/main" id="{9924B781-D809-4423-A956-75099B85B20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36" y="3534"/>
              <a:ext cx="26" cy="26"/>
              <a:chOff x="1336" y="3534"/>
              <a:chExt cx="26" cy="26"/>
            </a:xfrm>
          </p:grpSpPr>
          <p:sp>
            <p:nvSpPr>
              <p:cNvPr id="461" name="Rectangle 177">
                <a:extLst>
                  <a:ext uri="{FF2B5EF4-FFF2-40B4-BE49-F238E27FC236}">
                    <a16:creationId xmlns:a16="http://schemas.microsoft.com/office/drawing/2014/main" id="{9EF3AB08-4C8A-4AEB-8DBD-3FE52EB220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3534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62" name="Rectangle 178">
                <a:extLst>
                  <a:ext uri="{FF2B5EF4-FFF2-40B4-BE49-F238E27FC236}">
                    <a16:creationId xmlns:a16="http://schemas.microsoft.com/office/drawing/2014/main" id="{43C5AF96-7FB4-49C0-9948-6A5E17EADB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6" y="3534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415" name="Rectangle 180">
              <a:extLst>
                <a:ext uri="{FF2B5EF4-FFF2-40B4-BE49-F238E27FC236}">
                  <a16:creationId xmlns:a16="http://schemas.microsoft.com/office/drawing/2014/main" id="{2E6569A0-D2BC-4B15-B514-DE1D6177EF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9" y="3567"/>
              <a:ext cx="266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Nemocnice         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16" name="Rectangle 181">
              <a:extLst>
                <a:ext uri="{FF2B5EF4-FFF2-40B4-BE49-F238E27FC236}">
                  <a16:creationId xmlns:a16="http://schemas.microsoft.com/office/drawing/2014/main" id="{A10945DC-B41C-4D7C-9C53-747A5371C7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9" y="3603"/>
              <a:ext cx="125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Jihlava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17" name="Rectangle 182">
              <a:extLst>
                <a:ext uri="{FF2B5EF4-FFF2-40B4-BE49-F238E27FC236}">
                  <a16:creationId xmlns:a16="http://schemas.microsoft.com/office/drawing/2014/main" id="{A4DFFFC1-D929-4ECD-9BB1-B703ED5AE1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91" y="3487"/>
              <a:ext cx="203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FN Olomouc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grpSp>
          <p:nvGrpSpPr>
            <p:cNvPr id="418" name="Group 185">
              <a:extLst>
                <a:ext uri="{FF2B5EF4-FFF2-40B4-BE49-F238E27FC236}">
                  <a16:creationId xmlns:a16="http://schemas.microsoft.com/office/drawing/2014/main" id="{4C0A651B-FE8A-4166-85FC-BB487AB73B2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802" y="3524"/>
              <a:ext cx="26" cy="26"/>
              <a:chOff x="1802" y="3524"/>
              <a:chExt cx="26" cy="26"/>
            </a:xfrm>
          </p:grpSpPr>
          <p:sp>
            <p:nvSpPr>
              <p:cNvPr id="459" name="Rectangle 183">
                <a:extLst>
                  <a:ext uri="{FF2B5EF4-FFF2-40B4-BE49-F238E27FC236}">
                    <a16:creationId xmlns:a16="http://schemas.microsoft.com/office/drawing/2014/main" id="{A6BEB8EF-AB40-41D5-94A9-830733D86E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02" y="3524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60" name="Rectangle 184">
                <a:extLst>
                  <a:ext uri="{FF2B5EF4-FFF2-40B4-BE49-F238E27FC236}">
                    <a16:creationId xmlns:a16="http://schemas.microsoft.com/office/drawing/2014/main" id="{D9094F6C-F52C-4799-BE3C-32ABEA5FCB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02" y="3524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419" name="Group 188">
              <a:extLst>
                <a:ext uri="{FF2B5EF4-FFF2-40B4-BE49-F238E27FC236}">
                  <a16:creationId xmlns:a16="http://schemas.microsoft.com/office/drawing/2014/main" id="{E361162F-E777-4187-9142-283785E3EFD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861" y="3607"/>
              <a:ext cx="26" cy="26"/>
              <a:chOff x="1861" y="3607"/>
              <a:chExt cx="26" cy="26"/>
            </a:xfrm>
          </p:grpSpPr>
          <p:sp>
            <p:nvSpPr>
              <p:cNvPr id="457" name="Rectangle 186">
                <a:extLst>
                  <a:ext uri="{FF2B5EF4-FFF2-40B4-BE49-F238E27FC236}">
                    <a16:creationId xmlns:a16="http://schemas.microsoft.com/office/drawing/2014/main" id="{CDC5F392-AE52-4FC4-A257-2A2D2A9935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1" y="3607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58" name="Rectangle 187">
                <a:extLst>
                  <a:ext uri="{FF2B5EF4-FFF2-40B4-BE49-F238E27FC236}">
                    <a16:creationId xmlns:a16="http://schemas.microsoft.com/office/drawing/2014/main" id="{5A50CD11-8A58-46BF-ACE0-595860E296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1" y="3607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420" name="Rectangle 189">
              <a:extLst>
                <a:ext uri="{FF2B5EF4-FFF2-40B4-BE49-F238E27FC236}">
                  <a16:creationId xmlns:a16="http://schemas.microsoft.com/office/drawing/2014/main" id="{BC249287-1F99-48D2-92A0-6BFF3CCC3E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3" y="3631"/>
              <a:ext cx="195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Nemocnice 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21" name="Rectangle 190">
              <a:extLst>
                <a:ext uri="{FF2B5EF4-FFF2-40B4-BE49-F238E27FC236}">
                  <a16:creationId xmlns:a16="http://schemas.microsoft.com/office/drawing/2014/main" id="{504F17A2-47AD-4C19-8239-6F68ECA807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3" y="3668"/>
              <a:ext cx="74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Zlín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grpSp>
          <p:nvGrpSpPr>
            <p:cNvPr id="422" name="Group 193">
              <a:extLst>
                <a:ext uri="{FF2B5EF4-FFF2-40B4-BE49-F238E27FC236}">
                  <a16:creationId xmlns:a16="http://schemas.microsoft.com/office/drawing/2014/main" id="{A34744F7-A58F-4542-8A0D-4176205F56C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11" y="3461"/>
              <a:ext cx="26" cy="26"/>
              <a:chOff x="2011" y="3461"/>
              <a:chExt cx="26" cy="26"/>
            </a:xfrm>
          </p:grpSpPr>
          <p:sp>
            <p:nvSpPr>
              <p:cNvPr id="455" name="Rectangle 191">
                <a:extLst>
                  <a:ext uri="{FF2B5EF4-FFF2-40B4-BE49-F238E27FC236}">
                    <a16:creationId xmlns:a16="http://schemas.microsoft.com/office/drawing/2014/main" id="{120A28AF-1F0B-4797-87C0-85BCB8BD65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11" y="3461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56" name="Rectangle 192">
                <a:extLst>
                  <a:ext uri="{FF2B5EF4-FFF2-40B4-BE49-F238E27FC236}">
                    <a16:creationId xmlns:a16="http://schemas.microsoft.com/office/drawing/2014/main" id="{7FF97EE5-080D-4E12-97C2-2C00CB6227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11" y="3461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423" name="Rectangle 194">
              <a:extLst>
                <a:ext uri="{FF2B5EF4-FFF2-40B4-BE49-F238E27FC236}">
                  <a16:creationId xmlns:a16="http://schemas.microsoft.com/office/drawing/2014/main" id="{D4B34C25-075B-42F5-A1ED-302D953C08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5" y="3492"/>
              <a:ext cx="302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Nemocnice             </a:t>
              </a:r>
              <a:endParaRPr kumimoji="1" lang="cs-CZ" altLang="cs-CZ" sz="1600" b="0" i="0" u="none" strike="noStrike" kern="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24" name="Rectangle 195">
              <a:extLst>
                <a:ext uri="{FF2B5EF4-FFF2-40B4-BE49-F238E27FC236}">
                  <a16:creationId xmlns:a16="http://schemas.microsoft.com/office/drawing/2014/main" id="{03479495-89C0-46E7-9396-6E4F8D20BE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5" y="3529"/>
              <a:ext cx="173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Nový Jičín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grpSp>
          <p:nvGrpSpPr>
            <p:cNvPr id="425" name="Group 198">
              <a:extLst>
                <a:ext uri="{FF2B5EF4-FFF2-40B4-BE49-F238E27FC236}">
                  <a16:creationId xmlns:a16="http://schemas.microsoft.com/office/drawing/2014/main" id="{2A843AB9-C2B7-462C-AD61-60147B3F6DB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86" y="3372"/>
              <a:ext cx="27" cy="26"/>
              <a:chOff x="2086" y="3372"/>
              <a:chExt cx="27" cy="26"/>
            </a:xfrm>
          </p:grpSpPr>
          <p:sp>
            <p:nvSpPr>
              <p:cNvPr id="453" name="Rectangle 196">
                <a:extLst>
                  <a:ext uri="{FF2B5EF4-FFF2-40B4-BE49-F238E27FC236}">
                    <a16:creationId xmlns:a16="http://schemas.microsoft.com/office/drawing/2014/main" id="{F40917DC-DA84-441F-9A2E-EC55246D2B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3372"/>
                <a:ext cx="27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54" name="Rectangle 197">
                <a:extLst>
                  <a:ext uri="{FF2B5EF4-FFF2-40B4-BE49-F238E27FC236}">
                    <a16:creationId xmlns:a16="http://schemas.microsoft.com/office/drawing/2014/main" id="{8EDBAFC6-E2AC-470D-8CCA-E0E55D116F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6" y="3372"/>
                <a:ext cx="27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426" name="Rectangle 199">
              <a:extLst>
                <a:ext uri="{FF2B5EF4-FFF2-40B4-BE49-F238E27FC236}">
                  <a16:creationId xmlns:a16="http://schemas.microsoft.com/office/drawing/2014/main" id="{3D0FFA58-B72F-44F5-8ED6-F6359A7480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6" y="3401"/>
              <a:ext cx="186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FN Ostrava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grpSp>
          <p:nvGrpSpPr>
            <p:cNvPr id="427" name="Group 202">
              <a:extLst>
                <a:ext uri="{FF2B5EF4-FFF2-40B4-BE49-F238E27FC236}">
                  <a16:creationId xmlns:a16="http://schemas.microsoft.com/office/drawing/2014/main" id="{9E229AE3-DD85-433E-83DE-1C51866CE7B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59" y="3610"/>
              <a:ext cx="26" cy="26"/>
              <a:chOff x="1559" y="3610"/>
              <a:chExt cx="26" cy="26"/>
            </a:xfrm>
          </p:grpSpPr>
          <p:sp>
            <p:nvSpPr>
              <p:cNvPr id="451" name="Rectangle 200">
                <a:extLst>
                  <a:ext uri="{FF2B5EF4-FFF2-40B4-BE49-F238E27FC236}">
                    <a16:creationId xmlns:a16="http://schemas.microsoft.com/office/drawing/2014/main" id="{0F484D49-F4A9-4339-B6F7-07765F62A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59" y="3610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52" name="Rectangle 201">
                <a:extLst>
                  <a:ext uri="{FF2B5EF4-FFF2-40B4-BE49-F238E27FC236}">
                    <a16:creationId xmlns:a16="http://schemas.microsoft.com/office/drawing/2014/main" id="{E1017EAD-748B-4490-9BB8-DB6012BAF0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59" y="3610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428" name="Rectangle 203">
              <a:extLst>
                <a:ext uri="{FF2B5EF4-FFF2-40B4-BE49-F238E27FC236}">
                  <a16:creationId xmlns:a16="http://schemas.microsoft.com/office/drawing/2014/main" id="{61EFB420-1811-49AF-BD4D-8A03F6F7E7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0" y="3562"/>
              <a:ext cx="170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MOÚ Brno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grpSp>
          <p:nvGrpSpPr>
            <p:cNvPr id="429" name="Group 206">
              <a:extLst>
                <a:ext uri="{FF2B5EF4-FFF2-40B4-BE49-F238E27FC236}">
                  <a16:creationId xmlns:a16="http://schemas.microsoft.com/office/drawing/2014/main" id="{146C396A-95DF-460A-AD4C-0B6DE9A3B59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88" y="3610"/>
              <a:ext cx="26" cy="26"/>
              <a:chOff x="1588" y="3610"/>
              <a:chExt cx="26" cy="26"/>
            </a:xfrm>
          </p:grpSpPr>
          <p:sp>
            <p:nvSpPr>
              <p:cNvPr id="449" name="Rectangle 204">
                <a:extLst>
                  <a:ext uri="{FF2B5EF4-FFF2-40B4-BE49-F238E27FC236}">
                    <a16:creationId xmlns:a16="http://schemas.microsoft.com/office/drawing/2014/main" id="{3DE1FED2-99A2-4A47-9E21-377085A755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8" y="3610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50" name="Rectangle 205">
                <a:extLst>
                  <a:ext uri="{FF2B5EF4-FFF2-40B4-BE49-F238E27FC236}">
                    <a16:creationId xmlns:a16="http://schemas.microsoft.com/office/drawing/2014/main" id="{86D21072-2A0C-41C9-9B34-881FA6BE71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8" y="3610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430" name="Rectangle 207">
              <a:extLst>
                <a:ext uri="{FF2B5EF4-FFF2-40B4-BE49-F238E27FC236}">
                  <a16:creationId xmlns:a16="http://schemas.microsoft.com/office/drawing/2014/main" id="{FBFA0CBC-9210-4419-B74E-9F1F2830F0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0" y="3642"/>
              <a:ext cx="139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FN Brno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grpSp>
          <p:nvGrpSpPr>
            <p:cNvPr id="431" name="Group 210">
              <a:extLst>
                <a:ext uri="{FF2B5EF4-FFF2-40B4-BE49-F238E27FC236}">
                  <a16:creationId xmlns:a16="http://schemas.microsoft.com/office/drawing/2014/main" id="{F85B8CD3-EB58-4D79-9B25-05BBF224228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18" y="3610"/>
              <a:ext cx="26" cy="26"/>
              <a:chOff x="1618" y="3610"/>
              <a:chExt cx="26" cy="26"/>
            </a:xfrm>
          </p:grpSpPr>
          <p:sp>
            <p:nvSpPr>
              <p:cNvPr id="447" name="Rectangle 208">
                <a:extLst>
                  <a:ext uri="{FF2B5EF4-FFF2-40B4-BE49-F238E27FC236}">
                    <a16:creationId xmlns:a16="http://schemas.microsoft.com/office/drawing/2014/main" id="{7E7A7505-B66D-437E-AB6A-6269CCD695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8" y="3610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48" name="Rectangle 209">
                <a:extLst>
                  <a:ext uri="{FF2B5EF4-FFF2-40B4-BE49-F238E27FC236}">
                    <a16:creationId xmlns:a16="http://schemas.microsoft.com/office/drawing/2014/main" id="{6DF5E6CD-3591-4727-B2EC-ABDEDE1B6B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8" y="3610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432" name="Rectangle 211">
              <a:extLst>
                <a:ext uri="{FF2B5EF4-FFF2-40B4-BE49-F238E27FC236}">
                  <a16:creationId xmlns:a16="http://schemas.microsoft.com/office/drawing/2014/main" id="{1973DDAF-75B6-4087-B594-E04AAE13BE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3" y="3684"/>
              <a:ext cx="234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FN u sv. Anny 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33" name="Rectangle 212">
              <a:extLst>
                <a:ext uri="{FF2B5EF4-FFF2-40B4-BE49-F238E27FC236}">
                  <a16:creationId xmlns:a16="http://schemas.microsoft.com/office/drawing/2014/main" id="{51895A77-BBFB-472E-B586-60F75DB29A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3" y="3720"/>
              <a:ext cx="88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Brno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grpSp>
          <p:nvGrpSpPr>
            <p:cNvPr id="434" name="Group 215">
              <a:extLst>
                <a:ext uri="{FF2B5EF4-FFF2-40B4-BE49-F238E27FC236}">
                  <a16:creationId xmlns:a16="http://schemas.microsoft.com/office/drawing/2014/main" id="{61B422C8-A806-4414-A252-6E47B6B9267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39" y="3132"/>
              <a:ext cx="26" cy="26"/>
              <a:chOff x="1039" y="3132"/>
              <a:chExt cx="26" cy="26"/>
            </a:xfrm>
          </p:grpSpPr>
          <p:sp>
            <p:nvSpPr>
              <p:cNvPr id="445" name="Rectangle 213">
                <a:extLst>
                  <a:ext uri="{FF2B5EF4-FFF2-40B4-BE49-F238E27FC236}">
                    <a16:creationId xmlns:a16="http://schemas.microsoft.com/office/drawing/2014/main" id="{62B450A8-100C-427A-B8CE-4A42A53FC9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9" y="3132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46" name="Rectangle 214">
                <a:extLst>
                  <a:ext uri="{FF2B5EF4-FFF2-40B4-BE49-F238E27FC236}">
                    <a16:creationId xmlns:a16="http://schemas.microsoft.com/office/drawing/2014/main" id="{4E1B4F40-B67E-4F60-907A-098596B9ED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9" y="3132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435" name="Group 218">
              <a:extLst>
                <a:ext uri="{FF2B5EF4-FFF2-40B4-BE49-F238E27FC236}">
                  <a16:creationId xmlns:a16="http://schemas.microsoft.com/office/drawing/2014/main" id="{7C4478CC-DB53-4F5B-AE7D-CCEE95B5E51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68" y="3132"/>
              <a:ext cx="27" cy="26"/>
              <a:chOff x="1068" y="3132"/>
              <a:chExt cx="27" cy="26"/>
            </a:xfrm>
          </p:grpSpPr>
          <p:sp>
            <p:nvSpPr>
              <p:cNvPr id="443" name="Rectangle 216">
                <a:extLst>
                  <a:ext uri="{FF2B5EF4-FFF2-40B4-BE49-F238E27FC236}">
                    <a16:creationId xmlns:a16="http://schemas.microsoft.com/office/drawing/2014/main" id="{25A13AF2-64F4-4AD6-9EC5-D18BA7CAB2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8" y="3132"/>
                <a:ext cx="27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44" name="Rectangle 217">
                <a:extLst>
                  <a:ext uri="{FF2B5EF4-FFF2-40B4-BE49-F238E27FC236}">
                    <a16:creationId xmlns:a16="http://schemas.microsoft.com/office/drawing/2014/main" id="{78E31996-C9F1-4A7F-AD70-731400505C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8" y="3132"/>
                <a:ext cx="27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436" name="Group 221">
              <a:extLst>
                <a:ext uri="{FF2B5EF4-FFF2-40B4-BE49-F238E27FC236}">
                  <a16:creationId xmlns:a16="http://schemas.microsoft.com/office/drawing/2014/main" id="{2F87B1C9-C406-4621-9A30-BA9CC65B664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98" y="3132"/>
              <a:ext cx="26" cy="26"/>
              <a:chOff x="1098" y="3132"/>
              <a:chExt cx="26" cy="26"/>
            </a:xfrm>
          </p:grpSpPr>
          <p:sp>
            <p:nvSpPr>
              <p:cNvPr id="441" name="Rectangle 219">
                <a:extLst>
                  <a:ext uri="{FF2B5EF4-FFF2-40B4-BE49-F238E27FC236}">
                    <a16:creationId xmlns:a16="http://schemas.microsoft.com/office/drawing/2014/main" id="{C51C5325-4350-4FC0-AB6A-4BC12E4C1F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8" y="3132"/>
                <a:ext cx="26" cy="26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42" name="Rectangle 220">
                <a:extLst>
                  <a:ext uri="{FF2B5EF4-FFF2-40B4-BE49-F238E27FC236}">
                    <a16:creationId xmlns:a16="http://schemas.microsoft.com/office/drawing/2014/main" id="{3647000C-3B99-4832-A7F1-93CA760E97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8" y="3132"/>
                <a:ext cx="26" cy="26"/>
              </a:xfrm>
              <a:prstGeom prst="rect">
                <a:avLst/>
              </a:prstGeom>
              <a:noFill/>
              <a:ln w="3175" cap="rnd">
                <a:solidFill>
                  <a:srgbClr val="FFFFFF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1" lang="cs-CZ" altLang="cs-CZ" sz="1600" b="0" i="0" u="none" strike="noStrike" kern="0" cap="none" spc="0" normalizeH="0" baseline="0" noProof="0">
                  <a:ln>
                    <a:noFill/>
                  </a:ln>
                  <a:solidFill>
                    <a:srgbClr val="292929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437" name="Rectangle 222">
              <a:extLst>
                <a:ext uri="{FF2B5EF4-FFF2-40B4-BE49-F238E27FC236}">
                  <a16:creationId xmlns:a16="http://schemas.microsoft.com/office/drawing/2014/main" id="{89675A03-BEFA-4239-B209-011005652C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5" y="3162"/>
              <a:ext cx="249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FN Motol Praha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38" name="Rectangle 223">
              <a:extLst>
                <a:ext uri="{FF2B5EF4-FFF2-40B4-BE49-F238E27FC236}">
                  <a16:creationId xmlns:a16="http://schemas.microsoft.com/office/drawing/2014/main" id="{8403C245-3D2D-45AE-9F82-E55CC15049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7" y="3076"/>
              <a:ext cx="207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FN KV Praha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39" name="Rectangle 224">
              <a:extLst>
                <a:ext uri="{FF2B5EF4-FFF2-40B4-BE49-F238E27FC236}">
                  <a16:creationId xmlns:a16="http://schemas.microsoft.com/office/drawing/2014/main" id="{37894315-9DFB-48BC-875B-6921387199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" y="3215"/>
              <a:ext cx="218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KOC Praha a 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440" name="Rectangle 225">
              <a:extLst>
                <a:ext uri="{FF2B5EF4-FFF2-40B4-BE49-F238E27FC236}">
                  <a16:creationId xmlns:a16="http://schemas.microsoft.com/office/drawing/2014/main" id="{BAC22883-379E-4E0F-9DCF-820139DD35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9" y="3252"/>
              <a:ext cx="273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cs-CZ" altLang="cs-CZ" sz="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rPr>
                <a:t>Středočeský kraj</a:t>
              </a: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grpSp>
        <p:nvGrpSpPr>
          <p:cNvPr id="537" name="Group 235">
            <a:extLst>
              <a:ext uri="{FF2B5EF4-FFF2-40B4-BE49-F238E27FC236}">
                <a16:creationId xmlns:a16="http://schemas.microsoft.com/office/drawing/2014/main" id="{234B7B65-BCBF-4DA5-A6A9-D3FEAD16EC40}"/>
              </a:ext>
            </a:extLst>
          </p:cNvPr>
          <p:cNvGrpSpPr>
            <a:grpSpLocks/>
          </p:cNvGrpSpPr>
          <p:nvPr/>
        </p:nvGrpSpPr>
        <p:grpSpPr bwMode="auto">
          <a:xfrm>
            <a:off x="8671028" y="4766412"/>
            <a:ext cx="350838" cy="354012"/>
            <a:chOff x="536" y="3123"/>
            <a:chExt cx="221" cy="223"/>
          </a:xfrm>
        </p:grpSpPr>
        <p:pic>
          <p:nvPicPr>
            <p:cNvPr id="538" name="Picture 233">
              <a:extLst>
                <a:ext uri="{FF2B5EF4-FFF2-40B4-BE49-F238E27FC236}">
                  <a16:creationId xmlns:a16="http://schemas.microsoft.com/office/drawing/2014/main" id="{1FE3AF75-6D58-41D6-BCCE-396A66F6C18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" y="3127"/>
              <a:ext cx="216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39" name="Rectangle 234">
              <a:extLst>
                <a:ext uri="{FF2B5EF4-FFF2-40B4-BE49-F238E27FC236}">
                  <a16:creationId xmlns:a16="http://schemas.microsoft.com/office/drawing/2014/main" id="{9FC2115B-6532-4114-BD35-2877A47E05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" y="3123"/>
              <a:ext cx="221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540" name="Rectangle 236">
            <a:extLst>
              <a:ext uri="{FF2B5EF4-FFF2-40B4-BE49-F238E27FC236}">
                <a16:creationId xmlns:a16="http://schemas.microsoft.com/office/drawing/2014/main" id="{489F8C5F-91EB-4902-A20B-08E57867A9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63091" y="4760062"/>
            <a:ext cx="365125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pSp>
        <p:nvGrpSpPr>
          <p:cNvPr id="541" name="Group 239">
            <a:extLst>
              <a:ext uri="{FF2B5EF4-FFF2-40B4-BE49-F238E27FC236}">
                <a16:creationId xmlns:a16="http://schemas.microsoft.com/office/drawing/2014/main" id="{9BECA431-507A-4115-A91A-98C527FBA986}"/>
              </a:ext>
            </a:extLst>
          </p:cNvPr>
          <p:cNvGrpSpPr>
            <a:grpSpLocks/>
          </p:cNvGrpSpPr>
          <p:nvPr/>
        </p:nvGrpSpPr>
        <p:grpSpPr bwMode="auto">
          <a:xfrm>
            <a:off x="8665140" y="4775054"/>
            <a:ext cx="350838" cy="354012"/>
            <a:chOff x="536" y="3123"/>
            <a:chExt cx="221" cy="223"/>
          </a:xfrm>
        </p:grpSpPr>
        <p:pic>
          <p:nvPicPr>
            <p:cNvPr id="542" name="Picture 237">
              <a:extLst>
                <a:ext uri="{FF2B5EF4-FFF2-40B4-BE49-F238E27FC236}">
                  <a16:creationId xmlns:a16="http://schemas.microsoft.com/office/drawing/2014/main" id="{CEB1FC70-4BD7-4751-A248-55C8834ABE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" y="3127"/>
              <a:ext cx="216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43" name="Rectangle 238">
              <a:extLst>
                <a:ext uri="{FF2B5EF4-FFF2-40B4-BE49-F238E27FC236}">
                  <a16:creationId xmlns:a16="http://schemas.microsoft.com/office/drawing/2014/main" id="{A367CC3A-D558-413A-896D-3F9B21218B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6" y="3123"/>
              <a:ext cx="221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544" name="Rectangle 240">
            <a:extLst>
              <a:ext uri="{FF2B5EF4-FFF2-40B4-BE49-F238E27FC236}">
                <a16:creationId xmlns:a16="http://schemas.microsoft.com/office/drawing/2014/main" id="{63F5C88B-FDE8-4B84-98C0-212F70ED1E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63091" y="4760062"/>
            <a:ext cx="365125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pSp>
        <p:nvGrpSpPr>
          <p:cNvPr id="545" name="Group 243">
            <a:extLst>
              <a:ext uri="{FF2B5EF4-FFF2-40B4-BE49-F238E27FC236}">
                <a16:creationId xmlns:a16="http://schemas.microsoft.com/office/drawing/2014/main" id="{54DFCB56-D4EA-46E9-A9BA-5065689AF695}"/>
              </a:ext>
            </a:extLst>
          </p:cNvPr>
          <p:cNvGrpSpPr>
            <a:grpSpLocks/>
          </p:cNvGrpSpPr>
          <p:nvPr/>
        </p:nvGrpSpPr>
        <p:grpSpPr bwMode="auto">
          <a:xfrm>
            <a:off x="8974241" y="5372837"/>
            <a:ext cx="352425" cy="354012"/>
            <a:chOff x="727" y="3505"/>
            <a:chExt cx="222" cy="223"/>
          </a:xfrm>
        </p:grpSpPr>
        <p:pic>
          <p:nvPicPr>
            <p:cNvPr id="546" name="Picture 241">
              <a:extLst>
                <a:ext uri="{FF2B5EF4-FFF2-40B4-BE49-F238E27FC236}">
                  <a16:creationId xmlns:a16="http://schemas.microsoft.com/office/drawing/2014/main" id="{B774A2AC-9603-4B88-958A-ABE4DD46050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" y="3509"/>
              <a:ext cx="215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47" name="Rectangle 242">
              <a:extLst>
                <a:ext uri="{FF2B5EF4-FFF2-40B4-BE49-F238E27FC236}">
                  <a16:creationId xmlns:a16="http://schemas.microsoft.com/office/drawing/2014/main" id="{788A5980-37F0-49C8-AC1F-ED8A9B4EAA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" y="3505"/>
              <a:ext cx="222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548" name="Rectangle 244">
            <a:extLst>
              <a:ext uri="{FF2B5EF4-FFF2-40B4-BE49-F238E27FC236}">
                <a16:creationId xmlns:a16="http://schemas.microsoft.com/office/drawing/2014/main" id="{722D3D22-E5CD-4216-A6EB-59622C71D6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67891" y="5366487"/>
            <a:ext cx="363538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pSp>
        <p:nvGrpSpPr>
          <p:cNvPr id="549" name="Group 247">
            <a:extLst>
              <a:ext uri="{FF2B5EF4-FFF2-40B4-BE49-F238E27FC236}">
                <a16:creationId xmlns:a16="http://schemas.microsoft.com/office/drawing/2014/main" id="{FF4937B8-F229-4EAD-B1C3-B80B31BF3E02}"/>
              </a:ext>
            </a:extLst>
          </p:cNvPr>
          <p:cNvGrpSpPr>
            <a:grpSpLocks/>
          </p:cNvGrpSpPr>
          <p:nvPr/>
        </p:nvGrpSpPr>
        <p:grpSpPr bwMode="auto">
          <a:xfrm>
            <a:off x="8974241" y="5372837"/>
            <a:ext cx="352425" cy="354012"/>
            <a:chOff x="727" y="3505"/>
            <a:chExt cx="222" cy="223"/>
          </a:xfrm>
        </p:grpSpPr>
        <p:pic>
          <p:nvPicPr>
            <p:cNvPr id="550" name="Picture 245">
              <a:extLst>
                <a:ext uri="{FF2B5EF4-FFF2-40B4-BE49-F238E27FC236}">
                  <a16:creationId xmlns:a16="http://schemas.microsoft.com/office/drawing/2014/main" id="{984ACE60-8731-4799-83B2-0E20F4EC2C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" y="3509"/>
              <a:ext cx="215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51" name="Rectangle 246">
              <a:extLst>
                <a:ext uri="{FF2B5EF4-FFF2-40B4-BE49-F238E27FC236}">
                  <a16:creationId xmlns:a16="http://schemas.microsoft.com/office/drawing/2014/main" id="{851438A5-7F63-4DD4-946E-8C8B4181F9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" y="3505"/>
              <a:ext cx="222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552" name="Rectangle 248">
            <a:extLst>
              <a:ext uri="{FF2B5EF4-FFF2-40B4-BE49-F238E27FC236}">
                <a16:creationId xmlns:a16="http://schemas.microsoft.com/office/drawing/2014/main" id="{AAFD75BD-6698-494A-9CE6-2E864FAEEC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67891" y="5366487"/>
            <a:ext cx="363538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pSp>
        <p:nvGrpSpPr>
          <p:cNvPr id="553" name="Group 251">
            <a:extLst>
              <a:ext uri="{FF2B5EF4-FFF2-40B4-BE49-F238E27FC236}">
                <a16:creationId xmlns:a16="http://schemas.microsoft.com/office/drawing/2014/main" id="{937CBDD8-1E51-46B8-86CC-FFA842D7794E}"/>
              </a:ext>
            </a:extLst>
          </p:cNvPr>
          <p:cNvGrpSpPr>
            <a:grpSpLocks/>
          </p:cNvGrpSpPr>
          <p:nvPr/>
        </p:nvGrpSpPr>
        <p:grpSpPr bwMode="auto">
          <a:xfrm>
            <a:off x="9823553" y="5555399"/>
            <a:ext cx="352425" cy="354012"/>
            <a:chOff x="1262" y="3620"/>
            <a:chExt cx="222" cy="223"/>
          </a:xfrm>
        </p:grpSpPr>
        <p:pic>
          <p:nvPicPr>
            <p:cNvPr id="554" name="Picture 249">
              <a:extLst>
                <a:ext uri="{FF2B5EF4-FFF2-40B4-BE49-F238E27FC236}">
                  <a16:creationId xmlns:a16="http://schemas.microsoft.com/office/drawing/2014/main" id="{342A6821-37AD-410F-8C1F-9F162A99C5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6" y="3624"/>
              <a:ext cx="216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55" name="Rectangle 250">
              <a:extLst>
                <a:ext uri="{FF2B5EF4-FFF2-40B4-BE49-F238E27FC236}">
                  <a16:creationId xmlns:a16="http://schemas.microsoft.com/office/drawing/2014/main" id="{DA501B78-3494-43B2-BD6F-09CB2ADE06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2" y="3620"/>
              <a:ext cx="222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556" name="Rectangle 252">
            <a:extLst>
              <a:ext uri="{FF2B5EF4-FFF2-40B4-BE49-F238E27FC236}">
                <a16:creationId xmlns:a16="http://schemas.microsoft.com/office/drawing/2014/main" id="{62AF77AA-C221-4EC2-9181-41FA165986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17203" y="5549049"/>
            <a:ext cx="363538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pSp>
        <p:nvGrpSpPr>
          <p:cNvPr id="557" name="Group 255">
            <a:extLst>
              <a:ext uri="{FF2B5EF4-FFF2-40B4-BE49-F238E27FC236}">
                <a16:creationId xmlns:a16="http://schemas.microsoft.com/office/drawing/2014/main" id="{C0877D06-7C48-4D62-9159-2B6F17D9AAC6}"/>
              </a:ext>
            </a:extLst>
          </p:cNvPr>
          <p:cNvGrpSpPr>
            <a:grpSpLocks/>
          </p:cNvGrpSpPr>
          <p:nvPr/>
        </p:nvGrpSpPr>
        <p:grpSpPr bwMode="auto">
          <a:xfrm>
            <a:off x="9823553" y="5555399"/>
            <a:ext cx="352425" cy="354012"/>
            <a:chOff x="1262" y="3620"/>
            <a:chExt cx="222" cy="223"/>
          </a:xfrm>
        </p:grpSpPr>
        <p:pic>
          <p:nvPicPr>
            <p:cNvPr id="558" name="Picture 253">
              <a:extLst>
                <a:ext uri="{FF2B5EF4-FFF2-40B4-BE49-F238E27FC236}">
                  <a16:creationId xmlns:a16="http://schemas.microsoft.com/office/drawing/2014/main" id="{D030FA30-AB3F-417A-832E-33515F12A7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6" y="3624"/>
              <a:ext cx="216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59" name="Rectangle 254">
              <a:extLst>
                <a:ext uri="{FF2B5EF4-FFF2-40B4-BE49-F238E27FC236}">
                  <a16:creationId xmlns:a16="http://schemas.microsoft.com/office/drawing/2014/main" id="{F8F4A4A4-43CD-45AC-81D4-6981F11E8F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62" y="3620"/>
              <a:ext cx="222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560" name="Rectangle 256">
            <a:extLst>
              <a:ext uri="{FF2B5EF4-FFF2-40B4-BE49-F238E27FC236}">
                <a16:creationId xmlns:a16="http://schemas.microsoft.com/office/drawing/2014/main" id="{89993B08-7149-48B9-B2A6-DBCEBC8033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17203" y="5549049"/>
            <a:ext cx="363538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pSp>
        <p:nvGrpSpPr>
          <p:cNvPr id="561" name="Group 259">
            <a:extLst>
              <a:ext uri="{FF2B5EF4-FFF2-40B4-BE49-F238E27FC236}">
                <a16:creationId xmlns:a16="http://schemas.microsoft.com/office/drawing/2014/main" id="{C3AF248B-E419-4884-B4FE-9292E58686EE}"/>
              </a:ext>
            </a:extLst>
          </p:cNvPr>
          <p:cNvGrpSpPr>
            <a:grpSpLocks/>
          </p:cNvGrpSpPr>
          <p:nvPr/>
        </p:nvGrpSpPr>
        <p:grpSpPr bwMode="auto">
          <a:xfrm>
            <a:off x="10857016" y="5433162"/>
            <a:ext cx="350838" cy="354012"/>
            <a:chOff x="1913" y="3543"/>
            <a:chExt cx="221" cy="223"/>
          </a:xfrm>
        </p:grpSpPr>
        <p:pic>
          <p:nvPicPr>
            <p:cNvPr id="562" name="Picture 257">
              <a:extLst>
                <a:ext uri="{FF2B5EF4-FFF2-40B4-BE49-F238E27FC236}">
                  <a16:creationId xmlns:a16="http://schemas.microsoft.com/office/drawing/2014/main" id="{54C19B6A-0334-4FE7-A9F4-626837658F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16" y="3547"/>
              <a:ext cx="216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63" name="Rectangle 258">
              <a:extLst>
                <a:ext uri="{FF2B5EF4-FFF2-40B4-BE49-F238E27FC236}">
                  <a16:creationId xmlns:a16="http://schemas.microsoft.com/office/drawing/2014/main" id="{E7163595-C515-4933-AA6D-A0E8843DF1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13" y="3543"/>
              <a:ext cx="221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564" name="Rectangle 260">
            <a:extLst>
              <a:ext uri="{FF2B5EF4-FFF2-40B4-BE49-F238E27FC236}">
                <a16:creationId xmlns:a16="http://schemas.microsoft.com/office/drawing/2014/main" id="{3194B86D-1B38-4850-943A-19260BDE6B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49078" y="5426812"/>
            <a:ext cx="365125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pSp>
        <p:nvGrpSpPr>
          <p:cNvPr id="565" name="Group 263">
            <a:extLst>
              <a:ext uri="{FF2B5EF4-FFF2-40B4-BE49-F238E27FC236}">
                <a16:creationId xmlns:a16="http://schemas.microsoft.com/office/drawing/2014/main" id="{DBA91B83-FB77-458E-8AEF-A95E1B1B43F6}"/>
              </a:ext>
            </a:extLst>
          </p:cNvPr>
          <p:cNvGrpSpPr>
            <a:grpSpLocks/>
          </p:cNvGrpSpPr>
          <p:nvPr/>
        </p:nvGrpSpPr>
        <p:grpSpPr bwMode="auto">
          <a:xfrm>
            <a:off x="10857016" y="5433162"/>
            <a:ext cx="350838" cy="354012"/>
            <a:chOff x="1913" y="3543"/>
            <a:chExt cx="221" cy="223"/>
          </a:xfrm>
        </p:grpSpPr>
        <p:pic>
          <p:nvPicPr>
            <p:cNvPr id="566" name="Picture 261">
              <a:extLst>
                <a:ext uri="{FF2B5EF4-FFF2-40B4-BE49-F238E27FC236}">
                  <a16:creationId xmlns:a16="http://schemas.microsoft.com/office/drawing/2014/main" id="{055E0AA2-F26C-40C5-A949-C14E4AD573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16" y="3547"/>
              <a:ext cx="216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67" name="Rectangle 262">
              <a:extLst>
                <a:ext uri="{FF2B5EF4-FFF2-40B4-BE49-F238E27FC236}">
                  <a16:creationId xmlns:a16="http://schemas.microsoft.com/office/drawing/2014/main" id="{A39BADC2-4596-414E-AA34-EB81B71111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13" y="3543"/>
              <a:ext cx="221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568" name="Rectangle 264">
            <a:extLst>
              <a:ext uri="{FF2B5EF4-FFF2-40B4-BE49-F238E27FC236}">
                <a16:creationId xmlns:a16="http://schemas.microsoft.com/office/drawing/2014/main" id="{B72FC2E8-3ED6-4114-930D-46186E98F7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49078" y="5426812"/>
            <a:ext cx="365125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pSp>
        <p:nvGrpSpPr>
          <p:cNvPr id="569" name="Group 267">
            <a:extLst>
              <a:ext uri="{FF2B5EF4-FFF2-40B4-BE49-F238E27FC236}">
                <a16:creationId xmlns:a16="http://schemas.microsoft.com/office/drawing/2014/main" id="{F2471F67-163D-4776-9BDA-CA18AB605D05}"/>
              </a:ext>
            </a:extLst>
          </p:cNvPr>
          <p:cNvGrpSpPr>
            <a:grpSpLocks/>
          </p:cNvGrpSpPr>
          <p:nvPr/>
        </p:nvGrpSpPr>
        <p:grpSpPr bwMode="auto">
          <a:xfrm>
            <a:off x="10674453" y="4645762"/>
            <a:ext cx="350838" cy="352425"/>
            <a:chOff x="1798" y="3047"/>
            <a:chExt cx="221" cy="222"/>
          </a:xfrm>
        </p:grpSpPr>
        <p:pic>
          <p:nvPicPr>
            <p:cNvPr id="570" name="Picture 265">
              <a:extLst>
                <a:ext uri="{FF2B5EF4-FFF2-40B4-BE49-F238E27FC236}">
                  <a16:creationId xmlns:a16="http://schemas.microsoft.com/office/drawing/2014/main" id="{C15D99C9-73CA-4C56-B205-2655374565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1" y="3051"/>
              <a:ext cx="216" cy="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71" name="Rectangle 266">
              <a:extLst>
                <a:ext uri="{FF2B5EF4-FFF2-40B4-BE49-F238E27FC236}">
                  <a16:creationId xmlns:a16="http://schemas.microsoft.com/office/drawing/2014/main" id="{B904F111-E620-4834-994E-B0B4516DB4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8" y="3047"/>
              <a:ext cx="221" cy="222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572" name="Rectangle 268">
            <a:extLst>
              <a:ext uri="{FF2B5EF4-FFF2-40B4-BE49-F238E27FC236}">
                <a16:creationId xmlns:a16="http://schemas.microsoft.com/office/drawing/2014/main" id="{3581ACFA-D366-4860-A56C-48DA7E9EF4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68103" y="4637824"/>
            <a:ext cx="363538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pSp>
        <p:nvGrpSpPr>
          <p:cNvPr id="573" name="Group 271">
            <a:extLst>
              <a:ext uri="{FF2B5EF4-FFF2-40B4-BE49-F238E27FC236}">
                <a16:creationId xmlns:a16="http://schemas.microsoft.com/office/drawing/2014/main" id="{A4AA2BEE-52A9-40D6-AB7D-1754940C33E3}"/>
              </a:ext>
            </a:extLst>
          </p:cNvPr>
          <p:cNvGrpSpPr>
            <a:grpSpLocks/>
          </p:cNvGrpSpPr>
          <p:nvPr/>
        </p:nvGrpSpPr>
        <p:grpSpPr bwMode="auto">
          <a:xfrm>
            <a:off x="10674453" y="4645762"/>
            <a:ext cx="350838" cy="352425"/>
            <a:chOff x="1798" y="3047"/>
            <a:chExt cx="221" cy="222"/>
          </a:xfrm>
        </p:grpSpPr>
        <p:pic>
          <p:nvPicPr>
            <p:cNvPr id="574" name="Picture 269">
              <a:extLst>
                <a:ext uri="{FF2B5EF4-FFF2-40B4-BE49-F238E27FC236}">
                  <a16:creationId xmlns:a16="http://schemas.microsoft.com/office/drawing/2014/main" id="{F2ACBDCD-7FB4-48AB-9B2F-8C3E94D7556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1" y="3051"/>
              <a:ext cx="216" cy="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75" name="Rectangle 270">
              <a:extLst>
                <a:ext uri="{FF2B5EF4-FFF2-40B4-BE49-F238E27FC236}">
                  <a16:creationId xmlns:a16="http://schemas.microsoft.com/office/drawing/2014/main" id="{04CB96BE-2BE5-4B08-8AE9-F9F739DF79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8" y="3047"/>
              <a:ext cx="221" cy="222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576" name="Rectangle 272">
            <a:extLst>
              <a:ext uri="{FF2B5EF4-FFF2-40B4-BE49-F238E27FC236}">
                <a16:creationId xmlns:a16="http://schemas.microsoft.com/office/drawing/2014/main" id="{AF46BD71-FDE0-4EDA-9334-57C70DF6ED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68103" y="4637824"/>
            <a:ext cx="363538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pSp>
        <p:nvGrpSpPr>
          <p:cNvPr id="577" name="Group 275">
            <a:extLst>
              <a:ext uri="{FF2B5EF4-FFF2-40B4-BE49-F238E27FC236}">
                <a16:creationId xmlns:a16="http://schemas.microsoft.com/office/drawing/2014/main" id="{BDD0025B-F7D0-46F0-89EF-2441CB98AD68}"/>
              </a:ext>
            </a:extLst>
          </p:cNvPr>
          <p:cNvGrpSpPr>
            <a:grpSpLocks/>
          </p:cNvGrpSpPr>
          <p:nvPr/>
        </p:nvGrpSpPr>
        <p:grpSpPr bwMode="auto">
          <a:xfrm>
            <a:off x="10006116" y="4218724"/>
            <a:ext cx="352425" cy="354012"/>
            <a:chOff x="1377" y="2778"/>
            <a:chExt cx="222" cy="223"/>
          </a:xfrm>
        </p:grpSpPr>
        <p:pic>
          <p:nvPicPr>
            <p:cNvPr id="578" name="Picture 273">
              <a:extLst>
                <a:ext uri="{FF2B5EF4-FFF2-40B4-BE49-F238E27FC236}">
                  <a16:creationId xmlns:a16="http://schemas.microsoft.com/office/drawing/2014/main" id="{676EA2DA-CB69-4C24-8B5D-34285F264F7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1" y="2782"/>
              <a:ext cx="215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79" name="Rectangle 274">
              <a:extLst>
                <a:ext uri="{FF2B5EF4-FFF2-40B4-BE49-F238E27FC236}">
                  <a16:creationId xmlns:a16="http://schemas.microsoft.com/office/drawing/2014/main" id="{54A915B2-9BD3-428D-AFA1-D1629A6320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7" y="2778"/>
              <a:ext cx="222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580" name="Rectangle 276">
            <a:extLst>
              <a:ext uri="{FF2B5EF4-FFF2-40B4-BE49-F238E27FC236}">
                <a16:creationId xmlns:a16="http://schemas.microsoft.com/office/drawing/2014/main" id="{91615106-258B-4C37-ACCE-9ECE81197D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9766" y="4212374"/>
            <a:ext cx="363538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pSp>
        <p:nvGrpSpPr>
          <p:cNvPr id="581" name="Group 279">
            <a:extLst>
              <a:ext uri="{FF2B5EF4-FFF2-40B4-BE49-F238E27FC236}">
                <a16:creationId xmlns:a16="http://schemas.microsoft.com/office/drawing/2014/main" id="{8ED47820-62F2-41F4-9CAB-A62FD8D61468}"/>
              </a:ext>
            </a:extLst>
          </p:cNvPr>
          <p:cNvGrpSpPr>
            <a:grpSpLocks/>
          </p:cNvGrpSpPr>
          <p:nvPr/>
        </p:nvGrpSpPr>
        <p:grpSpPr bwMode="auto">
          <a:xfrm>
            <a:off x="10006116" y="4218724"/>
            <a:ext cx="352425" cy="354012"/>
            <a:chOff x="1377" y="2778"/>
            <a:chExt cx="222" cy="223"/>
          </a:xfrm>
        </p:grpSpPr>
        <p:pic>
          <p:nvPicPr>
            <p:cNvPr id="582" name="Picture 277">
              <a:extLst>
                <a:ext uri="{FF2B5EF4-FFF2-40B4-BE49-F238E27FC236}">
                  <a16:creationId xmlns:a16="http://schemas.microsoft.com/office/drawing/2014/main" id="{720D301F-5502-44C4-9F32-5858D37D7F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1" y="2782"/>
              <a:ext cx="215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83" name="Rectangle 278">
              <a:extLst>
                <a:ext uri="{FF2B5EF4-FFF2-40B4-BE49-F238E27FC236}">
                  <a16:creationId xmlns:a16="http://schemas.microsoft.com/office/drawing/2014/main" id="{532D53F4-B7EA-4729-9E44-AE3C396117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7" y="2778"/>
              <a:ext cx="222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584" name="Rectangle 280">
            <a:extLst>
              <a:ext uri="{FF2B5EF4-FFF2-40B4-BE49-F238E27FC236}">
                <a16:creationId xmlns:a16="http://schemas.microsoft.com/office/drawing/2014/main" id="{212A9385-5A17-4794-A31E-7504F5F418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99766" y="4212374"/>
            <a:ext cx="363538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pSp>
        <p:nvGrpSpPr>
          <p:cNvPr id="585" name="Group 283">
            <a:extLst>
              <a:ext uri="{FF2B5EF4-FFF2-40B4-BE49-F238E27FC236}">
                <a16:creationId xmlns:a16="http://schemas.microsoft.com/office/drawing/2014/main" id="{9D5CCDDE-9DDB-4C90-85E6-035C9ED8B9D6}"/>
              </a:ext>
            </a:extLst>
          </p:cNvPr>
          <p:cNvGrpSpPr>
            <a:grpSpLocks/>
          </p:cNvGrpSpPr>
          <p:nvPr/>
        </p:nvGrpSpPr>
        <p:grpSpPr bwMode="auto">
          <a:xfrm>
            <a:off x="9156803" y="4220312"/>
            <a:ext cx="350838" cy="354012"/>
            <a:chOff x="842" y="2779"/>
            <a:chExt cx="221" cy="223"/>
          </a:xfrm>
        </p:grpSpPr>
        <p:pic>
          <p:nvPicPr>
            <p:cNvPr id="586" name="Picture 281">
              <a:extLst>
                <a:ext uri="{FF2B5EF4-FFF2-40B4-BE49-F238E27FC236}">
                  <a16:creationId xmlns:a16="http://schemas.microsoft.com/office/drawing/2014/main" id="{983639D6-36C2-47B9-9027-8ED69E96E0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" y="2783"/>
              <a:ext cx="216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87" name="Rectangle 282">
              <a:extLst>
                <a:ext uri="{FF2B5EF4-FFF2-40B4-BE49-F238E27FC236}">
                  <a16:creationId xmlns:a16="http://schemas.microsoft.com/office/drawing/2014/main" id="{25EBE112-8A54-4FDE-B7A8-F6CD12E681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" y="2779"/>
              <a:ext cx="221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588" name="Rectangle 284">
            <a:extLst>
              <a:ext uri="{FF2B5EF4-FFF2-40B4-BE49-F238E27FC236}">
                <a16:creationId xmlns:a16="http://schemas.microsoft.com/office/drawing/2014/main" id="{BB77C68B-D6F0-492E-B19F-A93F48CD20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8866" y="4213962"/>
            <a:ext cx="365125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grpSp>
        <p:nvGrpSpPr>
          <p:cNvPr id="589" name="Group 287">
            <a:extLst>
              <a:ext uri="{FF2B5EF4-FFF2-40B4-BE49-F238E27FC236}">
                <a16:creationId xmlns:a16="http://schemas.microsoft.com/office/drawing/2014/main" id="{E4749B94-FF92-4909-868E-C8DB66B80994}"/>
              </a:ext>
            </a:extLst>
          </p:cNvPr>
          <p:cNvGrpSpPr>
            <a:grpSpLocks/>
          </p:cNvGrpSpPr>
          <p:nvPr/>
        </p:nvGrpSpPr>
        <p:grpSpPr bwMode="auto">
          <a:xfrm>
            <a:off x="9156803" y="4220312"/>
            <a:ext cx="350838" cy="354012"/>
            <a:chOff x="842" y="2779"/>
            <a:chExt cx="221" cy="223"/>
          </a:xfrm>
        </p:grpSpPr>
        <p:pic>
          <p:nvPicPr>
            <p:cNvPr id="590" name="Picture 285">
              <a:extLst>
                <a:ext uri="{FF2B5EF4-FFF2-40B4-BE49-F238E27FC236}">
                  <a16:creationId xmlns:a16="http://schemas.microsoft.com/office/drawing/2014/main" id="{F4520465-041E-4BA6-A883-6B876F7C47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" y="2783"/>
              <a:ext cx="216" cy="2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91" name="Rectangle 286">
              <a:extLst>
                <a:ext uri="{FF2B5EF4-FFF2-40B4-BE49-F238E27FC236}">
                  <a16:creationId xmlns:a16="http://schemas.microsoft.com/office/drawing/2014/main" id="{56C001AA-8497-406F-8D6D-FEAE0A1D78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2" y="2779"/>
              <a:ext cx="221" cy="223"/>
            </a:xfrm>
            <a:prstGeom prst="rect">
              <a:avLst/>
            </a:prstGeom>
            <a:noFill/>
            <a:ln w="7938" cap="rnd">
              <a:solidFill>
                <a:srgbClr val="990066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cs-CZ" altLang="cs-CZ" sz="1600" b="0" i="0" u="none" strike="noStrike" kern="0" cap="none" spc="0" normalizeH="0" baseline="0" noProof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sp>
        <p:nvSpPr>
          <p:cNvPr id="592" name="Rectangle 288">
            <a:extLst>
              <a:ext uri="{FF2B5EF4-FFF2-40B4-BE49-F238E27FC236}">
                <a16:creationId xmlns:a16="http://schemas.microsoft.com/office/drawing/2014/main" id="{DB0ED78D-70DD-4108-8FA0-D676D289F1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8866" y="4213962"/>
            <a:ext cx="365125" cy="365125"/>
          </a:xfrm>
          <a:prstGeom prst="rect">
            <a:avLst/>
          </a:prstGeom>
          <a:noFill/>
          <a:ln w="31750" cap="rnd">
            <a:solidFill>
              <a:srgbClr val="9900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cs-CZ" altLang="cs-CZ" sz="1600" b="0" i="0" u="none" strike="noStrike" kern="0" cap="none" spc="0" normalizeH="0" baseline="0" noProof="0">
              <a:ln>
                <a:noFill/>
              </a:ln>
              <a:solidFill>
                <a:srgbClr val="292929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593" name="Text Box 20">
            <a:extLst>
              <a:ext uri="{FF2B5EF4-FFF2-40B4-BE49-F238E27FC236}">
                <a16:creationId xmlns:a16="http://schemas.microsoft.com/office/drawing/2014/main" id="{DF272EB2-F0C6-4446-BAA3-637EDF4188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97840" y="4804338"/>
            <a:ext cx="195203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>
                <a:srgbClr val="FFFF00"/>
              </a:buClr>
              <a:defRPr/>
            </a:pPr>
            <a:r>
              <a:rPr kumimoji="0" lang="cs-CZ" altLang="cs-CZ" sz="1800" dirty="0">
                <a:solidFill>
                  <a:srgbClr val="0000FF"/>
                </a:solidFill>
                <a:latin typeface="Arial Black" pitchFamily="34" charset="0"/>
              </a:rPr>
              <a:t>Referenční sítě PZS</a:t>
            </a:r>
            <a:endParaRPr kumimoji="0" lang="cs-CZ" altLang="cs-CZ" sz="1800" dirty="0">
              <a:solidFill>
                <a:srgbClr val="29292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4" name="Text Box 20">
            <a:extLst>
              <a:ext uri="{FF2B5EF4-FFF2-40B4-BE49-F238E27FC236}">
                <a16:creationId xmlns:a16="http://schemas.microsoft.com/office/drawing/2014/main" id="{3708B1C9-6EDC-48B4-8786-969BCADEC0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0671" y="5208896"/>
            <a:ext cx="195203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>
                <a:srgbClr val="FFFF00"/>
              </a:buClr>
              <a:defRPr/>
            </a:pPr>
            <a:r>
              <a:rPr kumimoji="0" lang="cs-CZ" altLang="cs-CZ" sz="1800" dirty="0">
                <a:solidFill>
                  <a:srgbClr val="0000FF"/>
                </a:solidFill>
                <a:latin typeface="Arial Black" pitchFamily="34" charset="0"/>
              </a:rPr>
              <a:t>Zdravotní pojišťovny</a:t>
            </a:r>
            <a:endParaRPr kumimoji="0" lang="cs-CZ" altLang="cs-CZ" sz="1800" dirty="0">
              <a:solidFill>
                <a:srgbClr val="29292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95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D7636181-F7D7-4646-8BD5-645BD707FD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2396" y="4207890"/>
            <a:ext cx="864096" cy="1060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96" name="Přímá spojnice se šipkou 595">
            <a:extLst>
              <a:ext uri="{FF2B5EF4-FFF2-40B4-BE49-F238E27FC236}">
                <a16:creationId xmlns:a16="http://schemas.microsoft.com/office/drawing/2014/main" id="{5C5ABDC1-7B58-4FAB-9D12-BCDB3ACD83DE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695588" y="1601178"/>
            <a:ext cx="3074601" cy="2519087"/>
          </a:xfrm>
          <a:prstGeom prst="straightConnector1">
            <a:avLst/>
          </a:prstGeom>
          <a:solidFill>
            <a:srgbClr val="4472C4"/>
          </a:solidFill>
          <a:ln w="76200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97" name="Přímá spojnice se šipkou 596">
            <a:extLst>
              <a:ext uri="{FF2B5EF4-FFF2-40B4-BE49-F238E27FC236}">
                <a16:creationId xmlns:a16="http://schemas.microsoft.com/office/drawing/2014/main" id="{98A2C8FE-36C8-4361-9CD0-F1AD3A3B1BF4}"/>
              </a:ext>
            </a:extLst>
          </p:cNvPr>
          <p:cNvCxnSpPr>
            <a:cxnSpLocks/>
          </p:cNvCxnSpPr>
          <p:nvPr/>
        </p:nvCxnSpPr>
        <p:spPr bwMode="auto">
          <a:xfrm flipH="1">
            <a:off x="3419519" y="5565858"/>
            <a:ext cx="5132205" cy="7007"/>
          </a:xfrm>
          <a:prstGeom prst="straightConnector1">
            <a:avLst/>
          </a:prstGeom>
          <a:solidFill>
            <a:srgbClr val="4472C4"/>
          </a:solidFill>
          <a:ln w="9525" cap="flat" cmpd="sng" algn="ctr">
            <a:solidFill>
              <a:sysClr val="windowText" lastClr="000000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598" name="Přímá spojnice se šipkou 597">
            <a:extLst>
              <a:ext uri="{FF2B5EF4-FFF2-40B4-BE49-F238E27FC236}">
                <a16:creationId xmlns:a16="http://schemas.microsoft.com/office/drawing/2014/main" id="{4B3AEA1B-BE1B-4544-A740-4E3976F7F9CA}"/>
              </a:ext>
            </a:extLst>
          </p:cNvPr>
          <p:cNvCxnSpPr/>
          <p:nvPr/>
        </p:nvCxnSpPr>
        <p:spPr bwMode="auto">
          <a:xfrm flipV="1">
            <a:off x="5847948" y="1669320"/>
            <a:ext cx="1" cy="1379510"/>
          </a:xfrm>
          <a:prstGeom prst="straightConnector1">
            <a:avLst/>
          </a:prstGeom>
          <a:solidFill>
            <a:srgbClr val="4472C4"/>
          </a:solidFill>
          <a:ln w="76200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sp>
        <p:nvSpPr>
          <p:cNvPr id="599" name="Text Box 17">
            <a:extLst>
              <a:ext uri="{FF2B5EF4-FFF2-40B4-BE49-F238E27FC236}">
                <a16:creationId xmlns:a16="http://schemas.microsoft.com/office/drawing/2014/main" id="{B60B11B2-BD39-4805-BBE0-E32344FC7B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04540" y="3109480"/>
            <a:ext cx="2123676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>
                <a:srgbClr val="FFFF00"/>
              </a:buClr>
              <a:defRPr/>
            </a:pPr>
            <a:r>
              <a:rPr kumimoji="0" lang="cs-CZ" altLang="cs-CZ" sz="2800" b="0" i="1" dirty="0">
                <a:solidFill>
                  <a:srgbClr val="0000FF"/>
                </a:solidFill>
                <a:latin typeface="Algerian" panose="04020705040A02060702" pitchFamily="82" charset="0"/>
              </a:rPr>
              <a:t>NR-PZS</a:t>
            </a:r>
          </a:p>
          <a:p>
            <a:pPr algn="ctr">
              <a:buClr>
                <a:srgbClr val="FFFF00"/>
              </a:buClr>
              <a:defRPr/>
            </a:pPr>
            <a:r>
              <a:rPr kumimoji="0" lang="cs-CZ" altLang="cs-CZ" sz="2800" b="0" i="1" dirty="0">
                <a:solidFill>
                  <a:srgbClr val="0000FF"/>
                </a:solidFill>
                <a:latin typeface="Algerian" panose="04020705040A02060702" pitchFamily="82" charset="0"/>
              </a:rPr>
              <a:t>NR-ZP</a:t>
            </a:r>
          </a:p>
        </p:txBody>
      </p:sp>
      <p:pic>
        <p:nvPicPr>
          <p:cNvPr id="60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EE6A886-1662-48A4-AF2F-70F111D08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6419" y="4091848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1" name="Ovál 600">
            <a:extLst>
              <a:ext uri="{FF2B5EF4-FFF2-40B4-BE49-F238E27FC236}">
                <a16:creationId xmlns:a16="http://schemas.microsoft.com/office/drawing/2014/main" id="{B407C85D-18A7-4C16-A406-FF1D78A65B3B}"/>
              </a:ext>
            </a:extLst>
          </p:cNvPr>
          <p:cNvSpPr/>
          <p:nvPr/>
        </p:nvSpPr>
        <p:spPr bwMode="auto">
          <a:xfrm>
            <a:off x="2392980" y="2838396"/>
            <a:ext cx="2056520" cy="55758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cs-CZ" sz="2200">
              <a:solidFill>
                <a:srgbClr val="FFC000"/>
              </a:solidFill>
              <a:latin typeface="Arial" charset="0"/>
            </a:endParaRPr>
          </a:p>
        </p:txBody>
      </p:sp>
      <p:sp>
        <p:nvSpPr>
          <p:cNvPr id="602" name="TextovéPole 601">
            <a:extLst>
              <a:ext uri="{FF2B5EF4-FFF2-40B4-BE49-F238E27FC236}">
                <a16:creationId xmlns:a16="http://schemas.microsoft.com/office/drawing/2014/main" id="{FA4D13A4-C19F-47C6-8816-3E862187A8D2}"/>
              </a:ext>
            </a:extLst>
          </p:cNvPr>
          <p:cNvSpPr txBox="1"/>
          <p:nvPr/>
        </p:nvSpPr>
        <p:spPr>
          <a:xfrm>
            <a:off x="1860175" y="2917525"/>
            <a:ext cx="31683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cs-CZ" sz="2000" b="1" i="1" dirty="0">
                <a:solidFill>
                  <a:srgbClr val="0000FF"/>
                </a:solidFill>
                <a:latin typeface="Arial" charset="0"/>
              </a:rPr>
              <a:t>z. 372/2011Sb.</a:t>
            </a:r>
            <a:endParaRPr lang="cs-CZ" sz="2000" i="1" dirty="0">
              <a:solidFill>
                <a:srgbClr val="292929"/>
              </a:solidFill>
              <a:latin typeface="Arial" charset="0"/>
            </a:endParaRPr>
          </a:p>
        </p:txBody>
      </p:sp>
      <p:sp>
        <p:nvSpPr>
          <p:cNvPr id="603" name="Ovál 602">
            <a:extLst>
              <a:ext uri="{FF2B5EF4-FFF2-40B4-BE49-F238E27FC236}">
                <a16:creationId xmlns:a16="http://schemas.microsoft.com/office/drawing/2014/main" id="{83AF94BB-F760-455D-A4EE-E21E4840CFA0}"/>
              </a:ext>
            </a:extLst>
          </p:cNvPr>
          <p:cNvSpPr/>
          <p:nvPr/>
        </p:nvSpPr>
        <p:spPr bwMode="auto">
          <a:xfrm>
            <a:off x="4823509" y="5327972"/>
            <a:ext cx="2056520" cy="446971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cs-CZ" sz="2200">
              <a:solidFill>
                <a:srgbClr val="FFC000"/>
              </a:solidFill>
              <a:latin typeface="Arial" charset="0"/>
            </a:endParaRPr>
          </a:p>
        </p:txBody>
      </p:sp>
      <p:sp>
        <p:nvSpPr>
          <p:cNvPr id="604" name="TextovéPole 603">
            <a:extLst>
              <a:ext uri="{FF2B5EF4-FFF2-40B4-BE49-F238E27FC236}">
                <a16:creationId xmlns:a16="http://schemas.microsoft.com/office/drawing/2014/main" id="{266317AE-30D8-4DBD-AF6B-8FD8D8F4DB1C}"/>
              </a:ext>
            </a:extLst>
          </p:cNvPr>
          <p:cNvSpPr txBox="1"/>
          <p:nvPr/>
        </p:nvSpPr>
        <p:spPr>
          <a:xfrm>
            <a:off x="4320134" y="5358696"/>
            <a:ext cx="31698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cs-CZ" sz="2000" b="1" i="1" dirty="0">
                <a:solidFill>
                  <a:srgbClr val="0000FF"/>
                </a:solidFill>
                <a:latin typeface="Arial" charset="0"/>
              </a:rPr>
              <a:t>z. 48/1997Sb.</a:t>
            </a:r>
            <a:endParaRPr lang="cs-CZ" sz="2000" i="1" dirty="0">
              <a:solidFill>
                <a:srgbClr val="292929"/>
              </a:solidFill>
              <a:latin typeface="Arial" charset="0"/>
            </a:endParaRPr>
          </a:p>
        </p:txBody>
      </p:sp>
      <p:sp>
        <p:nvSpPr>
          <p:cNvPr id="605" name="Ovál 604">
            <a:extLst>
              <a:ext uri="{FF2B5EF4-FFF2-40B4-BE49-F238E27FC236}">
                <a16:creationId xmlns:a16="http://schemas.microsoft.com/office/drawing/2014/main" id="{C9A23CCC-30EC-48B6-87F9-C4E9DA3D87EC}"/>
              </a:ext>
            </a:extLst>
          </p:cNvPr>
          <p:cNvSpPr/>
          <p:nvPr/>
        </p:nvSpPr>
        <p:spPr bwMode="auto">
          <a:xfrm>
            <a:off x="7540844" y="3111752"/>
            <a:ext cx="2056520" cy="55758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cs-CZ" sz="2200">
              <a:solidFill>
                <a:srgbClr val="FFC000"/>
              </a:solidFill>
              <a:latin typeface="Arial" charset="0"/>
            </a:endParaRPr>
          </a:p>
        </p:txBody>
      </p:sp>
      <p:sp>
        <p:nvSpPr>
          <p:cNvPr id="606" name="TextovéPole 605">
            <a:extLst>
              <a:ext uri="{FF2B5EF4-FFF2-40B4-BE49-F238E27FC236}">
                <a16:creationId xmlns:a16="http://schemas.microsoft.com/office/drawing/2014/main" id="{6A56654E-EA13-437D-BE2A-1D58501C503B}"/>
              </a:ext>
            </a:extLst>
          </p:cNvPr>
          <p:cNvSpPr txBox="1"/>
          <p:nvPr/>
        </p:nvSpPr>
        <p:spPr>
          <a:xfrm>
            <a:off x="7036788" y="3183931"/>
            <a:ext cx="31683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cs-CZ" sz="2000" b="1" i="1" dirty="0">
                <a:solidFill>
                  <a:srgbClr val="0000FF"/>
                </a:solidFill>
                <a:latin typeface="Arial" charset="0"/>
              </a:rPr>
              <a:t>z. 372/2011Sb.</a:t>
            </a:r>
            <a:endParaRPr lang="cs-CZ" sz="2000" i="1" dirty="0">
              <a:solidFill>
                <a:srgbClr val="292929"/>
              </a:solidFill>
              <a:latin typeface="Arial" charset="0"/>
            </a:endParaRPr>
          </a:p>
        </p:txBody>
      </p:sp>
      <p:sp>
        <p:nvSpPr>
          <p:cNvPr id="607" name="Text Box 17">
            <a:extLst>
              <a:ext uri="{FF2B5EF4-FFF2-40B4-BE49-F238E27FC236}">
                <a16:creationId xmlns:a16="http://schemas.microsoft.com/office/drawing/2014/main" id="{E6FD1B5F-4C38-4AED-99D1-ADBE9F0E27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803" y="3636219"/>
            <a:ext cx="212367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>
                <a:srgbClr val="FFFF00"/>
              </a:buClr>
              <a:defRPr/>
            </a:pPr>
            <a:r>
              <a:rPr kumimoji="0" lang="cs-CZ" altLang="cs-CZ" sz="2800" b="0" i="1" dirty="0">
                <a:solidFill>
                  <a:srgbClr val="0000FF"/>
                </a:solidFill>
                <a:latin typeface="Algerian" panose="04020705040A02060702" pitchFamily="82" charset="0"/>
              </a:rPr>
              <a:t>NR - HZS</a:t>
            </a:r>
          </a:p>
        </p:txBody>
      </p:sp>
      <p:sp>
        <p:nvSpPr>
          <p:cNvPr id="608" name="Text Box 17">
            <a:extLst>
              <a:ext uri="{FF2B5EF4-FFF2-40B4-BE49-F238E27FC236}">
                <a16:creationId xmlns:a16="http://schemas.microsoft.com/office/drawing/2014/main" id="{75D0E3DA-5A11-44EF-B6FF-EF886DB274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788193" y="3587431"/>
            <a:ext cx="212367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>
                <a:srgbClr val="FFFF00"/>
              </a:buClr>
              <a:defRPr/>
            </a:pPr>
            <a:r>
              <a:rPr kumimoji="0" lang="cs-CZ" altLang="cs-CZ" sz="2800" b="0" i="1" dirty="0">
                <a:solidFill>
                  <a:srgbClr val="0000FF"/>
                </a:solidFill>
                <a:latin typeface="Algerian" panose="04020705040A02060702" pitchFamily="82" charset="0"/>
              </a:rPr>
              <a:t>NR - HOSP</a:t>
            </a:r>
          </a:p>
        </p:txBody>
      </p:sp>
      <p:sp>
        <p:nvSpPr>
          <p:cNvPr id="609" name="Text Box 17">
            <a:extLst>
              <a:ext uri="{FF2B5EF4-FFF2-40B4-BE49-F238E27FC236}">
                <a16:creationId xmlns:a16="http://schemas.microsoft.com/office/drawing/2014/main" id="{1A0F2F90-951E-4CA3-8532-2AA33982B4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50001" y="4848426"/>
            <a:ext cx="212367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>
                <a:srgbClr val="FFFF00"/>
              </a:buClr>
              <a:defRPr/>
            </a:pPr>
            <a:r>
              <a:rPr kumimoji="0" lang="cs-CZ" altLang="cs-CZ" sz="2800" b="0" i="1" dirty="0">
                <a:solidFill>
                  <a:srgbClr val="0000FF"/>
                </a:solidFill>
                <a:latin typeface="Algerian" panose="04020705040A02060702" pitchFamily="82" charset="0"/>
              </a:rPr>
              <a:t>CZ-DRG</a:t>
            </a:r>
          </a:p>
        </p:txBody>
      </p:sp>
      <p:sp>
        <p:nvSpPr>
          <p:cNvPr id="610" name="Nadpis 1">
            <a:extLst>
              <a:ext uri="{FF2B5EF4-FFF2-40B4-BE49-F238E27FC236}">
                <a16:creationId xmlns:a16="http://schemas.microsoft.com/office/drawing/2014/main" id="{C649C6E6-8FB5-410E-B483-5E8E20D62B20}"/>
              </a:ext>
            </a:extLst>
          </p:cNvPr>
          <p:cNvSpPr txBox="1">
            <a:spLocks/>
          </p:cNvSpPr>
          <p:nvPr/>
        </p:nvSpPr>
        <p:spPr>
          <a:xfrm>
            <a:off x="7842391" y="987453"/>
            <a:ext cx="4080926" cy="17554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C22728"/>
                </a:solidFill>
                <a:effectLst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22728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…… včetně legislativního zázemí </a:t>
            </a:r>
          </a:p>
        </p:txBody>
      </p:sp>
      <p:sp>
        <p:nvSpPr>
          <p:cNvPr id="268" name="Ovál 267">
            <a:extLst>
              <a:ext uri="{FF2B5EF4-FFF2-40B4-BE49-F238E27FC236}">
                <a16:creationId xmlns:a16="http://schemas.microsoft.com/office/drawing/2014/main" id="{BC26E0F0-F36E-40A1-BC66-09938715775E}"/>
              </a:ext>
            </a:extLst>
          </p:cNvPr>
          <p:cNvSpPr/>
          <p:nvPr/>
        </p:nvSpPr>
        <p:spPr bwMode="auto">
          <a:xfrm>
            <a:off x="7533741" y="194946"/>
            <a:ext cx="2056520" cy="557587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cs-CZ" sz="2200">
              <a:solidFill>
                <a:srgbClr val="FFC000"/>
              </a:solidFill>
              <a:latin typeface="Arial" charset="0"/>
            </a:endParaRPr>
          </a:p>
        </p:txBody>
      </p:sp>
      <p:sp>
        <p:nvSpPr>
          <p:cNvPr id="269" name="TextovéPole 268">
            <a:extLst>
              <a:ext uri="{FF2B5EF4-FFF2-40B4-BE49-F238E27FC236}">
                <a16:creationId xmlns:a16="http://schemas.microsoft.com/office/drawing/2014/main" id="{FB0636B4-30A6-4739-96C8-7FC8F9E17871}"/>
              </a:ext>
            </a:extLst>
          </p:cNvPr>
          <p:cNvSpPr txBox="1"/>
          <p:nvPr/>
        </p:nvSpPr>
        <p:spPr>
          <a:xfrm>
            <a:off x="6967548" y="252323"/>
            <a:ext cx="31683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cs-CZ" sz="2000" b="1" i="1" dirty="0">
                <a:solidFill>
                  <a:srgbClr val="0000FF"/>
                </a:solidFill>
                <a:latin typeface="Arial" charset="0"/>
              </a:rPr>
              <a:t>z. 325/2021Sb.</a:t>
            </a:r>
            <a:endParaRPr lang="cs-CZ" sz="2000" i="1" dirty="0">
              <a:solidFill>
                <a:srgbClr val="292929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69086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F803994-5A66-4909-A002-1AC62CE0029C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8874" y="91189"/>
            <a:ext cx="11106335" cy="612324"/>
          </a:xfrm>
        </p:spPr>
        <p:txBody>
          <a:bodyPr>
            <a:noAutofit/>
          </a:bodyPr>
          <a:lstStyle/>
          <a:p>
            <a:pPr algn="ctr"/>
            <a:r>
              <a:rPr lang="cs-CZ" sz="2800" b="1" dirty="0">
                <a:solidFill>
                  <a:srgbClr val="C00000"/>
                </a:solidFill>
                <a:latin typeface="+mn-lt"/>
              </a:rPr>
              <a:t>VYBRANÉ PROFESE NLZP S VYSOKOU PRIORITOU PRO POSÍLENÍ KAPACIT 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74C5C488-54A6-193C-3D53-D2B42934FDDA}"/>
              </a:ext>
            </a:extLst>
          </p:cNvPr>
          <p:cNvSpPr txBox="1"/>
          <p:nvPr/>
        </p:nvSpPr>
        <p:spPr>
          <a:xfrm>
            <a:off x="458874" y="1376921"/>
            <a:ext cx="248194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eobecná sestr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ětská sestr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odní asistentk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43DA4C8F-A3FC-4B4F-8BC2-89E1ABEDBAA1}"/>
              </a:ext>
            </a:extLst>
          </p:cNvPr>
          <p:cNvSpPr txBox="1"/>
          <p:nvPr/>
        </p:nvSpPr>
        <p:spPr>
          <a:xfrm>
            <a:off x="3326003" y="1211687"/>
            <a:ext cx="8407122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mografické stárnutí populace všeobecných a dětských sester ohrožující &gt; 30% dostupné kapacity v následujících cca 10 letech. Chybějící stávající kapacity ve výši až 2 500 úvazků a potřeba dalšího navýšení personálních kapacit (1 500 – 3 000 úvazků).   </a:t>
            </a:r>
          </a:p>
        </p:txBody>
      </p: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3EDE28CA-CFA3-3454-AA7B-E8029D9FD7F6}"/>
              </a:ext>
            </a:extLst>
          </p:cNvPr>
          <p:cNvCxnSpPr/>
          <p:nvPr/>
        </p:nvCxnSpPr>
        <p:spPr>
          <a:xfrm>
            <a:off x="458874" y="2550832"/>
            <a:ext cx="11274251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ovéPole 3">
            <a:extLst>
              <a:ext uri="{FF2B5EF4-FFF2-40B4-BE49-F238E27FC236}">
                <a16:creationId xmlns:a16="http://schemas.microsoft.com/office/drawing/2014/main" id="{AC016582-D9A1-0F52-1195-F8D94C6EE29F}"/>
              </a:ext>
            </a:extLst>
          </p:cNvPr>
          <p:cNvSpPr txBox="1"/>
          <p:nvPr/>
        </p:nvSpPr>
        <p:spPr>
          <a:xfrm>
            <a:off x="458874" y="819188"/>
            <a:ext cx="221398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dbornost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062DFBBA-004E-D4F4-F9A8-42CEFAFC6953}"/>
              </a:ext>
            </a:extLst>
          </p:cNvPr>
          <p:cNvSpPr txBox="1"/>
          <p:nvPr/>
        </p:nvSpPr>
        <p:spPr>
          <a:xfrm>
            <a:off x="3326003" y="819188"/>
            <a:ext cx="340639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lavní důvody výběru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626A6743-5DBE-FD18-2405-BB5A09C971DD}"/>
              </a:ext>
            </a:extLst>
          </p:cNvPr>
          <p:cNvSpPr txBox="1"/>
          <p:nvPr/>
        </p:nvSpPr>
        <p:spPr>
          <a:xfrm>
            <a:off x="458874" y="2883483"/>
            <a:ext cx="2481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diologický asistent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56EE3FC9-0772-194D-73A0-4AAA9CE1712C}"/>
              </a:ext>
            </a:extLst>
          </p:cNvPr>
          <p:cNvSpPr txBox="1"/>
          <p:nvPr/>
        </p:nvSpPr>
        <p:spPr>
          <a:xfrm>
            <a:off x="3326003" y="2643469"/>
            <a:ext cx="840712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é demografické stárnutí populace radiologických asistentů ohrožující 21% dostupné kapacity v následujících cca 10 letech. Chybějící kapacity k pokrytí stávající RT infrastruktury a přístrojového vybavení. </a:t>
            </a:r>
          </a:p>
        </p:txBody>
      </p:sp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A8795136-E380-9954-CF42-4B47A2A11DC2}"/>
              </a:ext>
            </a:extLst>
          </p:cNvPr>
          <p:cNvCxnSpPr/>
          <p:nvPr/>
        </p:nvCxnSpPr>
        <p:spPr>
          <a:xfrm>
            <a:off x="458874" y="3675795"/>
            <a:ext cx="11274251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DDA5BC6D-BD79-0FBA-0CD1-D9C043C0A914}"/>
              </a:ext>
            </a:extLst>
          </p:cNvPr>
          <p:cNvSpPr txBox="1"/>
          <p:nvPr/>
        </p:nvSpPr>
        <p:spPr>
          <a:xfrm>
            <a:off x="458874" y="4031450"/>
            <a:ext cx="26762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ický záchranář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BA880701-574B-64FA-4043-60B47F630C11}"/>
              </a:ext>
            </a:extLst>
          </p:cNvPr>
          <p:cNvSpPr txBox="1"/>
          <p:nvPr/>
        </p:nvSpPr>
        <p:spPr>
          <a:xfrm>
            <a:off x="3326003" y="3877562"/>
            <a:ext cx="840712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pacitní potřeba z důvodu stárnutí populace ZZ a navyšující je potřeby péče. Nutnost alespoň částečně kompenzovat ukončení vzdělávání této profese na VOŠ v roce 2019 (výpadek pětileté produkce absolventů ve výši cca 700 ZZ). </a:t>
            </a:r>
          </a:p>
        </p:txBody>
      </p:sp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4DF81F46-FF4C-95BD-3AD0-6CB2BD1CD5A3}"/>
              </a:ext>
            </a:extLst>
          </p:cNvPr>
          <p:cNvCxnSpPr/>
          <p:nvPr/>
        </p:nvCxnSpPr>
        <p:spPr>
          <a:xfrm>
            <a:off x="458874" y="4922459"/>
            <a:ext cx="11274251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051C122A-0CE4-367E-3F07-9F12DBD1B9F3}"/>
              </a:ext>
            </a:extLst>
          </p:cNvPr>
          <p:cNvSpPr txBox="1"/>
          <p:nvPr/>
        </p:nvSpPr>
        <p:spPr>
          <a:xfrm>
            <a:off x="458874" y="5353802"/>
            <a:ext cx="26762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triční terapeut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23619C6-C921-CDA2-B9AD-C134395F7C98}"/>
              </a:ext>
            </a:extLst>
          </p:cNvPr>
          <p:cNvSpPr txBox="1"/>
          <p:nvPr/>
        </p:nvSpPr>
        <p:spPr>
          <a:xfrm>
            <a:off x="3326002" y="4975698"/>
            <a:ext cx="8782261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následné a dlouhodobé péči, v zdravotně sociálních službách, je hlášená úvazková kapacita NT méně než poloviční proti optimálnímu stavu. Chybí minimálně 280 úvazků NT v lůžkové péče a dalších cca 950 úvazků k posílení sociálně zdravotních a komunitních ošetřovatelských služeb, včetně paliativní péče.</a:t>
            </a:r>
          </a:p>
        </p:txBody>
      </p:sp>
    </p:spTree>
    <p:extLst>
      <p:ext uri="{BB962C8B-B14F-4D97-AF65-F5344CB8AC3E}">
        <p14:creationId xmlns:p14="http://schemas.microsoft.com/office/powerpoint/2010/main" val="104514411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4B56153B-2C3B-9C1F-554B-22B00B69B5C3}"/>
              </a:ext>
            </a:extLst>
          </p:cNvPr>
          <p:cNvGraphicFramePr>
            <a:graphicFrameLocks noGrp="1"/>
          </p:cNvGraphicFramePr>
          <p:nvPr/>
        </p:nvGraphicFramePr>
        <p:xfrm>
          <a:off x="331597" y="822960"/>
          <a:ext cx="11535506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00210">
                  <a:extLst>
                    <a:ext uri="{9D8B030D-6E8A-4147-A177-3AD203B41FA5}">
                      <a16:colId xmlns:a16="http://schemas.microsoft.com/office/drawing/2014/main" val="350287272"/>
                    </a:ext>
                  </a:extLst>
                </a:gridCol>
                <a:gridCol w="7335296">
                  <a:extLst>
                    <a:ext uri="{9D8B030D-6E8A-4147-A177-3AD203B41FA5}">
                      <a16:colId xmlns:a16="http://schemas.microsoft.com/office/drawing/2014/main" val="27510996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2600" dirty="0"/>
                        <a:t>Odbornos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2600" dirty="0"/>
                        <a:t>Úvazkové požadavky vyplývající z demografických a kapacitních modelů (predikce na 12 let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800504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2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546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šeobecná sestra</a:t>
                      </a:r>
                    </a:p>
                    <a:p>
                      <a:pPr marL="0" marR="0" lvl="0" indent="0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2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546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ětská sestra</a:t>
                      </a:r>
                    </a:p>
                    <a:p>
                      <a:pPr marL="0" marR="0" lvl="0" indent="0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600" b="1" dirty="0">
                          <a:solidFill>
                            <a:srgbClr val="44546A"/>
                          </a:solidFill>
                          <a:latin typeface="+mn-lt"/>
                        </a:rPr>
                        <a:t>Porodní asistentka</a:t>
                      </a:r>
                      <a:endParaRPr kumimoji="0" lang="en-US" sz="2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4546A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cs-CZ" sz="2600" dirty="0"/>
                        <a:t>Potřeba výchovy až </a:t>
                      </a:r>
                      <a:r>
                        <a:rPr lang="cs-CZ" sz="2600" dirty="0">
                          <a:solidFill>
                            <a:schemeClr val="bg1"/>
                          </a:solidFill>
                          <a:highlight>
                            <a:srgbClr val="D21442"/>
                          </a:highlight>
                        </a:rPr>
                        <a:t>30 000 absolventů </a:t>
                      </a:r>
                      <a:r>
                        <a:rPr lang="cs-CZ" sz="2600" dirty="0"/>
                        <a:t>během cca 10 – 12 let s nejvyšším důrazem na obor Všeobecná sestra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97515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2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546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adiologický asistent</a:t>
                      </a:r>
                      <a:endParaRPr kumimoji="0" lang="en-US" sz="2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4546A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2600" dirty="0"/>
                        <a:t>Demografická a kapacitní potřeba &gt; </a:t>
                      </a:r>
                      <a:r>
                        <a:rPr lang="cs-CZ" sz="2600" dirty="0">
                          <a:solidFill>
                            <a:schemeClr val="bg1"/>
                          </a:solidFill>
                          <a:highlight>
                            <a:srgbClr val="D21442"/>
                          </a:highlight>
                        </a:rPr>
                        <a:t>1 500 úvazků</a:t>
                      </a:r>
                      <a:r>
                        <a:rPr lang="cs-CZ" sz="2600" dirty="0">
                          <a:highlight>
                            <a:srgbClr val="D21442"/>
                          </a:highlight>
                        </a:rPr>
                        <a:t>.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36687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2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546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dravotnický záchranář</a:t>
                      </a:r>
                      <a:endParaRPr kumimoji="0" lang="en-US" sz="2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4546A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2600" dirty="0"/>
                        <a:t>Kapacitní potřeba &gt; </a:t>
                      </a:r>
                      <a:r>
                        <a:rPr lang="cs-CZ" sz="2600" dirty="0">
                          <a:solidFill>
                            <a:schemeClr val="bg1"/>
                          </a:solidFill>
                          <a:highlight>
                            <a:srgbClr val="D21442"/>
                          </a:highlight>
                        </a:rPr>
                        <a:t>1 700 úvazků </a:t>
                      </a:r>
                      <a:r>
                        <a:rPr lang="cs-CZ" sz="2600" dirty="0"/>
                        <a:t>+ kompenzace ukončení studií na VOŠ (</a:t>
                      </a:r>
                      <a:r>
                        <a:rPr lang="cs-CZ" sz="2600" dirty="0">
                          <a:solidFill>
                            <a:schemeClr val="bg1"/>
                          </a:solidFill>
                          <a:highlight>
                            <a:srgbClr val="D21442"/>
                          </a:highlight>
                        </a:rPr>
                        <a:t>1 600 úvazků</a:t>
                      </a:r>
                      <a:r>
                        <a:rPr lang="cs-CZ" sz="2600" dirty="0"/>
                        <a:t>)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85699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2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4546A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utriční terapeut</a:t>
                      </a:r>
                      <a:endParaRPr kumimoji="0" lang="en-US" sz="2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44546A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cs-CZ" sz="2600" dirty="0"/>
                        <a:t>Kapacitní potřeba &gt; </a:t>
                      </a:r>
                      <a:r>
                        <a:rPr lang="cs-CZ" sz="2600" dirty="0">
                          <a:solidFill>
                            <a:schemeClr val="bg1"/>
                          </a:solidFill>
                          <a:highlight>
                            <a:srgbClr val="D21442"/>
                          </a:highlight>
                        </a:rPr>
                        <a:t>1 200 úvazků</a:t>
                      </a:r>
                      <a:r>
                        <a:rPr lang="cs-CZ" sz="2600" dirty="0"/>
                        <a:t>.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0521826"/>
                  </a:ext>
                </a:extLst>
              </a:tr>
            </a:tbl>
          </a:graphicData>
        </a:graphic>
      </p:graphicFrame>
      <p:sp>
        <p:nvSpPr>
          <p:cNvPr id="6" name="Nadpis 1">
            <a:extLst>
              <a:ext uri="{FF2B5EF4-FFF2-40B4-BE49-F238E27FC236}">
                <a16:creationId xmlns:a16="http://schemas.microsoft.com/office/drawing/2014/main" id="{2892DE6E-2FB5-5779-17DE-86994C3220F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8874" y="91189"/>
            <a:ext cx="11106335" cy="612324"/>
          </a:xfrm>
        </p:spPr>
        <p:txBody>
          <a:bodyPr>
            <a:noAutofit/>
          </a:bodyPr>
          <a:lstStyle/>
          <a:p>
            <a:pPr algn="ctr"/>
            <a:r>
              <a:rPr lang="cs-CZ" sz="2800" b="1" dirty="0">
                <a:solidFill>
                  <a:srgbClr val="C00000"/>
                </a:solidFill>
                <a:latin typeface="+mn-lt"/>
              </a:rPr>
              <a:t>VYBRANÉ PROFESE NLZP S VYSOKOU PRIORITOU PRO POSÍLENÍ KAPACIT </a:t>
            </a:r>
          </a:p>
        </p:txBody>
      </p:sp>
    </p:spTree>
    <p:extLst>
      <p:ext uri="{BB962C8B-B14F-4D97-AF65-F5344CB8AC3E}">
        <p14:creationId xmlns:p14="http://schemas.microsoft.com/office/powerpoint/2010/main" val="175155465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F803994-5A66-4909-A002-1AC62CE0029C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11462" y="115692"/>
            <a:ext cx="10784305" cy="650999"/>
          </a:xfrm>
        </p:spPr>
        <p:txBody>
          <a:bodyPr>
            <a:noAutofit/>
          </a:bodyPr>
          <a:lstStyle/>
          <a:p>
            <a:pPr algn="ctr"/>
            <a:r>
              <a:rPr lang="cs-CZ" sz="2800" b="1" dirty="0">
                <a:solidFill>
                  <a:srgbClr val="C00000"/>
                </a:solidFill>
                <a:latin typeface="+mn-lt"/>
              </a:rPr>
              <a:t>Připravovaný program podpory vzdělávání: zapojené vysoké školy 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13034E38-90B0-C333-03D2-9022B9347AD2}"/>
              </a:ext>
            </a:extLst>
          </p:cNvPr>
          <p:cNvSpPr txBox="1"/>
          <p:nvPr/>
        </p:nvSpPr>
        <p:spPr>
          <a:xfrm>
            <a:off x="1400514" y="2945052"/>
            <a:ext cx="1664235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LF U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LF U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. LF U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F H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F MU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F OSU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CCBADCA5-9BB7-C9CC-5B4A-BD94061EEFBE}"/>
              </a:ext>
            </a:extLst>
          </p:cNvPr>
          <p:cNvSpPr txBox="1"/>
          <p:nvPr/>
        </p:nvSpPr>
        <p:spPr>
          <a:xfrm>
            <a:off x="421195" y="870489"/>
            <a:ext cx="1158665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 programu podpory vzdělávání NLZP je přihlásilo 6 lékařských fakult a 11 dalších vysokých škol zapojených do výuky vybraných profesí NLZP .</a:t>
            </a:r>
          </a:p>
        </p:txBody>
      </p:sp>
      <p:sp>
        <p:nvSpPr>
          <p:cNvPr id="4" name="Šipka: dolů 3">
            <a:extLst>
              <a:ext uri="{FF2B5EF4-FFF2-40B4-BE49-F238E27FC236}">
                <a16:creationId xmlns:a16="http://schemas.microsoft.com/office/drawing/2014/main" id="{358956D2-293A-F3F3-9983-313432743321}"/>
              </a:ext>
            </a:extLst>
          </p:cNvPr>
          <p:cNvSpPr/>
          <p:nvPr/>
        </p:nvSpPr>
        <p:spPr>
          <a:xfrm>
            <a:off x="225043" y="1962006"/>
            <a:ext cx="3729824" cy="722526"/>
          </a:xfrm>
          <a:prstGeom prst="downArrow">
            <a:avLst/>
          </a:prstGeom>
          <a:solidFill>
            <a:srgbClr val="2E598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Šipka: dolů 4">
            <a:extLst>
              <a:ext uri="{FF2B5EF4-FFF2-40B4-BE49-F238E27FC236}">
                <a16:creationId xmlns:a16="http://schemas.microsoft.com/office/drawing/2014/main" id="{8153DC7F-E0D9-35B7-4933-5275E635571A}"/>
              </a:ext>
            </a:extLst>
          </p:cNvPr>
          <p:cNvSpPr/>
          <p:nvPr/>
        </p:nvSpPr>
        <p:spPr>
          <a:xfrm>
            <a:off x="7665943" y="1962006"/>
            <a:ext cx="3729824" cy="722526"/>
          </a:xfrm>
          <a:prstGeom prst="downArrow">
            <a:avLst/>
          </a:prstGeom>
          <a:solidFill>
            <a:srgbClr val="2E598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8829A398-C15D-555D-6522-D198858FF6D9}"/>
              </a:ext>
            </a:extLst>
          </p:cNvPr>
          <p:cNvSpPr txBox="1"/>
          <p:nvPr/>
        </p:nvSpPr>
        <p:spPr>
          <a:xfrm>
            <a:off x="1025877" y="2032626"/>
            <a:ext cx="21281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ékařské fakulty 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A9982399-7088-0594-0BCA-E7CBD5D19F75}"/>
              </a:ext>
            </a:extLst>
          </p:cNvPr>
          <p:cNvSpPr txBox="1"/>
          <p:nvPr/>
        </p:nvSpPr>
        <p:spPr>
          <a:xfrm>
            <a:off x="8631528" y="2044370"/>
            <a:ext cx="17986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tatní VŠ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249FB77D-254B-99EE-D1A1-F8F26E804E19}"/>
              </a:ext>
            </a:extLst>
          </p:cNvPr>
          <p:cNvSpPr txBox="1"/>
          <p:nvPr/>
        </p:nvSpPr>
        <p:spPr>
          <a:xfrm>
            <a:off x="6752492" y="2788330"/>
            <a:ext cx="5365821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SF Jihočeská univerzita v Českých Budějovicíc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VP Slezská univerzita v Opavě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ZS Technická univerzita v Liberc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ZS Univerzita J. E. Purkyně v Ústí nad Labe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ZS Univerzita Pardubi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á škola polytechnická Jihlava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ysoká škola zdravotnická, o.p.s.;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ZS Západočeská univerzita v Plzn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BMI ČVU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kulta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umanitních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udií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zita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máše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ati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líně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kult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nických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d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P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lomouc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321246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Šipka: dolů 13">
            <a:extLst>
              <a:ext uri="{FF2B5EF4-FFF2-40B4-BE49-F238E27FC236}">
                <a16:creationId xmlns:a16="http://schemas.microsoft.com/office/drawing/2014/main" id="{84982F15-5C05-BE67-EFC4-DECB1474E274}"/>
              </a:ext>
            </a:extLst>
          </p:cNvPr>
          <p:cNvSpPr/>
          <p:nvPr/>
        </p:nvSpPr>
        <p:spPr>
          <a:xfrm>
            <a:off x="0" y="1153660"/>
            <a:ext cx="3926182" cy="722526"/>
          </a:xfrm>
          <a:prstGeom prst="downArrow">
            <a:avLst/>
          </a:prstGeom>
          <a:solidFill>
            <a:srgbClr val="2E598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B194D616-0CB0-0F93-2E5B-B553EF04E073}"/>
              </a:ext>
            </a:extLst>
          </p:cNvPr>
          <p:cNvSpPr txBox="1"/>
          <p:nvPr/>
        </p:nvSpPr>
        <p:spPr>
          <a:xfrm>
            <a:off x="884677" y="1215156"/>
            <a:ext cx="212815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apojené VŠ 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25CBCEF5-BC04-5054-6A9F-40625CDAB619}"/>
              </a:ext>
            </a:extLst>
          </p:cNvPr>
          <p:cNvSpPr txBox="1"/>
          <p:nvPr/>
        </p:nvSpPr>
        <p:spPr>
          <a:xfrm>
            <a:off x="325422" y="2163888"/>
            <a:ext cx="6894528" cy="38164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DB1441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Navýšení počtu studií o 20%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ferencované navýšení počtu studií dle potřeby oborů s nejvyšší vahou pro obor Všeobecná sestra (+40%)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edpokládaná úspěšnost studia: 70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ílení úvazkové kapacity vyučujících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stupné snižování poměru studií na 1 úvazek učitele: 10 -&gt; 7 -&gt; 6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cs-CZ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výšení průměrné normované učitele na 56 tis. Kč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tba kryjící náklady za 1 </a:t>
            </a:r>
            <a:r>
              <a:rPr kumimoji="0" lang="cs-CZ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udento</a:t>
            </a: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rok: 192 tis. Kč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ziroční valorizace 5% 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9782E3FC-DF7B-7167-7EC3-9DEF97A72C1F}"/>
              </a:ext>
            </a:extLst>
          </p:cNvPr>
          <p:cNvSpPr txBox="1"/>
          <p:nvPr/>
        </p:nvSpPr>
        <p:spPr>
          <a:xfrm>
            <a:off x="8137496" y="2468688"/>
            <a:ext cx="3854479" cy="2616101"/>
          </a:xfrm>
          <a:prstGeom prst="rect">
            <a:avLst/>
          </a:prstGeom>
          <a:solidFill>
            <a:srgbClr val="2E5980"/>
          </a:solidFill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produkce za 12 let trvání programu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eobecná sestra: 11 078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odní asistentka: 2 539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ětská sestra: 1 547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diologický asistent: 1 728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avot. záchranář: 3 573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triční terapeut: 1 250</a:t>
            </a:r>
          </a:p>
        </p:txBody>
      </p:sp>
      <p:sp>
        <p:nvSpPr>
          <p:cNvPr id="20" name="Pravá složená závorka 19">
            <a:extLst>
              <a:ext uri="{FF2B5EF4-FFF2-40B4-BE49-F238E27FC236}">
                <a16:creationId xmlns:a16="http://schemas.microsoft.com/office/drawing/2014/main" id="{FB6B9A41-0BEE-559F-85BD-6C1AF9C8D1A7}"/>
              </a:ext>
            </a:extLst>
          </p:cNvPr>
          <p:cNvSpPr/>
          <p:nvPr/>
        </p:nvSpPr>
        <p:spPr>
          <a:xfrm>
            <a:off x="7601897" y="1729204"/>
            <a:ext cx="340809" cy="4125592"/>
          </a:xfrm>
          <a:prstGeom prst="rightBrace">
            <a:avLst/>
          </a:prstGeom>
          <a:solidFill>
            <a:srgbClr val="2E5980"/>
          </a:solidFill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7E51F5B-071D-24A4-2B61-F2F40946FD8B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61872" y="258889"/>
            <a:ext cx="11510437" cy="5383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vržený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del </a:t>
            </a:r>
            <a:r>
              <a:rPr kumimoji="0" lang="en-GB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u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ákladní parametry a celková produkce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D714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C70B7B33-D720-76CF-069D-F0DC007B4189}"/>
              </a:ext>
            </a:extLst>
          </p:cNvPr>
          <p:cNvSpPr txBox="1"/>
          <p:nvPr/>
        </p:nvSpPr>
        <p:spPr>
          <a:xfrm>
            <a:off x="8071760" y="924341"/>
            <a:ext cx="402541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ymbol" panose="05050102010706020507" pitchFamily="18" charset="2"/>
                <a:ea typeface="+mn-ea"/>
                <a:cs typeface="+mn-cs"/>
              </a:rPr>
              <a:t>S</a:t>
            </a:r>
            <a:r>
              <a:rPr kumimoji="0" lang="cs-CZ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 556 VŠ absolventů </a:t>
            </a:r>
          </a:p>
        </p:txBody>
      </p:sp>
      <p:sp>
        <p:nvSpPr>
          <p:cNvPr id="8" name="Šipka: dolů 7">
            <a:extLst>
              <a:ext uri="{FF2B5EF4-FFF2-40B4-BE49-F238E27FC236}">
                <a16:creationId xmlns:a16="http://schemas.microsoft.com/office/drawing/2014/main" id="{98083A82-AE5A-C9E2-70FB-2C5DAF5A9CFE}"/>
              </a:ext>
            </a:extLst>
          </p:cNvPr>
          <p:cNvSpPr/>
          <p:nvPr/>
        </p:nvSpPr>
        <p:spPr>
          <a:xfrm>
            <a:off x="9389141" y="1786115"/>
            <a:ext cx="1390650" cy="452260"/>
          </a:xfrm>
          <a:prstGeom prst="downArrow">
            <a:avLst/>
          </a:prstGeom>
          <a:solidFill>
            <a:srgbClr val="2E598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Šipka: dolů 8">
            <a:extLst>
              <a:ext uri="{FF2B5EF4-FFF2-40B4-BE49-F238E27FC236}">
                <a16:creationId xmlns:a16="http://schemas.microsoft.com/office/drawing/2014/main" id="{730F6C71-248C-105E-8D70-7A691638A17C}"/>
              </a:ext>
            </a:extLst>
          </p:cNvPr>
          <p:cNvSpPr/>
          <p:nvPr/>
        </p:nvSpPr>
        <p:spPr>
          <a:xfrm>
            <a:off x="9369410" y="5548820"/>
            <a:ext cx="1390650" cy="452260"/>
          </a:xfrm>
          <a:prstGeom prst="downArrow">
            <a:avLst/>
          </a:prstGeom>
          <a:solidFill>
            <a:srgbClr val="2E598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271624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7E51F5B-071D-24A4-2B61-F2F40946FD8B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61872" y="258889"/>
            <a:ext cx="11510437" cy="5383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vržený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del </a:t>
            </a:r>
            <a:r>
              <a:rPr kumimoji="0" lang="en-GB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u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á produkce kumulativně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D714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EA73DE8A-3FA7-2B27-5E0B-BC565B069ADE}"/>
              </a:ext>
            </a:extLst>
          </p:cNvPr>
          <p:cNvGraphicFramePr/>
          <p:nvPr/>
        </p:nvGraphicFramePr>
        <p:xfrm>
          <a:off x="206964" y="792891"/>
          <a:ext cx="4520021" cy="49674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48CF5C18-8DFA-D597-89E2-FD52BFF6F52D}"/>
              </a:ext>
            </a:extLst>
          </p:cNvPr>
          <p:cNvGraphicFramePr/>
          <p:nvPr/>
        </p:nvGraphicFramePr>
        <p:xfrm>
          <a:off x="6146210" y="792890"/>
          <a:ext cx="5838825" cy="52722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66784537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57E51F5B-071D-24A4-2B61-F2F40946FD8B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61872" y="258889"/>
            <a:ext cx="11510437" cy="5383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cs-CZ" sz="2600" b="1" kern="1200" dirty="0" smtClean="0">
                <a:solidFill>
                  <a:srgbClr val="D71440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vržený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del </a:t>
            </a:r>
            <a:r>
              <a:rPr kumimoji="0" lang="en-GB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u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lkové náklady 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D7144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01FBECD6-27F7-E2FC-2991-30525F2310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3870196"/>
              </p:ext>
            </p:extLst>
          </p:nvPr>
        </p:nvGraphicFramePr>
        <p:xfrm>
          <a:off x="404812" y="1506864"/>
          <a:ext cx="5143500" cy="34947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93F1934A-5CA3-0B72-DD99-3448BD767A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0224764"/>
              </p:ext>
            </p:extLst>
          </p:nvPr>
        </p:nvGraphicFramePr>
        <p:xfrm>
          <a:off x="6643687" y="1506864"/>
          <a:ext cx="5143500" cy="34947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ovéPole 13">
            <a:extLst>
              <a:ext uri="{FF2B5EF4-FFF2-40B4-BE49-F238E27FC236}">
                <a16:creationId xmlns:a16="http://schemas.microsoft.com/office/drawing/2014/main" id="{F08BCE4F-DB4E-56C6-16B4-000A044AEE70}"/>
              </a:ext>
            </a:extLst>
          </p:cNvPr>
          <p:cNvSpPr txBox="1"/>
          <p:nvPr/>
        </p:nvSpPr>
        <p:spPr>
          <a:xfrm>
            <a:off x="8061212" y="867314"/>
            <a:ext cx="342095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ý nárůst příspěvku na studium vůči r. 2022 (tis. Kč)</a:t>
            </a:r>
          </a:p>
        </p:txBody>
      </p:sp>
      <p:sp>
        <p:nvSpPr>
          <p:cNvPr id="9" name="TextovéPole 15">
            <a:extLst>
              <a:ext uri="{FF2B5EF4-FFF2-40B4-BE49-F238E27FC236}">
                <a16:creationId xmlns:a16="http://schemas.microsoft.com/office/drawing/2014/main" id="{9AB6BB61-CC5A-5395-95C3-380E0915A728}"/>
              </a:ext>
            </a:extLst>
          </p:cNvPr>
          <p:cNvSpPr txBox="1"/>
          <p:nvPr/>
        </p:nvSpPr>
        <p:spPr>
          <a:xfrm>
            <a:off x="1173418" y="867314"/>
            <a:ext cx="469146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ový příspěvek na studium vybraných NLZP programů kryjící náklady - celkem tis. Kč</a:t>
            </a:r>
          </a:p>
        </p:txBody>
      </p:sp>
      <p:cxnSp>
        <p:nvCxnSpPr>
          <p:cNvPr id="3" name="Přímá spojnice 2">
            <a:extLst>
              <a:ext uri="{FF2B5EF4-FFF2-40B4-BE49-F238E27FC236}">
                <a16:creationId xmlns:a16="http://schemas.microsoft.com/office/drawing/2014/main" id="{EB9A118A-C6D6-95F4-214C-1D8061641789}"/>
              </a:ext>
            </a:extLst>
          </p:cNvPr>
          <p:cNvCxnSpPr>
            <a:cxnSpLocks/>
          </p:cNvCxnSpPr>
          <p:nvPr/>
        </p:nvCxnSpPr>
        <p:spPr>
          <a:xfrm>
            <a:off x="99959" y="5079963"/>
            <a:ext cx="119634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3FCDB9DB-0825-382A-D49C-5BE3B1BDE1EF}"/>
              </a:ext>
            </a:extLst>
          </p:cNvPr>
          <p:cNvGraphicFramePr>
            <a:graphicFrameLocks noGrp="1"/>
          </p:cNvGraphicFramePr>
          <p:nvPr/>
        </p:nvGraphicFramePr>
        <p:xfrm>
          <a:off x="542925" y="5382849"/>
          <a:ext cx="11344272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5356">
                  <a:extLst>
                    <a:ext uri="{9D8B030D-6E8A-4147-A177-3AD203B41FA5}">
                      <a16:colId xmlns:a16="http://schemas.microsoft.com/office/drawing/2014/main" val="304477041"/>
                    </a:ext>
                  </a:extLst>
                </a:gridCol>
                <a:gridCol w="945356">
                  <a:extLst>
                    <a:ext uri="{9D8B030D-6E8A-4147-A177-3AD203B41FA5}">
                      <a16:colId xmlns:a16="http://schemas.microsoft.com/office/drawing/2014/main" val="1882668565"/>
                    </a:ext>
                  </a:extLst>
                </a:gridCol>
                <a:gridCol w="945356">
                  <a:extLst>
                    <a:ext uri="{9D8B030D-6E8A-4147-A177-3AD203B41FA5}">
                      <a16:colId xmlns:a16="http://schemas.microsoft.com/office/drawing/2014/main" val="4265816791"/>
                    </a:ext>
                  </a:extLst>
                </a:gridCol>
                <a:gridCol w="945356">
                  <a:extLst>
                    <a:ext uri="{9D8B030D-6E8A-4147-A177-3AD203B41FA5}">
                      <a16:colId xmlns:a16="http://schemas.microsoft.com/office/drawing/2014/main" val="591819388"/>
                    </a:ext>
                  </a:extLst>
                </a:gridCol>
                <a:gridCol w="945356">
                  <a:extLst>
                    <a:ext uri="{9D8B030D-6E8A-4147-A177-3AD203B41FA5}">
                      <a16:colId xmlns:a16="http://schemas.microsoft.com/office/drawing/2014/main" val="711968951"/>
                    </a:ext>
                  </a:extLst>
                </a:gridCol>
                <a:gridCol w="945356">
                  <a:extLst>
                    <a:ext uri="{9D8B030D-6E8A-4147-A177-3AD203B41FA5}">
                      <a16:colId xmlns:a16="http://schemas.microsoft.com/office/drawing/2014/main" val="2930559250"/>
                    </a:ext>
                  </a:extLst>
                </a:gridCol>
                <a:gridCol w="945356">
                  <a:extLst>
                    <a:ext uri="{9D8B030D-6E8A-4147-A177-3AD203B41FA5}">
                      <a16:colId xmlns:a16="http://schemas.microsoft.com/office/drawing/2014/main" val="418810343"/>
                    </a:ext>
                  </a:extLst>
                </a:gridCol>
                <a:gridCol w="945356">
                  <a:extLst>
                    <a:ext uri="{9D8B030D-6E8A-4147-A177-3AD203B41FA5}">
                      <a16:colId xmlns:a16="http://schemas.microsoft.com/office/drawing/2014/main" val="1479740906"/>
                    </a:ext>
                  </a:extLst>
                </a:gridCol>
                <a:gridCol w="945356">
                  <a:extLst>
                    <a:ext uri="{9D8B030D-6E8A-4147-A177-3AD203B41FA5}">
                      <a16:colId xmlns:a16="http://schemas.microsoft.com/office/drawing/2014/main" val="3123636259"/>
                    </a:ext>
                  </a:extLst>
                </a:gridCol>
                <a:gridCol w="945356">
                  <a:extLst>
                    <a:ext uri="{9D8B030D-6E8A-4147-A177-3AD203B41FA5}">
                      <a16:colId xmlns:a16="http://schemas.microsoft.com/office/drawing/2014/main" val="2354596387"/>
                    </a:ext>
                  </a:extLst>
                </a:gridCol>
                <a:gridCol w="945356">
                  <a:extLst>
                    <a:ext uri="{9D8B030D-6E8A-4147-A177-3AD203B41FA5}">
                      <a16:colId xmlns:a16="http://schemas.microsoft.com/office/drawing/2014/main" val="3068416435"/>
                    </a:ext>
                  </a:extLst>
                </a:gridCol>
                <a:gridCol w="945356">
                  <a:extLst>
                    <a:ext uri="{9D8B030D-6E8A-4147-A177-3AD203B41FA5}">
                      <a16:colId xmlns:a16="http://schemas.microsoft.com/office/drawing/2014/main" val="79850073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Rok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Rok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Rok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Rok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Rok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Rok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Rok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Rok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Rok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Rok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Rok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Rok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68712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solidFill>
                            <a:srgbClr val="FF0000"/>
                          </a:solidFill>
                        </a:rPr>
                        <a:t>+426,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1" dirty="0">
                          <a:solidFill>
                            <a:srgbClr val="FF0000"/>
                          </a:solidFill>
                        </a:rPr>
                        <a:t>+605,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+798,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+892,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+990,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+1093,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+1201,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+1314,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+1434,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+1559,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+1690,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+1828,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67858"/>
                  </a:ext>
                </a:extLst>
              </a:tr>
            </a:tbl>
          </a:graphicData>
        </a:graphic>
      </p:graphicFrame>
      <p:sp>
        <p:nvSpPr>
          <p:cNvPr id="11" name="TextovéPole 10">
            <a:extLst>
              <a:ext uri="{FF2B5EF4-FFF2-40B4-BE49-F238E27FC236}">
                <a16:creationId xmlns:a16="http://schemas.microsoft.com/office/drawing/2014/main" id="{5C9FA075-9909-CF9A-6F69-D3E1C0F7537D}"/>
              </a:ext>
            </a:extLst>
          </p:cNvPr>
          <p:cNvSpPr txBox="1"/>
          <p:nvPr/>
        </p:nvSpPr>
        <p:spPr>
          <a:xfrm>
            <a:off x="1089024" y="5070190"/>
            <a:ext cx="101824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výšení financování proti roku 2022 (v mil Kč)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3AC292B-FBD2-8115-7B6C-2E6457070C47}"/>
              </a:ext>
            </a:extLst>
          </p:cNvPr>
          <p:cNvSpPr txBox="1"/>
          <p:nvPr/>
        </p:nvSpPr>
        <p:spPr>
          <a:xfrm>
            <a:off x="6191615" y="-27671"/>
            <a:ext cx="402541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5000" b="0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Symbol" panose="05050102010706020507" pitchFamily="18" charset="2"/>
                <a:ea typeface="+mn-ea"/>
                <a:cs typeface="+mn-cs"/>
              </a:rPr>
              <a:t>S</a:t>
            </a:r>
            <a:r>
              <a:rPr kumimoji="0" lang="cs-CZ" sz="4000" b="0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D7144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,835 mld Kč</a:t>
            </a:r>
          </a:p>
        </p:txBody>
      </p:sp>
    </p:spTree>
    <p:extLst>
      <p:ext uri="{BB962C8B-B14F-4D97-AF65-F5344CB8AC3E}">
        <p14:creationId xmlns:p14="http://schemas.microsoft.com/office/powerpoint/2010/main" val="116718215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5C0DAE3-2B75-C32B-6714-254CFCF32BC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715186" y="2314177"/>
            <a:ext cx="10515600" cy="631595"/>
          </a:xfrm>
        </p:spPr>
        <p:txBody>
          <a:bodyPr>
            <a:noAutofit/>
          </a:bodyPr>
          <a:lstStyle/>
          <a:p>
            <a:pPr algn="ctr"/>
            <a:r>
              <a:rPr lang="cs-CZ" sz="8000" dirty="0"/>
              <a:t>DĚKUJI ZA POZORNOST </a:t>
            </a:r>
          </a:p>
        </p:txBody>
      </p:sp>
    </p:spTree>
    <p:extLst>
      <p:ext uri="{BB962C8B-B14F-4D97-AF65-F5344CB8AC3E}">
        <p14:creationId xmlns:p14="http://schemas.microsoft.com/office/powerpoint/2010/main" val="11404778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9" name="Text Box 17">
            <a:extLst>
              <a:ext uri="{FF2B5EF4-FFF2-40B4-BE49-F238E27FC236}">
                <a16:creationId xmlns:a16="http://schemas.microsoft.com/office/drawing/2014/main" id="{B60B11B2-BD39-4805-BBE0-E32344FC7B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81295" y="4526734"/>
            <a:ext cx="219219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árodní registr zdravotnických pracovníků </a:t>
            </a:r>
          </a:p>
        </p:txBody>
      </p:sp>
      <p:pic>
        <p:nvPicPr>
          <p:cNvPr id="60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EE6A886-1662-48A4-AF2F-70F111D08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694" y="3138087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3" name="Nadpis 1">
            <a:extLst>
              <a:ext uri="{FF2B5EF4-FFF2-40B4-BE49-F238E27FC236}">
                <a16:creationId xmlns:a16="http://schemas.microsoft.com/office/drawing/2014/main" id="{473E9B45-49B3-E061-AF23-6F7082688126}"/>
              </a:ext>
            </a:extLst>
          </p:cNvPr>
          <p:cNvSpPr txBox="1">
            <a:spLocks/>
          </p:cNvSpPr>
          <p:nvPr/>
        </p:nvSpPr>
        <p:spPr>
          <a:xfrm>
            <a:off x="22412" y="-981"/>
            <a:ext cx="12150538" cy="6623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C22728"/>
                </a:solidFill>
                <a:effectLst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22728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ový informační systém pro hodnocení personálních kapacit</a:t>
            </a:r>
          </a:p>
        </p:txBody>
      </p:sp>
    </p:spTree>
    <p:extLst>
      <p:ext uri="{BB962C8B-B14F-4D97-AF65-F5344CB8AC3E}">
        <p14:creationId xmlns:p14="http://schemas.microsoft.com/office/powerpoint/2010/main" val="8139170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9" name="Text Box 17">
            <a:extLst>
              <a:ext uri="{FF2B5EF4-FFF2-40B4-BE49-F238E27FC236}">
                <a16:creationId xmlns:a16="http://schemas.microsoft.com/office/drawing/2014/main" id="{B60B11B2-BD39-4805-BBE0-E32344FC7B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81295" y="4526734"/>
            <a:ext cx="219219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árodní registr zdravotnických pracovníků </a:t>
            </a:r>
          </a:p>
        </p:txBody>
      </p:sp>
      <p:pic>
        <p:nvPicPr>
          <p:cNvPr id="60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EE6A886-1662-48A4-AF2F-70F111D08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694" y="3138087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3" name="Nadpis 1">
            <a:extLst>
              <a:ext uri="{FF2B5EF4-FFF2-40B4-BE49-F238E27FC236}">
                <a16:creationId xmlns:a16="http://schemas.microsoft.com/office/drawing/2014/main" id="{473E9B45-49B3-E061-AF23-6F7082688126}"/>
              </a:ext>
            </a:extLst>
          </p:cNvPr>
          <p:cNvSpPr txBox="1">
            <a:spLocks/>
          </p:cNvSpPr>
          <p:nvPr/>
        </p:nvSpPr>
        <p:spPr>
          <a:xfrm>
            <a:off x="22412" y="-981"/>
            <a:ext cx="12150538" cy="6623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C22728"/>
                </a:solidFill>
                <a:effectLst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22728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ový informační systém pro hodnocení personálních kapacit</a:t>
            </a:r>
          </a:p>
        </p:txBody>
      </p:sp>
      <p:pic>
        <p:nvPicPr>
          <p:cNvPr id="2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7A3E1B2D-395E-AFBD-2CCC-CA04243213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676" y="4374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59FEA232-F0B7-7CAA-3DA1-59BFF0E216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676" y="4374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BA82A3F6-81CD-2FED-6798-17AF267566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076" y="45266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31B5375B-59AC-D6FB-C772-A168CDCB14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6476" y="46790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Přímá spojnice se šipkou 5">
            <a:extLst>
              <a:ext uri="{FF2B5EF4-FFF2-40B4-BE49-F238E27FC236}">
                <a16:creationId xmlns:a16="http://schemas.microsoft.com/office/drawing/2014/main" id="{6AB1AF6B-B735-6E42-5518-3901F07AB185}"/>
              </a:ext>
            </a:extLst>
          </p:cNvPr>
          <p:cNvCxnSpPr>
            <a:cxnSpLocks/>
          </p:cNvCxnSpPr>
          <p:nvPr/>
        </p:nvCxnSpPr>
        <p:spPr>
          <a:xfrm flipV="1">
            <a:off x="1907756" y="3882888"/>
            <a:ext cx="2347163" cy="79615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E1140B13-0209-E199-ADFB-49240DA96BCF}"/>
              </a:ext>
            </a:extLst>
          </p:cNvPr>
          <p:cNvSpPr txBox="1"/>
          <p:nvPr/>
        </p:nvSpPr>
        <p:spPr>
          <a:xfrm rot="20485565">
            <a:off x="2245088" y="4320227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Vzdělavatelé</a:t>
            </a:r>
          </a:p>
        </p:txBody>
      </p:sp>
    </p:spTree>
    <p:extLst>
      <p:ext uri="{BB962C8B-B14F-4D97-AF65-F5344CB8AC3E}">
        <p14:creationId xmlns:p14="http://schemas.microsoft.com/office/powerpoint/2010/main" val="41925130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9" name="Text Box 17">
            <a:extLst>
              <a:ext uri="{FF2B5EF4-FFF2-40B4-BE49-F238E27FC236}">
                <a16:creationId xmlns:a16="http://schemas.microsoft.com/office/drawing/2014/main" id="{B60B11B2-BD39-4805-BBE0-E32344FC7B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81295" y="4526734"/>
            <a:ext cx="219219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árodní registr zdravotnických pracovníků </a:t>
            </a:r>
          </a:p>
        </p:txBody>
      </p:sp>
      <p:pic>
        <p:nvPicPr>
          <p:cNvPr id="60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EE6A886-1662-48A4-AF2F-70F111D08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694" y="3138087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3" name="Nadpis 1">
            <a:extLst>
              <a:ext uri="{FF2B5EF4-FFF2-40B4-BE49-F238E27FC236}">
                <a16:creationId xmlns:a16="http://schemas.microsoft.com/office/drawing/2014/main" id="{473E9B45-49B3-E061-AF23-6F7082688126}"/>
              </a:ext>
            </a:extLst>
          </p:cNvPr>
          <p:cNvSpPr txBox="1">
            <a:spLocks/>
          </p:cNvSpPr>
          <p:nvPr/>
        </p:nvSpPr>
        <p:spPr>
          <a:xfrm>
            <a:off x="22412" y="-981"/>
            <a:ext cx="12150538" cy="6623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C22728"/>
                </a:solidFill>
                <a:effectLst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22728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ový informační systém pro hodnocení personálních kapacit</a:t>
            </a:r>
          </a:p>
        </p:txBody>
      </p:sp>
      <p:pic>
        <p:nvPicPr>
          <p:cNvPr id="2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7A3E1B2D-395E-AFBD-2CCC-CA04243213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676" y="4374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59FEA232-F0B7-7CAA-3DA1-59BFF0E216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676" y="4374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BA82A3F6-81CD-2FED-6798-17AF267566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076" y="45266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31B5375B-59AC-D6FB-C772-A168CDCB14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6476" y="46790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Přímá spojnice se šipkou 5">
            <a:extLst>
              <a:ext uri="{FF2B5EF4-FFF2-40B4-BE49-F238E27FC236}">
                <a16:creationId xmlns:a16="http://schemas.microsoft.com/office/drawing/2014/main" id="{6AB1AF6B-B735-6E42-5518-3901F07AB185}"/>
              </a:ext>
            </a:extLst>
          </p:cNvPr>
          <p:cNvCxnSpPr>
            <a:cxnSpLocks/>
          </p:cNvCxnSpPr>
          <p:nvPr/>
        </p:nvCxnSpPr>
        <p:spPr>
          <a:xfrm flipV="1">
            <a:off x="1907756" y="3882888"/>
            <a:ext cx="2347163" cy="79615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E1140B13-0209-E199-ADFB-49240DA96BCF}"/>
              </a:ext>
            </a:extLst>
          </p:cNvPr>
          <p:cNvSpPr txBox="1"/>
          <p:nvPr/>
        </p:nvSpPr>
        <p:spPr>
          <a:xfrm rot="20485565">
            <a:off x="2245088" y="4320227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Vzdělavatelé</a:t>
            </a:r>
          </a:p>
        </p:txBody>
      </p:sp>
      <p:pic>
        <p:nvPicPr>
          <p:cNvPr id="8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89ECC3F-C200-3FD7-DAE3-88EC63365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301" y="19358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9E0DF4F6-AFF1-6882-38CC-0A0478141F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301" y="19358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C46DAEA3-3880-4660-4ADD-39A2E4AE1E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2701" y="2088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4DD6B4F7-80B6-382E-88AD-5C60F8E20A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5101" y="22406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FA6BD963-3AB0-34EE-0947-9368AFAE9FA3}"/>
              </a:ext>
            </a:extLst>
          </p:cNvPr>
          <p:cNvCxnSpPr>
            <a:cxnSpLocks/>
          </p:cNvCxnSpPr>
          <p:nvPr/>
        </p:nvCxnSpPr>
        <p:spPr>
          <a:xfrm>
            <a:off x="2345896" y="2625543"/>
            <a:ext cx="1909023" cy="76868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6C48A44A-A91A-7649-08EE-DE4BA9BBD96F}"/>
              </a:ext>
            </a:extLst>
          </p:cNvPr>
          <p:cNvSpPr txBox="1"/>
          <p:nvPr/>
        </p:nvSpPr>
        <p:spPr>
          <a:xfrm rot="1246759">
            <a:off x="2374794" y="2632444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skytovatelé</a:t>
            </a:r>
          </a:p>
        </p:txBody>
      </p:sp>
    </p:spTree>
    <p:extLst>
      <p:ext uri="{BB962C8B-B14F-4D97-AF65-F5344CB8AC3E}">
        <p14:creationId xmlns:p14="http://schemas.microsoft.com/office/powerpoint/2010/main" val="35784732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9" name="Text Box 17">
            <a:extLst>
              <a:ext uri="{FF2B5EF4-FFF2-40B4-BE49-F238E27FC236}">
                <a16:creationId xmlns:a16="http://schemas.microsoft.com/office/drawing/2014/main" id="{B60B11B2-BD39-4805-BBE0-E32344FC7B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81295" y="4526734"/>
            <a:ext cx="219219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árodní registr zdravotnických pracovníků </a:t>
            </a:r>
          </a:p>
        </p:txBody>
      </p:sp>
      <p:pic>
        <p:nvPicPr>
          <p:cNvPr id="60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EE6A886-1662-48A4-AF2F-70F111D08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694" y="3138087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3" name="Nadpis 1">
            <a:extLst>
              <a:ext uri="{FF2B5EF4-FFF2-40B4-BE49-F238E27FC236}">
                <a16:creationId xmlns:a16="http://schemas.microsoft.com/office/drawing/2014/main" id="{473E9B45-49B3-E061-AF23-6F7082688126}"/>
              </a:ext>
            </a:extLst>
          </p:cNvPr>
          <p:cNvSpPr txBox="1">
            <a:spLocks/>
          </p:cNvSpPr>
          <p:nvPr/>
        </p:nvSpPr>
        <p:spPr>
          <a:xfrm>
            <a:off x="22412" y="-981"/>
            <a:ext cx="12150538" cy="6623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C22728"/>
                </a:solidFill>
                <a:effectLst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22728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ový informační systém pro hodnocení personálních kapacit</a:t>
            </a:r>
          </a:p>
        </p:txBody>
      </p:sp>
      <p:pic>
        <p:nvPicPr>
          <p:cNvPr id="2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7A3E1B2D-395E-AFBD-2CCC-CA04243213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676" y="4374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59FEA232-F0B7-7CAA-3DA1-59BFF0E216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676" y="4374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BA82A3F6-81CD-2FED-6798-17AF267566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076" y="45266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31B5375B-59AC-D6FB-C772-A168CDCB14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6476" y="46790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Přímá spojnice se šipkou 5">
            <a:extLst>
              <a:ext uri="{FF2B5EF4-FFF2-40B4-BE49-F238E27FC236}">
                <a16:creationId xmlns:a16="http://schemas.microsoft.com/office/drawing/2014/main" id="{6AB1AF6B-B735-6E42-5518-3901F07AB185}"/>
              </a:ext>
            </a:extLst>
          </p:cNvPr>
          <p:cNvCxnSpPr>
            <a:cxnSpLocks/>
          </p:cNvCxnSpPr>
          <p:nvPr/>
        </p:nvCxnSpPr>
        <p:spPr>
          <a:xfrm flipV="1">
            <a:off x="1907756" y="3882888"/>
            <a:ext cx="2347163" cy="79615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E1140B13-0209-E199-ADFB-49240DA96BCF}"/>
              </a:ext>
            </a:extLst>
          </p:cNvPr>
          <p:cNvSpPr txBox="1"/>
          <p:nvPr/>
        </p:nvSpPr>
        <p:spPr>
          <a:xfrm rot="20485565">
            <a:off x="2245088" y="4320227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Vzdělavatelé</a:t>
            </a:r>
          </a:p>
        </p:txBody>
      </p:sp>
      <p:pic>
        <p:nvPicPr>
          <p:cNvPr id="8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89ECC3F-C200-3FD7-DAE3-88EC63365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301" y="19358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9E0DF4F6-AFF1-6882-38CC-0A0478141F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301" y="19358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C46DAEA3-3880-4660-4ADD-39A2E4AE1E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2701" y="2088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4DD6B4F7-80B6-382E-88AD-5C60F8E20A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5101" y="22406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FA6BD963-3AB0-34EE-0947-9368AFAE9FA3}"/>
              </a:ext>
            </a:extLst>
          </p:cNvPr>
          <p:cNvCxnSpPr>
            <a:cxnSpLocks/>
          </p:cNvCxnSpPr>
          <p:nvPr/>
        </p:nvCxnSpPr>
        <p:spPr>
          <a:xfrm>
            <a:off x="2345896" y="2625543"/>
            <a:ext cx="1909023" cy="76868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6C48A44A-A91A-7649-08EE-DE4BA9BBD96F}"/>
              </a:ext>
            </a:extLst>
          </p:cNvPr>
          <p:cNvSpPr txBox="1"/>
          <p:nvPr/>
        </p:nvSpPr>
        <p:spPr>
          <a:xfrm rot="1246759">
            <a:off x="2374794" y="2632444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skytovatelé</a:t>
            </a:r>
          </a:p>
        </p:txBody>
      </p:sp>
      <p:pic>
        <p:nvPicPr>
          <p:cNvPr id="14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AFDC562-526F-CA06-E7E1-9D4F4FD13E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3919" y="3138087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 Box 17">
            <a:extLst>
              <a:ext uri="{FF2B5EF4-FFF2-40B4-BE49-F238E27FC236}">
                <a16:creationId xmlns:a16="http://schemas.microsoft.com/office/drawing/2014/main" id="{BFEEA97F-46B4-0F67-E4F6-9C2494DCE5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40524" y="4516956"/>
            <a:ext cx="3157122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árodní registr hrazených zdravotních služeb</a:t>
            </a:r>
          </a:p>
        </p:txBody>
      </p:sp>
      <p:pic>
        <p:nvPicPr>
          <p:cNvPr id="16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ECDD743B-BD8B-174C-CCC5-B0DC7DEE84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3426" y="32407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3C718F4-F2A3-4C50-1F05-E5D2EE9DB8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3426" y="32407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EEDE2688-3E0A-361A-1961-F67368CD59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5826" y="33931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E62C0A01-370D-5A4E-FB0F-6225AD8305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8226" y="35455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DF78C12E-3DA7-E272-AB48-D4068DED899F}"/>
              </a:ext>
            </a:extLst>
          </p:cNvPr>
          <p:cNvCxnSpPr>
            <a:cxnSpLocks/>
          </p:cNvCxnSpPr>
          <p:nvPr/>
        </p:nvCxnSpPr>
        <p:spPr>
          <a:xfrm flipH="1">
            <a:off x="9281754" y="3632203"/>
            <a:ext cx="1839272" cy="2074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2F6B9FA7-8464-50EF-5D60-BB3B972DE61E}"/>
              </a:ext>
            </a:extLst>
          </p:cNvPr>
          <p:cNvSpPr txBox="1"/>
          <p:nvPr/>
        </p:nvSpPr>
        <p:spPr>
          <a:xfrm>
            <a:off x="9483361" y="3306789"/>
            <a:ext cx="17811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Zdravotní pojišťovny</a:t>
            </a:r>
          </a:p>
        </p:txBody>
      </p:sp>
    </p:spTree>
    <p:extLst>
      <p:ext uri="{BB962C8B-B14F-4D97-AF65-F5344CB8AC3E}">
        <p14:creationId xmlns:p14="http://schemas.microsoft.com/office/powerpoint/2010/main" val="34773984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9" name="Text Box 17">
            <a:extLst>
              <a:ext uri="{FF2B5EF4-FFF2-40B4-BE49-F238E27FC236}">
                <a16:creationId xmlns:a16="http://schemas.microsoft.com/office/drawing/2014/main" id="{B60B11B2-BD39-4805-BBE0-E32344FC7B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81295" y="4526734"/>
            <a:ext cx="219219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árodní registr zdravotnických pracovníků </a:t>
            </a:r>
          </a:p>
        </p:txBody>
      </p:sp>
      <p:pic>
        <p:nvPicPr>
          <p:cNvPr id="60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EE6A886-1662-48A4-AF2F-70F111D08A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694" y="3138087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3" name="Nadpis 1">
            <a:extLst>
              <a:ext uri="{FF2B5EF4-FFF2-40B4-BE49-F238E27FC236}">
                <a16:creationId xmlns:a16="http://schemas.microsoft.com/office/drawing/2014/main" id="{473E9B45-49B3-E061-AF23-6F7082688126}"/>
              </a:ext>
            </a:extLst>
          </p:cNvPr>
          <p:cNvSpPr txBox="1">
            <a:spLocks/>
          </p:cNvSpPr>
          <p:nvPr/>
        </p:nvSpPr>
        <p:spPr>
          <a:xfrm>
            <a:off x="22412" y="-981"/>
            <a:ext cx="12150538" cy="6623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C22728"/>
                </a:solidFill>
                <a:effectLst/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400" b="1" i="0" u="none" strike="noStrike" kern="1200" cap="none" spc="0" normalizeH="0" baseline="0" noProof="0" dirty="0">
                <a:ln>
                  <a:noFill/>
                </a:ln>
                <a:solidFill>
                  <a:srgbClr val="C22728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Nový informační systém pro hodnocení personálních kapacit</a:t>
            </a:r>
          </a:p>
        </p:txBody>
      </p:sp>
      <p:pic>
        <p:nvPicPr>
          <p:cNvPr id="2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7A3E1B2D-395E-AFBD-2CCC-CA04243213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676" y="4374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59FEA232-F0B7-7CAA-3DA1-59BFF0E216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676" y="4374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BA82A3F6-81CD-2FED-6798-17AF267566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4076" y="45266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31B5375B-59AC-D6FB-C772-A168CDCB14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6476" y="46790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Přímá spojnice se šipkou 5">
            <a:extLst>
              <a:ext uri="{FF2B5EF4-FFF2-40B4-BE49-F238E27FC236}">
                <a16:creationId xmlns:a16="http://schemas.microsoft.com/office/drawing/2014/main" id="{6AB1AF6B-B735-6E42-5518-3901F07AB185}"/>
              </a:ext>
            </a:extLst>
          </p:cNvPr>
          <p:cNvCxnSpPr>
            <a:cxnSpLocks/>
          </p:cNvCxnSpPr>
          <p:nvPr/>
        </p:nvCxnSpPr>
        <p:spPr>
          <a:xfrm flipV="1">
            <a:off x="1907756" y="3882888"/>
            <a:ext cx="2347163" cy="79615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E1140B13-0209-E199-ADFB-49240DA96BCF}"/>
              </a:ext>
            </a:extLst>
          </p:cNvPr>
          <p:cNvSpPr txBox="1"/>
          <p:nvPr/>
        </p:nvSpPr>
        <p:spPr>
          <a:xfrm rot="20485565">
            <a:off x="2245088" y="4320227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Vzdělavatelé</a:t>
            </a:r>
          </a:p>
        </p:txBody>
      </p:sp>
      <p:pic>
        <p:nvPicPr>
          <p:cNvPr id="8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89ECC3F-C200-3FD7-DAE3-88EC633657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301" y="19358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9E0DF4F6-AFF1-6882-38CC-0A0478141F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0301" y="19358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C46DAEA3-3880-4660-4ADD-39A2E4AE1E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2701" y="20882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4DD6B4F7-80B6-382E-88AD-5C60F8E20A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5101" y="2240645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FA6BD963-3AB0-34EE-0947-9368AFAE9FA3}"/>
              </a:ext>
            </a:extLst>
          </p:cNvPr>
          <p:cNvCxnSpPr>
            <a:cxnSpLocks/>
          </p:cNvCxnSpPr>
          <p:nvPr/>
        </p:nvCxnSpPr>
        <p:spPr>
          <a:xfrm>
            <a:off x="2345896" y="2625543"/>
            <a:ext cx="1909023" cy="76868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6C48A44A-A91A-7649-08EE-DE4BA9BBD96F}"/>
              </a:ext>
            </a:extLst>
          </p:cNvPr>
          <p:cNvSpPr txBox="1"/>
          <p:nvPr/>
        </p:nvSpPr>
        <p:spPr>
          <a:xfrm rot="1246759">
            <a:off x="2374794" y="2632444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skytovatelé</a:t>
            </a:r>
          </a:p>
        </p:txBody>
      </p:sp>
      <p:pic>
        <p:nvPicPr>
          <p:cNvPr id="14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AFDC562-526F-CA06-E7E1-9D4F4FD13E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3919" y="3138087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 Box 17">
            <a:extLst>
              <a:ext uri="{FF2B5EF4-FFF2-40B4-BE49-F238E27FC236}">
                <a16:creationId xmlns:a16="http://schemas.microsoft.com/office/drawing/2014/main" id="{BFEEA97F-46B4-0F67-E4F6-9C2494DCE5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40524" y="4516956"/>
            <a:ext cx="3157122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árodní registr hrazených zdravotních služeb</a:t>
            </a:r>
          </a:p>
        </p:txBody>
      </p:sp>
      <p:pic>
        <p:nvPicPr>
          <p:cNvPr id="16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ECDD743B-BD8B-174C-CCC5-B0DC7DEE84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3426" y="32407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13C718F4-F2A3-4C50-1F05-E5D2EE9DB8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3426" y="32407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EEDE2688-3E0A-361A-1961-F67368CD59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5826" y="33931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E62C0A01-370D-5A4E-FB0F-6225AD8305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8226" y="3545570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DF78C12E-3DA7-E272-AB48-D4068DED899F}"/>
              </a:ext>
            </a:extLst>
          </p:cNvPr>
          <p:cNvCxnSpPr>
            <a:cxnSpLocks/>
          </p:cNvCxnSpPr>
          <p:nvPr/>
        </p:nvCxnSpPr>
        <p:spPr>
          <a:xfrm flipH="1">
            <a:off x="9281754" y="3632203"/>
            <a:ext cx="1839272" cy="20743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2F6B9FA7-8464-50EF-5D60-BB3B972DE61E}"/>
              </a:ext>
            </a:extLst>
          </p:cNvPr>
          <p:cNvSpPr txBox="1"/>
          <p:nvPr/>
        </p:nvSpPr>
        <p:spPr>
          <a:xfrm>
            <a:off x="9483361" y="3306789"/>
            <a:ext cx="17811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Zdravotní pojišťovny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4087F5DF-5B41-2DCD-F615-6F992F3FCEA4}"/>
              </a:ext>
            </a:extLst>
          </p:cNvPr>
          <p:cNvSpPr txBox="1"/>
          <p:nvPr/>
        </p:nvSpPr>
        <p:spPr>
          <a:xfrm rot="21152574">
            <a:off x="8129769" y="1614948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Krajské úřady</a:t>
            </a:r>
          </a:p>
        </p:txBody>
      </p:sp>
      <p:sp>
        <p:nvSpPr>
          <p:cNvPr id="23" name="Text Box 17">
            <a:extLst>
              <a:ext uri="{FF2B5EF4-FFF2-40B4-BE49-F238E27FC236}">
                <a16:creationId xmlns:a16="http://schemas.microsoft.com/office/drawing/2014/main" id="{1EB918E0-BE1A-F57B-98BF-2CCADE8F480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09268" y="740913"/>
            <a:ext cx="429081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kumimoji="1"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kumimoji="1"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buClr>
                <a:srgbClr val="FFFF00"/>
              </a:buClr>
              <a:defRPr/>
            </a:pPr>
            <a:r>
              <a:rPr kumimoji="0" lang="cs-CZ" altLang="cs-CZ" i="1" dirty="0">
                <a:solidFill>
                  <a:srgbClr val="0000FF"/>
                </a:solidFill>
                <a:latin typeface="+mn-lt"/>
              </a:rPr>
              <a:t>Národní registr poskytovatelů zdravotních služeb</a:t>
            </a:r>
          </a:p>
        </p:txBody>
      </p:sp>
      <p:pic>
        <p:nvPicPr>
          <p:cNvPr id="24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D32A882D-405A-E6BC-6D88-186068A3E1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1230" y="1800024"/>
            <a:ext cx="805410" cy="9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Přímá spojnice se šipkou 24">
            <a:extLst>
              <a:ext uri="{FF2B5EF4-FFF2-40B4-BE49-F238E27FC236}">
                <a16:creationId xmlns:a16="http://schemas.microsoft.com/office/drawing/2014/main" id="{6F19D827-4672-9253-95D8-5ABDFB7377B1}"/>
              </a:ext>
            </a:extLst>
          </p:cNvPr>
          <p:cNvCxnSpPr>
            <a:cxnSpLocks/>
          </p:cNvCxnSpPr>
          <p:nvPr/>
        </p:nvCxnSpPr>
        <p:spPr>
          <a:xfrm>
            <a:off x="2345896" y="2070233"/>
            <a:ext cx="3962947" cy="297041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06BE7A6A-9BC0-9FC9-96C2-35A9EDA571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08686" y="141934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4C7E1E0E-4F3C-426C-7465-C66262A691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08686" y="141934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FC56EDB7-A6D1-D7D4-4825-363505CC48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1086" y="157174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6" descr="http://t3.gstatic.com/images?q=tbn:ANd9GcQcJxskDqnVD5QpYG4wNPrHjkMQ3yWcw6e0BS11wFJM7mul-Om4JA">
            <a:extLst>
              <a:ext uri="{FF2B5EF4-FFF2-40B4-BE49-F238E27FC236}">
                <a16:creationId xmlns:a16="http://schemas.microsoft.com/office/drawing/2014/main" id="{8EB4CAF5-4E85-8EE3-C97A-1E7E07FDB0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3486" y="1724149"/>
            <a:ext cx="417140" cy="51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Přímá spojnice se šipkou 29">
            <a:extLst>
              <a:ext uri="{FF2B5EF4-FFF2-40B4-BE49-F238E27FC236}">
                <a16:creationId xmlns:a16="http://schemas.microsoft.com/office/drawing/2014/main" id="{2AA4D0DA-80C4-1370-696C-EFE0D11A4599}"/>
              </a:ext>
            </a:extLst>
          </p:cNvPr>
          <p:cNvCxnSpPr>
            <a:cxnSpLocks/>
          </p:cNvCxnSpPr>
          <p:nvPr/>
        </p:nvCxnSpPr>
        <p:spPr>
          <a:xfrm flipH="1">
            <a:off x="7548880" y="1896484"/>
            <a:ext cx="3212905" cy="375138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977A100-92C6-9CAE-3785-607389DA97DA}"/>
              </a:ext>
            </a:extLst>
          </p:cNvPr>
          <p:cNvSpPr txBox="1"/>
          <p:nvPr/>
        </p:nvSpPr>
        <p:spPr>
          <a:xfrm rot="276719">
            <a:off x="3501382" y="1831278"/>
            <a:ext cx="1781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Poskytovatelé</a:t>
            </a:r>
          </a:p>
        </p:txBody>
      </p:sp>
    </p:spTree>
    <p:extLst>
      <p:ext uri="{BB962C8B-B14F-4D97-AF65-F5344CB8AC3E}">
        <p14:creationId xmlns:p14="http://schemas.microsoft.com/office/powerpoint/2010/main" val="21427787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  <p:tag name="SLIDEFAB_SHAPECONDITIONMETACTIONDELETE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2"/>
  <p:tag name="SLIDEFAB_EXPORTMOD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9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2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3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otiv Office">
  <a:themeElements>
    <a:clrScheme name="NR_URAZ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21324B"/>
      </a:accent1>
      <a:accent2>
        <a:srgbClr val="83D1BF"/>
      </a:accent2>
      <a:accent3>
        <a:srgbClr val="EB0000"/>
      </a:accent3>
      <a:accent4>
        <a:srgbClr val="8496B0"/>
      </a:accent4>
      <a:accent5>
        <a:srgbClr val="FDE5C2"/>
      </a:accent5>
      <a:accent6>
        <a:srgbClr val="E6F5F2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1_Motiv Office">
  <a:themeElements>
    <a:clrScheme name="Z_203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37BC1"/>
      </a:accent1>
      <a:accent2>
        <a:srgbClr val="8CC841"/>
      </a:accent2>
      <a:accent3>
        <a:srgbClr val="DA2128"/>
      </a:accent3>
      <a:accent4>
        <a:srgbClr val="C8C8C8"/>
      </a:accent4>
      <a:accent5>
        <a:srgbClr val="7F0506"/>
      </a:accent5>
      <a:accent6>
        <a:srgbClr val="FFC00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9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0_Motiv Office">
  <a:themeElements>
    <a:clrScheme name="2030">
      <a:dk1>
        <a:srgbClr val="244865"/>
      </a:dk1>
      <a:lt1>
        <a:sysClr val="window" lastClr="FFFFFF"/>
      </a:lt1>
      <a:dk2>
        <a:srgbClr val="F91139"/>
      </a:dk2>
      <a:lt2>
        <a:srgbClr val="FFFFFF"/>
      </a:lt2>
      <a:accent1>
        <a:srgbClr val="244865"/>
      </a:accent1>
      <a:accent2>
        <a:srgbClr val="F91139"/>
      </a:accent2>
      <a:accent3>
        <a:srgbClr val="A5A5A5"/>
      </a:accent3>
      <a:accent4>
        <a:srgbClr val="FFC000"/>
      </a:accent4>
      <a:accent5>
        <a:srgbClr val="5B9BD5"/>
      </a:accent5>
      <a:accent6>
        <a:srgbClr val="AED74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DD5D7E3BC75464781B5563E613B2ED6" ma:contentTypeVersion="14" ma:contentTypeDescription="Vytvoří nový dokument" ma:contentTypeScope="" ma:versionID="f18868c5186550599af04f030b73d689">
  <xsd:schema xmlns:xsd="http://www.w3.org/2001/XMLSchema" xmlns:xs="http://www.w3.org/2001/XMLSchema" xmlns:p="http://schemas.microsoft.com/office/2006/metadata/properties" xmlns:ns3="504245e9-5d8d-493c-b430-15ab26d0fadd" xmlns:ns4="a82729c4-b222-4718-a125-00e8f64353a0" targetNamespace="http://schemas.microsoft.com/office/2006/metadata/properties" ma:root="true" ma:fieldsID="8b61447907934e22ad6a1b6b0b77bd93" ns3:_="" ns4:_="">
    <xsd:import namespace="504245e9-5d8d-493c-b430-15ab26d0fadd"/>
    <xsd:import namespace="a82729c4-b222-4718-a125-00e8f64353a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4245e9-5d8d-493c-b430-15ab26d0fad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2729c4-b222-4718-a125-00e8f64353a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odnota hash upozornění na sdílení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F29682F-0C6E-4250-81C0-A81B8A9CFC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04245e9-5d8d-493c-b430-15ab26d0fadd"/>
    <ds:schemaRef ds:uri="a82729c4-b222-4718-a125-00e8f64353a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D7E40B2-01E4-47D0-AEBC-47456A363440}">
  <ds:schemaRefs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www.w3.org/XML/1998/namespace"/>
    <ds:schemaRef ds:uri="http://purl.org/dc/elements/1.1/"/>
    <ds:schemaRef ds:uri="a82729c4-b222-4718-a125-00e8f64353a0"/>
    <ds:schemaRef ds:uri="504245e9-5d8d-493c-b430-15ab26d0fadd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4133997B-0702-4D58-A550-1B4E5E5A954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989</TotalTime>
  <Words>4717</Words>
  <Application>Microsoft Office PowerPoint</Application>
  <PresentationFormat>Širokoúhlá obrazovka</PresentationFormat>
  <Paragraphs>1766</Paragraphs>
  <Slides>46</Slides>
  <Notes>12</Notes>
  <HiddenSlides>0</HiddenSlides>
  <MMClips>0</MMClips>
  <ScaleCrop>false</ScaleCrop>
  <HeadingPairs>
    <vt:vector size="6" baseType="variant">
      <vt:variant>
        <vt:lpstr>Použitá písma</vt:lpstr>
      </vt:variant>
      <vt:variant>
        <vt:i4>10</vt:i4>
      </vt:variant>
      <vt:variant>
        <vt:lpstr>Motiv</vt:lpstr>
      </vt:variant>
      <vt:variant>
        <vt:i4>12</vt:i4>
      </vt:variant>
      <vt:variant>
        <vt:lpstr>Nadpisy snímků</vt:lpstr>
      </vt:variant>
      <vt:variant>
        <vt:i4>46</vt:i4>
      </vt:variant>
    </vt:vector>
  </HeadingPairs>
  <TitlesOfParts>
    <vt:vector size="68" baseType="lpstr">
      <vt:lpstr>Algerian</vt:lpstr>
      <vt:lpstr>Arial</vt:lpstr>
      <vt:lpstr>Arial Black</vt:lpstr>
      <vt:lpstr>Calibri</vt:lpstr>
      <vt:lpstr>Calibri Light</vt:lpstr>
      <vt:lpstr>Courier New</vt:lpstr>
      <vt:lpstr>Insight print</vt:lpstr>
      <vt:lpstr>Symbol</vt:lpstr>
      <vt:lpstr>Trebuchet MS</vt:lpstr>
      <vt:lpstr>Wingdings</vt:lpstr>
      <vt:lpstr>Motiv Office</vt:lpstr>
      <vt:lpstr>4_Motiv Office</vt:lpstr>
      <vt:lpstr>1_Motiv Office</vt:lpstr>
      <vt:lpstr>5_Motiv Office</vt:lpstr>
      <vt:lpstr>11_Motiv Office</vt:lpstr>
      <vt:lpstr>6_Motiv Office</vt:lpstr>
      <vt:lpstr>9_Motiv Office</vt:lpstr>
      <vt:lpstr>10_Motiv Office</vt:lpstr>
      <vt:lpstr>14_Motiv Office</vt:lpstr>
      <vt:lpstr>19_Motiv Office</vt:lpstr>
      <vt:lpstr>2_Motiv Office</vt:lpstr>
      <vt:lpstr>3_Motiv Offic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Nová datová základna pro mapování kapacit ZP</vt:lpstr>
      <vt:lpstr>Prezentace aplikace PowerPoint</vt:lpstr>
      <vt:lpstr>Prezentace aplikace PowerPoint</vt:lpstr>
      <vt:lpstr>Prezentace aplikace PowerPoint</vt:lpstr>
      <vt:lpstr>Prezentace aplikace PowerPoint</vt:lpstr>
      <vt:lpstr>Věková struktura obyvatelstva ČR a její očekávaný vývoj</vt:lpstr>
      <vt:lpstr>ČR: Statistická predikce prevalence vybraných chorob do roku 2030</vt:lpstr>
      <vt:lpstr>Dlouhodobý trend v objemu akutní lůžkové péče: hospitalizační případy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Úvazky zdravotnických záchranářů v krajích</vt:lpstr>
      <vt:lpstr>Úvazky zdravotnických záchranářů dle typu poskytovatele </vt:lpstr>
      <vt:lpstr>Závěr mapování kapacit </vt:lpstr>
      <vt:lpstr>Prezentace aplikace PowerPoint</vt:lpstr>
      <vt:lpstr>Počty nově získaných odborných způsobilostí zdravotnický záchranář </vt:lpstr>
      <vt:lpstr>Prezentace aplikace PowerPoint</vt:lpstr>
      <vt:lpstr>Prezentace aplikace PowerPoint</vt:lpstr>
      <vt:lpstr>Prezentace aplikace PowerPoint</vt:lpstr>
      <vt:lpstr>VYBRANÉ PROFESE NLZP S VYSOKOU PRIORITOU PRO POSÍLENÍ KAPACIT </vt:lpstr>
      <vt:lpstr>VYBRANÉ PROFESE NLZP S VYSOKOU PRIORITOU PRO POSÍLENÍ KAPACIT </vt:lpstr>
      <vt:lpstr>Připravovaný program podpory vzdělávání: zapojené vysoké školy </vt:lpstr>
      <vt:lpstr>Prezentace aplikace PowerPoint</vt:lpstr>
      <vt:lpstr>Prezentace aplikace PowerPoint</vt:lpstr>
      <vt:lpstr>Prezentace aplikace PowerPoint</vt:lpstr>
      <vt:lpstr>DĚKUJI ZA POZORNOST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Bartůněk Vladimír</dc:creator>
  <cp:lastModifiedBy>Dušek Ladislav prof. RNDr. Ph.D.</cp:lastModifiedBy>
  <cp:revision>185</cp:revision>
  <dcterms:created xsi:type="dcterms:W3CDTF">2021-09-27T11:03:38Z</dcterms:created>
  <dcterms:modified xsi:type="dcterms:W3CDTF">2024-04-24T05:38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D7E3BC75464781B5563E613B2ED6</vt:lpwstr>
  </property>
</Properties>
</file>